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4.xml" ContentType="application/vnd.openxmlformats-officedocument.presentationml.notesSlid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notesSlides/notesSlide5.xml" ContentType="application/vnd.openxmlformats-officedocument.presentationml.notesSl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notesSlides/notesSlide6.xml" ContentType="application/vnd.openxmlformats-officedocument.presentationml.notesSlide+xml"/>
  <Override PartName="/ppt/tags/tag15.xml" ContentType="application/vnd.openxmlformats-officedocument.presentationml.tags+xml"/>
  <Override PartName="/ppt/notesSlides/notesSlide7.xml" ContentType="application/vnd.openxmlformats-officedocument.presentationml.notesSlid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notesSlides/notesSlide8.xml" ContentType="application/vnd.openxmlformats-officedocument.presentationml.notesSlid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notesSlides/notesSlide9.xml" ContentType="application/vnd.openxmlformats-officedocument.presentationml.notesSlid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tags/tag16.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14.xml" ContentType="application/vnd.openxmlformats-officedocument.presentationml.notesSlid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notesSlides/notesSlide15.xml" ContentType="application/vnd.openxmlformats-officedocument.presentationml.notesSlid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notesSlides/notesSlide16.xml" ContentType="application/vnd.openxmlformats-officedocument.presentationml.notesSlide+xml"/>
  <Override PartName="/ppt/tags/tag24.xml" ContentType="application/vnd.openxmlformats-officedocument.presentationml.tags+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theme/themeOverride1.xml" ContentType="application/vnd.openxmlformats-officedocument.themeOverr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tags/tag25.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charts/chart43.xml" ContentType="application/vnd.openxmlformats-officedocument.drawingml.chart+xml"/>
  <Override PartName="/ppt/charts/style43.xml" ContentType="application/vnd.ms-office.chartstyle+xml"/>
  <Override PartName="/ppt/charts/colors43.xml" ContentType="application/vnd.ms-office.chartcolorstyle+xml"/>
  <Override PartName="/ppt/notesSlides/notesSlide24.xml" ContentType="application/vnd.openxmlformats-officedocument.presentationml.notesSlide+xml"/>
  <Override PartName="/ppt/charts/chart44.xml" ContentType="application/vnd.openxmlformats-officedocument.drawingml.chart+xml"/>
  <Override PartName="/ppt/charts/style44.xml" ContentType="application/vnd.ms-office.chartstyle+xml"/>
  <Override PartName="/ppt/charts/colors44.xml" ContentType="application/vnd.ms-office.chartcolorstyle+xml"/>
  <Override PartName="/ppt/charts/chart45.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46.xml" ContentType="application/vnd.openxmlformats-officedocument.drawingml.chart+xml"/>
  <Override PartName="/ppt/charts/style46.xml" ContentType="application/vnd.ms-office.chartstyle+xml"/>
  <Override PartName="/ppt/charts/colors46.xml" ContentType="application/vnd.ms-office.chartcolorstyle+xml"/>
  <Override PartName="/ppt/charts/chart47.xml" ContentType="application/vnd.openxmlformats-officedocument.drawingml.chart+xml"/>
  <Override PartName="/ppt/charts/style47.xml" ContentType="application/vnd.ms-office.chartstyle+xml"/>
  <Override PartName="/ppt/charts/colors47.xml" ContentType="application/vnd.ms-office.chartcolorstyle+xml"/>
  <Override PartName="/ppt/notesSlides/notesSlide25.xml" ContentType="application/vnd.openxmlformats-officedocument.presentationml.notesSlide+xml"/>
  <Override PartName="/ppt/charts/chart48.xml" ContentType="application/vnd.openxmlformats-officedocument.drawingml.chart+xml"/>
  <Override PartName="/ppt/charts/style48.xml" ContentType="application/vnd.ms-office.chartstyle+xml"/>
  <Override PartName="/ppt/charts/colors48.xml" ContentType="application/vnd.ms-office.chartcolorstyle+xml"/>
  <Override PartName="/ppt/charts/chart49.xml" ContentType="application/vnd.openxmlformats-officedocument.drawingml.chart+xml"/>
  <Override PartName="/ppt/charts/style49.xml" ContentType="application/vnd.ms-office.chartstyle+xml"/>
  <Override PartName="/ppt/charts/colors49.xml" ContentType="application/vnd.ms-office.chartcolorstyle+xml"/>
  <Override PartName="/ppt/charts/chart50.xml" ContentType="application/vnd.openxmlformats-officedocument.drawingml.chart+xml"/>
  <Override PartName="/ppt/charts/style50.xml" ContentType="application/vnd.ms-office.chartstyle+xml"/>
  <Override PartName="/ppt/charts/colors50.xml" ContentType="application/vnd.ms-office.chartcolorstyle+xml"/>
  <Override PartName="/ppt/charts/chart51.xml" ContentType="application/vnd.openxmlformats-officedocument.drawingml.chart+xml"/>
  <Override PartName="/ppt/charts/style51.xml" ContentType="application/vnd.ms-office.chartstyle+xml"/>
  <Override PartName="/ppt/charts/colors51.xml" ContentType="application/vnd.ms-office.chartcolorstyle+xml"/>
  <Override PartName="/ppt/charts/chart52.xml" ContentType="application/vnd.openxmlformats-officedocument.drawingml.chart+xml"/>
  <Override PartName="/ppt/charts/style52.xml" ContentType="application/vnd.ms-office.chartstyle+xml"/>
  <Override PartName="/ppt/charts/colors52.xml" ContentType="application/vnd.ms-office.chartcolorstyle+xml"/>
  <Override PartName="/ppt/charts/chart53.xml" ContentType="application/vnd.openxmlformats-officedocument.drawingml.chart+xml"/>
  <Override PartName="/ppt/charts/style53.xml" ContentType="application/vnd.ms-office.chartstyle+xml"/>
  <Override PartName="/ppt/charts/colors53.xml" ContentType="application/vnd.ms-office.chartcolorstyle+xml"/>
  <Override PartName="/ppt/notesSlides/notesSlide26.xml" ContentType="application/vnd.openxmlformats-officedocument.presentationml.notesSlide+xml"/>
  <Override PartName="/ppt/charts/chart54.xml" ContentType="application/vnd.openxmlformats-officedocument.drawingml.chart+xml"/>
  <Override PartName="/ppt/charts/style54.xml" ContentType="application/vnd.ms-office.chartstyle+xml"/>
  <Override PartName="/ppt/charts/colors54.xml" ContentType="application/vnd.ms-office.chartcolorstyle+xml"/>
  <Override PartName="/ppt/charts/chart55.xml" ContentType="application/vnd.openxmlformats-officedocument.drawingml.chart+xml"/>
  <Override PartName="/ppt/charts/style55.xml" ContentType="application/vnd.ms-office.chartstyle+xml"/>
  <Override PartName="/ppt/charts/colors55.xml" ContentType="application/vnd.ms-office.chartcolorstyle+xml"/>
  <Override PartName="/ppt/charts/chart56.xml" ContentType="application/vnd.openxmlformats-officedocument.drawingml.chart+xml"/>
  <Override PartName="/ppt/charts/style56.xml" ContentType="application/vnd.ms-office.chartstyle+xml"/>
  <Override PartName="/ppt/charts/colors56.xml" ContentType="application/vnd.ms-office.chartcolorstyle+xml"/>
  <Override PartName="/ppt/charts/chart57.xml" ContentType="application/vnd.openxmlformats-officedocument.drawingml.chart+xml"/>
  <Override PartName="/ppt/charts/style57.xml" ContentType="application/vnd.ms-office.chartstyle+xml"/>
  <Override PartName="/ppt/charts/colors57.xml" ContentType="application/vnd.ms-office.chartcolorstyle+xml"/>
  <Override PartName="/ppt/charts/chart58.xml" ContentType="application/vnd.openxmlformats-officedocument.drawingml.chart+xml"/>
  <Override PartName="/ppt/charts/style58.xml" ContentType="application/vnd.ms-office.chartstyle+xml"/>
  <Override PartName="/ppt/charts/colors58.xml" ContentType="application/vnd.ms-office.chartcolorstyle+xml"/>
  <Override PartName="/ppt/charts/chart59.xml" ContentType="application/vnd.openxmlformats-officedocument.drawingml.chart+xml"/>
  <Override PartName="/ppt/charts/style59.xml" ContentType="application/vnd.ms-office.chartstyle+xml"/>
  <Override PartName="/ppt/charts/colors59.xml" ContentType="application/vnd.ms-office.chartcolorstyl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rts/chart60.xml" ContentType="application/vnd.openxmlformats-officedocument.drawingml.chart+xml"/>
  <Override PartName="/ppt/charts/style60.xml" ContentType="application/vnd.ms-office.chartstyle+xml"/>
  <Override PartName="/ppt/charts/colors60.xml" ContentType="application/vnd.ms-office.chartcolorstyle+xml"/>
  <Override PartName="/ppt/notesSlides/notesSlide29.xml" ContentType="application/vnd.openxmlformats-officedocument.presentationml.notesSlide+xml"/>
  <Override PartName="/ppt/charts/chart61.xml" ContentType="application/vnd.openxmlformats-officedocument.drawingml.chart+xml"/>
  <Override PartName="/ppt/charts/style61.xml" ContentType="application/vnd.ms-office.chartstyle+xml"/>
  <Override PartName="/ppt/charts/colors61.xml" ContentType="application/vnd.ms-office.chartcolorstyle+xml"/>
  <Override PartName="/ppt/charts/chart62.xml" ContentType="application/vnd.openxmlformats-officedocument.drawingml.chart+xml"/>
  <Override PartName="/ppt/charts/style62.xml" ContentType="application/vnd.ms-office.chartstyle+xml"/>
  <Override PartName="/ppt/charts/colors62.xml" ContentType="application/vnd.ms-office.chartcolorstyl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charts/chart63.xml" ContentType="application/vnd.openxmlformats-officedocument.drawingml.chart+xml"/>
  <Override PartName="/ppt/charts/style63.xml" ContentType="application/vnd.ms-office.chartstyle+xml"/>
  <Override PartName="/ppt/charts/colors63.xml" ContentType="application/vnd.ms-office.chartcolorstyle+xml"/>
  <Override PartName="/ppt/charts/chart64.xml" ContentType="application/vnd.openxmlformats-officedocument.drawingml.chart+xml"/>
  <Override PartName="/ppt/charts/style64.xml" ContentType="application/vnd.ms-office.chartstyle+xml"/>
  <Override PartName="/ppt/charts/colors64.xml" ContentType="application/vnd.ms-office.chartcolorstyle+xml"/>
  <Override PartName="/ppt/notesSlides/notesSlide32.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72" r:id="rId2"/>
    <p:sldMasterId id="2147483684" r:id="rId3"/>
  </p:sldMasterIdLst>
  <p:notesMasterIdLst>
    <p:notesMasterId r:id="rId44"/>
  </p:notesMasterIdLst>
  <p:sldIdLst>
    <p:sldId id="646" r:id="rId4"/>
    <p:sldId id="647" r:id="rId5"/>
    <p:sldId id="648" r:id="rId6"/>
    <p:sldId id="649" r:id="rId7"/>
    <p:sldId id="650" r:id="rId8"/>
    <p:sldId id="651" r:id="rId9"/>
    <p:sldId id="652" r:id="rId10"/>
    <p:sldId id="653" r:id="rId11"/>
    <p:sldId id="654" r:id="rId12"/>
    <p:sldId id="655" r:id="rId13"/>
    <p:sldId id="656" r:id="rId14"/>
    <p:sldId id="657" r:id="rId15"/>
    <p:sldId id="658" r:id="rId16"/>
    <p:sldId id="659" r:id="rId17"/>
    <p:sldId id="660" r:id="rId18"/>
    <p:sldId id="661" r:id="rId19"/>
    <p:sldId id="662" r:id="rId20"/>
    <p:sldId id="663" r:id="rId21"/>
    <p:sldId id="664" r:id="rId22"/>
    <p:sldId id="665" r:id="rId23"/>
    <p:sldId id="666" r:id="rId24"/>
    <p:sldId id="667" r:id="rId25"/>
    <p:sldId id="668" r:id="rId26"/>
    <p:sldId id="669" r:id="rId27"/>
    <p:sldId id="670" r:id="rId28"/>
    <p:sldId id="671" r:id="rId29"/>
    <p:sldId id="672" r:id="rId30"/>
    <p:sldId id="673" r:id="rId31"/>
    <p:sldId id="674" r:id="rId32"/>
    <p:sldId id="675" r:id="rId33"/>
    <p:sldId id="676" r:id="rId34"/>
    <p:sldId id="677" r:id="rId35"/>
    <p:sldId id="678" r:id="rId36"/>
    <p:sldId id="679" r:id="rId37"/>
    <p:sldId id="680" r:id="rId38"/>
    <p:sldId id="681" r:id="rId39"/>
    <p:sldId id="682" r:id="rId40"/>
    <p:sldId id="683" r:id="rId41"/>
    <p:sldId id="684" r:id="rId42"/>
    <p:sldId id="685" r:id="rId43"/>
  </p:sldIdLst>
  <p:sldSz cx="12192000" cy="6858000"/>
  <p:notesSz cx="6858000" cy="9144000"/>
  <p:custDataLst>
    <p:tags r:id="rId45"/>
  </p:custDataLst>
  <p:defaultTextStyle>
    <a:defPPr>
      <a:defRPr lang="ru-K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DCBF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4334"/>
    <p:restoredTop sz="94674"/>
  </p:normalViewPr>
  <p:slideViewPr>
    <p:cSldViewPr snapToGrid="0">
      <p:cViewPr>
        <p:scale>
          <a:sx n="78" d="100"/>
          <a:sy n="78" d="100"/>
        </p:scale>
        <p:origin x="1332" y="74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viewProps" Target="viewProps.xml"/><Relationship Id="rId50" Type="http://schemas.microsoft.com/office/2016/11/relationships/changesInfo" Target="changesInfos/changesInfo1.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tags" Target="tags/tag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theme" Target="theme/theme1.xml"/><Relationship Id="rId8" Type="http://schemas.openxmlformats.org/officeDocument/2006/relationships/slide" Target="slides/slide5.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presProps" Target="presProps.xml"/><Relationship Id="rId20" Type="http://schemas.openxmlformats.org/officeDocument/2006/relationships/slide" Target="slides/slide17.xml"/><Relationship Id="rId41" Type="http://schemas.openxmlformats.org/officeDocument/2006/relationships/slide" Target="slides/slide38.xml"/><Relationship Id="rId1" Type="http://schemas.openxmlformats.org/officeDocument/2006/relationships/slideMaster" Target="slideMasters/slideMaster1.xml"/><Relationship Id="rId6"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inara Ismailova-Karacsony" userId="ef29c773-718d-407f-94d1-a10210946ccd" providerId="ADAL" clId="{343E8BEB-DA06-4A63-ABD1-863816F8BB0D}"/>
    <pc:docChg chg="delSld delMainMaster">
      <pc:chgData name="Dinara Ismailova-Karacsony" userId="ef29c773-718d-407f-94d1-a10210946ccd" providerId="ADAL" clId="{343E8BEB-DA06-4A63-ABD1-863816F8BB0D}" dt="2025-10-20T08:12:18.612" v="39" actId="2696"/>
      <pc:docMkLst>
        <pc:docMk/>
      </pc:docMkLst>
      <pc:sldChg chg="del">
        <pc:chgData name="Dinara Ismailova-Karacsony" userId="ef29c773-718d-407f-94d1-a10210946ccd" providerId="ADAL" clId="{343E8BEB-DA06-4A63-ABD1-863816F8BB0D}" dt="2025-10-20T07:53:31.037" v="1" actId="2696"/>
        <pc:sldMkLst>
          <pc:docMk/>
          <pc:sldMk cId="1021895483" sldId="592"/>
        </pc:sldMkLst>
      </pc:sldChg>
      <pc:sldChg chg="del">
        <pc:chgData name="Dinara Ismailova-Karacsony" userId="ef29c773-718d-407f-94d1-a10210946ccd" providerId="ADAL" clId="{343E8BEB-DA06-4A63-ABD1-863816F8BB0D}" dt="2025-10-20T07:54:59.367" v="10" actId="2696"/>
        <pc:sldMkLst>
          <pc:docMk/>
          <pc:sldMk cId="2051764756" sldId="597"/>
        </pc:sldMkLst>
      </pc:sldChg>
      <pc:sldChg chg="del">
        <pc:chgData name="Dinara Ismailova-Karacsony" userId="ef29c773-718d-407f-94d1-a10210946ccd" providerId="ADAL" clId="{343E8BEB-DA06-4A63-ABD1-863816F8BB0D}" dt="2025-10-20T07:55:12.707" v="12" actId="2696"/>
        <pc:sldMkLst>
          <pc:docMk/>
          <pc:sldMk cId="2171590574" sldId="599"/>
        </pc:sldMkLst>
      </pc:sldChg>
      <pc:sldChg chg="del">
        <pc:chgData name="Dinara Ismailova-Karacsony" userId="ef29c773-718d-407f-94d1-a10210946ccd" providerId="ADAL" clId="{343E8BEB-DA06-4A63-ABD1-863816F8BB0D}" dt="2025-10-20T07:53:58.865" v="8" actId="2696"/>
        <pc:sldMkLst>
          <pc:docMk/>
          <pc:sldMk cId="2876348329" sldId="600"/>
        </pc:sldMkLst>
      </pc:sldChg>
      <pc:sldChg chg="del">
        <pc:chgData name="Dinara Ismailova-Karacsony" userId="ef29c773-718d-407f-94d1-a10210946ccd" providerId="ADAL" clId="{343E8BEB-DA06-4A63-ABD1-863816F8BB0D}" dt="2025-10-20T07:53:56.149" v="7" actId="2696"/>
        <pc:sldMkLst>
          <pc:docMk/>
          <pc:sldMk cId="512315589" sldId="602"/>
        </pc:sldMkLst>
      </pc:sldChg>
      <pc:sldChg chg="del">
        <pc:chgData name="Dinara Ismailova-Karacsony" userId="ef29c773-718d-407f-94d1-a10210946ccd" providerId="ADAL" clId="{343E8BEB-DA06-4A63-ABD1-863816F8BB0D}" dt="2025-10-20T07:55:04.391" v="11" actId="2696"/>
        <pc:sldMkLst>
          <pc:docMk/>
          <pc:sldMk cId="1540522737" sldId="604"/>
        </pc:sldMkLst>
      </pc:sldChg>
      <pc:sldChg chg="del">
        <pc:chgData name="Dinara Ismailova-Karacsony" userId="ef29c773-718d-407f-94d1-a10210946ccd" providerId="ADAL" clId="{343E8BEB-DA06-4A63-ABD1-863816F8BB0D}" dt="2025-10-20T07:53:28.153" v="0" actId="2696"/>
        <pc:sldMkLst>
          <pc:docMk/>
          <pc:sldMk cId="2987559343" sldId="607"/>
        </pc:sldMkLst>
      </pc:sldChg>
      <pc:sldChg chg="del">
        <pc:chgData name="Dinara Ismailova-Karacsony" userId="ef29c773-718d-407f-94d1-a10210946ccd" providerId="ADAL" clId="{343E8BEB-DA06-4A63-ABD1-863816F8BB0D}" dt="2025-10-20T07:54:30.793" v="9" actId="2696"/>
        <pc:sldMkLst>
          <pc:docMk/>
          <pc:sldMk cId="156627421" sldId="608"/>
        </pc:sldMkLst>
      </pc:sldChg>
      <pc:sldChg chg="del">
        <pc:chgData name="Dinara Ismailova-Karacsony" userId="ef29c773-718d-407f-94d1-a10210946ccd" providerId="ADAL" clId="{343E8BEB-DA06-4A63-ABD1-863816F8BB0D}" dt="2025-10-20T07:53:40.616" v="3" actId="2696"/>
        <pc:sldMkLst>
          <pc:docMk/>
          <pc:sldMk cId="2681794171" sldId="609"/>
        </pc:sldMkLst>
      </pc:sldChg>
      <pc:sldChg chg="del">
        <pc:chgData name="Dinara Ismailova-Karacsony" userId="ef29c773-718d-407f-94d1-a10210946ccd" providerId="ADAL" clId="{343E8BEB-DA06-4A63-ABD1-863816F8BB0D}" dt="2025-10-20T07:53:37.530" v="2" actId="2696"/>
        <pc:sldMkLst>
          <pc:docMk/>
          <pc:sldMk cId="2319632349" sldId="612"/>
        </pc:sldMkLst>
      </pc:sldChg>
      <pc:sldChg chg="del">
        <pc:chgData name="Dinara Ismailova-Karacsony" userId="ef29c773-718d-407f-94d1-a10210946ccd" providerId="ADAL" clId="{343E8BEB-DA06-4A63-ABD1-863816F8BB0D}" dt="2025-10-20T07:53:43.043" v="4" actId="2696"/>
        <pc:sldMkLst>
          <pc:docMk/>
          <pc:sldMk cId="3280801470" sldId="614"/>
        </pc:sldMkLst>
      </pc:sldChg>
      <pc:sldChg chg="del">
        <pc:chgData name="Dinara Ismailova-Karacsony" userId="ef29c773-718d-407f-94d1-a10210946ccd" providerId="ADAL" clId="{343E8BEB-DA06-4A63-ABD1-863816F8BB0D}" dt="2025-10-20T07:53:45.754" v="5" actId="2696"/>
        <pc:sldMkLst>
          <pc:docMk/>
          <pc:sldMk cId="3747903227" sldId="615"/>
        </pc:sldMkLst>
      </pc:sldChg>
      <pc:sldChg chg="del">
        <pc:chgData name="Dinara Ismailova-Karacsony" userId="ef29c773-718d-407f-94d1-a10210946ccd" providerId="ADAL" clId="{343E8BEB-DA06-4A63-ABD1-863816F8BB0D}" dt="2025-10-20T07:53:48.339" v="6" actId="2696"/>
        <pc:sldMkLst>
          <pc:docMk/>
          <pc:sldMk cId="1199866187" sldId="618"/>
        </pc:sldMkLst>
      </pc:sldChg>
      <pc:sldChg chg="del">
        <pc:chgData name="Dinara Ismailova-Karacsony" userId="ef29c773-718d-407f-94d1-a10210946ccd" providerId="ADAL" clId="{343E8BEB-DA06-4A63-ABD1-863816F8BB0D}" dt="2025-10-20T07:55:59.704" v="13" actId="2696"/>
        <pc:sldMkLst>
          <pc:docMk/>
          <pc:sldMk cId="2578524227" sldId="619"/>
        </pc:sldMkLst>
      </pc:sldChg>
      <pc:sldChg chg="del">
        <pc:chgData name="Dinara Ismailova-Karacsony" userId="ef29c773-718d-407f-94d1-a10210946ccd" providerId="ADAL" clId="{343E8BEB-DA06-4A63-ABD1-863816F8BB0D}" dt="2025-10-20T07:56:08.722" v="14" actId="2696"/>
        <pc:sldMkLst>
          <pc:docMk/>
          <pc:sldMk cId="4016408131" sldId="620"/>
        </pc:sldMkLst>
      </pc:sldChg>
      <pc:sldChg chg="del">
        <pc:chgData name="Dinara Ismailova-Karacsony" userId="ef29c773-718d-407f-94d1-a10210946ccd" providerId="ADAL" clId="{343E8BEB-DA06-4A63-ABD1-863816F8BB0D}" dt="2025-10-20T07:56:12.885" v="15" actId="2696"/>
        <pc:sldMkLst>
          <pc:docMk/>
          <pc:sldMk cId="3175778093" sldId="621"/>
        </pc:sldMkLst>
      </pc:sldChg>
      <pc:sldChg chg="del">
        <pc:chgData name="Dinara Ismailova-Karacsony" userId="ef29c773-718d-407f-94d1-a10210946ccd" providerId="ADAL" clId="{343E8BEB-DA06-4A63-ABD1-863816F8BB0D}" dt="2025-10-20T07:56:21.141" v="16" actId="2696"/>
        <pc:sldMkLst>
          <pc:docMk/>
          <pc:sldMk cId="1679587588" sldId="622"/>
        </pc:sldMkLst>
      </pc:sldChg>
      <pc:sldChg chg="del">
        <pc:chgData name="Dinara Ismailova-Karacsony" userId="ef29c773-718d-407f-94d1-a10210946ccd" providerId="ADAL" clId="{343E8BEB-DA06-4A63-ABD1-863816F8BB0D}" dt="2025-10-20T07:56:26.835" v="17" actId="2696"/>
        <pc:sldMkLst>
          <pc:docMk/>
          <pc:sldMk cId="576334014" sldId="623"/>
        </pc:sldMkLst>
      </pc:sldChg>
      <pc:sldChg chg="del">
        <pc:chgData name="Dinara Ismailova-Karacsony" userId="ef29c773-718d-407f-94d1-a10210946ccd" providerId="ADAL" clId="{343E8BEB-DA06-4A63-ABD1-863816F8BB0D}" dt="2025-10-20T07:56:30.523" v="18" actId="2696"/>
        <pc:sldMkLst>
          <pc:docMk/>
          <pc:sldMk cId="667061345" sldId="624"/>
        </pc:sldMkLst>
      </pc:sldChg>
      <pc:sldChg chg="del">
        <pc:chgData name="Dinara Ismailova-Karacsony" userId="ef29c773-718d-407f-94d1-a10210946ccd" providerId="ADAL" clId="{343E8BEB-DA06-4A63-ABD1-863816F8BB0D}" dt="2025-10-20T07:56:52.311" v="19" actId="2696"/>
        <pc:sldMkLst>
          <pc:docMk/>
          <pc:sldMk cId="421062190" sldId="625"/>
        </pc:sldMkLst>
      </pc:sldChg>
      <pc:sldChg chg="del">
        <pc:chgData name="Dinara Ismailova-Karacsony" userId="ef29c773-718d-407f-94d1-a10210946ccd" providerId="ADAL" clId="{343E8BEB-DA06-4A63-ABD1-863816F8BB0D}" dt="2025-10-20T07:56:56.089" v="20" actId="2696"/>
        <pc:sldMkLst>
          <pc:docMk/>
          <pc:sldMk cId="2420344566" sldId="626"/>
        </pc:sldMkLst>
      </pc:sldChg>
      <pc:sldChg chg="del">
        <pc:chgData name="Dinara Ismailova-Karacsony" userId="ef29c773-718d-407f-94d1-a10210946ccd" providerId="ADAL" clId="{343E8BEB-DA06-4A63-ABD1-863816F8BB0D}" dt="2025-10-20T08:06:29.157" v="21" actId="2696"/>
        <pc:sldMkLst>
          <pc:docMk/>
          <pc:sldMk cId="1349172154" sldId="627"/>
        </pc:sldMkLst>
      </pc:sldChg>
      <pc:sldChg chg="del">
        <pc:chgData name="Dinara Ismailova-Karacsony" userId="ef29c773-718d-407f-94d1-a10210946ccd" providerId="ADAL" clId="{343E8BEB-DA06-4A63-ABD1-863816F8BB0D}" dt="2025-10-20T08:06:33.342" v="22" actId="2696"/>
        <pc:sldMkLst>
          <pc:docMk/>
          <pc:sldMk cId="61171382" sldId="628"/>
        </pc:sldMkLst>
      </pc:sldChg>
      <pc:sldChg chg="del">
        <pc:chgData name="Dinara Ismailova-Karacsony" userId="ef29c773-718d-407f-94d1-a10210946ccd" providerId="ADAL" clId="{343E8BEB-DA06-4A63-ABD1-863816F8BB0D}" dt="2025-10-20T08:06:37.021" v="23" actId="2696"/>
        <pc:sldMkLst>
          <pc:docMk/>
          <pc:sldMk cId="3152454329" sldId="629"/>
        </pc:sldMkLst>
      </pc:sldChg>
      <pc:sldChg chg="del">
        <pc:chgData name="Dinara Ismailova-Karacsony" userId="ef29c773-718d-407f-94d1-a10210946ccd" providerId="ADAL" clId="{343E8BEB-DA06-4A63-ABD1-863816F8BB0D}" dt="2025-10-20T08:09:04.411" v="24" actId="2696"/>
        <pc:sldMkLst>
          <pc:docMk/>
          <pc:sldMk cId="663104488" sldId="630"/>
        </pc:sldMkLst>
      </pc:sldChg>
      <pc:sldChg chg="del">
        <pc:chgData name="Dinara Ismailova-Karacsony" userId="ef29c773-718d-407f-94d1-a10210946ccd" providerId="ADAL" clId="{343E8BEB-DA06-4A63-ABD1-863816F8BB0D}" dt="2025-10-20T08:09:15.984" v="25" actId="2696"/>
        <pc:sldMkLst>
          <pc:docMk/>
          <pc:sldMk cId="572450557" sldId="631"/>
        </pc:sldMkLst>
      </pc:sldChg>
      <pc:sldChg chg="del">
        <pc:chgData name="Dinara Ismailova-Karacsony" userId="ef29c773-718d-407f-94d1-a10210946ccd" providerId="ADAL" clId="{343E8BEB-DA06-4A63-ABD1-863816F8BB0D}" dt="2025-10-20T08:09:32.837" v="26" actId="2696"/>
        <pc:sldMkLst>
          <pc:docMk/>
          <pc:sldMk cId="1801478050" sldId="632"/>
        </pc:sldMkLst>
      </pc:sldChg>
      <pc:sldChg chg="del">
        <pc:chgData name="Dinara Ismailova-Karacsony" userId="ef29c773-718d-407f-94d1-a10210946ccd" providerId="ADAL" clId="{343E8BEB-DA06-4A63-ABD1-863816F8BB0D}" dt="2025-10-20T08:10:14.880" v="27" actId="2696"/>
        <pc:sldMkLst>
          <pc:docMk/>
          <pc:sldMk cId="1833729728" sldId="633"/>
        </pc:sldMkLst>
      </pc:sldChg>
      <pc:sldChg chg="del">
        <pc:chgData name="Dinara Ismailova-Karacsony" userId="ef29c773-718d-407f-94d1-a10210946ccd" providerId="ADAL" clId="{343E8BEB-DA06-4A63-ABD1-863816F8BB0D}" dt="2025-10-20T08:10:28.665" v="28" actId="2696"/>
        <pc:sldMkLst>
          <pc:docMk/>
          <pc:sldMk cId="1324871162" sldId="634"/>
        </pc:sldMkLst>
      </pc:sldChg>
      <pc:sldChg chg="del">
        <pc:chgData name="Dinara Ismailova-Karacsony" userId="ef29c773-718d-407f-94d1-a10210946ccd" providerId="ADAL" clId="{343E8BEB-DA06-4A63-ABD1-863816F8BB0D}" dt="2025-10-20T08:11:14.375" v="29" actId="2696"/>
        <pc:sldMkLst>
          <pc:docMk/>
          <pc:sldMk cId="3657053637" sldId="635"/>
        </pc:sldMkLst>
      </pc:sldChg>
      <pc:sldChg chg="del">
        <pc:chgData name="Dinara Ismailova-Karacsony" userId="ef29c773-718d-407f-94d1-a10210946ccd" providerId="ADAL" clId="{343E8BEB-DA06-4A63-ABD1-863816F8BB0D}" dt="2025-10-20T08:11:17.833" v="30" actId="2696"/>
        <pc:sldMkLst>
          <pc:docMk/>
          <pc:sldMk cId="3430946620" sldId="636"/>
        </pc:sldMkLst>
      </pc:sldChg>
      <pc:sldChg chg="del">
        <pc:chgData name="Dinara Ismailova-Karacsony" userId="ef29c773-718d-407f-94d1-a10210946ccd" providerId="ADAL" clId="{343E8BEB-DA06-4A63-ABD1-863816F8BB0D}" dt="2025-10-20T08:11:21.500" v="31" actId="2696"/>
        <pc:sldMkLst>
          <pc:docMk/>
          <pc:sldMk cId="2708414633" sldId="637"/>
        </pc:sldMkLst>
      </pc:sldChg>
      <pc:sldChg chg="del">
        <pc:chgData name="Dinara Ismailova-Karacsony" userId="ef29c773-718d-407f-94d1-a10210946ccd" providerId="ADAL" clId="{343E8BEB-DA06-4A63-ABD1-863816F8BB0D}" dt="2025-10-20T08:11:24.353" v="32" actId="2696"/>
        <pc:sldMkLst>
          <pc:docMk/>
          <pc:sldMk cId="1481307441" sldId="638"/>
        </pc:sldMkLst>
      </pc:sldChg>
      <pc:sldChg chg="del">
        <pc:chgData name="Dinara Ismailova-Karacsony" userId="ef29c773-718d-407f-94d1-a10210946ccd" providerId="ADAL" clId="{343E8BEB-DA06-4A63-ABD1-863816F8BB0D}" dt="2025-10-20T08:11:27.157" v="33" actId="2696"/>
        <pc:sldMkLst>
          <pc:docMk/>
          <pc:sldMk cId="349247448" sldId="639"/>
        </pc:sldMkLst>
      </pc:sldChg>
      <pc:sldChg chg="del">
        <pc:chgData name="Dinara Ismailova-Karacsony" userId="ef29c773-718d-407f-94d1-a10210946ccd" providerId="ADAL" clId="{343E8BEB-DA06-4A63-ABD1-863816F8BB0D}" dt="2025-10-20T08:11:30.111" v="34" actId="2696"/>
        <pc:sldMkLst>
          <pc:docMk/>
          <pc:sldMk cId="3389528319" sldId="640"/>
        </pc:sldMkLst>
      </pc:sldChg>
      <pc:sldChg chg="del">
        <pc:chgData name="Dinara Ismailova-Karacsony" userId="ef29c773-718d-407f-94d1-a10210946ccd" providerId="ADAL" clId="{343E8BEB-DA06-4A63-ABD1-863816F8BB0D}" dt="2025-10-20T08:11:32.610" v="35" actId="2696"/>
        <pc:sldMkLst>
          <pc:docMk/>
          <pc:sldMk cId="2514793466" sldId="641"/>
        </pc:sldMkLst>
      </pc:sldChg>
      <pc:sldChg chg="del">
        <pc:chgData name="Dinara Ismailova-Karacsony" userId="ef29c773-718d-407f-94d1-a10210946ccd" providerId="ADAL" clId="{343E8BEB-DA06-4A63-ABD1-863816F8BB0D}" dt="2025-10-20T08:11:35.132" v="36" actId="2696"/>
        <pc:sldMkLst>
          <pc:docMk/>
          <pc:sldMk cId="4011167718" sldId="642"/>
        </pc:sldMkLst>
      </pc:sldChg>
      <pc:sldChg chg="del">
        <pc:chgData name="Dinara Ismailova-Karacsony" userId="ef29c773-718d-407f-94d1-a10210946ccd" providerId="ADAL" clId="{343E8BEB-DA06-4A63-ABD1-863816F8BB0D}" dt="2025-10-20T08:11:37.810" v="37" actId="2696"/>
        <pc:sldMkLst>
          <pc:docMk/>
          <pc:sldMk cId="2728933891" sldId="643"/>
        </pc:sldMkLst>
      </pc:sldChg>
      <pc:sldChg chg="del">
        <pc:chgData name="Dinara Ismailova-Karacsony" userId="ef29c773-718d-407f-94d1-a10210946ccd" providerId="ADAL" clId="{343E8BEB-DA06-4A63-ABD1-863816F8BB0D}" dt="2025-10-20T08:11:40.789" v="38" actId="2696"/>
        <pc:sldMkLst>
          <pc:docMk/>
          <pc:sldMk cId="4152810368" sldId="644"/>
        </pc:sldMkLst>
      </pc:sldChg>
      <pc:sldChg chg="del">
        <pc:chgData name="Dinara Ismailova-Karacsony" userId="ef29c773-718d-407f-94d1-a10210946ccd" providerId="ADAL" clId="{343E8BEB-DA06-4A63-ABD1-863816F8BB0D}" dt="2025-10-20T08:12:18.612" v="39" actId="2696"/>
        <pc:sldMkLst>
          <pc:docMk/>
          <pc:sldMk cId="2745464448" sldId="645"/>
        </pc:sldMkLst>
      </pc:sldChg>
      <pc:sldMasterChg chg="del delSldLayout">
        <pc:chgData name="Dinara Ismailova-Karacsony" userId="ef29c773-718d-407f-94d1-a10210946ccd" providerId="ADAL" clId="{343E8BEB-DA06-4A63-ABD1-863816F8BB0D}" dt="2025-10-20T07:55:12.707" v="12" actId="2696"/>
        <pc:sldMasterMkLst>
          <pc:docMk/>
          <pc:sldMasterMk cId="2450559918" sldId="2147483648"/>
        </pc:sldMasterMkLst>
        <pc:sldLayoutChg chg="del">
          <pc:chgData name="Dinara Ismailova-Karacsony" userId="ef29c773-718d-407f-94d1-a10210946ccd" providerId="ADAL" clId="{343E8BEB-DA06-4A63-ABD1-863816F8BB0D}" dt="2025-10-20T07:55:12.707" v="12" actId="2696"/>
          <pc:sldLayoutMkLst>
            <pc:docMk/>
            <pc:sldMasterMk cId="2450559918" sldId="2147483648"/>
            <pc:sldLayoutMk cId="1260130976" sldId="2147483649"/>
          </pc:sldLayoutMkLst>
        </pc:sldLayoutChg>
        <pc:sldLayoutChg chg="del">
          <pc:chgData name="Dinara Ismailova-Karacsony" userId="ef29c773-718d-407f-94d1-a10210946ccd" providerId="ADAL" clId="{343E8BEB-DA06-4A63-ABD1-863816F8BB0D}" dt="2025-10-20T07:55:12.707" v="12" actId="2696"/>
          <pc:sldLayoutMkLst>
            <pc:docMk/>
            <pc:sldMasterMk cId="2450559918" sldId="2147483648"/>
            <pc:sldLayoutMk cId="3519661951" sldId="2147483650"/>
          </pc:sldLayoutMkLst>
        </pc:sldLayoutChg>
        <pc:sldLayoutChg chg="del">
          <pc:chgData name="Dinara Ismailova-Karacsony" userId="ef29c773-718d-407f-94d1-a10210946ccd" providerId="ADAL" clId="{343E8BEB-DA06-4A63-ABD1-863816F8BB0D}" dt="2025-10-20T07:55:12.707" v="12" actId="2696"/>
          <pc:sldLayoutMkLst>
            <pc:docMk/>
            <pc:sldMasterMk cId="2450559918" sldId="2147483648"/>
            <pc:sldLayoutMk cId="1977880969" sldId="2147483651"/>
          </pc:sldLayoutMkLst>
        </pc:sldLayoutChg>
        <pc:sldLayoutChg chg="del">
          <pc:chgData name="Dinara Ismailova-Karacsony" userId="ef29c773-718d-407f-94d1-a10210946ccd" providerId="ADAL" clId="{343E8BEB-DA06-4A63-ABD1-863816F8BB0D}" dt="2025-10-20T07:55:12.707" v="12" actId="2696"/>
          <pc:sldLayoutMkLst>
            <pc:docMk/>
            <pc:sldMasterMk cId="2450559918" sldId="2147483648"/>
            <pc:sldLayoutMk cId="872658483" sldId="2147483652"/>
          </pc:sldLayoutMkLst>
        </pc:sldLayoutChg>
        <pc:sldLayoutChg chg="del">
          <pc:chgData name="Dinara Ismailova-Karacsony" userId="ef29c773-718d-407f-94d1-a10210946ccd" providerId="ADAL" clId="{343E8BEB-DA06-4A63-ABD1-863816F8BB0D}" dt="2025-10-20T07:55:12.707" v="12" actId="2696"/>
          <pc:sldLayoutMkLst>
            <pc:docMk/>
            <pc:sldMasterMk cId="2450559918" sldId="2147483648"/>
            <pc:sldLayoutMk cId="2260846733" sldId="2147483653"/>
          </pc:sldLayoutMkLst>
        </pc:sldLayoutChg>
        <pc:sldLayoutChg chg="del">
          <pc:chgData name="Dinara Ismailova-Karacsony" userId="ef29c773-718d-407f-94d1-a10210946ccd" providerId="ADAL" clId="{343E8BEB-DA06-4A63-ABD1-863816F8BB0D}" dt="2025-10-20T07:55:12.707" v="12" actId="2696"/>
          <pc:sldLayoutMkLst>
            <pc:docMk/>
            <pc:sldMasterMk cId="2450559918" sldId="2147483648"/>
            <pc:sldLayoutMk cId="4074362235" sldId="2147483654"/>
          </pc:sldLayoutMkLst>
        </pc:sldLayoutChg>
        <pc:sldLayoutChg chg="del">
          <pc:chgData name="Dinara Ismailova-Karacsony" userId="ef29c773-718d-407f-94d1-a10210946ccd" providerId="ADAL" clId="{343E8BEB-DA06-4A63-ABD1-863816F8BB0D}" dt="2025-10-20T07:55:12.707" v="12" actId="2696"/>
          <pc:sldLayoutMkLst>
            <pc:docMk/>
            <pc:sldMasterMk cId="2450559918" sldId="2147483648"/>
            <pc:sldLayoutMk cId="2440988748" sldId="2147483655"/>
          </pc:sldLayoutMkLst>
        </pc:sldLayoutChg>
        <pc:sldLayoutChg chg="del">
          <pc:chgData name="Dinara Ismailova-Karacsony" userId="ef29c773-718d-407f-94d1-a10210946ccd" providerId="ADAL" clId="{343E8BEB-DA06-4A63-ABD1-863816F8BB0D}" dt="2025-10-20T07:55:12.707" v="12" actId="2696"/>
          <pc:sldLayoutMkLst>
            <pc:docMk/>
            <pc:sldMasterMk cId="2450559918" sldId="2147483648"/>
            <pc:sldLayoutMk cId="3527629374" sldId="2147483656"/>
          </pc:sldLayoutMkLst>
        </pc:sldLayoutChg>
        <pc:sldLayoutChg chg="del">
          <pc:chgData name="Dinara Ismailova-Karacsony" userId="ef29c773-718d-407f-94d1-a10210946ccd" providerId="ADAL" clId="{343E8BEB-DA06-4A63-ABD1-863816F8BB0D}" dt="2025-10-20T07:55:12.707" v="12" actId="2696"/>
          <pc:sldLayoutMkLst>
            <pc:docMk/>
            <pc:sldMasterMk cId="2450559918" sldId="2147483648"/>
            <pc:sldLayoutMk cId="3389359362" sldId="2147483657"/>
          </pc:sldLayoutMkLst>
        </pc:sldLayoutChg>
        <pc:sldLayoutChg chg="del">
          <pc:chgData name="Dinara Ismailova-Karacsony" userId="ef29c773-718d-407f-94d1-a10210946ccd" providerId="ADAL" clId="{343E8BEB-DA06-4A63-ABD1-863816F8BB0D}" dt="2025-10-20T07:55:12.707" v="12" actId="2696"/>
          <pc:sldLayoutMkLst>
            <pc:docMk/>
            <pc:sldMasterMk cId="2450559918" sldId="2147483648"/>
            <pc:sldLayoutMk cId="1683183636" sldId="2147483658"/>
          </pc:sldLayoutMkLst>
        </pc:sldLayoutChg>
        <pc:sldLayoutChg chg="del">
          <pc:chgData name="Dinara Ismailova-Karacsony" userId="ef29c773-718d-407f-94d1-a10210946ccd" providerId="ADAL" clId="{343E8BEB-DA06-4A63-ABD1-863816F8BB0D}" dt="2025-10-20T07:55:12.707" v="12" actId="2696"/>
          <pc:sldLayoutMkLst>
            <pc:docMk/>
            <pc:sldMasterMk cId="2450559918" sldId="2147483648"/>
            <pc:sldLayoutMk cId="3020462434" sldId="2147483659"/>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37.xml"/><Relationship Id="rId1" Type="http://schemas.microsoft.com/office/2011/relationships/chartStyle" Target="style37.xml"/><Relationship Id="rId4"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5.xml"/><Relationship Id="rId1" Type="http://schemas.microsoft.com/office/2011/relationships/chartStyle" Target="style45.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6.xml"/><Relationship Id="rId1" Type="http://schemas.microsoft.com/office/2011/relationships/chartStyle" Target="style46.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7.xml"/><Relationship Id="rId1" Type="http://schemas.microsoft.com/office/2011/relationships/chartStyle" Target="style47.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8.xml"/><Relationship Id="rId1" Type="http://schemas.microsoft.com/office/2011/relationships/chartStyle" Target="style48.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9.xml"/><Relationship Id="rId1" Type="http://schemas.microsoft.com/office/2011/relationships/chartStyle" Target="style49.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50.xml"/><Relationship Id="rId1" Type="http://schemas.microsoft.com/office/2011/relationships/chartStyle" Target="style50.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51.xml"/><Relationship Id="rId1" Type="http://schemas.microsoft.com/office/2011/relationships/chartStyle" Target="style51.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52.xml"/><Relationship Id="rId1" Type="http://schemas.microsoft.com/office/2011/relationships/chartStyle" Target="style52.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3.xml"/><Relationship Id="rId1" Type="http://schemas.microsoft.com/office/2011/relationships/chartStyle" Target="style53.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4.xml"/><Relationship Id="rId1" Type="http://schemas.microsoft.com/office/2011/relationships/chartStyle" Target="style54.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5.xml"/><Relationship Id="rId1" Type="http://schemas.microsoft.com/office/2011/relationships/chartStyle" Target="style55.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6.xml"/><Relationship Id="rId1" Type="http://schemas.microsoft.com/office/2011/relationships/chartStyle" Target="style56.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7.xml"/><Relationship Id="rId1" Type="http://schemas.microsoft.com/office/2011/relationships/chartStyle" Target="style57.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8.xml"/><Relationship Id="rId1" Type="http://schemas.microsoft.com/office/2011/relationships/chartStyle" Target="style58.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9.xml"/><Relationship Id="rId1" Type="http://schemas.microsoft.com/office/2011/relationships/chartStyle" Target="style59.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60.xml"/><Relationship Id="rId1" Type="http://schemas.microsoft.com/office/2011/relationships/chartStyle" Target="style60.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61.xml"/><Relationship Id="rId1" Type="http://schemas.microsoft.com/office/2011/relationships/chartStyle" Target="style61.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62.xml"/><Relationship Id="rId1" Type="http://schemas.microsoft.com/office/2011/relationships/chartStyle" Target="style62.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63.xml"/><Relationship Id="rId1" Type="http://schemas.microsoft.com/office/2011/relationships/chartStyle" Target="style63.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64.xml"/><Relationship Id="rId1" Type="http://schemas.microsoft.com/office/2011/relationships/chartStyle" Target="style6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Лист1!$B$1</c:f>
              <c:strCache>
                <c:ptCount val="1"/>
                <c:pt idx="0">
                  <c:v>Столбец1</c:v>
                </c:pt>
              </c:strCache>
            </c:strRef>
          </c:tx>
          <c:spPr>
            <a:solidFill>
              <a:schemeClr val="tx2">
                <a:lumMod val="75000"/>
                <a:lumOff val="25000"/>
              </a:schemeClr>
            </a:solidFill>
          </c:spPr>
          <c:dPt>
            <c:idx val="0"/>
            <c:bubble3D val="0"/>
            <c:spPr>
              <a:solidFill>
                <a:schemeClr val="tx2">
                  <a:lumMod val="75000"/>
                  <a:lumOff val="25000"/>
                </a:schemeClr>
              </a:solidFill>
              <a:ln w="19050">
                <a:solidFill>
                  <a:schemeClr val="lt1"/>
                </a:solidFill>
              </a:ln>
              <a:effectLst/>
            </c:spPr>
            <c:extLst>
              <c:ext xmlns:c16="http://schemas.microsoft.com/office/drawing/2014/chart" uri="{C3380CC4-5D6E-409C-BE32-E72D297353CC}">
                <c16:uniqueId val="{00000001-BD0E-427B-AC8A-CE3198A3072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2-BD0E-427B-AC8A-CE3198A3072E}"/>
              </c:ext>
            </c:extLst>
          </c:dPt>
          <c:dLbls>
            <c:dLbl>
              <c:idx val="0"/>
              <c:tx>
                <c:rich>
                  <a:bodyPr/>
                  <a:lstStyle/>
                  <a:p>
                    <a:fld id="{6F24067B-83FA-427F-8BB0-B3C5CE60492B}" type="VALUE">
                      <a:rPr lang="en-US">
                        <a:solidFill>
                          <a:schemeClr val="bg1"/>
                        </a:solidFill>
                      </a:rPr>
                      <a:pPr/>
                      <a:t>[WARTOŚĆ]</a:t>
                    </a:fld>
                    <a:endParaRPr lang="pl-PL"/>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BD0E-427B-AC8A-CE3198A3072E}"/>
                </c:ext>
              </c:extLst>
            </c:dLbl>
            <c:dLbl>
              <c:idx val="1"/>
              <c:tx>
                <c:rich>
                  <a:bodyPr/>
                  <a:lstStyle/>
                  <a:p>
                    <a:fld id="{1F935691-6118-4134-BFB4-8B78A73EB34A}" type="VALUE">
                      <a:rPr lang="en-US">
                        <a:solidFill>
                          <a:schemeClr val="tx1">
                            <a:lumMod val="65000"/>
                            <a:lumOff val="35000"/>
                          </a:schemeClr>
                        </a:solidFill>
                      </a:rPr>
                      <a:pPr/>
                      <a:t>[WARTOŚĆ]</a:t>
                    </a:fld>
                    <a:endParaRPr lang="pl-PL"/>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BD0E-427B-AC8A-CE3198A3072E}"/>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1">
                        <a:lumMod val="40000"/>
                        <a:lumOff val="60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Лист1!$A$2:$A$3</c:f>
              <c:strCache>
                <c:ptCount val="2"/>
                <c:pt idx="0">
                  <c:v>demand, thousand tons</c:v>
                </c:pt>
                <c:pt idx="1">
                  <c:v>application as % of demand</c:v>
                </c:pt>
              </c:strCache>
            </c:strRef>
          </c:cat>
          <c:val>
            <c:numRef>
              <c:f>Лист1!$B$2:$B$3</c:f>
              <c:numCache>
                <c:formatCode>General</c:formatCode>
                <c:ptCount val="2"/>
                <c:pt idx="0">
                  <c:v>2590</c:v>
                </c:pt>
                <c:pt idx="1">
                  <c:v>14</c:v>
                </c:pt>
              </c:numCache>
            </c:numRef>
          </c:val>
          <c:extLst>
            <c:ext xmlns:c16="http://schemas.microsoft.com/office/drawing/2014/chart" uri="{C3380CC4-5D6E-409C-BE32-E72D297353CC}">
              <c16:uniqueId val="{00000000-BD0E-427B-AC8A-CE3198A3072E}"/>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legend>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Лист1!$B$1</c:f>
              <c:strCache>
                <c:ptCount val="1"/>
                <c:pt idx="0">
                  <c:v>Столбец1</c:v>
                </c:pt>
              </c:strCache>
            </c:strRef>
          </c:tx>
          <c:dPt>
            <c:idx val="0"/>
            <c:bubble3D val="0"/>
            <c:spPr>
              <a:solidFill>
                <a:schemeClr val="tx2">
                  <a:lumMod val="75000"/>
                  <a:lumOff val="25000"/>
                </a:schemeClr>
              </a:solidFill>
              <a:ln w="19050">
                <a:solidFill>
                  <a:schemeClr val="lt1"/>
                </a:solidFill>
              </a:ln>
              <a:effectLst/>
            </c:spPr>
            <c:extLst>
              <c:ext xmlns:c16="http://schemas.microsoft.com/office/drawing/2014/chart" uri="{C3380CC4-5D6E-409C-BE32-E72D297353CC}">
                <c16:uniqueId val="{00000001-B710-4EA3-8D7D-78A99399FD97}"/>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B710-4EA3-8D7D-78A99399FD97}"/>
              </c:ext>
            </c:extLst>
          </c:dPt>
          <c:dLbls>
            <c:dLbl>
              <c:idx val="0"/>
              <c:layout>
                <c:manualLayout>
                  <c:x val="-0.14652821481015318"/>
                  <c:y val="-9.7121234831498478E-3"/>
                </c:manualLayout>
              </c:layout>
              <c:tx>
                <c:rich>
                  <a:bodyPr/>
                  <a:lstStyle/>
                  <a:p>
                    <a:fld id="{6F24067B-83FA-427F-8BB0-B3C5CE60492B}" type="VALUE">
                      <a:rPr lang="en-US">
                        <a:solidFill>
                          <a:schemeClr val="tx1">
                            <a:lumMod val="65000"/>
                            <a:lumOff val="35000"/>
                          </a:schemeClr>
                        </a:solidFill>
                      </a:rPr>
                      <a:pPr/>
                      <a:t>[WARTOŚĆ]</a:t>
                    </a:fld>
                    <a:endParaRPr lang="pl-PL"/>
                  </a:p>
                </c:rich>
              </c:tx>
              <c:showLegendKey val="0"/>
              <c:showVal val="1"/>
              <c:showCatName val="0"/>
              <c:showSerName val="0"/>
              <c:showPercent val="0"/>
              <c:showBubbleSize val="0"/>
              <c:extLst>
                <c:ext xmlns:c15="http://schemas.microsoft.com/office/drawing/2012/chart" uri="{CE6537A1-D6FC-4f65-9D91-7224C49458BB}">
                  <c15:layout>
                    <c:manualLayout>
                      <c:w val="0.3130375498216908"/>
                      <c:h val="0.320500074943945"/>
                    </c:manualLayout>
                  </c15:layout>
                  <c15:dlblFieldTable/>
                  <c15:showDataLabelsRange val="0"/>
                </c:ext>
                <c:ext xmlns:c16="http://schemas.microsoft.com/office/drawing/2014/chart" uri="{C3380CC4-5D6E-409C-BE32-E72D297353CC}">
                  <c16:uniqueId val="{00000001-B710-4EA3-8D7D-78A99399FD97}"/>
                </c:ext>
              </c:extLst>
            </c:dLbl>
            <c:dLbl>
              <c:idx val="1"/>
              <c:layout>
                <c:manualLayout>
                  <c:x val="5.0304174533249424E-2"/>
                  <c:y val="-1.8030901376827332E-2"/>
                </c:manualLayout>
              </c:layout>
              <c:tx>
                <c:rich>
                  <a:bodyPr/>
                  <a:lstStyle/>
                  <a:p>
                    <a:fld id="{1F935691-6118-4134-BFB4-8B78A73EB34A}" type="VALUE">
                      <a:rPr lang="en-US">
                        <a:solidFill>
                          <a:schemeClr val="tx1">
                            <a:lumMod val="65000"/>
                            <a:lumOff val="35000"/>
                          </a:schemeClr>
                        </a:solidFill>
                      </a:rPr>
                      <a:pPr/>
                      <a:t>[WARTOŚĆ]</a:t>
                    </a:fld>
                    <a:endParaRPr lang="pl-PL"/>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B710-4EA3-8D7D-78A99399FD97}"/>
                </c:ext>
              </c:extLst>
            </c:dLbl>
            <c:spPr>
              <a:noFill/>
              <a:ln>
                <a:noFill/>
              </a:ln>
              <a:effectLst/>
            </c:spPr>
            <c:txPr>
              <a:bodyPr rot="0" spcFirstLastPara="1" vertOverflow="ellipsis" vert="horz" wrap="square" anchor="ctr" anchorCtr="1"/>
              <a:lstStyle/>
              <a:p>
                <a:pPr>
                  <a:defRPr sz="700" b="1"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extLst>
          </c:dLbls>
          <c:cat>
            <c:strRef>
              <c:f>Лист1!$A$2:$A$3</c:f>
              <c:strCache>
                <c:ptCount val="2"/>
                <c:pt idx="0">
                  <c:v>потребность, тыс. тонн</c:v>
                </c:pt>
                <c:pt idx="1">
                  <c:v>внесение от потребности, %</c:v>
                </c:pt>
              </c:strCache>
            </c:strRef>
          </c:cat>
          <c:val>
            <c:numRef>
              <c:f>Лист1!$B$2:$B$3</c:f>
              <c:numCache>
                <c:formatCode>General</c:formatCode>
                <c:ptCount val="2"/>
                <c:pt idx="0">
                  <c:v>277</c:v>
                </c:pt>
                <c:pt idx="1">
                  <c:v>30</c:v>
                </c:pt>
              </c:numCache>
            </c:numRef>
          </c:val>
          <c:extLst>
            <c:ext xmlns:c16="http://schemas.microsoft.com/office/drawing/2014/chart" uri="{C3380CC4-5D6E-409C-BE32-E72D297353CC}">
              <c16:uniqueId val="{00000004-B710-4EA3-8D7D-78A99399FD97}"/>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chart>
  <c:spPr>
    <a:noFill/>
    <a:ln>
      <a:noFill/>
    </a:ln>
    <a:effectLst/>
  </c:spPr>
  <c:txPr>
    <a:bodyPr/>
    <a:lstStyle/>
    <a:p>
      <a:pPr>
        <a:defRPr sz="700" b="1">
          <a:latin typeface="Century Gothic" panose="020B0502020202020204" pitchFamily="34" charset="0"/>
        </a:defRPr>
      </a:pPr>
      <a:endParaRPr lang="ru-RU"/>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Лист1!$B$1</c:f>
              <c:strCache>
                <c:ptCount val="1"/>
                <c:pt idx="0">
                  <c:v>Столбец1</c:v>
                </c:pt>
              </c:strCache>
            </c:strRef>
          </c:tx>
          <c:dPt>
            <c:idx val="0"/>
            <c:bubble3D val="0"/>
            <c:spPr>
              <a:solidFill>
                <a:schemeClr val="tx2">
                  <a:lumMod val="75000"/>
                  <a:lumOff val="25000"/>
                </a:schemeClr>
              </a:solidFill>
              <a:ln w="19050">
                <a:solidFill>
                  <a:schemeClr val="lt1"/>
                </a:solidFill>
              </a:ln>
              <a:effectLst/>
            </c:spPr>
            <c:extLst>
              <c:ext xmlns:c16="http://schemas.microsoft.com/office/drawing/2014/chart" uri="{C3380CC4-5D6E-409C-BE32-E72D297353CC}">
                <c16:uniqueId val="{00000001-6780-48E4-8B78-90024D4A4F2C}"/>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6780-48E4-8B78-90024D4A4F2C}"/>
              </c:ext>
            </c:extLst>
          </c:dPt>
          <c:dLbls>
            <c:dLbl>
              <c:idx val="0"/>
              <c:layout>
                <c:manualLayout>
                  <c:x val="-7.9924480805538073E-2"/>
                  <c:y val="-9.7121234831499363E-3"/>
                </c:manualLayout>
              </c:layout>
              <c:tx>
                <c:rich>
                  <a:bodyPr/>
                  <a:lstStyle/>
                  <a:p>
                    <a:fld id="{6F24067B-83FA-427F-8BB0-B3C5CE60492B}" type="VALUE">
                      <a:rPr lang="en-US">
                        <a:solidFill>
                          <a:schemeClr val="tx1">
                            <a:lumMod val="65000"/>
                            <a:lumOff val="35000"/>
                          </a:schemeClr>
                        </a:solidFill>
                      </a:rPr>
                      <a:pPr/>
                      <a:t>[WARTOŚĆ]</a:t>
                    </a:fld>
                    <a:endParaRPr lang="pl-PL"/>
                  </a:p>
                </c:rich>
              </c:tx>
              <c:showLegendKey val="0"/>
              <c:showVal val="1"/>
              <c:showCatName val="0"/>
              <c:showSerName val="0"/>
              <c:showPercent val="0"/>
              <c:showBubbleSize val="0"/>
              <c:extLst>
                <c:ext xmlns:c15="http://schemas.microsoft.com/office/drawing/2012/chart" uri="{CE6537A1-D6FC-4f65-9D91-7224C49458BB}">
                  <c15:layout>
                    <c:manualLayout>
                      <c:w val="0.3130375498216908"/>
                      <c:h val="0.320500074943945"/>
                    </c:manualLayout>
                  </c15:layout>
                  <c15:dlblFieldTable/>
                  <c15:showDataLabelsRange val="0"/>
                </c:ext>
                <c:ext xmlns:c16="http://schemas.microsoft.com/office/drawing/2014/chart" uri="{C3380CC4-5D6E-409C-BE32-E72D297353CC}">
                  <c16:uniqueId val="{00000001-6780-48E4-8B78-90024D4A4F2C}"/>
                </c:ext>
              </c:extLst>
            </c:dLbl>
            <c:dLbl>
              <c:idx val="1"/>
              <c:layout>
                <c:manualLayout>
                  <c:x val="1.0341934130480356E-2"/>
                  <c:y val="-1.8030901376827332E-2"/>
                </c:manualLayout>
              </c:layout>
              <c:tx>
                <c:rich>
                  <a:bodyPr/>
                  <a:lstStyle/>
                  <a:p>
                    <a:fld id="{1F935691-6118-4134-BFB4-8B78A73EB34A}" type="VALUE">
                      <a:rPr lang="en-US">
                        <a:solidFill>
                          <a:schemeClr val="tx1">
                            <a:lumMod val="65000"/>
                            <a:lumOff val="35000"/>
                          </a:schemeClr>
                        </a:solidFill>
                      </a:rPr>
                      <a:pPr/>
                      <a:t>[WARTOŚĆ]</a:t>
                    </a:fld>
                    <a:endParaRPr lang="pl-PL"/>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6780-48E4-8B78-90024D4A4F2C}"/>
                </c:ext>
              </c:extLst>
            </c:dLbl>
            <c:spPr>
              <a:noFill/>
              <a:ln>
                <a:noFill/>
              </a:ln>
              <a:effectLst/>
            </c:spPr>
            <c:txPr>
              <a:bodyPr rot="0" spcFirstLastPara="1" vertOverflow="ellipsis" vert="horz" wrap="square" anchor="ctr" anchorCtr="1"/>
              <a:lstStyle/>
              <a:p>
                <a:pPr>
                  <a:defRPr sz="700" b="1"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extLst>
          </c:dLbls>
          <c:cat>
            <c:strRef>
              <c:f>Лист1!$A$2:$A$3</c:f>
              <c:strCache>
                <c:ptCount val="2"/>
                <c:pt idx="0">
                  <c:v>потребность, тыс. тонн</c:v>
                </c:pt>
                <c:pt idx="1">
                  <c:v>внесение от потребности, %</c:v>
                </c:pt>
              </c:strCache>
            </c:strRef>
          </c:cat>
          <c:val>
            <c:numRef>
              <c:f>Лист1!$B$2:$B$3</c:f>
              <c:numCache>
                <c:formatCode>General</c:formatCode>
                <c:ptCount val="2"/>
                <c:pt idx="0">
                  <c:v>76</c:v>
                </c:pt>
                <c:pt idx="1">
                  <c:v>67</c:v>
                </c:pt>
              </c:numCache>
            </c:numRef>
          </c:val>
          <c:extLst>
            <c:ext xmlns:c16="http://schemas.microsoft.com/office/drawing/2014/chart" uri="{C3380CC4-5D6E-409C-BE32-E72D297353CC}">
              <c16:uniqueId val="{00000004-6780-48E4-8B78-90024D4A4F2C}"/>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chart>
  <c:spPr>
    <a:noFill/>
    <a:ln>
      <a:noFill/>
    </a:ln>
    <a:effectLst/>
  </c:spPr>
  <c:txPr>
    <a:bodyPr/>
    <a:lstStyle/>
    <a:p>
      <a:pPr>
        <a:defRPr sz="700" b="1">
          <a:latin typeface="Century Gothic" panose="020B0502020202020204" pitchFamily="34" charset="0"/>
        </a:defRPr>
      </a:pPr>
      <a:endParaRPr lang="ru-RU"/>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Лист1!$B$1</c:f>
              <c:strCache>
                <c:ptCount val="1"/>
                <c:pt idx="0">
                  <c:v>Столбец1</c:v>
                </c:pt>
              </c:strCache>
            </c:strRef>
          </c:tx>
          <c:dPt>
            <c:idx val="0"/>
            <c:bubble3D val="0"/>
            <c:spPr>
              <a:solidFill>
                <a:schemeClr val="tx2">
                  <a:lumMod val="75000"/>
                  <a:lumOff val="25000"/>
                </a:schemeClr>
              </a:solidFill>
              <a:ln w="19050">
                <a:solidFill>
                  <a:schemeClr val="lt1"/>
                </a:solidFill>
              </a:ln>
              <a:effectLst/>
            </c:spPr>
            <c:extLst>
              <c:ext xmlns:c16="http://schemas.microsoft.com/office/drawing/2014/chart" uri="{C3380CC4-5D6E-409C-BE32-E72D297353CC}">
                <c16:uniqueId val="{00000001-182F-45E1-8746-D6BC63827B3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182F-45E1-8746-D6BC63827B33}"/>
              </c:ext>
            </c:extLst>
          </c:dPt>
          <c:dLbls>
            <c:dLbl>
              <c:idx val="0"/>
              <c:layout>
                <c:manualLayout>
                  <c:x val="-0.14652821481015318"/>
                  <c:y val="-9.7121234831498478E-3"/>
                </c:manualLayout>
              </c:layout>
              <c:tx>
                <c:rich>
                  <a:bodyPr/>
                  <a:lstStyle/>
                  <a:p>
                    <a:fld id="{6F24067B-83FA-427F-8BB0-B3C5CE60492B}" type="VALUE">
                      <a:rPr lang="en-US">
                        <a:solidFill>
                          <a:schemeClr val="tx1">
                            <a:lumMod val="65000"/>
                            <a:lumOff val="35000"/>
                          </a:schemeClr>
                        </a:solidFill>
                      </a:rPr>
                      <a:pPr/>
                      <a:t>[WARTOŚĆ]</a:t>
                    </a:fld>
                    <a:endParaRPr lang="pl-PL"/>
                  </a:p>
                </c:rich>
              </c:tx>
              <c:showLegendKey val="0"/>
              <c:showVal val="1"/>
              <c:showCatName val="0"/>
              <c:showSerName val="0"/>
              <c:showPercent val="0"/>
              <c:showBubbleSize val="0"/>
              <c:extLst>
                <c:ext xmlns:c15="http://schemas.microsoft.com/office/drawing/2012/chart" uri="{CE6537A1-D6FC-4f65-9D91-7224C49458BB}">
                  <c15:layout>
                    <c:manualLayout>
                      <c:w val="0.3130375498216908"/>
                      <c:h val="0.320500074943945"/>
                    </c:manualLayout>
                  </c15:layout>
                  <c15:dlblFieldTable/>
                  <c15:showDataLabelsRange val="0"/>
                </c:ext>
                <c:ext xmlns:c16="http://schemas.microsoft.com/office/drawing/2014/chart" uri="{C3380CC4-5D6E-409C-BE32-E72D297353CC}">
                  <c16:uniqueId val="{00000001-182F-45E1-8746-D6BC63827B33}"/>
                </c:ext>
              </c:extLst>
            </c:dLbl>
            <c:dLbl>
              <c:idx val="1"/>
              <c:layout>
                <c:manualLayout>
                  <c:x val="5.0304174533249424E-2"/>
                  <c:y val="-1.8030901376827332E-2"/>
                </c:manualLayout>
              </c:layout>
              <c:tx>
                <c:rich>
                  <a:bodyPr/>
                  <a:lstStyle/>
                  <a:p>
                    <a:fld id="{1F935691-6118-4134-BFB4-8B78A73EB34A}" type="VALUE">
                      <a:rPr lang="en-US">
                        <a:solidFill>
                          <a:schemeClr val="tx1">
                            <a:lumMod val="65000"/>
                            <a:lumOff val="35000"/>
                          </a:schemeClr>
                        </a:solidFill>
                      </a:rPr>
                      <a:pPr/>
                      <a:t>[WARTOŚĆ]</a:t>
                    </a:fld>
                    <a:endParaRPr lang="pl-PL"/>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182F-45E1-8746-D6BC63827B33}"/>
                </c:ext>
              </c:extLst>
            </c:dLbl>
            <c:spPr>
              <a:noFill/>
              <a:ln>
                <a:noFill/>
              </a:ln>
              <a:effectLst/>
            </c:spPr>
            <c:txPr>
              <a:bodyPr rot="0" spcFirstLastPara="1" vertOverflow="ellipsis" vert="horz" wrap="square" anchor="ctr" anchorCtr="1"/>
              <a:lstStyle/>
              <a:p>
                <a:pPr>
                  <a:defRPr sz="700" b="1"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extLst>
          </c:dLbls>
          <c:cat>
            <c:strRef>
              <c:f>Лист1!$A$2:$A$3</c:f>
              <c:strCache>
                <c:ptCount val="2"/>
                <c:pt idx="0">
                  <c:v>потребность, тыс. тонн</c:v>
                </c:pt>
                <c:pt idx="1">
                  <c:v>внесение от потребности, %</c:v>
                </c:pt>
              </c:strCache>
            </c:strRef>
          </c:cat>
          <c:val>
            <c:numRef>
              <c:f>Лист1!$B$2:$B$3</c:f>
              <c:numCache>
                <c:formatCode>General</c:formatCode>
                <c:ptCount val="2"/>
                <c:pt idx="0">
                  <c:v>59</c:v>
                </c:pt>
                <c:pt idx="1">
                  <c:v>2</c:v>
                </c:pt>
              </c:numCache>
            </c:numRef>
          </c:val>
          <c:extLst>
            <c:ext xmlns:c16="http://schemas.microsoft.com/office/drawing/2014/chart" uri="{C3380CC4-5D6E-409C-BE32-E72D297353CC}">
              <c16:uniqueId val="{00000004-182F-45E1-8746-D6BC63827B33}"/>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chart>
  <c:spPr>
    <a:noFill/>
    <a:ln>
      <a:noFill/>
    </a:ln>
    <a:effectLst/>
  </c:spPr>
  <c:txPr>
    <a:bodyPr/>
    <a:lstStyle/>
    <a:p>
      <a:pPr>
        <a:defRPr sz="700" b="1">
          <a:latin typeface="Century Gothic" panose="020B0502020202020204" pitchFamily="34" charset="0"/>
        </a:defRPr>
      </a:pPr>
      <a:endParaRPr lang="ru-RU"/>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Лист1!$B$1</c:f>
              <c:strCache>
                <c:ptCount val="1"/>
                <c:pt idx="0">
                  <c:v>Столбец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A00D-46FC-AE99-678EEEE933E1}"/>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A00D-46FC-AE99-678EEEE933E1}"/>
              </c:ext>
            </c:extLst>
          </c:dPt>
          <c:dLbls>
            <c:dLbl>
              <c:idx val="0"/>
              <c:layout>
                <c:manualLayout>
                  <c:x val="-0.14652821481015318"/>
                  <c:y val="-9.7121234831498478E-3"/>
                </c:manualLayout>
              </c:layout>
              <c:tx>
                <c:rich>
                  <a:bodyPr/>
                  <a:lstStyle/>
                  <a:p>
                    <a:fld id="{6F24067B-83FA-427F-8BB0-B3C5CE60492B}" type="VALUE">
                      <a:rPr lang="en-US">
                        <a:solidFill>
                          <a:schemeClr val="tx1">
                            <a:lumMod val="65000"/>
                            <a:lumOff val="35000"/>
                          </a:schemeClr>
                        </a:solidFill>
                      </a:rPr>
                      <a:pPr/>
                      <a:t>[WARTOŚĆ]</a:t>
                    </a:fld>
                    <a:endParaRPr lang="pl-PL"/>
                  </a:p>
                </c:rich>
              </c:tx>
              <c:showLegendKey val="0"/>
              <c:showVal val="1"/>
              <c:showCatName val="0"/>
              <c:showSerName val="0"/>
              <c:showPercent val="0"/>
              <c:showBubbleSize val="0"/>
              <c:extLst>
                <c:ext xmlns:c15="http://schemas.microsoft.com/office/drawing/2012/chart" uri="{CE6537A1-D6FC-4f65-9D91-7224C49458BB}">
                  <c15:layout>
                    <c:manualLayout>
                      <c:w val="0.3130375498216908"/>
                      <c:h val="0.320500074943945"/>
                    </c:manualLayout>
                  </c15:layout>
                  <c15:dlblFieldTable/>
                  <c15:showDataLabelsRange val="0"/>
                </c:ext>
                <c:ext xmlns:c16="http://schemas.microsoft.com/office/drawing/2014/chart" uri="{C3380CC4-5D6E-409C-BE32-E72D297353CC}">
                  <c16:uniqueId val="{00000001-A00D-46FC-AE99-678EEEE933E1}"/>
                </c:ext>
              </c:extLst>
            </c:dLbl>
            <c:dLbl>
              <c:idx val="1"/>
              <c:layout>
                <c:manualLayout>
                  <c:x val="0.26343612334801764"/>
                  <c:y val="-1.8030901376827242E-2"/>
                </c:manualLayout>
              </c:layout>
              <c:tx>
                <c:rich>
                  <a:bodyPr/>
                  <a:lstStyle/>
                  <a:p>
                    <a:fld id="{1F935691-6118-4134-BFB4-8B78A73EB34A}" type="VALUE">
                      <a:rPr lang="en-US">
                        <a:solidFill>
                          <a:schemeClr val="tx1">
                            <a:lumMod val="65000"/>
                            <a:lumOff val="35000"/>
                          </a:schemeClr>
                        </a:solidFill>
                      </a:rPr>
                      <a:pPr/>
                      <a:t>[WARTOŚĆ]</a:t>
                    </a:fld>
                    <a:endParaRPr lang="pl-PL"/>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A00D-46FC-AE99-678EEEE933E1}"/>
                </c:ext>
              </c:extLst>
            </c:dLbl>
            <c:spPr>
              <a:noFill/>
              <a:ln>
                <a:noFill/>
              </a:ln>
              <a:effectLst/>
            </c:spPr>
            <c:txPr>
              <a:bodyPr rot="0" spcFirstLastPara="1" vertOverflow="ellipsis" vert="horz" wrap="square" anchor="ctr" anchorCtr="1"/>
              <a:lstStyle/>
              <a:p>
                <a:pPr>
                  <a:defRPr sz="700" b="1"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extLst>
          </c:dLbls>
          <c:cat>
            <c:strRef>
              <c:f>Лист1!$A$2:$A$3</c:f>
              <c:strCache>
                <c:ptCount val="2"/>
                <c:pt idx="0">
                  <c:v>потребность, тыс. тонн</c:v>
                </c:pt>
                <c:pt idx="1">
                  <c:v>внесение от потребности, %</c:v>
                </c:pt>
              </c:strCache>
            </c:strRef>
          </c:cat>
          <c:val>
            <c:numRef>
              <c:f>Лист1!$B$2:$B$3</c:f>
              <c:numCache>
                <c:formatCode>General</c:formatCode>
                <c:ptCount val="2"/>
                <c:pt idx="0">
                  <c:v>3.2</c:v>
                </c:pt>
                <c:pt idx="1">
                  <c:v>30</c:v>
                </c:pt>
              </c:numCache>
            </c:numRef>
          </c:val>
          <c:extLst>
            <c:ext xmlns:c16="http://schemas.microsoft.com/office/drawing/2014/chart" uri="{C3380CC4-5D6E-409C-BE32-E72D297353CC}">
              <c16:uniqueId val="{00000004-A00D-46FC-AE99-678EEEE933E1}"/>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chart>
  <c:spPr>
    <a:noFill/>
    <a:ln>
      <a:noFill/>
    </a:ln>
    <a:effectLst/>
  </c:spPr>
  <c:txPr>
    <a:bodyPr/>
    <a:lstStyle/>
    <a:p>
      <a:pPr>
        <a:defRPr sz="700" b="1">
          <a:latin typeface="Century Gothic" panose="020B0502020202020204" pitchFamily="34" charset="0"/>
        </a:defRPr>
      </a:pPr>
      <a:endParaRPr lang="ru-RU"/>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Лист1!$B$1</c:f>
              <c:strCache>
                <c:ptCount val="1"/>
                <c:pt idx="0">
                  <c:v>Столбец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D529-41DB-90DD-DF1DF75EAD77}"/>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D529-41DB-90DD-DF1DF75EAD77}"/>
              </c:ext>
            </c:extLst>
          </c:dPt>
          <c:dLbls>
            <c:dLbl>
              <c:idx val="0"/>
              <c:layout>
                <c:manualLayout>
                  <c:x val="-0.14652821481015318"/>
                  <c:y val="-9.7121234831498478E-3"/>
                </c:manualLayout>
              </c:layout>
              <c:tx>
                <c:rich>
                  <a:bodyPr/>
                  <a:lstStyle/>
                  <a:p>
                    <a:fld id="{6F24067B-83FA-427F-8BB0-B3C5CE60492B}" type="VALUE">
                      <a:rPr lang="en-US">
                        <a:solidFill>
                          <a:schemeClr val="tx1">
                            <a:lumMod val="65000"/>
                            <a:lumOff val="35000"/>
                          </a:schemeClr>
                        </a:solidFill>
                      </a:rPr>
                      <a:pPr/>
                      <a:t>[WARTOŚĆ]</a:t>
                    </a:fld>
                    <a:endParaRPr lang="pl-PL"/>
                  </a:p>
                </c:rich>
              </c:tx>
              <c:showLegendKey val="0"/>
              <c:showVal val="1"/>
              <c:showCatName val="0"/>
              <c:showSerName val="0"/>
              <c:showPercent val="0"/>
              <c:showBubbleSize val="0"/>
              <c:extLst>
                <c:ext xmlns:c15="http://schemas.microsoft.com/office/drawing/2012/chart" uri="{CE6537A1-D6FC-4f65-9D91-7224C49458BB}">
                  <c15:layout>
                    <c:manualLayout>
                      <c:w val="0.3130375498216908"/>
                      <c:h val="0.320500074943945"/>
                    </c:manualLayout>
                  </c15:layout>
                  <c15:dlblFieldTable/>
                  <c15:showDataLabelsRange val="0"/>
                </c:ext>
                <c:ext xmlns:c16="http://schemas.microsoft.com/office/drawing/2014/chart" uri="{C3380CC4-5D6E-409C-BE32-E72D297353CC}">
                  <c16:uniqueId val="{00000001-D529-41DB-90DD-DF1DF75EAD77}"/>
                </c:ext>
              </c:extLst>
            </c:dLbl>
            <c:dLbl>
              <c:idx val="1"/>
              <c:layout>
                <c:manualLayout>
                  <c:x val="5.0304174533249424E-2"/>
                  <c:y val="-1.8030901376827332E-2"/>
                </c:manualLayout>
              </c:layout>
              <c:tx>
                <c:rich>
                  <a:bodyPr/>
                  <a:lstStyle/>
                  <a:p>
                    <a:fld id="{1F935691-6118-4134-BFB4-8B78A73EB34A}" type="VALUE">
                      <a:rPr lang="en-US">
                        <a:solidFill>
                          <a:schemeClr val="tx1">
                            <a:lumMod val="65000"/>
                            <a:lumOff val="35000"/>
                          </a:schemeClr>
                        </a:solidFill>
                      </a:rPr>
                      <a:pPr/>
                      <a:t>[WARTOŚĆ]</a:t>
                    </a:fld>
                    <a:endParaRPr lang="pl-PL"/>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D529-41DB-90DD-DF1DF75EAD77}"/>
                </c:ext>
              </c:extLst>
            </c:dLbl>
            <c:spPr>
              <a:noFill/>
              <a:ln>
                <a:noFill/>
              </a:ln>
              <a:effectLst/>
            </c:spPr>
            <c:txPr>
              <a:bodyPr rot="0" spcFirstLastPara="1" vertOverflow="ellipsis" vert="horz" wrap="square" anchor="ctr" anchorCtr="1"/>
              <a:lstStyle/>
              <a:p>
                <a:pPr>
                  <a:defRPr sz="700" b="1"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extLst>
          </c:dLbls>
          <c:cat>
            <c:strRef>
              <c:f>Лист1!$A$2:$A$3</c:f>
              <c:strCache>
                <c:ptCount val="2"/>
                <c:pt idx="0">
                  <c:v>потребность, тыс. тонн</c:v>
                </c:pt>
                <c:pt idx="1">
                  <c:v>внесение от потребности, %</c:v>
                </c:pt>
              </c:strCache>
            </c:strRef>
          </c:cat>
          <c:val>
            <c:numRef>
              <c:f>Лист1!$B$2:$B$3</c:f>
              <c:numCache>
                <c:formatCode>General</c:formatCode>
                <c:ptCount val="2"/>
                <c:pt idx="0">
                  <c:v>0.7</c:v>
                </c:pt>
                <c:pt idx="1">
                  <c:v>61</c:v>
                </c:pt>
              </c:numCache>
            </c:numRef>
          </c:val>
          <c:extLst>
            <c:ext xmlns:c16="http://schemas.microsoft.com/office/drawing/2014/chart" uri="{C3380CC4-5D6E-409C-BE32-E72D297353CC}">
              <c16:uniqueId val="{00000004-D529-41DB-90DD-DF1DF75EAD77}"/>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chart>
  <c:spPr>
    <a:noFill/>
    <a:ln>
      <a:noFill/>
    </a:ln>
    <a:effectLst/>
  </c:spPr>
  <c:txPr>
    <a:bodyPr/>
    <a:lstStyle/>
    <a:p>
      <a:pPr>
        <a:defRPr sz="700" b="1">
          <a:latin typeface="Century Gothic" panose="020B0502020202020204" pitchFamily="34" charset="0"/>
        </a:defRPr>
      </a:pPr>
      <a:endParaRPr lang="ru-RU"/>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Лист1!$B$1</c:f>
              <c:strCache>
                <c:ptCount val="1"/>
                <c:pt idx="0">
                  <c:v>Столбец1</c:v>
                </c:pt>
              </c:strCache>
            </c:strRef>
          </c:tx>
          <c:dPt>
            <c:idx val="0"/>
            <c:bubble3D val="0"/>
            <c:spPr>
              <a:solidFill>
                <a:schemeClr val="tx2">
                  <a:lumMod val="75000"/>
                  <a:lumOff val="25000"/>
                </a:schemeClr>
              </a:solidFill>
              <a:ln w="19050">
                <a:solidFill>
                  <a:schemeClr val="lt1"/>
                </a:solidFill>
              </a:ln>
              <a:effectLst/>
            </c:spPr>
            <c:extLst>
              <c:ext xmlns:c16="http://schemas.microsoft.com/office/drawing/2014/chart" uri="{C3380CC4-5D6E-409C-BE32-E72D297353CC}">
                <c16:uniqueId val="{00000001-BF72-4F35-8208-F6ADC0AF934A}"/>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BF72-4F35-8208-F6ADC0AF934A}"/>
              </c:ext>
            </c:extLst>
          </c:dPt>
          <c:dLbls>
            <c:dLbl>
              <c:idx val="0"/>
              <c:layout>
                <c:manualLayout>
                  <c:x val="-0.14652821481015318"/>
                  <c:y val="-9.7121234831498478E-3"/>
                </c:manualLayout>
              </c:layout>
              <c:tx>
                <c:rich>
                  <a:bodyPr/>
                  <a:lstStyle/>
                  <a:p>
                    <a:fld id="{6F24067B-83FA-427F-8BB0-B3C5CE60492B}" type="VALUE">
                      <a:rPr lang="en-US">
                        <a:solidFill>
                          <a:schemeClr val="tx1">
                            <a:lumMod val="65000"/>
                            <a:lumOff val="35000"/>
                          </a:schemeClr>
                        </a:solidFill>
                      </a:rPr>
                      <a:pPr/>
                      <a:t>[WARTOŚĆ]</a:t>
                    </a:fld>
                    <a:endParaRPr lang="pl-PL"/>
                  </a:p>
                </c:rich>
              </c:tx>
              <c:showLegendKey val="0"/>
              <c:showVal val="1"/>
              <c:showCatName val="0"/>
              <c:showSerName val="0"/>
              <c:showPercent val="0"/>
              <c:showBubbleSize val="0"/>
              <c:extLst>
                <c:ext xmlns:c15="http://schemas.microsoft.com/office/drawing/2012/chart" uri="{CE6537A1-D6FC-4f65-9D91-7224C49458BB}">
                  <c15:layout>
                    <c:manualLayout>
                      <c:w val="0.3130375498216908"/>
                      <c:h val="0.320500074943945"/>
                    </c:manualLayout>
                  </c15:layout>
                  <c15:dlblFieldTable/>
                  <c15:showDataLabelsRange val="0"/>
                </c:ext>
                <c:ext xmlns:c16="http://schemas.microsoft.com/office/drawing/2014/chart" uri="{C3380CC4-5D6E-409C-BE32-E72D297353CC}">
                  <c16:uniqueId val="{00000001-BF72-4F35-8208-F6ADC0AF934A}"/>
                </c:ext>
              </c:extLst>
            </c:dLbl>
            <c:dLbl>
              <c:idx val="1"/>
              <c:layout>
                <c:manualLayout>
                  <c:x val="5.0304174533249424E-2"/>
                  <c:y val="-1.8030901376827332E-2"/>
                </c:manualLayout>
              </c:layout>
              <c:tx>
                <c:rich>
                  <a:bodyPr/>
                  <a:lstStyle/>
                  <a:p>
                    <a:fld id="{1F935691-6118-4134-BFB4-8B78A73EB34A}" type="VALUE">
                      <a:rPr lang="en-US">
                        <a:solidFill>
                          <a:schemeClr val="tx1">
                            <a:lumMod val="65000"/>
                            <a:lumOff val="35000"/>
                          </a:schemeClr>
                        </a:solidFill>
                      </a:rPr>
                      <a:pPr/>
                      <a:t>[WARTOŚĆ]</a:t>
                    </a:fld>
                    <a:endParaRPr lang="pl-PL"/>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BF72-4F35-8208-F6ADC0AF934A}"/>
                </c:ext>
              </c:extLst>
            </c:dLbl>
            <c:spPr>
              <a:noFill/>
              <a:ln>
                <a:noFill/>
              </a:ln>
              <a:effectLst/>
            </c:spPr>
            <c:txPr>
              <a:bodyPr rot="0" spcFirstLastPara="1" vertOverflow="ellipsis" vert="horz" wrap="square" anchor="ctr" anchorCtr="1"/>
              <a:lstStyle/>
              <a:p>
                <a:pPr>
                  <a:defRPr sz="700" b="1"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extLst>
          </c:dLbls>
          <c:cat>
            <c:strRef>
              <c:f>Лист1!$A$2:$A$3</c:f>
              <c:strCache>
                <c:ptCount val="2"/>
                <c:pt idx="0">
                  <c:v>потребность, тыс. тонн</c:v>
                </c:pt>
                <c:pt idx="1">
                  <c:v>внесение от потребности, %</c:v>
                </c:pt>
              </c:strCache>
            </c:strRef>
          </c:cat>
          <c:val>
            <c:numRef>
              <c:f>Лист1!$B$2:$B$3</c:f>
              <c:numCache>
                <c:formatCode>General</c:formatCode>
                <c:ptCount val="2"/>
                <c:pt idx="0">
                  <c:v>58</c:v>
                </c:pt>
                <c:pt idx="1">
                  <c:v>2</c:v>
                </c:pt>
              </c:numCache>
            </c:numRef>
          </c:val>
          <c:extLst>
            <c:ext xmlns:c16="http://schemas.microsoft.com/office/drawing/2014/chart" uri="{C3380CC4-5D6E-409C-BE32-E72D297353CC}">
              <c16:uniqueId val="{00000004-BF72-4F35-8208-F6ADC0AF934A}"/>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chart>
  <c:spPr>
    <a:noFill/>
    <a:ln>
      <a:noFill/>
    </a:ln>
    <a:effectLst/>
  </c:spPr>
  <c:txPr>
    <a:bodyPr/>
    <a:lstStyle/>
    <a:p>
      <a:pPr>
        <a:defRPr sz="700" b="1">
          <a:latin typeface="Century Gothic" panose="020B0502020202020204" pitchFamily="34" charset="0"/>
        </a:defRPr>
      </a:pPr>
      <a:endParaRPr lang="ru-RU"/>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Лист1!$B$1</c:f>
              <c:strCache>
                <c:ptCount val="1"/>
                <c:pt idx="0">
                  <c:v>Площади, обработанные органическими удобрениями</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numRef>
              <c:f>Лист1!$A$2:$A$25</c:f>
              <c:numCache>
                <c:formatCode>General</c:formatCode>
                <c:ptCount val="2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numCache>
            </c:numRef>
          </c:cat>
          <c:val>
            <c:numRef>
              <c:f>Лист1!$B$2:$B$25</c:f>
              <c:numCache>
                <c:formatCode>General</c:formatCode>
                <c:ptCount val="24"/>
                <c:pt idx="0">
                  <c:v>6.0000000000000001E-3</c:v>
                </c:pt>
                <c:pt idx="1">
                  <c:v>8.0000000000000002E-3</c:v>
                </c:pt>
                <c:pt idx="2">
                  <c:v>1.2E-2</c:v>
                </c:pt>
                <c:pt idx="3">
                  <c:v>8.9999999999999993E-3</c:v>
                </c:pt>
                <c:pt idx="4">
                  <c:v>8.0000000000000002E-3</c:v>
                </c:pt>
                <c:pt idx="5">
                  <c:v>6.0000000000000001E-3</c:v>
                </c:pt>
                <c:pt idx="6">
                  <c:v>4.4999999999999998E-2</c:v>
                </c:pt>
                <c:pt idx="7">
                  <c:v>1.6E-2</c:v>
                </c:pt>
                <c:pt idx="8">
                  <c:v>2.1000000000000001E-2</c:v>
                </c:pt>
                <c:pt idx="9">
                  <c:v>1.7000000000000001E-2</c:v>
                </c:pt>
                <c:pt idx="10">
                  <c:v>3.6999999999999998E-2</c:v>
                </c:pt>
                <c:pt idx="11">
                  <c:v>2.9000000000000001E-2</c:v>
                </c:pt>
                <c:pt idx="12">
                  <c:v>5.5E-2</c:v>
                </c:pt>
                <c:pt idx="13">
                  <c:v>3.9E-2</c:v>
                </c:pt>
                <c:pt idx="14">
                  <c:v>2.3E-2</c:v>
                </c:pt>
                <c:pt idx="15">
                  <c:v>3.9E-2</c:v>
                </c:pt>
                <c:pt idx="16">
                  <c:v>6.0999999999999999E-2</c:v>
                </c:pt>
                <c:pt idx="17">
                  <c:v>9.1999999999999998E-2</c:v>
                </c:pt>
                <c:pt idx="18">
                  <c:v>8.3000000000000004E-2</c:v>
                </c:pt>
                <c:pt idx="19">
                  <c:v>7.9000000000000001E-2</c:v>
                </c:pt>
                <c:pt idx="20">
                  <c:v>7.0999999999999994E-2</c:v>
                </c:pt>
                <c:pt idx="21">
                  <c:v>0.79300000000000004</c:v>
                </c:pt>
                <c:pt idx="22">
                  <c:v>0.72399999999999998</c:v>
                </c:pt>
                <c:pt idx="23">
                  <c:v>0.67600000000000005</c:v>
                </c:pt>
              </c:numCache>
            </c:numRef>
          </c:val>
          <c:smooth val="0"/>
          <c:extLst>
            <c:ext xmlns:c16="http://schemas.microsoft.com/office/drawing/2014/chart" uri="{C3380CC4-5D6E-409C-BE32-E72D297353CC}">
              <c16:uniqueId val="{00000000-A64B-4298-B762-0B125E6DEE1E}"/>
            </c:ext>
          </c:extLst>
        </c:ser>
        <c:dLbls>
          <c:showLegendKey val="0"/>
          <c:showVal val="0"/>
          <c:showCatName val="0"/>
          <c:showSerName val="0"/>
          <c:showPercent val="0"/>
          <c:showBubbleSize val="0"/>
        </c:dLbls>
        <c:marker val="1"/>
        <c:smooth val="0"/>
        <c:axId val="1113277600"/>
        <c:axId val="1113290496"/>
      </c:lineChart>
      <c:catAx>
        <c:axId val="11132776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1113290496"/>
        <c:crosses val="autoZero"/>
        <c:auto val="1"/>
        <c:lblAlgn val="ctr"/>
        <c:lblOffset val="100"/>
        <c:noMultiLvlLbl val="0"/>
      </c:catAx>
      <c:valAx>
        <c:axId val="1113290496"/>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1113277600"/>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Century Gothic" panose="020B0502020202020204" pitchFamily="34" charset="0"/>
        </a:defRPr>
      </a:pPr>
      <a:endParaRPr lang="ru-RU"/>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Century Gothic" panose="020B0502020202020204" pitchFamily="34" charset="0"/>
                <a:ea typeface="+mn-ea"/>
                <a:cs typeface="+mn-cs"/>
              </a:defRPr>
            </a:pPr>
            <a:r>
              <a:rPr lang="en-US" sz="1200" b="1" dirty="0"/>
              <a:t>Gross harvest, million </a:t>
            </a:r>
            <a:r>
              <a:rPr lang="en-US" sz="1200" b="1" dirty="0" err="1"/>
              <a:t>centners</a:t>
            </a:r>
            <a:endParaRPr lang="en-US" sz="1200" b="1" dirty="0"/>
          </a:p>
        </c:rich>
      </c:tx>
      <c:layout>
        <c:manualLayout>
          <c:xMode val="edge"/>
          <c:yMode val="edge"/>
          <c:x val="0.346887264743659"/>
          <c:y val="5.8242119829722057E-2"/>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Century Gothic" panose="020B0502020202020204" pitchFamily="34" charset="0"/>
              <a:ea typeface="+mn-ea"/>
              <a:cs typeface="+mn-cs"/>
            </a:defRPr>
          </a:pPr>
          <a:endParaRPr lang="en-US"/>
        </a:p>
      </c:txPr>
    </c:title>
    <c:autoTitleDeleted val="0"/>
    <c:plotArea>
      <c:layout/>
      <c:barChart>
        <c:barDir val="col"/>
        <c:grouping val="clustered"/>
        <c:varyColors val="0"/>
        <c:ser>
          <c:idx val="0"/>
          <c:order val="0"/>
          <c:tx>
            <c:strRef>
              <c:f>Лист1!$B$1</c:f>
              <c:strCache>
                <c:ptCount val="1"/>
                <c:pt idx="0">
                  <c:v>Oilseeds</c:v>
                </c:pt>
              </c:strCache>
            </c:strRef>
          </c:tx>
          <c:spPr>
            <a:solidFill>
              <a:schemeClr val="accent1">
                <a:tint val="65000"/>
              </a:schemeClr>
            </a:solidFill>
            <a:ln>
              <a:no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5</c:f>
              <c:numCache>
                <c:formatCode>General</c:formatCode>
                <c:ptCount val="4"/>
                <c:pt idx="0">
                  <c:v>2021</c:v>
                </c:pt>
                <c:pt idx="1">
                  <c:v>2022</c:v>
                </c:pt>
                <c:pt idx="2">
                  <c:v>2023</c:v>
                </c:pt>
                <c:pt idx="3">
                  <c:v>2024</c:v>
                </c:pt>
              </c:numCache>
            </c:numRef>
          </c:cat>
          <c:val>
            <c:numRef>
              <c:f>Лист1!$B$2:$B$5</c:f>
              <c:numCache>
                <c:formatCode>General</c:formatCode>
                <c:ptCount val="4"/>
                <c:pt idx="0">
                  <c:v>24.3</c:v>
                </c:pt>
                <c:pt idx="1">
                  <c:v>30.5</c:v>
                </c:pt>
                <c:pt idx="2">
                  <c:v>21.8</c:v>
                </c:pt>
                <c:pt idx="3">
                  <c:v>33.299999999999997</c:v>
                </c:pt>
              </c:numCache>
            </c:numRef>
          </c:val>
          <c:extLst>
            <c:ext xmlns:c16="http://schemas.microsoft.com/office/drawing/2014/chart" uri="{C3380CC4-5D6E-409C-BE32-E72D297353CC}">
              <c16:uniqueId val="{00000000-C099-4CCA-BE48-3E6DAE1FA4E5}"/>
            </c:ext>
          </c:extLst>
        </c:ser>
        <c:ser>
          <c:idx val="1"/>
          <c:order val="1"/>
          <c:tx>
            <c:strRef>
              <c:f>Лист1!$C$1</c:f>
              <c:strCache>
                <c:ptCount val="1"/>
                <c:pt idx="0">
                  <c:v>Grain and leguminous crop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5</c:f>
              <c:numCache>
                <c:formatCode>General</c:formatCode>
                <c:ptCount val="4"/>
                <c:pt idx="0">
                  <c:v>2021</c:v>
                </c:pt>
                <c:pt idx="1">
                  <c:v>2022</c:v>
                </c:pt>
                <c:pt idx="2">
                  <c:v>2023</c:v>
                </c:pt>
                <c:pt idx="3">
                  <c:v>2024</c:v>
                </c:pt>
              </c:numCache>
            </c:numRef>
          </c:cat>
          <c:val>
            <c:numRef>
              <c:f>Лист1!$C$2:$C$5</c:f>
              <c:numCache>
                <c:formatCode>General</c:formatCode>
                <c:ptCount val="4"/>
                <c:pt idx="0">
                  <c:v>163.69999999999999</c:v>
                </c:pt>
                <c:pt idx="1">
                  <c:v>220.3</c:v>
                </c:pt>
                <c:pt idx="2">
                  <c:v>170.9</c:v>
                </c:pt>
                <c:pt idx="3">
                  <c:v>252</c:v>
                </c:pt>
              </c:numCache>
            </c:numRef>
          </c:val>
          <c:extLst>
            <c:ext xmlns:c16="http://schemas.microsoft.com/office/drawing/2014/chart" uri="{C3380CC4-5D6E-409C-BE32-E72D297353CC}">
              <c16:uniqueId val="{00000001-C099-4CCA-BE48-3E6DAE1FA4E5}"/>
            </c:ext>
          </c:extLst>
        </c:ser>
        <c:ser>
          <c:idx val="2"/>
          <c:order val="2"/>
          <c:tx>
            <c:strRef>
              <c:f>Лист1!$D$1</c:f>
              <c:strCache>
                <c:ptCount val="1"/>
                <c:pt idx="0">
                  <c:v>Sugar beet</c:v>
                </c:pt>
              </c:strCache>
            </c:strRef>
          </c:tx>
          <c:spPr>
            <a:solidFill>
              <a:schemeClr val="accent1">
                <a:shade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5</c:f>
              <c:numCache>
                <c:formatCode>General</c:formatCode>
                <c:ptCount val="4"/>
                <c:pt idx="0">
                  <c:v>2021</c:v>
                </c:pt>
                <c:pt idx="1">
                  <c:v>2022</c:v>
                </c:pt>
                <c:pt idx="2">
                  <c:v>2023</c:v>
                </c:pt>
                <c:pt idx="3">
                  <c:v>2024</c:v>
                </c:pt>
              </c:numCache>
            </c:numRef>
          </c:cat>
          <c:val>
            <c:numRef>
              <c:f>Лист1!$D$2:$D$5</c:f>
              <c:numCache>
                <c:formatCode>General</c:formatCode>
                <c:ptCount val="4"/>
                <c:pt idx="0">
                  <c:v>3.3</c:v>
                </c:pt>
                <c:pt idx="1">
                  <c:v>3.1</c:v>
                </c:pt>
                <c:pt idx="2">
                  <c:v>5.0999999999999996</c:v>
                </c:pt>
                <c:pt idx="3">
                  <c:v>12.6</c:v>
                </c:pt>
              </c:numCache>
            </c:numRef>
          </c:val>
          <c:extLst>
            <c:ext xmlns:c16="http://schemas.microsoft.com/office/drawing/2014/chart" uri="{C3380CC4-5D6E-409C-BE32-E72D297353CC}">
              <c16:uniqueId val="{00000000-5DCD-425C-804D-06DEBC3BCBE7}"/>
            </c:ext>
          </c:extLst>
        </c:ser>
        <c:dLbls>
          <c:showLegendKey val="0"/>
          <c:showVal val="0"/>
          <c:showCatName val="0"/>
          <c:showSerName val="0"/>
          <c:showPercent val="0"/>
          <c:showBubbleSize val="0"/>
        </c:dLbls>
        <c:gapWidth val="219"/>
        <c:overlap val="-27"/>
        <c:axId val="1055545984"/>
        <c:axId val="1055547648"/>
      </c:barChart>
      <c:catAx>
        <c:axId val="1055545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1055547648"/>
        <c:crosses val="autoZero"/>
        <c:auto val="1"/>
        <c:lblAlgn val="ctr"/>
        <c:lblOffset val="100"/>
        <c:noMultiLvlLbl val="0"/>
      </c:catAx>
      <c:valAx>
        <c:axId val="1055547648"/>
        <c:scaling>
          <c:orientation val="minMax"/>
        </c:scaling>
        <c:delete val="1"/>
        <c:axPos val="l"/>
        <c:numFmt formatCode="General" sourceLinked="1"/>
        <c:majorTickMark val="none"/>
        <c:minorTickMark val="none"/>
        <c:tickLblPos val="nextTo"/>
        <c:crossAx val="1055545984"/>
        <c:crosses val="autoZero"/>
        <c:crossBetween val="between"/>
      </c:valAx>
      <c:spPr>
        <a:noFill/>
        <a:ln>
          <a:noFill/>
        </a:ln>
        <a:effectLst/>
      </c:spPr>
    </c:plotArea>
    <c:legend>
      <c:legendPos val="b"/>
      <c:layout>
        <c:manualLayout>
          <c:xMode val="edge"/>
          <c:yMode val="edge"/>
          <c:x val="2.7861207461367176E-2"/>
          <c:y val="0.83209666055636566"/>
          <c:w val="0.93555720311233759"/>
          <c:h val="0.16613094748333382"/>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legend>
    <c:plotVisOnly val="1"/>
    <c:dispBlanksAs val="gap"/>
    <c:showDLblsOverMax val="0"/>
  </c:chart>
  <c:spPr>
    <a:noFill/>
    <a:ln>
      <a:noFill/>
    </a:ln>
    <a:effectLst/>
  </c:spPr>
  <c:txPr>
    <a:bodyPr/>
    <a:lstStyle/>
    <a:p>
      <a:pPr>
        <a:defRPr sz="1200" b="0">
          <a:latin typeface="Century Gothic" panose="020B0502020202020204" pitchFamily="34" charset="0"/>
        </a:defRPr>
      </a:pPr>
      <a:endParaRPr lang="ru-RU"/>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Century Gothic" panose="020B0502020202020204" pitchFamily="34" charset="0"/>
                <a:ea typeface="+mn-ea"/>
                <a:cs typeface="+mn-cs"/>
              </a:defRPr>
            </a:pPr>
            <a:r>
              <a:rPr lang="en-US" sz="1200" b="1" dirty="0"/>
              <a:t>Livestock and poultry population, million head</a:t>
            </a:r>
            <a:endParaRPr lang="ru-RU" sz="1200" b="1" dirty="0"/>
          </a:p>
        </c:rich>
      </c:tx>
      <c:layout>
        <c:manualLayout>
          <c:xMode val="edge"/>
          <c:yMode val="edge"/>
          <c:x val="0.2060842678614587"/>
          <c:y val="1.6487254184127578E-2"/>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Century Gothic" panose="020B0502020202020204" pitchFamily="34" charset="0"/>
              <a:ea typeface="+mn-ea"/>
              <a:cs typeface="+mn-cs"/>
            </a:defRPr>
          </a:pPr>
          <a:endParaRPr lang="ru-RU"/>
        </a:p>
      </c:txPr>
    </c:title>
    <c:autoTitleDeleted val="0"/>
    <c:plotArea>
      <c:layout/>
      <c:barChart>
        <c:barDir val="col"/>
        <c:grouping val="clustered"/>
        <c:varyColors val="0"/>
        <c:ser>
          <c:idx val="0"/>
          <c:order val="0"/>
          <c:tx>
            <c:strRef>
              <c:f>Лист1!$B$1</c:f>
              <c:strCache>
                <c:ptCount val="1"/>
                <c:pt idx="0">
                  <c:v>Cattle</c:v>
                </c:pt>
              </c:strCache>
            </c:strRef>
          </c:tx>
          <c:spPr>
            <a:solidFill>
              <a:schemeClr val="accent2">
                <a:tint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3</c:f>
              <c:numCache>
                <c:formatCode>General</c:formatCode>
                <c:ptCount val="2"/>
                <c:pt idx="0">
                  <c:v>2023</c:v>
                </c:pt>
                <c:pt idx="1">
                  <c:v>2024</c:v>
                </c:pt>
              </c:numCache>
            </c:numRef>
          </c:cat>
          <c:val>
            <c:numRef>
              <c:f>Лист1!$B$2:$B$3</c:f>
              <c:numCache>
                <c:formatCode>General</c:formatCode>
                <c:ptCount val="2"/>
                <c:pt idx="0">
                  <c:v>6.5</c:v>
                </c:pt>
                <c:pt idx="1">
                  <c:v>6.6</c:v>
                </c:pt>
              </c:numCache>
            </c:numRef>
          </c:val>
          <c:extLst>
            <c:ext xmlns:c16="http://schemas.microsoft.com/office/drawing/2014/chart" uri="{C3380CC4-5D6E-409C-BE32-E72D297353CC}">
              <c16:uniqueId val="{00000000-EBC5-471F-AF59-995DD0C4AC1A}"/>
            </c:ext>
          </c:extLst>
        </c:ser>
        <c:ser>
          <c:idx val="1"/>
          <c:order val="1"/>
          <c:tx>
            <c:strRef>
              <c:f>Лист1!$C$1</c:f>
              <c:strCache>
                <c:ptCount val="1"/>
                <c:pt idx="0">
                  <c:v>Sheep and goat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3</c:f>
              <c:numCache>
                <c:formatCode>General</c:formatCode>
                <c:ptCount val="2"/>
                <c:pt idx="0">
                  <c:v>2023</c:v>
                </c:pt>
                <c:pt idx="1">
                  <c:v>2024</c:v>
                </c:pt>
              </c:numCache>
            </c:numRef>
          </c:cat>
          <c:val>
            <c:numRef>
              <c:f>Лист1!$C$2:$C$3</c:f>
              <c:numCache>
                <c:formatCode>General</c:formatCode>
                <c:ptCount val="2"/>
                <c:pt idx="0">
                  <c:v>18.8</c:v>
                </c:pt>
                <c:pt idx="1">
                  <c:v>18.600000000000001</c:v>
                </c:pt>
              </c:numCache>
            </c:numRef>
          </c:val>
          <c:extLst>
            <c:ext xmlns:c16="http://schemas.microsoft.com/office/drawing/2014/chart" uri="{C3380CC4-5D6E-409C-BE32-E72D297353CC}">
              <c16:uniqueId val="{00000001-EBC5-471F-AF59-995DD0C4AC1A}"/>
            </c:ext>
          </c:extLst>
        </c:ser>
        <c:ser>
          <c:idx val="2"/>
          <c:order val="2"/>
          <c:tx>
            <c:strRef>
              <c:f>Лист1!$D$1</c:f>
              <c:strCache>
                <c:ptCount val="1"/>
                <c:pt idx="0">
                  <c:v>All types of poultry</c:v>
                </c:pt>
              </c:strCache>
            </c:strRef>
          </c:tx>
          <c:spPr>
            <a:solidFill>
              <a:schemeClr val="accent2">
                <a:shade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3</c:f>
              <c:numCache>
                <c:formatCode>General</c:formatCode>
                <c:ptCount val="2"/>
                <c:pt idx="0">
                  <c:v>2023</c:v>
                </c:pt>
                <c:pt idx="1">
                  <c:v>2024</c:v>
                </c:pt>
              </c:numCache>
            </c:numRef>
          </c:cat>
          <c:val>
            <c:numRef>
              <c:f>Лист1!$D$2:$D$3</c:f>
              <c:numCache>
                <c:formatCode>General</c:formatCode>
                <c:ptCount val="2"/>
                <c:pt idx="0">
                  <c:v>45.6</c:v>
                </c:pt>
                <c:pt idx="1">
                  <c:v>44.1</c:v>
                </c:pt>
              </c:numCache>
            </c:numRef>
          </c:val>
          <c:extLst>
            <c:ext xmlns:c16="http://schemas.microsoft.com/office/drawing/2014/chart" uri="{C3380CC4-5D6E-409C-BE32-E72D297353CC}">
              <c16:uniqueId val="{00000002-EBC5-471F-AF59-995DD0C4AC1A}"/>
            </c:ext>
          </c:extLst>
        </c:ser>
        <c:dLbls>
          <c:showLegendKey val="0"/>
          <c:showVal val="0"/>
          <c:showCatName val="0"/>
          <c:showSerName val="0"/>
          <c:showPercent val="0"/>
          <c:showBubbleSize val="0"/>
        </c:dLbls>
        <c:gapWidth val="219"/>
        <c:overlap val="-27"/>
        <c:axId val="1055502304"/>
        <c:axId val="1055534752"/>
      </c:barChart>
      <c:catAx>
        <c:axId val="10555023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1055534752"/>
        <c:crosses val="autoZero"/>
        <c:auto val="1"/>
        <c:lblAlgn val="ctr"/>
        <c:lblOffset val="100"/>
        <c:noMultiLvlLbl val="0"/>
      </c:catAx>
      <c:valAx>
        <c:axId val="1055534752"/>
        <c:scaling>
          <c:orientation val="minMax"/>
        </c:scaling>
        <c:delete val="1"/>
        <c:axPos val="l"/>
        <c:numFmt formatCode="General" sourceLinked="1"/>
        <c:majorTickMark val="none"/>
        <c:minorTickMark val="none"/>
        <c:tickLblPos val="nextTo"/>
        <c:crossAx val="1055502304"/>
        <c:crosses val="autoZero"/>
        <c:crossBetween val="between"/>
      </c:valAx>
      <c:spPr>
        <a:noFill/>
        <a:ln>
          <a:noFill/>
        </a:ln>
        <a:effectLst/>
      </c:spPr>
    </c:plotArea>
    <c:legend>
      <c:legendPos val="b"/>
      <c:layout>
        <c:manualLayout>
          <c:xMode val="edge"/>
          <c:yMode val="edge"/>
          <c:x val="3.335401761094877E-2"/>
          <c:y val="0.84793948268968122"/>
          <c:w val="0.93103459919511133"/>
          <c:h val="0.12707591562342507"/>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legend>
    <c:plotVisOnly val="1"/>
    <c:dispBlanksAs val="gap"/>
    <c:showDLblsOverMax val="0"/>
  </c:chart>
  <c:spPr>
    <a:noFill/>
    <a:ln>
      <a:noFill/>
    </a:ln>
    <a:effectLst/>
  </c:spPr>
  <c:txPr>
    <a:bodyPr/>
    <a:lstStyle/>
    <a:p>
      <a:pPr>
        <a:defRPr sz="1200">
          <a:latin typeface="Century Gothic" panose="020B0502020202020204" pitchFamily="34" charset="0"/>
        </a:defRPr>
      </a:pPr>
      <a:endParaRPr lang="ru-RU"/>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2.6591907304075509E-2"/>
          <c:y val="0.65135390045161268"/>
          <c:w val="0.94681618539184897"/>
          <c:h val="7.2547994472683244E-2"/>
        </c:manualLayout>
      </c:layout>
      <c:lineChart>
        <c:grouping val="standard"/>
        <c:varyColors val="0"/>
        <c:ser>
          <c:idx val="0"/>
          <c:order val="0"/>
          <c:tx>
            <c:strRef>
              <c:f>Лист1!$B$1</c:f>
              <c:strCache>
                <c:ptCount val="1"/>
                <c:pt idx="0">
                  <c:v>Биоудобрения</c:v>
                </c:pt>
              </c:strCache>
            </c:strRef>
          </c:tx>
          <c:spPr>
            <a:ln w="28575" cap="rnd">
              <a:solidFill>
                <a:schemeClr val="accent2">
                  <a:tint val="77000"/>
                </a:schemeClr>
              </a:solidFill>
              <a:round/>
            </a:ln>
            <a:effectLst/>
          </c:spPr>
          <c:marker>
            <c:symbol val="circle"/>
            <c:size val="5"/>
            <c:spPr>
              <a:solidFill>
                <a:schemeClr val="accent2">
                  <a:tint val="77000"/>
                </a:schemeClr>
              </a:solidFill>
              <a:ln w="9525">
                <a:solidFill>
                  <a:schemeClr val="accent2">
                    <a:tint val="77000"/>
                  </a:schemeClr>
                </a:solidFill>
              </a:ln>
              <a:effectLst/>
            </c:spPr>
          </c:marker>
          <c:dLbls>
            <c:dLbl>
              <c:idx val="0"/>
              <c:layout>
                <c:manualLayout>
                  <c:x val="-6.768849131946493E-2"/>
                  <c:y val="-8.311076828220197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F8A-49CF-9DD7-0C6C2D8E785C}"/>
                </c:ext>
              </c:extLst>
            </c:dLbl>
            <c:dLbl>
              <c:idx val="1"/>
              <c:layout>
                <c:manualLayout>
                  <c:x val="-5.0766368489598701E-2"/>
                  <c:y val="-8.78536386061010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F8A-49CF-9DD7-0C6C2D8E785C}"/>
                </c:ext>
              </c:extLst>
            </c:dLbl>
            <c:dLbl>
              <c:idx val="2"/>
              <c:layout>
                <c:manualLayout>
                  <c:x val="-6.2853599082360295E-2"/>
                  <c:y val="-9.334737982250318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F8A-49CF-9DD7-0C6C2D8E785C}"/>
                </c:ext>
              </c:extLst>
            </c:dLbl>
            <c:dLbl>
              <c:idx val="3"/>
              <c:layout>
                <c:manualLayout>
                  <c:x val="-5.0766368489598791E-2"/>
                  <c:y val="-8.78536386061010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F8A-49CF-9DD7-0C6C2D8E785C}"/>
                </c:ext>
              </c:extLst>
            </c:dLbl>
            <c:dLbl>
              <c:idx val="4"/>
              <c:layout>
                <c:manualLayout>
                  <c:x val="-4.8348922371046384E-2"/>
                  <c:y val="-8.860450949860400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F8A-49CF-9DD7-0C6C2D8E785C}"/>
                </c:ext>
              </c:extLst>
            </c:dLbl>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Лист1!$A$2:$A$6</c:f>
              <c:numCache>
                <c:formatCode>General</c:formatCode>
                <c:ptCount val="5"/>
                <c:pt idx="0">
                  <c:v>2020</c:v>
                </c:pt>
                <c:pt idx="1">
                  <c:v>2021</c:v>
                </c:pt>
                <c:pt idx="2">
                  <c:v>2022</c:v>
                </c:pt>
                <c:pt idx="3">
                  <c:v>2023</c:v>
                </c:pt>
                <c:pt idx="4">
                  <c:v>2024</c:v>
                </c:pt>
              </c:numCache>
            </c:numRef>
          </c:cat>
          <c:val>
            <c:numRef>
              <c:f>Лист1!$B$2:$B$6</c:f>
              <c:numCache>
                <c:formatCode>General</c:formatCode>
                <c:ptCount val="5"/>
              </c:numCache>
            </c:numRef>
          </c:val>
          <c:smooth val="0"/>
          <c:extLst>
            <c:ext xmlns:c16="http://schemas.microsoft.com/office/drawing/2014/chart" uri="{C3380CC4-5D6E-409C-BE32-E72D297353CC}">
              <c16:uniqueId val="{00000005-FF8A-49CF-9DD7-0C6C2D8E785C}"/>
            </c:ext>
          </c:extLst>
        </c:ser>
        <c:ser>
          <c:idx val="1"/>
          <c:order val="1"/>
          <c:tx>
            <c:strRef>
              <c:f>Лист1!$C$1</c:f>
              <c:strCache>
                <c:ptCount val="1"/>
                <c:pt idx="0">
                  <c:v>Биокорма</c:v>
                </c:pt>
              </c:strCache>
            </c:strRef>
          </c:tx>
          <c:spPr>
            <a:ln w="28575" cap="rnd">
              <a:solidFill>
                <a:schemeClr val="accent2">
                  <a:shade val="76000"/>
                </a:schemeClr>
              </a:solidFill>
              <a:round/>
            </a:ln>
            <a:effectLst/>
          </c:spPr>
          <c:marker>
            <c:symbol val="circle"/>
            <c:size val="5"/>
            <c:spPr>
              <a:solidFill>
                <a:schemeClr val="accent2">
                  <a:shade val="76000"/>
                </a:schemeClr>
              </a:solidFill>
              <a:ln w="9525">
                <a:solidFill>
                  <a:schemeClr val="accent2">
                    <a:shade val="76000"/>
                  </a:schemeClr>
                </a:solidFill>
              </a:ln>
              <a:effectLst/>
            </c:spPr>
          </c:marker>
          <c:dLbls>
            <c:dLbl>
              <c:idx val="0"/>
              <c:layout>
                <c:manualLayout>
                  <c:x val="-3.6261691778284783E-2"/>
                  <c:y val="-0.1499424139932477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FF8A-49CF-9DD7-0C6C2D8E785C}"/>
                </c:ext>
              </c:extLst>
            </c:dLbl>
            <c:dLbl>
              <c:idx val="1"/>
              <c:layout>
                <c:manualLayout>
                  <c:x val="-4.1096584015389424E-2"/>
                  <c:y val="-0.1306898469336591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FF8A-49CF-9DD7-0C6C2D8E785C}"/>
                </c:ext>
              </c:extLst>
            </c:dLbl>
            <c:dLbl>
              <c:idx val="2"/>
              <c:layout>
                <c:manualLayout>
                  <c:x val="-3.6261691778284783E-2"/>
                  <c:y val="-0.1346927581418105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FF8A-49CF-9DD7-0C6C2D8E785C}"/>
                </c:ext>
              </c:extLst>
            </c:dLbl>
            <c:dLbl>
              <c:idx val="3"/>
              <c:layout>
                <c:manualLayout>
                  <c:x val="-3.3844245659732465E-2"/>
                  <c:y val="-0.1341845122510811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FF8A-49CF-9DD7-0C6C2D8E785C}"/>
                </c:ext>
              </c:extLst>
            </c:dLbl>
            <c:dLbl>
              <c:idx val="4"/>
              <c:layout>
                <c:manualLayout>
                  <c:x val="-2.900935342262783E-2"/>
                  <c:y val="-0.1447247267323664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FF8A-49CF-9DD7-0C6C2D8E785C}"/>
                </c:ext>
              </c:extLst>
            </c:dLbl>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Лист1!$A$2:$A$6</c:f>
              <c:numCache>
                <c:formatCode>General</c:formatCode>
                <c:ptCount val="5"/>
                <c:pt idx="0">
                  <c:v>2020</c:v>
                </c:pt>
                <c:pt idx="1">
                  <c:v>2021</c:v>
                </c:pt>
                <c:pt idx="2">
                  <c:v>2022</c:v>
                </c:pt>
                <c:pt idx="3">
                  <c:v>2023</c:v>
                </c:pt>
                <c:pt idx="4">
                  <c:v>2024</c:v>
                </c:pt>
              </c:numCache>
            </c:numRef>
          </c:cat>
          <c:val>
            <c:numRef>
              <c:f>Лист1!$C$2:$C$6</c:f>
              <c:numCache>
                <c:formatCode>#,##0</c:formatCode>
                <c:ptCount val="5"/>
                <c:pt idx="0">
                  <c:v>22367</c:v>
                </c:pt>
                <c:pt idx="1">
                  <c:v>32073</c:v>
                </c:pt>
                <c:pt idx="2">
                  <c:v>74082</c:v>
                </c:pt>
                <c:pt idx="3">
                  <c:v>213352</c:v>
                </c:pt>
                <c:pt idx="4">
                  <c:v>1191539</c:v>
                </c:pt>
              </c:numCache>
            </c:numRef>
          </c:val>
          <c:smooth val="0"/>
          <c:extLst>
            <c:ext xmlns:c16="http://schemas.microsoft.com/office/drawing/2014/chart" uri="{C3380CC4-5D6E-409C-BE32-E72D297353CC}">
              <c16:uniqueId val="{0000000A-FF8A-49CF-9DD7-0C6C2D8E785C}"/>
            </c:ext>
          </c:extLst>
        </c:ser>
        <c:dLbls>
          <c:showLegendKey val="0"/>
          <c:showVal val="0"/>
          <c:showCatName val="0"/>
          <c:showSerName val="0"/>
          <c:showPercent val="0"/>
          <c:showBubbleSize val="0"/>
        </c:dLbls>
        <c:marker val="1"/>
        <c:smooth val="0"/>
        <c:axId val="1249664047"/>
        <c:axId val="1249658223"/>
      </c:lineChart>
      <c:catAx>
        <c:axId val="1249664047"/>
        <c:scaling>
          <c:orientation val="minMax"/>
        </c:scaling>
        <c:delete val="1"/>
        <c:axPos val="b"/>
        <c:numFmt formatCode="General" sourceLinked="1"/>
        <c:majorTickMark val="out"/>
        <c:minorTickMark val="none"/>
        <c:tickLblPos val="nextTo"/>
        <c:crossAx val="1249658223"/>
        <c:crosses val="autoZero"/>
        <c:auto val="1"/>
        <c:lblAlgn val="ctr"/>
        <c:lblOffset val="100"/>
        <c:noMultiLvlLbl val="0"/>
      </c:catAx>
      <c:valAx>
        <c:axId val="1249658223"/>
        <c:scaling>
          <c:orientation val="minMax"/>
        </c:scaling>
        <c:delete val="1"/>
        <c:axPos val="l"/>
        <c:numFmt formatCode="General" sourceLinked="1"/>
        <c:majorTickMark val="out"/>
        <c:minorTickMark val="none"/>
        <c:tickLblPos val="nextTo"/>
        <c:crossAx val="1249664047"/>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Лист1!$B$1</c:f>
              <c:strCache>
                <c:ptCount val="1"/>
                <c:pt idx="0">
                  <c:v>Столбец1</c:v>
                </c:pt>
              </c:strCache>
            </c:strRef>
          </c:tx>
          <c:dPt>
            <c:idx val="0"/>
            <c:bubble3D val="0"/>
            <c:spPr>
              <a:solidFill>
                <a:schemeClr val="tx2">
                  <a:lumMod val="75000"/>
                  <a:lumOff val="25000"/>
                </a:schemeClr>
              </a:solidFill>
              <a:ln w="19050">
                <a:solidFill>
                  <a:schemeClr val="lt1"/>
                </a:solidFill>
              </a:ln>
              <a:effectLst/>
            </c:spPr>
            <c:extLst>
              <c:ext xmlns:c16="http://schemas.microsoft.com/office/drawing/2014/chart" uri="{C3380CC4-5D6E-409C-BE32-E72D297353CC}">
                <c16:uniqueId val="{00000001-30DF-40E1-8CAF-4C4661DE6C15}"/>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30DF-40E1-8CAF-4C4661DE6C15}"/>
              </c:ext>
            </c:extLst>
          </c:dPt>
          <c:dLbls>
            <c:dLbl>
              <c:idx val="0"/>
              <c:layout>
                <c:manualLayout>
                  <c:x val="-0.14652821481015318"/>
                  <c:y val="-9.7121234831498478E-3"/>
                </c:manualLayout>
              </c:layout>
              <c:tx>
                <c:rich>
                  <a:bodyPr/>
                  <a:lstStyle/>
                  <a:p>
                    <a:fld id="{6F24067B-83FA-427F-8BB0-B3C5CE60492B}" type="VALUE">
                      <a:rPr lang="en-US">
                        <a:solidFill>
                          <a:schemeClr val="tx1">
                            <a:lumMod val="65000"/>
                            <a:lumOff val="35000"/>
                          </a:schemeClr>
                        </a:solidFill>
                      </a:rPr>
                      <a:pPr/>
                      <a:t>[WARTOŚĆ]</a:t>
                    </a:fld>
                    <a:endParaRPr lang="pl-PL"/>
                  </a:p>
                </c:rich>
              </c:tx>
              <c:showLegendKey val="0"/>
              <c:showVal val="1"/>
              <c:showCatName val="0"/>
              <c:showSerName val="0"/>
              <c:showPercent val="0"/>
              <c:showBubbleSize val="0"/>
              <c:extLst>
                <c:ext xmlns:c15="http://schemas.microsoft.com/office/drawing/2012/chart" uri="{CE6537A1-D6FC-4f65-9D91-7224C49458BB}">
                  <c15:layout>
                    <c:manualLayout>
                      <c:w val="0.3130375498216908"/>
                      <c:h val="0.320500074943945"/>
                    </c:manualLayout>
                  </c15:layout>
                  <c15:dlblFieldTable/>
                  <c15:showDataLabelsRange val="0"/>
                </c:ext>
                <c:ext xmlns:c16="http://schemas.microsoft.com/office/drawing/2014/chart" uri="{C3380CC4-5D6E-409C-BE32-E72D297353CC}">
                  <c16:uniqueId val="{00000001-30DF-40E1-8CAF-4C4661DE6C15}"/>
                </c:ext>
              </c:extLst>
            </c:dLbl>
            <c:dLbl>
              <c:idx val="1"/>
              <c:layout>
                <c:manualLayout>
                  <c:x val="5.0304174533249424E-2"/>
                  <c:y val="-1.8030901376827332E-2"/>
                </c:manualLayout>
              </c:layout>
              <c:tx>
                <c:rich>
                  <a:bodyPr/>
                  <a:lstStyle/>
                  <a:p>
                    <a:fld id="{1F935691-6118-4134-BFB4-8B78A73EB34A}" type="VALUE">
                      <a:rPr lang="en-US">
                        <a:solidFill>
                          <a:schemeClr val="tx1">
                            <a:lumMod val="65000"/>
                            <a:lumOff val="35000"/>
                          </a:schemeClr>
                        </a:solidFill>
                      </a:rPr>
                      <a:pPr/>
                      <a:t>[WARTOŚĆ]</a:t>
                    </a:fld>
                    <a:endParaRPr lang="pl-PL"/>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30DF-40E1-8CAF-4C4661DE6C15}"/>
                </c:ext>
              </c:extLst>
            </c:dLbl>
            <c:spPr>
              <a:noFill/>
              <a:ln>
                <a:noFill/>
              </a:ln>
              <a:effectLst/>
            </c:spPr>
            <c:txPr>
              <a:bodyPr rot="0" spcFirstLastPara="1" vertOverflow="ellipsis" vert="horz" wrap="square" anchor="ctr" anchorCtr="1"/>
              <a:lstStyle/>
              <a:p>
                <a:pPr>
                  <a:defRPr sz="700" b="1"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extLst>
          </c:dLbls>
          <c:cat>
            <c:strRef>
              <c:f>Лист1!$A$2:$A$3</c:f>
              <c:strCache>
                <c:ptCount val="2"/>
                <c:pt idx="0">
                  <c:v>потребность, тыс. тонн</c:v>
                </c:pt>
                <c:pt idx="1">
                  <c:v>внесение от потребности, %</c:v>
                </c:pt>
              </c:strCache>
            </c:strRef>
          </c:cat>
          <c:val>
            <c:numRef>
              <c:f>Лист1!$B$2:$B$3</c:f>
              <c:numCache>
                <c:formatCode>General</c:formatCode>
                <c:ptCount val="2"/>
                <c:pt idx="0">
                  <c:v>185</c:v>
                </c:pt>
                <c:pt idx="1">
                  <c:v>18</c:v>
                </c:pt>
              </c:numCache>
            </c:numRef>
          </c:val>
          <c:extLst>
            <c:ext xmlns:c16="http://schemas.microsoft.com/office/drawing/2014/chart" uri="{C3380CC4-5D6E-409C-BE32-E72D297353CC}">
              <c16:uniqueId val="{00000004-30DF-40E1-8CAF-4C4661DE6C15}"/>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chart>
  <c:spPr>
    <a:noFill/>
    <a:ln>
      <a:noFill/>
    </a:ln>
    <a:effectLst/>
  </c:spPr>
  <c:txPr>
    <a:bodyPr/>
    <a:lstStyle/>
    <a:p>
      <a:pPr>
        <a:defRPr sz="700" b="1">
          <a:latin typeface="Century Gothic" panose="020B0502020202020204" pitchFamily="34" charset="0"/>
        </a:defRPr>
      </a:pPr>
      <a:endParaRPr lang="ru-RU"/>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rot="0" spcFirstLastPara="1" vertOverflow="ellipsis" vert="horz" wrap="square" anchor="ctr" anchorCtr="1"/>
          <a:lstStyle/>
          <a:p>
            <a:pPr>
              <a:defRPr sz="1600" b="1" i="0" u="none" strike="noStrike" kern="1200" spc="0" baseline="0">
                <a:solidFill>
                  <a:schemeClr val="tx1">
                    <a:lumMod val="65000"/>
                    <a:lumOff val="35000"/>
                  </a:schemeClr>
                </a:solidFill>
                <a:latin typeface="Century Gothic" panose="020B0502020202020204" pitchFamily="34" charset="0"/>
                <a:ea typeface="+mn-ea"/>
                <a:cs typeface="+mn-cs"/>
              </a:defRPr>
            </a:pPr>
            <a:r>
              <a:rPr lang="en-US" sz="1600" b="1" dirty="0">
                <a:latin typeface="Century Gothic" panose="020B0502020202020204" pitchFamily="34" charset="0"/>
              </a:rPr>
              <a:t>Import, tons</a:t>
            </a:r>
            <a:endParaRPr lang="ru-RU" sz="1600" b="1" dirty="0">
              <a:latin typeface="Century Gothic" panose="020B0502020202020204" pitchFamily="34" charset="0"/>
            </a:endParaRPr>
          </a:p>
        </c:rich>
      </c:tx>
      <c:overlay val="0"/>
      <c:spPr>
        <a:noFill/>
        <a:ln>
          <a:noFill/>
        </a:ln>
        <a:effectLst/>
      </c:spPr>
      <c:txPr>
        <a:bodyPr rot="0" spcFirstLastPara="1" vertOverflow="ellipsis" vert="horz" wrap="square" anchor="ctr" anchorCtr="1"/>
        <a:lstStyle/>
        <a:p>
          <a:pPr>
            <a:defRPr sz="1600" b="1" i="0" u="none" strike="noStrike" kern="1200" spc="0" baseline="0">
              <a:solidFill>
                <a:schemeClr val="tx1">
                  <a:lumMod val="65000"/>
                  <a:lumOff val="35000"/>
                </a:schemeClr>
              </a:solidFill>
              <a:latin typeface="Century Gothic" panose="020B0502020202020204" pitchFamily="34" charset="0"/>
              <a:ea typeface="+mn-ea"/>
              <a:cs typeface="+mn-cs"/>
            </a:defRPr>
          </a:pPr>
          <a:endParaRPr lang="ru-RU"/>
        </a:p>
      </c:txPr>
    </c:title>
    <c:autoTitleDeleted val="0"/>
    <c:plotArea>
      <c:layout/>
      <c:lineChart>
        <c:grouping val="standard"/>
        <c:varyColors val="0"/>
        <c:ser>
          <c:idx val="0"/>
          <c:order val="0"/>
          <c:tx>
            <c:strRef>
              <c:f>Лист1!$B$1</c:f>
              <c:strCache>
                <c:ptCount val="1"/>
                <c:pt idx="0">
                  <c:v>Biofertilizers</c:v>
                </c:pt>
              </c:strCache>
            </c:strRef>
          </c:tx>
          <c:spPr>
            <a:ln w="28575" cap="rnd">
              <a:solidFill>
                <a:schemeClr val="accent2">
                  <a:tint val="77000"/>
                </a:schemeClr>
              </a:solidFill>
              <a:round/>
            </a:ln>
            <a:effectLst/>
          </c:spPr>
          <c:marker>
            <c:symbol val="circle"/>
            <c:size val="5"/>
            <c:spPr>
              <a:solidFill>
                <a:schemeClr val="accent2">
                  <a:tint val="77000"/>
                </a:schemeClr>
              </a:solidFill>
              <a:ln w="9525">
                <a:solidFill>
                  <a:schemeClr val="accent2">
                    <a:tint val="77000"/>
                  </a:schemeClr>
                </a:solidFill>
              </a:ln>
              <a:effectLst/>
            </c:spPr>
          </c:marker>
          <c:dLbls>
            <c:dLbl>
              <c:idx val="0"/>
              <c:layout>
                <c:manualLayout>
                  <c:x val="-6.768849131946493E-2"/>
                  <c:y val="-8.311076828220197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423F-4B54-B681-881D80FBCEFF}"/>
                </c:ext>
              </c:extLst>
            </c:dLbl>
            <c:dLbl>
              <c:idx val="1"/>
              <c:layout>
                <c:manualLayout>
                  <c:x val="-5.0766368489598701E-2"/>
                  <c:y val="-8.78536386061010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423F-4B54-B681-881D80FBCEFF}"/>
                </c:ext>
              </c:extLst>
            </c:dLbl>
            <c:dLbl>
              <c:idx val="2"/>
              <c:layout>
                <c:manualLayout>
                  <c:x val="-6.2853599082360295E-2"/>
                  <c:y val="-9.334737982250318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423F-4B54-B681-881D80FBCEFF}"/>
                </c:ext>
              </c:extLst>
            </c:dLbl>
            <c:dLbl>
              <c:idx val="3"/>
              <c:layout>
                <c:manualLayout>
                  <c:x val="-5.0766368489598791E-2"/>
                  <c:y val="-8.78536386061010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423F-4B54-B681-881D80FBCEFF}"/>
                </c:ext>
              </c:extLst>
            </c:dLbl>
            <c:dLbl>
              <c:idx val="4"/>
              <c:layout>
                <c:manualLayout>
                  <c:x val="-4.8348922371046384E-2"/>
                  <c:y val="-8.860450949860400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423F-4B54-B681-881D80FBCEFF}"/>
                </c:ext>
              </c:extLst>
            </c:dLbl>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Лист1!$A$2:$A$6</c:f>
              <c:numCache>
                <c:formatCode>General</c:formatCode>
                <c:ptCount val="5"/>
                <c:pt idx="0">
                  <c:v>2020</c:v>
                </c:pt>
                <c:pt idx="1">
                  <c:v>2021</c:v>
                </c:pt>
                <c:pt idx="2">
                  <c:v>2022</c:v>
                </c:pt>
                <c:pt idx="3">
                  <c:v>2023</c:v>
                </c:pt>
                <c:pt idx="4">
                  <c:v>2024</c:v>
                </c:pt>
              </c:numCache>
            </c:numRef>
          </c:cat>
          <c:val>
            <c:numRef>
              <c:f>Лист1!$B$2:$B$6</c:f>
              <c:numCache>
                <c:formatCode>#,##0</c:formatCode>
                <c:ptCount val="5"/>
                <c:pt idx="0">
                  <c:v>1362</c:v>
                </c:pt>
                <c:pt idx="1">
                  <c:v>1493</c:v>
                </c:pt>
                <c:pt idx="2">
                  <c:v>1279</c:v>
                </c:pt>
                <c:pt idx="3">
                  <c:v>1621</c:v>
                </c:pt>
                <c:pt idx="4" formatCode="General">
                  <c:v>740</c:v>
                </c:pt>
              </c:numCache>
            </c:numRef>
          </c:val>
          <c:smooth val="0"/>
          <c:extLst>
            <c:ext xmlns:c16="http://schemas.microsoft.com/office/drawing/2014/chart" uri="{C3380CC4-5D6E-409C-BE32-E72D297353CC}">
              <c16:uniqueId val="{00000000-423F-4B54-B681-881D80FBCEFF}"/>
            </c:ext>
          </c:extLst>
        </c:ser>
        <c:ser>
          <c:idx val="1"/>
          <c:order val="1"/>
          <c:tx>
            <c:strRef>
              <c:f>Лист1!$C$1</c:f>
              <c:strCache>
                <c:ptCount val="1"/>
                <c:pt idx="0">
                  <c:v>Biofeed</c:v>
                </c:pt>
              </c:strCache>
            </c:strRef>
          </c:tx>
          <c:spPr>
            <a:ln w="28575" cap="rnd">
              <a:solidFill>
                <a:schemeClr val="accent2">
                  <a:shade val="76000"/>
                </a:schemeClr>
              </a:solidFill>
              <a:round/>
            </a:ln>
            <a:effectLst/>
          </c:spPr>
          <c:marker>
            <c:symbol val="circle"/>
            <c:size val="5"/>
            <c:spPr>
              <a:solidFill>
                <a:schemeClr val="accent2">
                  <a:shade val="76000"/>
                </a:schemeClr>
              </a:solidFill>
              <a:ln w="9525">
                <a:solidFill>
                  <a:schemeClr val="accent2">
                    <a:shade val="76000"/>
                  </a:schemeClr>
                </a:solidFill>
              </a:ln>
              <a:effectLst/>
            </c:spPr>
          </c:marker>
          <c:dLbls>
            <c:dLbl>
              <c:idx val="0"/>
              <c:layout>
                <c:manualLayout>
                  <c:x val="-0.1015327369791974"/>
                  <c:y val="-8.240414192199334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423F-4B54-B681-881D80FBCEFF}"/>
                </c:ext>
              </c:extLst>
            </c:dLbl>
            <c:dLbl>
              <c:idx val="1"/>
              <c:layout>
                <c:manualLayout>
                  <c:x val="-6.2853599082360295E-2"/>
                  <c:y val="-8.244841469003470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23F-4B54-B681-881D80FBCEFF}"/>
                </c:ext>
              </c:extLst>
            </c:dLbl>
            <c:dLbl>
              <c:idx val="2"/>
              <c:layout>
                <c:manualLayout>
                  <c:x val="-6.527104520091262E-2"/>
                  <c:y val="-0.105748086739977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23F-4B54-B681-881D80FBCEFF}"/>
                </c:ext>
              </c:extLst>
            </c:dLbl>
            <c:dLbl>
              <c:idx val="3"/>
              <c:layout>
                <c:manualLayout>
                  <c:x val="-4.8348922371046384E-3"/>
                  <c:y val="7.682211554603618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23F-4B54-B681-881D80FBCEFF}"/>
                </c:ext>
              </c:extLst>
            </c:dLbl>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Лист1!$A$2:$A$6</c:f>
              <c:numCache>
                <c:formatCode>General</c:formatCode>
                <c:ptCount val="5"/>
                <c:pt idx="0">
                  <c:v>2020</c:v>
                </c:pt>
                <c:pt idx="1">
                  <c:v>2021</c:v>
                </c:pt>
                <c:pt idx="2">
                  <c:v>2022</c:v>
                </c:pt>
                <c:pt idx="3">
                  <c:v>2023</c:v>
                </c:pt>
                <c:pt idx="4">
                  <c:v>2024</c:v>
                </c:pt>
              </c:numCache>
            </c:numRef>
          </c:cat>
          <c:val>
            <c:numRef>
              <c:f>Лист1!$C$2:$C$6</c:f>
              <c:numCache>
                <c:formatCode>#,##0</c:formatCode>
                <c:ptCount val="5"/>
                <c:pt idx="0">
                  <c:v>29592</c:v>
                </c:pt>
                <c:pt idx="1">
                  <c:v>35235</c:v>
                </c:pt>
                <c:pt idx="2">
                  <c:v>33297</c:v>
                </c:pt>
                <c:pt idx="3">
                  <c:v>59505</c:v>
                </c:pt>
                <c:pt idx="4">
                  <c:v>62284</c:v>
                </c:pt>
              </c:numCache>
            </c:numRef>
          </c:val>
          <c:smooth val="0"/>
          <c:extLst>
            <c:ext xmlns:c16="http://schemas.microsoft.com/office/drawing/2014/chart" uri="{C3380CC4-5D6E-409C-BE32-E72D297353CC}">
              <c16:uniqueId val="{00000001-423F-4B54-B681-881D80FBCEFF}"/>
            </c:ext>
          </c:extLst>
        </c:ser>
        <c:dLbls>
          <c:showLegendKey val="0"/>
          <c:showVal val="0"/>
          <c:showCatName val="0"/>
          <c:showSerName val="0"/>
          <c:showPercent val="0"/>
          <c:showBubbleSize val="0"/>
        </c:dLbls>
        <c:marker val="1"/>
        <c:smooth val="0"/>
        <c:axId val="1249664047"/>
        <c:axId val="1249658223"/>
      </c:lineChart>
      <c:catAx>
        <c:axId val="1249664047"/>
        <c:scaling>
          <c:orientation val="minMax"/>
        </c:scaling>
        <c:delete val="0"/>
        <c:axPos val="b"/>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1249658223"/>
        <c:crosses val="autoZero"/>
        <c:auto val="1"/>
        <c:lblAlgn val="ctr"/>
        <c:lblOffset val="100"/>
        <c:noMultiLvlLbl val="0"/>
      </c:catAx>
      <c:valAx>
        <c:axId val="1249658223"/>
        <c:scaling>
          <c:orientation val="minMax"/>
        </c:scaling>
        <c:delete val="1"/>
        <c:axPos val="l"/>
        <c:numFmt formatCode="#,##0" sourceLinked="1"/>
        <c:majorTickMark val="out"/>
        <c:minorTickMark val="none"/>
        <c:tickLblPos val="nextTo"/>
        <c:crossAx val="124966404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legend>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rot="0" spcFirstLastPara="1" vertOverflow="ellipsis" vert="horz" wrap="square" anchor="ctr" anchorCtr="1"/>
          <a:lstStyle/>
          <a:p>
            <a:pPr>
              <a:defRPr sz="1600" b="1" i="0" u="none" strike="noStrike" kern="1200" spc="0" baseline="0">
                <a:solidFill>
                  <a:schemeClr val="tx1">
                    <a:lumMod val="65000"/>
                    <a:lumOff val="35000"/>
                  </a:schemeClr>
                </a:solidFill>
                <a:latin typeface="Century Gothic" panose="020B0502020202020204" pitchFamily="34" charset="0"/>
                <a:ea typeface="+mn-ea"/>
                <a:cs typeface="+mn-cs"/>
              </a:defRPr>
            </a:pPr>
            <a:r>
              <a:rPr lang="en-US" sz="1600" b="1" dirty="0">
                <a:latin typeface="Century Gothic" panose="020B0502020202020204" pitchFamily="34" charset="0"/>
              </a:rPr>
              <a:t>Export, tons</a:t>
            </a:r>
            <a:endParaRPr lang="ru-RU" sz="1600" b="1" dirty="0">
              <a:latin typeface="Century Gothic" panose="020B0502020202020204" pitchFamily="34" charset="0"/>
            </a:endParaRPr>
          </a:p>
        </c:rich>
      </c:tx>
      <c:overlay val="0"/>
      <c:spPr>
        <a:noFill/>
        <a:ln>
          <a:noFill/>
        </a:ln>
        <a:effectLst/>
      </c:spPr>
      <c:txPr>
        <a:bodyPr rot="0" spcFirstLastPara="1" vertOverflow="ellipsis" vert="horz" wrap="square" anchor="ctr" anchorCtr="1"/>
        <a:lstStyle/>
        <a:p>
          <a:pPr>
            <a:defRPr sz="1600" b="1" i="0" u="none" strike="noStrike" kern="1200" spc="0" baseline="0">
              <a:solidFill>
                <a:schemeClr val="tx1">
                  <a:lumMod val="65000"/>
                  <a:lumOff val="35000"/>
                </a:schemeClr>
              </a:solidFill>
              <a:latin typeface="Century Gothic" panose="020B0502020202020204" pitchFamily="34" charset="0"/>
              <a:ea typeface="+mn-ea"/>
              <a:cs typeface="+mn-cs"/>
            </a:defRPr>
          </a:pPr>
          <a:endParaRPr lang="ru-RU"/>
        </a:p>
      </c:txPr>
    </c:title>
    <c:autoTitleDeleted val="0"/>
    <c:plotArea>
      <c:layout>
        <c:manualLayout>
          <c:layoutTarget val="inner"/>
          <c:xMode val="edge"/>
          <c:yMode val="edge"/>
          <c:x val="2.6591907304075509E-2"/>
          <c:y val="0.65135390045161268"/>
          <c:w val="0.94681618539184897"/>
          <c:h val="7.2547994472683244E-2"/>
        </c:manualLayout>
      </c:layout>
      <c:lineChart>
        <c:grouping val="standard"/>
        <c:varyColors val="0"/>
        <c:ser>
          <c:idx val="0"/>
          <c:order val="0"/>
          <c:tx>
            <c:strRef>
              <c:f>Лист1!$B$1</c:f>
              <c:strCache>
                <c:ptCount val="1"/>
                <c:pt idx="0">
                  <c:v>Biofertilizers</c:v>
                </c:pt>
              </c:strCache>
            </c:strRef>
          </c:tx>
          <c:spPr>
            <a:ln w="28575" cap="rnd">
              <a:solidFill>
                <a:schemeClr val="accent2">
                  <a:tint val="77000"/>
                </a:schemeClr>
              </a:solidFill>
              <a:round/>
            </a:ln>
            <a:effectLst/>
          </c:spPr>
          <c:marker>
            <c:symbol val="circle"/>
            <c:size val="5"/>
            <c:spPr>
              <a:solidFill>
                <a:schemeClr val="accent2">
                  <a:tint val="77000"/>
                </a:schemeClr>
              </a:solidFill>
              <a:ln w="9525">
                <a:solidFill>
                  <a:schemeClr val="accent2">
                    <a:tint val="77000"/>
                  </a:schemeClr>
                </a:solidFill>
              </a:ln>
              <a:effectLst/>
            </c:spPr>
          </c:marker>
          <c:dLbls>
            <c:dLbl>
              <c:idx val="0"/>
              <c:layout>
                <c:manualLayout>
                  <c:x val="-6.768849131946493E-2"/>
                  <c:y val="-8.311076828220197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4C0-4569-8629-D52FD6AFC232}"/>
                </c:ext>
              </c:extLst>
            </c:dLbl>
            <c:dLbl>
              <c:idx val="1"/>
              <c:layout>
                <c:manualLayout>
                  <c:x val="-5.0766368489598701E-2"/>
                  <c:y val="-8.78536386061010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4C0-4569-8629-D52FD6AFC232}"/>
                </c:ext>
              </c:extLst>
            </c:dLbl>
            <c:dLbl>
              <c:idx val="2"/>
              <c:layout>
                <c:manualLayout>
                  <c:x val="-6.2853599082360295E-2"/>
                  <c:y val="-9.334737982250318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4C0-4569-8629-D52FD6AFC232}"/>
                </c:ext>
              </c:extLst>
            </c:dLbl>
            <c:dLbl>
              <c:idx val="3"/>
              <c:layout>
                <c:manualLayout>
                  <c:x val="-5.0766368489598791E-2"/>
                  <c:y val="-8.78536386061010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4C0-4569-8629-D52FD6AFC232}"/>
                </c:ext>
              </c:extLst>
            </c:dLbl>
            <c:dLbl>
              <c:idx val="4"/>
              <c:layout>
                <c:manualLayout>
                  <c:x val="-4.8348922371046384E-2"/>
                  <c:y val="-8.860450949860400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4C0-4569-8629-D52FD6AFC232}"/>
                </c:ext>
              </c:extLst>
            </c:dLbl>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Лист1!$A$2:$A$6</c:f>
              <c:numCache>
                <c:formatCode>General</c:formatCode>
                <c:ptCount val="5"/>
                <c:pt idx="0">
                  <c:v>2020</c:v>
                </c:pt>
                <c:pt idx="1">
                  <c:v>2021</c:v>
                </c:pt>
                <c:pt idx="2">
                  <c:v>2022</c:v>
                </c:pt>
                <c:pt idx="3">
                  <c:v>2023</c:v>
                </c:pt>
                <c:pt idx="4">
                  <c:v>2024</c:v>
                </c:pt>
              </c:numCache>
            </c:numRef>
          </c:cat>
          <c:val>
            <c:numRef>
              <c:f>Лист1!$B$2:$B$6</c:f>
              <c:numCache>
                <c:formatCode>#,##0</c:formatCode>
                <c:ptCount val="5"/>
                <c:pt idx="0">
                  <c:v>76</c:v>
                </c:pt>
                <c:pt idx="1">
                  <c:v>52</c:v>
                </c:pt>
                <c:pt idx="2">
                  <c:v>32</c:v>
                </c:pt>
                <c:pt idx="3">
                  <c:v>30</c:v>
                </c:pt>
                <c:pt idx="4">
                  <c:v>18</c:v>
                </c:pt>
              </c:numCache>
            </c:numRef>
          </c:val>
          <c:smooth val="0"/>
          <c:extLst>
            <c:ext xmlns:c16="http://schemas.microsoft.com/office/drawing/2014/chart" uri="{C3380CC4-5D6E-409C-BE32-E72D297353CC}">
              <c16:uniqueId val="{00000005-34C0-4569-8629-D52FD6AFC232}"/>
            </c:ext>
          </c:extLst>
        </c:ser>
        <c:ser>
          <c:idx val="1"/>
          <c:order val="1"/>
          <c:tx>
            <c:strRef>
              <c:f>Лист1!$C$1</c:f>
              <c:strCache>
                <c:ptCount val="1"/>
                <c:pt idx="0">
                  <c:v>Biofeed</c:v>
                </c:pt>
              </c:strCache>
            </c:strRef>
          </c:tx>
          <c:spPr>
            <a:ln w="28575" cap="rnd">
              <a:solidFill>
                <a:schemeClr val="accent2">
                  <a:shade val="76000"/>
                </a:schemeClr>
              </a:solidFill>
              <a:round/>
            </a:ln>
            <a:effectLst/>
          </c:spPr>
          <c:marker>
            <c:symbol val="circle"/>
            <c:size val="5"/>
            <c:spPr>
              <a:solidFill>
                <a:schemeClr val="accent2">
                  <a:shade val="76000"/>
                </a:schemeClr>
              </a:solidFill>
              <a:ln w="9525">
                <a:solidFill>
                  <a:schemeClr val="accent2">
                    <a:shade val="76000"/>
                  </a:schemeClr>
                </a:solidFill>
              </a:ln>
              <a:effectLst/>
            </c:spPr>
          </c:marker>
          <c:dLbls>
            <c:dLbl>
              <c:idx val="0"/>
              <c:layout>
                <c:manualLayout>
                  <c:x val="-0.1015327369791974"/>
                  <c:y val="-8.240414192199334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34C0-4569-8629-D52FD6AFC232}"/>
                </c:ext>
              </c:extLst>
            </c:dLbl>
            <c:dLbl>
              <c:idx val="1"/>
              <c:layout>
                <c:manualLayout>
                  <c:x val="-6.2853599082360295E-2"/>
                  <c:y val="-8.244841469003470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34C0-4569-8629-D52FD6AFC232}"/>
                </c:ext>
              </c:extLst>
            </c:dLbl>
            <c:dLbl>
              <c:idx val="2"/>
              <c:layout>
                <c:manualLayout>
                  <c:x val="-6.527104520091262E-2"/>
                  <c:y val="-0.105748086739977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34C0-4569-8629-D52FD6AFC232}"/>
                </c:ext>
              </c:extLst>
            </c:dLbl>
            <c:dLbl>
              <c:idx val="3"/>
              <c:layout>
                <c:manualLayout>
                  <c:x val="4.8348922371046384E-3"/>
                  <c:y val="4.913320632772234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34C0-4569-8629-D52FD6AFC232}"/>
                </c:ext>
              </c:extLst>
            </c:dLbl>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Лист1!$A$2:$A$6</c:f>
              <c:numCache>
                <c:formatCode>General</c:formatCode>
                <c:ptCount val="5"/>
                <c:pt idx="0">
                  <c:v>2020</c:v>
                </c:pt>
                <c:pt idx="1">
                  <c:v>2021</c:v>
                </c:pt>
                <c:pt idx="2">
                  <c:v>2022</c:v>
                </c:pt>
                <c:pt idx="3">
                  <c:v>2023</c:v>
                </c:pt>
                <c:pt idx="4">
                  <c:v>2024</c:v>
                </c:pt>
              </c:numCache>
            </c:numRef>
          </c:cat>
          <c:val>
            <c:numRef>
              <c:f>Лист1!$C$2:$C$6</c:f>
              <c:numCache>
                <c:formatCode>General</c:formatCode>
                <c:ptCount val="5"/>
              </c:numCache>
            </c:numRef>
          </c:val>
          <c:smooth val="0"/>
          <c:extLst>
            <c:ext xmlns:c16="http://schemas.microsoft.com/office/drawing/2014/chart" uri="{C3380CC4-5D6E-409C-BE32-E72D297353CC}">
              <c16:uniqueId val="{0000000A-34C0-4569-8629-D52FD6AFC232}"/>
            </c:ext>
          </c:extLst>
        </c:ser>
        <c:dLbls>
          <c:showLegendKey val="0"/>
          <c:showVal val="0"/>
          <c:showCatName val="0"/>
          <c:showSerName val="0"/>
          <c:showPercent val="0"/>
          <c:showBubbleSize val="0"/>
        </c:dLbls>
        <c:marker val="1"/>
        <c:smooth val="0"/>
        <c:axId val="1249664047"/>
        <c:axId val="1249658223"/>
      </c:lineChart>
      <c:catAx>
        <c:axId val="1249664047"/>
        <c:scaling>
          <c:orientation val="minMax"/>
        </c:scaling>
        <c:delete val="0"/>
        <c:axPos val="b"/>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1249658223"/>
        <c:crosses val="autoZero"/>
        <c:auto val="1"/>
        <c:lblAlgn val="ctr"/>
        <c:lblOffset val="100"/>
        <c:noMultiLvlLbl val="0"/>
      </c:catAx>
      <c:valAx>
        <c:axId val="1249658223"/>
        <c:scaling>
          <c:orientation val="minMax"/>
        </c:scaling>
        <c:delete val="1"/>
        <c:axPos val="l"/>
        <c:numFmt formatCode="#,##0" sourceLinked="1"/>
        <c:majorTickMark val="out"/>
        <c:minorTickMark val="none"/>
        <c:tickLblPos val="nextTo"/>
        <c:crossAx val="124966404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legend>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4"/>
    </mc:Choice>
    <mc:Fallback>
      <c:style val="4"/>
    </mc:Fallback>
  </mc:AlternateContent>
  <c:chart>
    <c:title>
      <c:layout>
        <c:manualLayout>
          <c:xMode val="edge"/>
          <c:yMode val="edge"/>
          <c:x val="0.40218984668783236"/>
          <c:y val="0"/>
        </c:manualLayout>
      </c:layout>
      <c:overlay val="0"/>
      <c:spPr>
        <a:noFill/>
        <a:ln>
          <a:noFill/>
        </a:ln>
        <a:effectLst/>
      </c:spPr>
      <c:txPr>
        <a:bodyPr rot="0" spcFirstLastPara="1" vertOverflow="ellipsis" vert="horz" wrap="square" anchor="ctr" anchorCtr="1"/>
        <a:lstStyle/>
        <a:p>
          <a:pPr>
            <a:defRPr sz="960" b="1" i="0" u="none" strike="noStrike" kern="1200" spc="0" baseline="0">
              <a:solidFill>
                <a:schemeClr val="tx1">
                  <a:lumMod val="65000"/>
                  <a:lumOff val="35000"/>
                </a:schemeClr>
              </a:solidFill>
              <a:latin typeface="Century Gothic" panose="020B0502020202020204" pitchFamily="34" charset="0"/>
              <a:ea typeface="+mn-ea"/>
              <a:cs typeface="+mn-cs"/>
            </a:defRPr>
          </a:pPr>
          <a:endParaRPr lang="ru-RU"/>
        </a:p>
      </c:txPr>
    </c:title>
    <c:autoTitleDeleted val="0"/>
    <c:plotArea>
      <c:layout/>
      <c:pieChart>
        <c:varyColors val="1"/>
        <c:ser>
          <c:idx val="0"/>
          <c:order val="0"/>
          <c:tx>
            <c:strRef>
              <c:f>Лист1!$B$1</c:f>
              <c:strCache>
                <c:ptCount val="1"/>
                <c:pt idx="0">
                  <c:v>Export</c:v>
                </c:pt>
              </c:strCache>
            </c:strRef>
          </c:tx>
          <c:dPt>
            <c:idx val="0"/>
            <c:bubble3D val="0"/>
            <c:spPr>
              <a:solidFill>
                <a:schemeClr val="accent2">
                  <a:shade val="58000"/>
                </a:schemeClr>
              </a:solidFill>
              <a:ln w="19050">
                <a:solidFill>
                  <a:schemeClr val="lt1"/>
                </a:solidFill>
              </a:ln>
              <a:effectLst/>
            </c:spPr>
            <c:extLst>
              <c:ext xmlns:c16="http://schemas.microsoft.com/office/drawing/2014/chart" uri="{C3380CC4-5D6E-409C-BE32-E72D297353CC}">
                <c16:uniqueId val="{00000001-0A1F-4AE6-9280-0799A576B339}"/>
              </c:ext>
            </c:extLst>
          </c:dPt>
          <c:dPt>
            <c:idx val="1"/>
            <c:bubble3D val="0"/>
            <c:spPr>
              <a:solidFill>
                <a:schemeClr val="accent2">
                  <a:shade val="86000"/>
                </a:schemeClr>
              </a:solidFill>
              <a:ln w="19050">
                <a:solidFill>
                  <a:schemeClr val="lt1"/>
                </a:solidFill>
              </a:ln>
              <a:effectLst/>
            </c:spPr>
            <c:extLst>
              <c:ext xmlns:c16="http://schemas.microsoft.com/office/drawing/2014/chart" uri="{C3380CC4-5D6E-409C-BE32-E72D297353CC}">
                <c16:uniqueId val="{00000004-0A1F-4AE6-9280-0799A576B339}"/>
              </c:ext>
            </c:extLst>
          </c:dPt>
          <c:dPt>
            <c:idx val="2"/>
            <c:bubble3D val="0"/>
            <c:spPr>
              <a:solidFill>
                <a:schemeClr val="accent2">
                  <a:tint val="86000"/>
                </a:schemeClr>
              </a:solidFill>
              <a:ln w="19050">
                <a:solidFill>
                  <a:schemeClr val="lt1"/>
                </a:solidFill>
              </a:ln>
              <a:effectLst/>
            </c:spPr>
            <c:extLst>
              <c:ext xmlns:c16="http://schemas.microsoft.com/office/drawing/2014/chart" uri="{C3380CC4-5D6E-409C-BE32-E72D297353CC}">
                <c16:uniqueId val="{00000003-0A1F-4AE6-9280-0799A576B339}"/>
              </c:ext>
            </c:extLst>
          </c:dPt>
          <c:dPt>
            <c:idx val="3"/>
            <c:bubble3D val="0"/>
            <c:spPr>
              <a:solidFill>
                <a:schemeClr val="accent2">
                  <a:tint val="58000"/>
                </a:schemeClr>
              </a:solidFill>
              <a:ln w="19050">
                <a:solidFill>
                  <a:schemeClr val="lt1"/>
                </a:solidFill>
              </a:ln>
              <a:effectLst/>
            </c:spPr>
            <c:extLst>
              <c:ext xmlns:c16="http://schemas.microsoft.com/office/drawing/2014/chart" uri="{C3380CC4-5D6E-409C-BE32-E72D297353CC}">
                <c16:uniqueId val="{00000002-0A1F-4AE6-9280-0799A576B339}"/>
              </c:ext>
            </c:extLst>
          </c:dPt>
          <c:dLbls>
            <c:dLbl>
              <c:idx val="0"/>
              <c:layout>
                <c:manualLayout>
                  <c:x val="0.255826205863254"/>
                  <c:y val="-0.10663082214667145"/>
                </c:manualLayout>
              </c:layout>
              <c:tx>
                <c:rich>
                  <a:bodyPr/>
                  <a:lstStyle/>
                  <a:p>
                    <a:fld id="{A41F0BED-8032-4A5A-8F36-1EB1467649BA}" type="CATEGORYNAME">
                      <a:rPr lang="en-US" smtClean="0"/>
                      <a:pPr/>
                      <a:t>[NAZWA KATEGORII]</a:t>
                    </a:fld>
                    <a:r>
                      <a:rPr lang="en-US" baseline="0" dirty="0"/>
                      <a:t> </a:t>
                    </a:r>
                    <a:fld id="{5D3717C2-4681-4FF6-AF50-B115DE1DFC58}"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A1F-4AE6-9280-0799A576B339}"/>
                </c:ext>
              </c:extLst>
            </c:dLbl>
            <c:dLbl>
              <c:idx val="1"/>
              <c:layout>
                <c:manualLayout>
                  <c:x val="-0.19280481282110418"/>
                  <c:y val="2.8896927026983384E-2"/>
                </c:manualLayout>
              </c:layout>
              <c:tx>
                <c:rich>
                  <a:bodyPr/>
                  <a:lstStyle/>
                  <a:p>
                    <a:fld id="{71B4AD3C-B2BD-40D7-8382-04D945C0A61C}" type="CATEGORYNAME">
                      <a:rPr lang="en-US" smtClean="0"/>
                      <a:pPr/>
                      <a:t>[NAZWA KATEGORII]</a:t>
                    </a:fld>
                    <a:endParaRPr lang="en-US" dirty="0"/>
                  </a:p>
                  <a:p>
                    <a:r>
                      <a:rPr lang="en-US" baseline="0" dirty="0"/>
                      <a:t> </a:t>
                    </a:r>
                    <a:fld id="{B90315A4-D8EA-45A9-9ABD-EE2F47ACC12E}"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0A1F-4AE6-9280-0799A576B339}"/>
                </c:ext>
              </c:extLst>
            </c:dLbl>
            <c:dLbl>
              <c:idx val="2"/>
              <c:layout>
                <c:manualLayout>
                  <c:x val="4.0485722780422791E-2"/>
                  <c:y val="-9.5596714000161752E-3"/>
                </c:manualLayout>
              </c:layout>
              <c:tx>
                <c:rich>
                  <a:bodyPr/>
                  <a:lstStyle/>
                  <a:p>
                    <a:fld id="{617B7342-93B0-4EAC-8171-1A7BD07E1FCD}" type="CATEGORYNAME">
                      <a:rPr lang="en-US" smtClean="0"/>
                      <a:pPr/>
                      <a:t>[NAZWA KATEGORII]</a:t>
                    </a:fld>
                    <a:r>
                      <a:rPr lang="en-US" baseline="0" dirty="0"/>
                      <a:t> </a:t>
                    </a:r>
                  </a:p>
                  <a:p>
                    <a:fld id="{4711DF05-5FFC-4DC1-B903-78D7834ABA0F}" type="VALUE">
                      <a:rPr lang="en-US" baseline="0" smtClean="0"/>
                      <a:pPr/>
                      <a:t>[WARTOŚĆ]</a:t>
                    </a:fld>
                    <a:endParaRPr lang="pl-PL"/>
                  </a:p>
                </c:rich>
              </c:tx>
              <c:showLegendKey val="0"/>
              <c:showVal val="1"/>
              <c:showCatName val="1"/>
              <c:showSerName val="0"/>
              <c:showPercent val="0"/>
              <c:showBubbleSize val="0"/>
              <c:extLst>
                <c:ext xmlns:c15="http://schemas.microsoft.com/office/drawing/2012/chart" uri="{CE6537A1-D6FC-4f65-9D91-7224C49458BB}">
                  <c15:layout>
                    <c:manualLayout>
                      <c:w val="0.31336206018791923"/>
                      <c:h val="0.11851783382823601"/>
                    </c:manualLayout>
                  </c15:layout>
                  <c15:dlblFieldTable/>
                  <c15:showDataLabelsRange val="0"/>
                </c:ext>
                <c:ext xmlns:c16="http://schemas.microsoft.com/office/drawing/2014/chart" uri="{C3380CC4-5D6E-409C-BE32-E72D297353CC}">
                  <c16:uniqueId val="{00000003-0A1F-4AE6-9280-0799A576B339}"/>
                </c:ext>
              </c:extLst>
            </c:dLbl>
            <c:dLbl>
              <c:idx val="3"/>
              <c:layout>
                <c:manualLayout>
                  <c:x val="0.31570169799809278"/>
                  <c:y val="5.5829692777227775E-2"/>
                </c:manualLayout>
              </c:layout>
              <c:tx>
                <c:rich>
                  <a:bodyPr/>
                  <a:lstStyle/>
                  <a:p>
                    <a:fld id="{B1EFD7D3-A5B8-44EE-963F-A837BF47693B}" type="CATEGORYNAME">
                      <a:rPr lang="en-US" smtClean="0"/>
                      <a:pPr/>
                      <a:t>[NAZWA KATEGORII]</a:t>
                    </a:fld>
                    <a:endParaRPr lang="en-US" dirty="0"/>
                  </a:p>
                  <a:p>
                    <a:r>
                      <a:rPr lang="en-US" baseline="0" dirty="0"/>
                      <a:t> </a:t>
                    </a:r>
                    <a:fld id="{674583C3-C8C9-4D7E-B72C-083707C06720}"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0A1F-4AE6-9280-0799A576B339}"/>
                </c:ext>
              </c:extLst>
            </c:dLbl>
            <c:spPr>
              <a:noFill/>
              <a:ln>
                <a:noFill/>
              </a:ln>
              <a:effectLst/>
            </c:spPr>
            <c:txPr>
              <a:bodyPr rot="0" spcFirstLastPara="1" vertOverflow="ellipsis" vert="horz" wrap="square" anchor="ctr" anchorCtr="1"/>
              <a:lstStyle/>
              <a:p>
                <a:pPr>
                  <a:defRPr sz="6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Лист1!$A$2:$A$5</c:f>
              <c:strCache>
                <c:ptCount val="4"/>
                <c:pt idx="0">
                  <c:v>China</c:v>
                </c:pt>
                <c:pt idx="1">
                  <c:v>Russia</c:v>
                </c:pt>
                <c:pt idx="2">
                  <c:v>Tajikistan</c:v>
                </c:pt>
                <c:pt idx="3">
                  <c:v>Belarus</c:v>
                </c:pt>
              </c:strCache>
            </c:strRef>
          </c:cat>
          <c:val>
            <c:numRef>
              <c:f>Лист1!$B$2:$B$5</c:f>
              <c:numCache>
                <c:formatCode>General</c:formatCode>
                <c:ptCount val="4"/>
                <c:pt idx="0">
                  <c:v>229.8</c:v>
                </c:pt>
                <c:pt idx="1">
                  <c:v>7.7</c:v>
                </c:pt>
                <c:pt idx="2">
                  <c:v>1.3</c:v>
                </c:pt>
                <c:pt idx="3">
                  <c:v>1.3</c:v>
                </c:pt>
              </c:numCache>
            </c:numRef>
          </c:val>
          <c:extLst>
            <c:ext xmlns:c16="http://schemas.microsoft.com/office/drawing/2014/chart" uri="{C3380CC4-5D6E-409C-BE32-E72D297353CC}">
              <c16:uniqueId val="{00000000-0A1F-4AE6-9280-0799A576B339}"/>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sz="800">
          <a:latin typeface="Century Gothic" panose="020B0502020202020204" pitchFamily="34" charset="0"/>
        </a:defRPr>
      </a:pPr>
      <a:endParaRPr lang="ru-RU"/>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6"/>
    </mc:Choice>
    <mc:Fallback>
      <c:style val="6"/>
    </mc:Fallback>
  </mc:AlternateContent>
  <c:chart>
    <c:title>
      <c:tx>
        <c:rich>
          <a:bodyPr rot="0" spcFirstLastPara="1" vertOverflow="ellipsis" vert="horz" wrap="square" anchor="ctr" anchorCtr="1"/>
          <a:lstStyle/>
          <a:p>
            <a:pPr>
              <a:defRPr sz="960" b="1" i="0" u="none" strike="noStrike" kern="1200" spc="0" baseline="0">
                <a:solidFill>
                  <a:schemeClr val="tx1">
                    <a:lumMod val="65000"/>
                    <a:lumOff val="35000"/>
                  </a:schemeClr>
                </a:solidFill>
                <a:latin typeface="Century Gothic" panose="020B0502020202020204" pitchFamily="34" charset="0"/>
                <a:ea typeface="+mn-ea"/>
                <a:cs typeface="+mn-cs"/>
              </a:defRPr>
            </a:pPr>
            <a:r>
              <a:rPr lang="en-US" dirty="0"/>
              <a:t>Import</a:t>
            </a:r>
            <a:endParaRPr lang="ru-RU" dirty="0"/>
          </a:p>
        </c:rich>
      </c:tx>
      <c:layout>
        <c:manualLayout>
          <c:xMode val="edge"/>
          <c:yMode val="edge"/>
          <c:x val="0.40218984668783236"/>
          <c:y val="0"/>
        </c:manualLayout>
      </c:layout>
      <c:overlay val="0"/>
      <c:spPr>
        <a:noFill/>
        <a:ln>
          <a:noFill/>
        </a:ln>
        <a:effectLst/>
      </c:spPr>
      <c:txPr>
        <a:bodyPr rot="0" spcFirstLastPara="1" vertOverflow="ellipsis" vert="horz" wrap="square" anchor="ctr" anchorCtr="1"/>
        <a:lstStyle/>
        <a:p>
          <a:pPr>
            <a:defRPr sz="960" b="1" i="0" u="none" strike="noStrike" kern="1200" spc="0" baseline="0">
              <a:solidFill>
                <a:schemeClr val="tx1">
                  <a:lumMod val="65000"/>
                  <a:lumOff val="35000"/>
                </a:schemeClr>
              </a:solidFill>
              <a:latin typeface="Century Gothic" panose="020B0502020202020204" pitchFamily="34" charset="0"/>
              <a:ea typeface="+mn-ea"/>
              <a:cs typeface="+mn-cs"/>
            </a:defRPr>
          </a:pPr>
          <a:endParaRPr lang="ru-RU"/>
        </a:p>
      </c:txPr>
    </c:title>
    <c:autoTitleDeleted val="0"/>
    <c:plotArea>
      <c:layout/>
      <c:pieChart>
        <c:varyColors val="1"/>
        <c:ser>
          <c:idx val="0"/>
          <c:order val="0"/>
          <c:tx>
            <c:strRef>
              <c:f>Лист1!$B$1</c:f>
              <c:strCache>
                <c:ptCount val="1"/>
                <c:pt idx="0">
                  <c:v>Import</c:v>
                </c:pt>
              </c:strCache>
            </c:strRef>
          </c:tx>
          <c:dPt>
            <c:idx val="0"/>
            <c:bubble3D val="0"/>
            <c:spPr>
              <a:solidFill>
                <a:schemeClr val="accent4">
                  <a:tint val="50000"/>
                </a:schemeClr>
              </a:solidFill>
              <a:ln w="19050">
                <a:solidFill>
                  <a:schemeClr val="lt1"/>
                </a:solidFill>
              </a:ln>
              <a:effectLst/>
            </c:spPr>
            <c:extLst>
              <c:ext xmlns:c16="http://schemas.microsoft.com/office/drawing/2014/chart" uri="{C3380CC4-5D6E-409C-BE32-E72D297353CC}">
                <c16:uniqueId val="{00000001-F8F7-4409-A595-9DD62FA5AFC7}"/>
              </c:ext>
            </c:extLst>
          </c:dPt>
          <c:dPt>
            <c:idx val="1"/>
            <c:bubble3D val="0"/>
            <c:spPr>
              <a:solidFill>
                <a:schemeClr val="accent4">
                  <a:tint val="70000"/>
                </a:schemeClr>
              </a:solidFill>
              <a:ln w="19050">
                <a:solidFill>
                  <a:schemeClr val="lt1"/>
                </a:solidFill>
              </a:ln>
              <a:effectLst/>
            </c:spPr>
            <c:extLst>
              <c:ext xmlns:c16="http://schemas.microsoft.com/office/drawing/2014/chart" uri="{C3380CC4-5D6E-409C-BE32-E72D297353CC}">
                <c16:uniqueId val="{00000003-F8F7-4409-A595-9DD62FA5AFC7}"/>
              </c:ext>
            </c:extLst>
          </c:dPt>
          <c:dPt>
            <c:idx val="2"/>
            <c:bubble3D val="0"/>
            <c:spPr>
              <a:solidFill>
                <a:schemeClr val="accent4">
                  <a:tint val="90000"/>
                </a:schemeClr>
              </a:solidFill>
              <a:ln w="19050">
                <a:solidFill>
                  <a:schemeClr val="lt1"/>
                </a:solidFill>
              </a:ln>
              <a:effectLst/>
            </c:spPr>
            <c:extLst>
              <c:ext xmlns:c16="http://schemas.microsoft.com/office/drawing/2014/chart" uri="{C3380CC4-5D6E-409C-BE32-E72D297353CC}">
                <c16:uniqueId val="{00000005-F8F7-4409-A595-9DD62FA5AFC7}"/>
              </c:ext>
            </c:extLst>
          </c:dPt>
          <c:dPt>
            <c:idx val="3"/>
            <c:bubble3D val="0"/>
            <c:spPr>
              <a:solidFill>
                <a:schemeClr val="accent4">
                  <a:shade val="90000"/>
                </a:schemeClr>
              </a:solidFill>
              <a:ln w="19050">
                <a:solidFill>
                  <a:schemeClr val="lt1"/>
                </a:solidFill>
              </a:ln>
              <a:effectLst/>
            </c:spPr>
            <c:extLst>
              <c:ext xmlns:c16="http://schemas.microsoft.com/office/drawing/2014/chart" uri="{C3380CC4-5D6E-409C-BE32-E72D297353CC}">
                <c16:uniqueId val="{00000007-F8F7-4409-A595-9DD62FA5AFC7}"/>
              </c:ext>
            </c:extLst>
          </c:dPt>
          <c:dPt>
            <c:idx val="4"/>
            <c:bubble3D val="0"/>
            <c:spPr>
              <a:solidFill>
                <a:schemeClr val="accent4">
                  <a:shade val="70000"/>
                </a:schemeClr>
              </a:solidFill>
              <a:ln w="19050">
                <a:solidFill>
                  <a:schemeClr val="lt1"/>
                </a:solidFill>
              </a:ln>
              <a:effectLst/>
            </c:spPr>
            <c:extLst>
              <c:ext xmlns:c16="http://schemas.microsoft.com/office/drawing/2014/chart" uri="{C3380CC4-5D6E-409C-BE32-E72D297353CC}">
                <c16:uniqueId val="{00000009-F8F7-4409-A595-9DD62FA5AFC7}"/>
              </c:ext>
            </c:extLst>
          </c:dPt>
          <c:dPt>
            <c:idx val="5"/>
            <c:bubble3D val="0"/>
            <c:spPr>
              <a:solidFill>
                <a:schemeClr val="accent4">
                  <a:shade val="50000"/>
                </a:schemeClr>
              </a:solidFill>
              <a:ln w="19050">
                <a:solidFill>
                  <a:schemeClr val="lt1"/>
                </a:solidFill>
              </a:ln>
              <a:effectLst/>
            </c:spPr>
            <c:extLst>
              <c:ext xmlns:c16="http://schemas.microsoft.com/office/drawing/2014/chart" uri="{C3380CC4-5D6E-409C-BE32-E72D297353CC}">
                <c16:uniqueId val="{0000000A-F8F7-4409-A595-9DD62FA5AFC7}"/>
              </c:ext>
            </c:extLst>
          </c:dPt>
          <c:dLbls>
            <c:dLbl>
              <c:idx val="0"/>
              <c:layout>
                <c:manualLayout>
                  <c:x val="0.25582635186595581"/>
                  <c:y val="-9.7979179424372313E-4"/>
                </c:manualLayout>
              </c:layout>
              <c:tx>
                <c:rich>
                  <a:bodyPr/>
                  <a:lstStyle/>
                  <a:p>
                    <a:fld id="{A41F0BED-8032-4A5A-8F36-1EB1467649BA}" type="CATEGORYNAME">
                      <a:rPr lang="en-US" smtClean="0"/>
                      <a:pPr/>
                      <a:t>[NAZWA KATEGORII]</a:t>
                    </a:fld>
                    <a:r>
                      <a:rPr lang="en-US" baseline="0" dirty="0"/>
                      <a:t> </a:t>
                    </a:r>
                  </a:p>
                  <a:p>
                    <a:fld id="{5D3717C2-4681-4FF6-AF50-B115DE1DFC58}" type="VALUE">
                      <a:rPr lang="en-US" baseline="0" smtClean="0"/>
                      <a:pPr/>
                      <a:t>[WARTOŚĆ]</a:t>
                    </a:fld>
                    <a:endParaRPr lang="pl-PL"/>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F8F7-4409-A595-9DD62FA5AFC7}"/>
                </c:ext>
              </c:extLst>
            </c:dLbl>
            <c:dLbl>
              <c:idx val="1"/>
              <c:layout>
                <c:manualLayout>
                  <c:x val="-1.1768778687823439E-2"/>
                  <c:y val="2.8896925441079621E-2"/>
                </c:manualLayout>
              </c:layout>
              <c:tx>
                <c:rich>
                  <a:bodyPr/>
                  <a:lstStyle/>
                  <a:p>
                    <a:fld id="{71B4AD3C-B2BD-40D7-8382-04D945C0A61C}" type="CATEGORYNAME">
                      <a:rPr lang="en-US" smtClean="0"/>
                      <a:pPr/>
                      <a:t>[NAZWA KATEGORII]</a:t>
                    </a:fld>
                    <a:endParaRPr lang="en-US" dirty="0"/>
                  </a:p>
                  <a:p>
                    <a:r>
                      <a:rPr lang="en-US" baseline="0" dirty="0"/>
                      <a:t> </a:t>
                    </a:r>
                    <a:fld id="{B90315A4-D8EA-45A9-9ABD-EE2F47ACC12E}"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F8F7-4409-A595-9DD62FA5AFC7}"/>
                </c:ext>
              </c:extLst>
            </c:dLbl>
            <c:dLbl>
              <c:idx val="2"/>
              <c:layout>
                <c:manualLayout>
                  <c:x val="-3.9687452908186746E-2"/>
                  <c:y val="-9.5596714000161752E-3"/>
                </c:manualLayout>
              </c:layout>
              <c:tx>
                <c:rich>
                  <a:bodyPr/>
                  <a:lstStyle/>
                  <a:p>
                    <a:fld id="{617B7342-93B0-4EAC-8171-1A7BD07E1FCD}" type="CATEGORYNAME">
                      <a:rPr lang="en-US" smtClean="0"/>
                      <a:pPr/>
                      <a:t>[NAZWA KATEGORII]</a:t>
                    </a:fld>
                    <a:r>
                      <a:rPr lang="en-US" baseline="0" dirty="0"/>
                      <a:t> </a:t>
                    </a:r>
                  </a:p>
                  <a:p>
                    <a:fld id="{4711DF05-5FFC-4DC1-B903-78D7834ABA0F}" type="VALUE">
                      <a:rPr lang="en-US" baseline="0" smtClean="0"/>
                      <a:pPr/>
                      <a:t>[WARTOŚĆ]</a:t>
                    </a:fld>
                    <a:endParaRPr lang="pl-PL"/>
                  </a:p>
                </c:rich>
              </c:tx>
              <c:showLegendKey val="0"/>
              <c:showVal val="1"/>
              <c:showCatName val="1"/>
              <c:showSerName val="0"/>
              <c:showPercent val="0"/>
              <c:showBubbleSize val="0"/>
              <c:extLst>
                <c:ext xmlns:c15="http://schemas.microsoft.com/office/drawing/2012/chart" uri="{CE6537A1-D6FC-4f65-9D91-7224C49458BB}">
                  <c15:layout>
                    <c:manualLayout>
                      <c:w val="0.2254301900778313"/>
                      <c:h val="0.11851783382823601"/>
                    </c:manualLayout>
                  </c15:layout>
                  <c15:dlblFieldTable/>
                  <c15:showDataLabelsRange val="0"/>
                </c:ext>
                <c:ext xmlns:c16="http://schemas.microsoft.com/office/drawing/2014/chart" uri="{C3380CC4-5D6E-409C-BE32-E72D297353CC}">
                  <c16:uniqueId val="{00000005-F8F7-4409-A595-9DD62FA5AFC7}"/>
                </c:ext>
              </c:extLst>
            </c:dLbl>
            <c:dLbl>
              <c:idx val="3"/>
              <c:layout>
                <c:manualLayout>
                  <c:x val="1.8164712398841695E-4"/>
                  <c:y val="1.4743093507723948E-2"/>
                </c:manualLayout>
              </c:layout>
              <c:tx>
                <c:rich>
                  <a:bodyPr/>
                  <a:lstStyle/>
                  <a:p>
                    <a:fld id="{CB9EC3A5-F98A-4AD6-A0AF-AE46A2AE8043}" type="CATEGORYNAME">
                      <a:rPr lang="en-US" smtClean="0"/>
                      <a:pPr/>
                      <a:t>[NAZWA KATEGORII]</a:t>
                    </a:fld>
                    <a:r>
                      <a:rPr lang="en-US" baseline="0" dirty="0"/>
                      <a:t> </a:t>
                    </a:r>
                    <a:fld id="{674583C3-C8C9-4D7E-B72C-083707C06720}"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F8F7-4409-A595-9DD62FA5AFC7}"/>
                </c:ext>
              </c:extLst>
            </c:dLbl>
            <c:dLbl>
              <c:idx val="4"/>
              <c:layout>
                <c:manualLayout>
                  <c:x val="1.0734082458019559E-2"/>
                  <c:y val="3.8623207662711297E-3"/>
                </c:manualLayout>
              </c:layout>
              <c:tx>
                <c:rich>
                  <a:bodyPr/>
                  <a:lstStyle/>
                  <a:p>
                    <a:fld id="{C247B281-75C8-498A-9884-1FDB281D1C48}" type="CATEGORYNAME">
                      <a:rPr lang="en-US" smtClean="0"/>
                      <a:pPr/>
                      <a:t>[NAZWA KATEGORII]</a:t>
                    </a:fld>
                    <a:r>
                      <a:rPr lang="en-US" baseline="0" dirty="0"/>
                      <a:t> </a:t>
                    </a:r>
                    <a:fld id="{174F9020-77EA-4049-8478-814434DD34B1}" type="VALUE">
                      <a:rPr lang="en-US" baseline="0" dirty="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layout>
                    <c:manualLayout>
                      <c:w val="0.24535557628161006"/>
                      <c:h val="0.10394897688014881"/>
                    </c:manualLayout>
                  </c15:layout>
                  <c15:dlblFieldTable/>
                  <c15:showDataLabelsRange val="0"/>
                </c:ext>
                <c:ext xmlns:c16="http://schemas.microsoft.com/office/drawing/2014/chart" uri="{C3380CC4-5D6E-409C-BE32-E72D297353CC}">
                  <c16:uniqueId val="{00000009-F8F7-4409-A595-9DD62FA5AFC7}"/>
                </c:ext>
              </c:extLst>
            </c:dLbl>
            <c:dLbl>
              <c:idx val="5"/>
              <c:layout>
                <c:manualLayout>
                  <c:x val="-7.6696221658364941E-2"/>
                  <c:y val="-5.5355925545066943E-2"/>
                </c:manualLayout>
              </c:layout>
              <c:tx>
                <c:rich>
                  <a:bodyPr/>
                  <a:lstStyle/>
                  <a:p>
                    <a:fld id="{AEEE8209-07C8-4BCE-96BB-CEE87A0246C0}" type="CATEGORYNAME">
                      <a:rPr lang="en-US" smtClean="0"/>
                      <a:pPr/>
                      <a:t>[NAZWA KATEGORII]</a:t>
                    </a:fld>
                    <a:endParaRPr lang="en-US" dirty="0"/>
                  </a:p>
                  <a:p>
                    <a:fld id="{9FA31063-FAB0-4CA0-9540-6D8BAC4B4843}" type="VALUE">
                      <a:rPr lang="en-US" baseline="0" smtClean="0"/>
                      <a:pPr/>
                      <a:t>[WARTOŚĆ]</a:t>
                    </a:fld>
                    <a:endParaRPr lang="pl-PL"/>
                  </a:p>
                </c:rich>
              </c:tx>
              <c:showLegendKey val="0"/>
              <c:showVal val="1"/>
              <c:showCatName val="1"/>
              <c:showSerName val="0"/>
              <c:showPercent val="0"/>
              <c:showBubbleSize val="0"/>
              <c:extLst>
                <c:ext xmlns:c15="http://schemas.microsoft.com/office/drawing/2012/chart" uri="{CE6537A1-D6FC-4f65-9D91-7224C49458BB}">
                  <c15:layout>
                    <c:manualLayout>
                      <c:w val="0.20821729231746705"/>
                      <c:h val="0.10394897688014881"/>
                    </c:manualLayout>
                  </c15:layout>
                  <c15:dlblFieldTable/>
                  <c15:showDataLabelsRange val="0"/>
                </c:ext>
                <c:ext xmlns:c16="http://schemas.microsoft.com/office/drawing/2014/chart" uri="{C3380CC4-5D6E-409C-BE32-E72D297353CC}">
                  <c16:uniqueId val="{0000000A-F8F7-4409-A595-9DD62FA5AFC7}"/>
                </c:ext>
              </c:extLst>
            </c:dLbl>
            <c:spPr>
              <a:noFill/>
              <a:ln>
                <a:noFill/>
              </a:ln>
              <a:effectLst/>
            </c:spPr>
            <c:txPr>
              <a:bodyPr rot="0" spcFirstLastPara="1" vertOverflow="ellipsis" vert="horz" wrap="square" anchor="ctr" anchorCtr="1"/>
              <a:lstStyle/>
              <a:p>
                <a:pPr>
                  <a:defRPr sz="6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Лист1!$A$2:$A$7</c:f>
              <c:strCache>
                <c:ptCount val="6"/>
                <c:pt idx="0">
                  <c:v>China</c:v>
                </c:pt>
                <c:pt idx="1">
                  <c:v>Russia</c:v>
                </c:pt>
                <c:pt idx="2">
                  <c:v>Germany</c:v>
                </c:pt>
                <c:pt idx="3">
                  <c:v>Poland</c:v>
                </c:pt>
                <c:pt idx="4">
                  <c:v>Netherlands</c:v>
                </c:pt>
                <c:pt idx="5">
                  <c:v>other</c:v>
                </c:pt>
              </c:strCache>
            </c:strRef>
          </c:cat>
          <c:val>
            <c:numRef>
              <c:f>Лист1!$B$2:$B$7</c:f>
              <c:numCache>
                <c:formatCode>General</c:formatCode>
                <c:ptCount val="6"/>
                <c:pt idx="0">
                  <c:v>1.5</c:v>
                </c:pt>
                <c:pt idx="1">
                  <c:v>42.2</c:v>
                </c:pt>
                <c:pt idx="2">
                  <c:v>4</c:v>
                </c:pt>
                <c:pt idx="3">
                  <c:v>3.9</c:v>
                </c:pt>
                <c:pt idx="4">
                  <c:v>3.3</c:v>
                </c:pt>
                <c:pt idx="5">
                  <c:v>11.3</c:v>
                </c:pt>
              </c:numCache>
            </c:numRef>
          </c:val>
          <c:extLst>
            <c:ext xmlns:c16="http://schemas.microsoft.com/office/drawing/2014/chart" uri="{C3380CC4-5D6E-409C-BE32-E72D297353CC}">
              <c16:uniqueId val="{00000008-F8F7-4409-A595-9DD62FA5AFC7}"/>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sz="800">
          <a:latin typeface="Century Gothic" panose="020B0502020202020204" pitchFamily="34" charset="0"/>
        </a:defRPr>
      </a:pPr>
      <a:endParaRPr lang="ru-RU"/>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doughnutChart>
        <c:varyColors val="1"/>
        <c:ser>
          <c:idx val="0"/>
          <c:order val="0"/>
          <c:tx>
            <c:strRef>
              <c:f>Лист1!$B$1</c:f>
              <c:strCache>
                <c:ptCount val="1"/>
                <c:pt idx="0">
                  <c:v>Продажи</c:v>
                </c:pt>
              </c:strCache>
            </c:strRef>
          </c:tx>
          <c:dPt>
            <c:idx val="0"/>
            <c:bubble3D val="0"/>
            <c:spPr>
              <a:pattFill prst="ltUpDiag">
                <a:fgClr>
                  <a:schemeClr val="accent1">
                    <a:shade val="41000"/>
                  </a:schemeClr>
                </a:fgClr>
                <a:bgClr>
                  <a:schemeClr val="accent1">
                    <a:shade val="41000"/>
                    <a:lumMod val="20000"/>
                    <a:lumOff val="80000"/>
                  </a:schemeClr>
                </a:bgClr>
              </a:pattFill>
              <a:ln w="19050">
                <a:solidFill>
                  <a:schemeClr val="lt1"/>
                </a:solidFill>
              </a:ln>
              <a:effectLst>
                <a:innerShdw blurRad="114300">
                  <a:schemeClr val="accent1">
                    <a:shade val="41000"/>
                  </a:schemeClr>
                </a:innerShdw>
              </a:effectLst>
            </c:spPr>
            <c:extLst>
              <c:ext xmlns:c16="http://schemas.microsoft.com/office/drawing/2014/chart" uri="{C3380CC4-5D6E-409C-BE32-E72D297353CC}">
                <c16:uniqueId val="{00000002-F691-40C7-B65E-6409D0FA16B9}"/>
              </c:ext>
            </c:extLst>
          </c:dPt>
          <c:dPt>
            <c:idx val="1"/>
            <c:bubble3D val="0"/>
            <c:spPr>
              <a:pattFill prst="ltUpDiag">
                <a:fgClr>
                  <a:schemeClr val="accent1">
                    <a:shade val="53000"/>
                  </a:schemeClr>
                </a:fgClr>
                <a:bgClr>
                  <a:schemeClr val="accent1">
                    <a:shade val="53000"/>
                    <a:lumMod val="20000"/>
                    <a:lumOff val="80000"/>
                  </a:schemeClr>
                </a:bgClr>
              </a:pattFill>
              <a:ln w="19050">
                <a:solidFill>
                  <a:schemeClr val="lt1"/>
                </a:solidFill>
              </a:ln>
              <a:effectLst>
                <a:innerShdw blurRad="114300">
                  <a:schemeClr val="accent1">
                    <a:shade val="53000"/>
                  </a:schemeClr>
                </a:innerShdw>
              </a:effectLst>
            </c:spPr>
            <c:extLst>
              <c:ext xmlns:c16="http://schemas.microsoft.com/office/drawing/2014/chart" uri="{C3380CC4-5D6E-409C-BE32-E72D297353CC}">
                <c16:uniqueId val="{00000003-F691-40C7-B65E-6409D0FA16B9}"/>
              </c:ext>
            </c:extLst>
          </c:dPt>
          <c:dPt>
            <c:idx val="2"/>
            <c:bubble3D val="0"/>
            <c:spPr>
              <a:pattFill prst="ltUpDiag">
                <a:fgClr>
                  <a:schemeClr val="accent1">
                    <a:shade val="65000"/>
                  </a:schemeClr>
                </a:fgClr>
                <a:bgClr>
                  <a:schemeClr val="accent1">
                    <a:shade val="65000"/>
                    <a:lumMod val="20000"/>
                    <a:lumOff val="80000"/>
                  </a:schemeClr>
                </a:bgClr>
              </a:pattFill>
              <a:ln w="19050">
                <a:solidFill>
                  <a:schemeClr val="lt1"/>
                </a:solidFill>
              </a:ln>
              <a:effectLst>
                <a:innerShdw blurRad="114300">
                  <a:schemeClr val="accent1">
                    <a:shade val="65000"/>
                  </a:schemeClr>
                </a:innerShdw>
              </a:effectLst>
            </c:spPr>
            <c:extLst>
              <c:ext xmlns:c16="http://schemas.microsoft.com/office/drawing/2014/chart" uri="{C3380CC4-5D6E-409C-BE32-E72D297353CC}">
                <c16:uniqueId val="{00000004-F691-40C7-B65E-6409D0FA16B9}"/>
              </c:ext>
            </c:extLst>
          </c:dPt>
          <c:dPt>
            <c:idx val="3"/>
            <c:bubble3D val="0"/>
            <c:spPr>
              <a:pattFill prst="ltUpDiag">
                <a:fgClr>
                  <a:schemeClr val="accent1">
                    <a:shade val="76000"/>
                  </a:schemeClr>
                </a:fgClr>
                <a:bgClr>
                  <a:schemeClr val="accent1">
                    <a:shade val="76000"/>
                    <a:lumMod val="20000"/>
                    <a:lumOff val="80000"/>
                  </a:schemeClr>
                </a:bgClr>
              </a:pattFill>
              <a:ln w="19050">
                <a:solidFill>
                  <a:schemeClr val="lt1"/>
                </a:solidFill>
              </a:ln>
              <a:effectLst>
                <a:innerShdw blurRad="114300">
                  <a:schemeClr val="accent1">
                    <a:shade val="76000"/>
                  </a:schemeClr>
                </a:innerShdw>
              </a:effectLst>
            </c:spPr>
            <c:extLst>
              <c:ext xmlns:c16="http://schemas.microsoft.com/office/drawing/2014/chart" uri="{C3380CC4-5D6E-409C-BE32-E72D297353CC}">
                <c16:uniqueId val="{00000005-F691-40C7-B65E-6409D0FA16B9}"/>
              </c:ext>
            </c:extLst>
          </c:dPt>
          <c:dPt>
            <c:idx val="4"/>
            <c:bubble3D val="0"/>
            <c:spPr>
              <a:pattFill prst="ltUpDiag">
                <a:fgClr>
                  <a:schemeClr val="accent1">
                    <a:shade val="88000"/>
                  </a:schemeClr>
                </a:fgClr>
                <a:bgClr>
                  <a:schemeClr val="accent1">
                    <a:shade val="88000"/>
                    <a:lumMod val="20000"/>
                    <a:lumOff val="80000"/>
                  </a:schemeClr>
                </a:bgClr>
              </a:pattFill>
              <a:ln w="19050">
                <a:solidFill>
                  <a:schemeClr val="lt1"/>
                </a:solidFill>
              </a:ln>
              <a:effectLst>
                <a:innerShdw blurRad="114300">
                  <a:schemeClr val="accent1">
                    <a:shade val="88000"/>
                  </a:schemeClr>
                </a:innerShdw>
              </a:effectLst>
            </c:spPr>
            <c:extLst>
              <c:ext xmlns:c16="http://schemas.microsoft.com/office/drawing/2014/chart" uri="{C3380CC4-5D6E-409C-BE32-E72D297353CC}">
                <c16:uniqueId val="{00000006-F691-40C7-B65E-6409D0FA16B9}"/>
              </c:ext>
            </c:extLst>
          </c:dPt>
          <c:dPt>
            <c:idx val="5"/>
            <c:bubble3D val="0"/>
            <c:spPr>
              <a:pattFill prst="ltUpDiag">
                <a:fgClr>
                  <a:schemeClr val="accent1"/>
                </a:fgClr>
                <a:bgClr>
                  <a:schemeClr val="accent1">
                    <a:lumMod val="20000"/>
                    <a:lumOff val="80000"/>
                  </a:schemeClr>
                </a:bgClr>
              </a:pattFill>
              <a:ln w="19050">
                <a:solidFill>
                  <a:schemeClr val="lt1"/>
                </a:solidFill>
              </a:ln>
              <a:effectLst>
                <a:innerShdw blurRad="114300">
                  <a:schemeClr val="accent1"/>
                </a:innerShdw>
              </a:effectLst>
            </c:spPr>
            <c:extLst>
              <c:ext xmlns:c16="http://schemas.microsoft.com/office/drawing/2014/chart" uri="{C3380CC4-5D6E-409C-BE32-E72D297353CC}">
                <c16:uniqueId val="{00000007-F691-40C7-B65E-6409D0FA16B9}"/>
              </c:ext>
            </c:extLst>
          </c:dPt>
          <c:dPt>
            <c:idx val="6"/>
            <c:bubble3D val="0"/>
            <c:spPr>
              <a:pattFill prst="ltUpDiag">
                <a:fgClr>
                  <a:schemeClr val="accent1">
                    <a:tint val="89000"/>
                  </a:schemeClr>
                </a:fgClr>
                <a:bgClr>
                  <a:schemeClr val="accent1">
                    <a:tint val="89000"/>
                    <a:lumMod val="20000"/>
                    <a:lumOff val="80000"/>
                  </a:schemeClr>
                </a:bgClr>
              </a:pattFill>
              <a:ln w="19050">
                <a:solidFill>
                  <a:schemeClr val="lt1"/>
                </a:solidFill>
              </a:ln>
              <a:effectLst>
                <a:innerShdw blurRad="114300">
                  <a:schemeClr val="accent1">
                    <a:tint val="89000"/>
                  </a:schemeClr>
                </a:innerShdw>
              </a:effectLst>
            </c:spPr>
            <c:extLst>
              <c:ext xmlns:c16="http://schemas.microsoft.com/office/drawing/2014/chart" uri="{C3380CC4-5D6E-409C-BE32-E72D297353CC}">
                <c16:uniqueId val="{00000008-F691-40C7-B65E-6409D0FA16B9}"/>
              </c:ext>
            </c:extLst>
          </c:dPt>
          <c:dPt>
            <c:idx val="7"/>
            <c:bubble3D val="0"/>
            <c:spPr>
              <a:pattFill prst="ltUpDiag">
                <a:fgClr>
                  <a:schemeClr val="accent1">
                    <a:tint val="77000"/>
                  </a:schemeClr>
                </a:fgClr>
                <a:bgClr>
                  <a:schemeClr val="accent1">
                    <a:tint val="77000"/>
                    <a:lumMod val="20000"/>
                    <a:lumOff val="80000"/>
                  </a:schemeClr>
                </a:bgClr>
              </a:pattFill>
              <a:ln w="19050">
                <a:solidFill>
                  <a:schemeClr val="lt1"/>
                </a:solidFill>
              </a:ln>
              <a:effectLst>
                <a:innerShdw blurRad="114300">
                  <a:schemeClr val="accent1">
                    <a:tint val="77000"/>
                  </a:schemeClr>
                </a:innerShdw>
              </a:effectLst>
            </c:spPr>
            <c:extLst>
              <c:ext xmlns:c16="http://schemas.microsoft.com/office/drawing/2014/chart" uri="{C3380CC4-5D6E-409C-BE32-E72D297353CC}">
                <c16:uniqueId val="{00000009-F691-40C7-B65E-6409D0FA16B9}"/>
              </c:ext>
            </c:extLst>
          </c:dPt>
          <c:dPt>
            <c:idx val="8"/>
            <c:bubble3D val="0"/>
            <c:spPr>
              <a:pattFill prst="ltUpDiag">
                <a:fgClr>
                  <a:schemeClr val="accent1">
                    <a:tint val="65000"/>
                  </a:schemeClr>
                </a:fgClr>
                <a:bgClr>
                  <a:schemeClr val="accent1">
                    <a:tint val="65000"/>
                    <a:lumMod val="20000"/>
                    <a:lumOff val="80000"/>
                  </a:schemeClr>
                </a:bgClr>
              </a:pattFill>
              <a:ln w="19050">
                <a:solidFill>
                  <a:schemeClr val="lt1"/>
                </a:solidFill>
              </a:ln>
              <a:effectLst>
                <a:innerShdw blurRad="114300">
                  <a:schemeClr val="accent1">
                    <a:tint val="65000"/>
                  </a:schemeClr>
                </a:innerShdw>
              </a:effectLst>
            </c:spPr>
            <c:extLst>
              <c:ext xmlns:c16="http://schemas.microsoft.com/office/drawing/2014/chart" uri="{C3380CC4-5D6E-409C-BE32-E72D297353CC}">
                <c16:uniqueId val="{0000000A-F691-40C7-B65E-6409D0FA16B9}"/>
              </c:ext>
            </c:extLst>
          </c:dPt>
          <c:dPt>
            <c:idx val="9"/>
            <c:bubble3D val="0"/>
            <c:spPr>
              <a:pattFill prst="ltUpDiag">
                <a:fgClr>
                  <a:schemeClr val="accent1">
                    <a:tint val="54000"/>
                  </a:schemeClr>
                </a:fgClr>
                <a:bgClr>
                  <a:schemeClr val="accent1">
                    <a:tint val="54000"/>
                    <a:lumMod val="20000"/>
                    <a:lumOff val="80000"/>
                  </a:schemeClr>
                </a:bgClr>
              </a:pattFill>
              <a:ln w="19050">
                <a:solidFill>
                  <a:schemeClr val="lt1"/>
                </a:solidFill>
              </a:ln>
              <a:effectLst>
                <a:innerShdw blurRad="114300">
                  <a:schemeClr val="accent1">
                    <a:tint val="54000"/>
                  </a:schemeClr>
                </a:innerShdw>
              </a:effectLst>
            </c:spPr>
            <c:extLst>
              <c:ext xmlns:c16="http://schemas.microsoft.com/office/drawing/2014/chart" uri="{C3380CC4-5D6E-409C-BE32-E72D297353CC}">
                <c16:uniqueId val="{0000000B-F691-40C7-B65E-6409D0FA16B9}"/>
              </c:ext>
            </c:extLst>
          </c:dPt>
          <c:dPt>
            <c:idx val="10"/>
            <c:bubble3D val="0"/>
            <c:spPr>
              <a:pattFill prst="ltUpDiag">
                <a:fgClr>
                  <a:schemeClr val="accent1">
                    <a:tint val="42000"/>
                  </a:schemeClr>
                </a:fgClr>
                <a:bgClr>
                  <a:schemeClr val="accent1">
                    <a:tint val="42000"/>
                    <a:lumMod val="20000"/>
                    <a:lumOff val="80000"/>
                  </a:schemeClr>
                </a:bgClr>
              </a:pattFill>
              <a:ln w="19050">
                <a:solidFill>
                  <a:schemeClr val="lt1"/>
                </a:solidFill>
              </a:ln>
              <a:effectLst>
                <a:innerShdw blurRad="114300">
                  <a:schemeClr val="accent1">
                    <a:tint val="42000"/>
                  </a:schemeClr>
                </a:innerShdw>
              </a:effectLst>
            </c:spPr>
            <c:extLst>
              <c:ext xmlns:c16="http://schemas.microsoft.com/office/drawing/2014/chart" uri="{C3380CC4-5D6E-409C-BE32-E72D297353CC}">
                <c16:uniqueId val="{00000001-F691-40C7-B65E-6409D0FA16B9}"/>
              </c:ext>
            </c:extLst>
          </c:dPt>
          <c:dLbls>
            <c:dLbl>
              <c:idx val="0"/>
              <c:layout>
                <c:manualLayout>
                  <c:x val="0.14803992803938407"/>
                  <c:y val="-0.10519913284674297"/>
                </c:manualLayout>
              </c:layout>
              <c:tx>
                <c:rich>
                  <a:bodyPr/>
                  <a:lstStyle/>
                  <a:p>
                    <a:fld id="{1E7F2F24-ED93-40CD-AB71-C58AFDE0A647}" type="CATEGORYNAME">
                      <a:rPr lang="en-US" smtClean="0"/>
                      <a:pPr/>
                      <a:t>[NAZWA KATEGORII]</a:t>
                    </a:fld>
                    <a:endParaRPr lang="en-US" dirty="0"/>
                  </a:p>
                  <a:p>
                    <a:r>
                      <a:rPr lang="en-US" baseline="0" dirty="0"/>
                      <a:t> </a:t>
                    </a:r>
                    <a:fld id="{A70F5D84-4D6F-434A-9A3C-F70ACD53EA90}"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F691-40C7-B65E-6409D0FA16B9}"/>
                </c:ext>
              </c:extLst>
            </c:dLbl>
            <c:dLbl>
              <c:idx val="1"/>
              <c:layout>
                <c:manualLayout>
                  <c:x val="0.22553928484380531"/>
                  <c:y val="-9.768490907197562E-2"/>
                </c:manualLayout>
              </c:layout>
              <c:tx>
                <c:rich>
                  <a:bodyPr/>
                  <a:lstStyle/>
                  <a:p>
                    <a:fld id="{5D1E9800-E295-42E5-8A62-A95B21B5967C}" type="CATEGORYNAME">
                      <a:rPr lang="en-US" smtClean="0"/>
                      <a:pPr/>
                      <a:t>[NAZWA KATEGORII]</a:t>
                    </a:fld>
                    <a:endParaRPr lang="en-US" dirty="0"/>
                  </a:p>
                  <a:p>
                    <a:r>
                      <a:rPr lang="en-US" baseline="0" dirty="0"/>
                      <a:t> </a:t>
                    </a:r>
                    <a:fld id="{AD321142-58B0-4969-9653-E03F933AF872}"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F691-40C7-B65E-6409D0FA16B9}"/>
                </c:ext>
              </c:extLst>
            </c:dLbl>
            <c:dLbl>
              <c:idx val="2"/>
              <c:layout>
                <c:manualLayout>
                  <c:x val="0.21083577809129184"/>
                  <c:y val="-2.2542671324302099E-2"/>
                </c:manualLayout>
              </c:layout>
              <c:tx>
                <c:rich>
                  <a:bodyPr/>
                  <a:lstStyle/>
                  <a:p>
                    <a:fld id="{B4689E08-3A81-4784-BCF6-376BABA63E9E}" type="CATEGORYNAME">
                      <a:rPr lang="en-US" smtClean="0"/>
                      <a:pPr/>
                      <a:t>[NAZWA KATEGORII]</a:t>
                    </a:fld>
                    <a:r>
                      <a:rPr lang="en-US" baseline="0" dirty="0"/>
                      <a:t> </a:t>
                    </a:r>
                    <a:fld id="{26F053F8-81D1-44F1-923A-5C7BC3CBB30D}"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layout>
                    <c:manualLayout>
                      <c:w val="0.21515136208390481"/>
                      <c:h val="0.10335814802192497"/>
                    </c:manualLayout>
                  </c15:layout>
                  <c15:dlblFieldTable/>
                  <c15:showDataLabelsRange val="0"/>
                </c:ext>
                <c:ext xmlns:c16="http://schemas.microsoft.com/office/drawing/2014/chart" uri="{C3380CC4-5D6E-409C-BE32-E72D297353CC}">
                  <c16:uniqueId val="{00000004-F691-40C7-B65E-6409D0FA16B9}"/>
                </c:ext>
              </c:extLst>
            </c:dLbl>
            <c:dLbl>
              <c:idx val="3"/>
              <c:layout>
                <c:manualLayout>
                  <c:x val="0.26638954467902637"/>
                  <c:y val="7.5142237747673896E-3"/>
                </c:manualLayout>
              </c:layout>
              <c:tx>
                <c:rich>
                  <a:bodyPr/>
                  <a:lstStyle/>
                  <a:p>
                    <a:fld id="{F3C95CEB-FED7-494D-BF2B-D36D9BC28F67}" type="CATEGORYNAME">
                      <a:rPr lang="en-US" smtClean="0"/>
                      <a:pPr/>
                      <a:t>[NAZWA KATEGORII]</a:t>
                    </a:fld>
                    <a:endParaRPr lang="en-US" baseline="0" dirty="0"/>
                  </a:p>
                  <a:p>
                    <a:fld id="{BB7B405C-E2B0-4699-9EEC-139C4D06CC9B}" type="VALUE">
                      <a:rPr lang="en-US" baseline="0" smtClean="0"/>
                      <a:pPr/>
                      <a:t>[WARTOŚĆ]</a:t>
                    </a:fld>
                    <a:endParaRPr lang="pl-PL"/>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F691-40C7-B65E-6409D0FA16B9}"/>
                </c:ext>
              </c:extLst>
            </c:dLbl>
            <c:dLbl>
              <c:idx val="4"/>
              <c:layout>
                <c:manualLayout>
                  <c:x val="0.20617537854460269"/>
                  <c:y val="5.6356678310755165E-2"/>
                </c:manualLayout>
              </c:layout>
              <c:tx>
                <c:rich>
                  <a:bodyPr/>
                  <a:lstStyle/>
                  <a:p>
                    <a:fld id="{DD1ED0C4-7E17-4082-B91A-985D8026FA05}" type="CATEGORYNAME">
                      <a:rPr lang="en-US" smtClean="0"/>
                      <a:pPr/>
                      <a:t>[NAZWA KATEGORII]</a:t>
                    </a:fld>
                    <a:endParaRPr lang="en-US" baseline="0" dirty="0"/>
                  </a:p>
                  <a:p>
                    <a:r>
                      <a:rPr lang="en-US" baseline="0" dirty="0"/>
                      <a:t> </a:t>
                    </a:r>
                    <a:fld id="{4BBAF2AE-8D78-40BF-B1BE-E2E982B5E43D}"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F691-40C7-B65E-6409D0FA16B9}"/>
                </c:ext>
              </c:extLst>
            </c:dLbl>
            <c:dLbl>
              <c:idx val="5"/>
              <c:layout>
                <c:manualLayout>
                  <c:x val="0.22443127131565044"/>
                  <c:y val="0.10519913284674297"/>
                </c:manualLayout>
              </c:layout>
              <c:tx>
                <c:rich>
                  <a:bodyPr/>
                  <a:lstStyle/>
                  <a:p>
                    <a:fld id="{86788246-9211-4532-AF20-A11850CD86C8}" type="CATEGORYNAME">
                      <a:rPr lang="en-US" smtClean="0"/>
                      <a:pPr/>
                      <a:t>[NAZWA KATEGORII]</a:t>
                    </a:fld>
                    <a:endParaRPr lang="en-US" baseline="0" dirty="0"/>
                  </a:p>
                  <a:p>
                    <a:r>
                      <a:rPr lang="en-US" baseline="0" dirty="0"/>
                      <a:t> </a:t>
                    </a:r>
                    <a:fld id="{BC51E3D4-B52E-4787-B9AA-C4C80A93B147}"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F691-40C7-B65E-6409D0FA16B9}"/>
                </c:ext>
              </c:extLst>
            </c:dLbl>
            <c:dLbl>
              <c:idx val="6"/>
              <c:layout>
                <c:manualLayout>
                  <c:x val="0.19510200378233264"/>
                  <c:y val="0.14652736360796342"/>
                </c:manualLayout>
              </c:layout>
              <c:tx>
                <c:rich>
                  <a:bodyPr/>
                  <a:lstStyle/>
                  <a:p>
                    <a:fld id="{9D9F06F6-3CC6-4D42-A008-CACC8821CA8B}" type="CATEGORYNAME">
                      <a:rPr lang="en-US" smtClean="0"/>
                      <a:pPr/>
                      <a:t>[NAZWA KATEGORII]</a:t>
                    </a:fld>
                    <a:endParaRPr lang="en-US" baseline="0" dirty="0"/>
                  </a:p>
                  <a:p>
                    <a:fld id="{9B3B60EB-277F-437B-8562-48ACF4CB0906}" type="VALUE">
                      <a:rPr lang="en-US" baseline="0" smtClean="0"/>
                      <a:pPr/>
                      <a:t>[WARTOŚĆ]</a:t>
                    </a:fld>
                    <a:endParaRPr lang="pl-PL"/>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F691-40C7-B65E-6409D0FA16B9}"/>
                </c:ext>
              </c:extLst>
            </c:dLbl>
            <c:dLbl>
              <c:idx val="7"/>
              <c:layout>
                <c:manualLayout>
                  <c:x val="0.17476707342457662"/>
                  <c:y val="0.22166960135563682"/>
                </c:manualLayout>
              </c:layout>
              <c:tx>
                <c:rich>
                  <a:bodyPr/>
                  <a:lstStyle/>
                  <a:p>
                    <a:fld id="{7A163867-8592-4C28-9DFB-222686E18920}" type="CATEGORYNAME">
                      <a:rPr lang="en-US" smtClean="0"/>
                      <a:pPr/>
                      <a:t>[NAZWA KATEGORII]</a:t>
                    </a:fld>
                    <a:r>
                      <a:rPr lang="en-US" baseline="0" dirty="0"/>
                      <a:t> </a:t>
                    </a:r>
                    <a:fld id="{9B6D7456-61B6-48BE-BD12-0CA67153F8E7}"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F691-40C7-B65E-6409D0FA16B9}"/>
                </c:ext>
              </c:extLst>
            </c:dLbl>
            <c:dLbl>
              <c:idx val="8"/>
              <c:layout>
                <c:manualLayout>
                  <c:x val="6.0644523722195781E-2"/>
                  <c:y val="0.29305472721592668"/>
                </c:manualLayout>
              </c:layout>
              <c:tx>
                <c:rich>
                  <a:bodyPr/>
                  <a:lstStyle/>
                  <a:p>
                    <a:fld id="{0C8E400D-73C5-4ADF-B18B-6B5D069A5846}" type="CATEGORYNAME">
                      <a:rPr lang="en-US" smtClean="0"/>
                      <a:pPr/>
                      <a:t>[NAZWA KATEGORII]</a:t>
                    </a:fld>
                    <a:endParaRPr lang="en-US" baseline="0" dirty="0"/>
                  </a:p>
                  <a:p>
                    <a:r>
                      <a:rPr lang="en-US" baseline="0" dirty="0"/>
                      <a:t> </a:t>
                    </a:r>
                    <a:fld id="{BB365803-0706-402E-8287-8072F1344657}"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F691-40C7-B65E-6409D0FA16B9}"/>
                </c:ext>
              </c:extLst>
            </c:dLbl>
            <c:dLbl>
              <c:idx val="9"/>
              <c:layout>
                <c:manualLayout>
                  <c:x val="-0.11449668823509528"/>
                  <c:y val="0.2855405034411595"/>
                </c:manualLayout>
              </c:layout>
              <c:tx>
                <c:rich>
                  <a:bodyPr/>
                  <a:lstStyle/>
                  <a:p>
                    <a:fld id="{A6999AF1-DD37-4E5C-8CA2-659868DE98C1}" type="CATEGORYNAME">
                      <a:rPr lang="en-US" smtClean="0"/>
                      <a:pPr/>
                      <a:t>[NAZWA KATEGORII]</a:t>
                    </a:fld>
                    <a:endParaRPr lang="en-US" baseline="0" dirty="0"/>
                  </a:p>
                  <a:p>
                    <a:r>
                      <a:rPr lang="en-US" baseline="0" dirty="0"/>
                      <a:t> </a:t>
                    </a:r>
                    <a:fld id="{B4B16B21-C465-4348-9031-3FA0F39F1B72}"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F691-40C7-B65E-6409D0FA16B9}"/>
                </c:ext>
              </c:extLst>
            </c:dLbl>
            <c:dLbl>
              <c:idx val="10"/>
              <c:layout>
                <c:manualLayout>
                  <c:x val="-0.14187159770440971"/>
                  <c:y val="7.1385125860289875E-2"/>
                </c:manualLayout>
              </c:layout>
              <c:tx>
                <c:rich>
                  <a:bodyPr/>
                  <a:lstStyle/>
                  <a:p>
                    <a:fld id="{9284E013-5D25-4FFB-9E0E-0E5CFD2B1C6C}" type="CATEGORYNAME">
                      <a:rPr lang="en-US" smtClean="0"/>
                      <a:pPr/>
                      <a:t>[NAZWA KATEGORII]</a:t>
                    </a:fld>
                    <a:endParaRPr lang="en-US" dirty="0"/>
                  </a:p>
                  <a:p>
                    <a:r>
                      <a:rPr lang="en-US" baseline="0" dirty="0"/>
                      <a:t> </a:t>
                    </a:r>
                    <a:fld id="{87652FC3-F489-403B-8304-C52829409C5B}"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F691-40C7-B65E-6409D0FA16B9}"/>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1"/>
            <c:showSerName val="0"/>
            <c:showPercent val="0"/>
            <c:showBubbleSize val="0"/>
            <c:showLeaderLines val="1"/>
            <c:leaderLines>
              <c:spPr>
                <a:ln w="9525">
                  <a:solidFill>
                    <a:schemeClr val="tx1">
                      <a:lumMod val="35000"/>
                      <a:lumOff val="65000"/>
                    </a:schemeClr>
                  </a:solidFill>
                </a:ln>
                <a:effectLst/>
              </c:spPr>
            </c:leaderLines>
            <c:extLst>
              <c:ext xmlns:c15="http://schemas.microsoft.com/office/drawing/2012/chart" uri="{CE6537A1-D6FC-4f65-9D91-7224C49458BB}"/>
            </c:extLst>
          </c:dLbls>
          <c:cat>
            <c:strRef>
              <c:f>Лист1!$A$2:$A$12</c:f>
              <c:strCache>
                <c:ptCount val="11"/>
                <c:pt idx="0">
                  <c:v>Germany</c:v>
                </c:pt>
                <c:pt idx="1">
                  <c:v>USA</c:v>
                </c:pt>
                <c:pt idx="2">
                  <c:v>Netherlands</c:v>
                </c:pt>
                <c:pt idx="3">
                  <c:v>Belgium</c:v>
                </c:pt>
                <c:pt idx="4">
                  <c:v>France</c:v>
                </c:pt>
                <c:pt idx="5">
                  <c:v>Norway</c:v>
                </c:pt>
                <c:pt idx="6">
                  <c:v>Vietnam</c:v>
                </c:pt>
                <c:pt idx="7">
                  <c:v>United Kingdom</c:v>
                </c:pt>
                <c:pt idx="8">
                  <c:v>Italy</c:v>
                </c:pt>
                <c:pt idx="9">
                  <c:v>Poland</c:v>
                </c:pt>
                <c:pt idx="10">
                  <c:v>other</c:v>
                </c:pt>
              </c:strCache>
            </c:strRef>
          </c:cat>
          <c:val>
            <c:numRef>
              <c:f>Лист1!$B$2:$B$12</c:f>
              <c:numCache>
                <c:formatCode>0.00%</c:formatCode>
                <c:ptCount val="11"/>
                <c:pt idx="0">
                  <c:v>4.87E-2</c:v>
                </c:pt>
                <c:pt idx="1">
                  <c:v>4.8399999999999999E-2</c:v>
                </c:pt>
                <c:pt idx="2">
                  <c:v>4.5100000000000001E-2</c:v>
                </c:pt>
                <c:pt idx="3">
                  <c:v>3.7400000000000003E-2</c:v>
                </c:pt>
                <c:pt idx="4">
                  <c:v>3.4500000000000003E-2</c:v>
                </c:pt>
                <c:pt idx="5">
                  <c:v>3.3599999999999998E-2</c:v>
                </c:pt>
                <c:pt idx="6">
                  <c:v>2.9000000000000001E-2</c:v>
                </c:pt>
                <c:pt idx="7">
                  <c:v>2.76E-2</c:v>
                </c:pt>
                <c:pt idx="8">
                  <c:v>2.3099999999999999E-2</c:v>
                </c:pt>
                <c:pt idx="9">
                  <c:v>2.2700000000000001E-2</c:v>
                </c:pt>
                <c:pt idx="10">
                  <c:v>0.64990000000000003</c:v>
                </c:pt>
              </c:numCache>
            </c:numRef>
          </c:val>
          <c:extLst>
            <c:ext xmlns:c16="http://schemas.microsoft.com/office/drawing/2014/chart" uri="{C3380CC4-5D6E-409C-BE32-E72D297353CC}">
              <c16:uniqueId val="{00000000-F691-40C7-B65E-6409D0FA16B9}"/>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doughnutChart>
        <c:varyColors val="1"/>
        <c:ser>
          <c:idx val="0"/>
          <c:order val="0"/>
          <c:tx>
            <c:strRef>
              <c:f>Лист1!$B$1</c:f>
              <c:strCache>
                <c:ptCount val="1"/>
                <c:pt idx="0">
                  <c:v>Продажи</c:v>
                </c:pt>
              </c:strCache>
            </c:strRef>
          </c:tx>
          <c:dPt>
            <c:idx val="0"/>
            <c:bubble3D val="0"/>
            <c:spPr>
              <a:pattFill prst="ltUpDiag">
                <a:fgClr>
                  <a:schemeClr val="accent1">
                    <a:shade val="41000"/>
                  </a:schemeClr>
                </a:fgClr>
                <a:bgClr>
                  <a:schemeClr val="accent1">
                    <a:shade val="41000"/>
                    <a:lumMod val="20000"/>
                    <a:lumOff val="80000"/>
                  </a:schemeClr>
                </a:bgClr>
              </a:pattFill>
              <a:ln w="19050">
                <a:solidFill>
                  <a:schemeClr val="lt1"/>
                </a:solidFill>
              </a:ln>
              <a:effectLst>
                <a:innerShdw blurRad="114300">
                  <a:schemeClr val="accent1">
                    <a:shade val="41000"/>
                  </a:schemeClr>
                </a:innerShdw>
              </a:effectLst>
            </c:spPr>
            <c:extLst>
              <c:ext xmlns:c16="http://schemas.microsoft.com/office/drawing/2014/chart" uri="{C3380CC4-5D6E-409C-BE32-E72D297353CC}">
                <c16:uniqueId val="{00000001-DD1B-4AA9-91CE-B3BD737FA8E3}"/>
              </c:ext>
            </c:extLst>
          </c:dPt>
          <c:dPt>
            <c:idx val="1"/>
            <c:bubble3D val="0"/>
            <c:spPr>
              <a:pattFill prst="ltUpDiag">
                <a:fgClr>
                  <a:schemeClr val="accent1">
                    <a:shade val="53000"/>
                  </a:schemeClr>
                </a:fgClr>
                <a:bgClr>
                  <a:schemeClr val="accent1">
                    <a:shade val="53000"/>
                    <a:lumMod val="20000"/>
                    <a:lumOff val="80000"/>
                  </a:schemeClr>
                </a:bgClr>
              </a:pattFill>
              <a:ln w="19050">
                <a:solidFill>
                  <a:schemeClr val="lt1"/>
                </a:solidFill>
              </a:ln>
              <a:effectLst>
                <a:innerShdw blurRad="114300">
                  <a:schemeClr val="accent1">
                    <a:shade val="53000"/>
                  </a:schemeClr>
                </a:innerShdw>
              </a:effectLst>
            </c:spPr>
            <c:extLst>
              <c:ext xmlns:c16="http://schemas.microsoft.com/office/drawing/2014/chart" uri="{C3380CC4-5D6E-409C-BE32-E72D297353CC}">
                <c16:uniqueId val="{00000003-DD1B-4AA9-91CE-B3BD737FA8E3}"/>
              </c:ext>
            </c:extLst>
          </c:dPt>
          <c:dPt>
            <c:idx val="2"/>
            <c:bubble3D val="0"/>
            <c:spPr>
              <a:pattFill prst="ltUpDiag">
                <a:fgClr>
                  <a:schemeClr val="accent1">
                    <a:shade val="65000"/>
                  </a:schemeClr>
                </a:fgClr>
                <a:bgClr>
                  <a:schemeClr val="accent1">
                    <a:shade val="65000"/>
                    <a:lumMod val="20000"/>
                    <a:lumOff val="80000"/>
                  </a:schemeClr>
                </a:bgClr>
              </a:pattFill>
              <a:ln w="19050">
                <a:solidFill>
                  <a:schemeClr val="lt1"/>
                </a:solidFill>
              </a:ln>
              <a:effectLst>
                <a:innerShdw blurRad="114300">
                  <a:schemeClr val="accent1">
                    <a:shade val="65000"/>
                  </a:schemeClr>
                </a:innerShdw>
              </a:effectLst>
            </c:spPr>
            <c:extLst>
              <c:ext xmlns:c16="http://schemas.microsoft.com/office/drawing/2014/chart" uri="{C3380CC4-5D6E-409C-BE32-E72D297353CC}">
                <c16:uniqueId val="{00000005-DD1B-4AA9-91CE-B3BD737FA8E3}"/>
              </c:ext>
            </c:extLst>
          </c:dPt>
          <c:dPt>
            <c:idx val="3"/>
            <c:bubble3D val="0"/>
            <c:spPr>
              <a:pattFill prst="ltUpDiag">
                <a:fgClr>
                  <a:schemeClr val="accent1">
                    <a:shade val="76000"/>
                  </a:schemeClr>
                </a:fgClr>
                <a:bgClr>
                  <a:schemeClr val="accent1">
                    <a:shade val="76000"/>
                    <a:lumMod val="20000"/>
                    <a:lumOff val="80000"/>
                  </a:schemeClr>
                </a:bgClr>
              </a:pattFill>
              <a:ln w="19050">
                <a:solidFill>
                  <a:schemeClr val="lt1"/>
                </a:solidFill>
              </a:ln>
              <a:effectLst>
                <a:innerShdw blurRad="114300">
                  <a:schemeClr val="accent1">
                    <a:shade val="76000"/>
                  </a:schemeClr>
                </a:innerShdw>
              </a:effectLst>
            </c:spPr>
            <c:extLst>
              <c:ext xmlns:c16="http://schemas.microsoft.com/office/drawing/2014/chart" uri="{C3380CC4-5D6E-409C-BE32-E72D297353CC}">
                <c16:uniqueId val="{00000007-DD1B-4AA9-91CE-B3BD737FA8E3}"/>
              </c:ext>
            </c:extLst>
          </c:dPt>
          <c:dPt>
            <c:idx val="4"/>
            <c:bubble3D val="0"/>
            <c:spPr>
              <a:pattFill prst="ltUpDiag">
                <a:fgClr>
                  <a:schemeClr val="accent1">
                    <a:shade val="88000"/>
                  </a:schemeClr>
                </a:fgClr>
                <a:bgClr>
                  <a:schemeClr val="accent1">
                    <a:shade val="88000"/>
                    <a:lumMod val="20000"/>
                    <a:lumOff val="80000"/>
                  </a:schemeClr>
                </a:bgClr>
              </a:pattFill>
              <a:ln w="19050">
                <a:solidFill>
                  <a:schemeClr val="lt1"/>
                </a:solidFill>
              </a:ln>
              <a:effectLst>
                <a:innerShdw blurRad="114300">
                  <a:schemeClr val="accent1">
                    <a:shade val="88000"/>
                  </a:schemeClr>
                </a:innerShdw>
              </a:effectLst>
            </c:spPr>
            <c:extLst>
              <c:ext xmlns:c16="http://schemas.microsoft.com/office/drawing/2014/chart" uri="{C3380CC4-5D6E-409C-BE32-E72D297353CC}">
                <c16:uniqueId val="{00000009-DD1B-4AA9-91CE-B3BD737FA8E3}"/>
              </c:ext>
            </c:extLst>
          </c:dPt>
          <c:dPt>
            <c:idx val="5"/>
            <c:bubble3D val="0"/>
            <c:spPr>
              <a:pattFill prst="ltUpDiag">
                <a:fgClr>
                  <a:schemeClr val="accent1"/>
                </a:fgClr>
                <a:bgClr>
                  <a:schemeClr val="accent1">
                    <a:lumMod val="20000"/>
                    <a:lumOff val="80000"/>
                  </a:schemeClr>
                </a:bgClr>
              </a:pattFill>
              <a:ln w="19050">
                <a:solidFill>
                  <a:schemeClr val="lt1"/>
                </a:solidFill>
              </a:ln>
              <a:effectLst>
                <a:innerShdw blurRad="114300">
                  <a:schemeClr val="accent1"/>
                </a:innerShdw>
              </a:effectLst>
            </c:spPr>
            <c:extLst>
              <c:ext xmlns:c16="http://schemas.microsoft.com/office/drawing/2014/chart" uri="{C3380CC4-5D6E-409C-BE32-E72D297353CC}">
                <c16:uniqueId val="{0000000B-DD1B-4AA9-91CE-B3BD737FA8E3}"/>
              </c:ext>
            </c:extLst>
          </c:dPt>
          <c:dPt>
            <c:idx val="6"/>
            <c:bubble3D val="0"/>
            <c:spPr>
              <a:pattFill prst="ltUpDiag">
                <a:fgClr>
                  <a:schemeClr val="accent1">
                    <a:tint val="89000"/>
                  </a:schemeClr>
                </a:fgClr>
                <a:bgClr>
                  <a:schemeClr val="accent1">
                    <a:tint val="89000"/>
                    <a:lumMod val="20000"/>
                    <a:lumOff val="80000"/>
                  </a:schemeClr>
                </a:bgClr>
              </a:pattFill>
              <a:ln w="19050">
                <a:solidFill>
                  <a:schemeClr val="lt1"/>
                </a:solidFill>
              </a:ln>
              <a:effectLst>
                <a:innerShdw blurRad="114300">
                  <a:schemeClr val="accent1">
                    <a:tint val="89000"/>
                  </a:schemeClr>
                </a:innerShdw>
              </a:effectLst>
            </c:spPr>
            <c:extLst>
              <c:ext xmlns:c16="http://schemas.microsoft.com/office/drawing/2014/chart" uri="{C3380CC4-5D6E-409C-BE32-E72D297353CC}">
                <c16:uniqueId val="{0000000D-DD1B-4AA9-91CE-B3BD737FA8E3}"/>
              </c:ext>
            </c:extLst>
          </c:dPt>
          <c:dPt>
            <c:idx val="7"/>
            <c:bubble3D val="0"/>
            <c:spPr>
              <a:pattFill prst="ltUpDiag">
                <a:fgClr>
                  <a:schemeClr val="accent1">
                    <a:tint val="77000"/>
                  </a:schemeClr>
                </a:fgClr>
                <a:bgClr>
                  <a:schemeClr val="accent1">
                    <a:tint val="77000"/>
                    <a:lumMod val="20000"/>
                    <a:lumOff val="80000"/>
                  </a:schemeClr>
                </a:bgClr>
              </a:pattFill>
              <a:ln w="19050">
                <a:solidFill>
                  <a:schemeClr val="lt1"/>
                </a:solidFill>
              </a:ln>
              <a:effectLst>
                <a:innerShdw blurRad="114300">
                  <a:schemeClr val="accent1">
                    <a:tint val="77000"/>
                  </a:schemeClr>
                </a:innerShdw>
              </a:effectLst>
            </c:spPr>
            <c:extLst>
              <c:ext xmlns:c16="http://schemas.microsoft.com/office/drawing/2014/chart" uri="{C3380CC4-5D6E-409C-BE32-E72D297353CC}">
                <c16:uniqueId val="{0000000F-DD1B-4AA9-91CE-B3BD737FA8E3}"/>
              </c:ext>
            </c:extLst>
          </c:dPt>
          <c:dPt>
            <c:idx val="8"/>
            <c:bubble3D val="0"/>
            <c:spPr>
              <a:pattFill prst="ltUpDiag">
                <a:fgClr>
                  <a:schemeClr val="accent1">
                    <a:tint val="65000"/>
                  </a:schemeClr>
                </a:fgClr>
                <a:bgClr>
                  <a:schemeClr val="accent1">
                    <a:tint val="65000"/>
                    <a:lumMod val="20000"/>
                    <a:lumOff val="80000"/>
                  </a:schemeClr>
                </a:bgClr>
              </a:pattFill>
              <a:ln w="19050">
                <a:solidFill>
                  <a:schemeClr val="lt1"/>
                </a:solidFill>
              </a:ln>
              <a:effectLst>
                <a:innerShdw blurRad="114300">
                  <a:schemeClr val="accent1">
                    <a:tint val="65000"/>
                  </a:schemeClr>
                </a:innerShdw>
              </a:effectLst>
            </c:spPr>
            <c:extLst>
              <c:ext xmlns:c16="http://schemas.microsoft.com/office/drawing/2014/chart" uri="{C3380CC4-5D6E-409C-BE32-E72D297353CC}">
                <c16:uniqueId val="{00000011-DD1B-4AA9-91CE-B3BD737FA8E3}"/>
              </c:ext>
            </c:extLst>
          </c:dPt>
          <c:dPt>
            <c:idx val="9"/>
            <c:bubble3D val="0"/>
            <c:spPr>
              <a:pattFill prst="ltUpDiag">
                <a:fgClr>
                  <a:schemeClr val="accent1">
                    <a:tint val="54000"/>
                  </a:schemeClr>
                </a:fgClr>
                <a:bgClr>
                  <a:schemeClr val="accent1">
                    <a:tint val="54000"/>
                    <a:lumMod val="20000"/>
                    <a:lumOff val="80000"/>
                  </a:schemeClr>
                </a:bgClr>
              </a:pattFill>
              <a:ln w="19050">
                <a:solidFill>
                  <a:schemeClr val="lt1"/>
                </a:solidFill>
              </a:ln>
              <a:effectLst>
                <a:innerShdw blurRad="114300">
                  <a:schemeClr val="accent1">
                    <a:tint val="54000"/>
                  </a:schemeClr>
                </a:innerShdw>
              </a:effectLst>
            </c:spPr>
            <c:extLst>
              <c:ext xmlns:c16="http://schemas.microsoft.com/office/drawing/2014/chart" uri="{C3380CC4-5D6E-409C-BE32-E72D297353CC}">
                <c16:uniqueId val="{00000013-DD1B-4AA9-91CE-B3BD737FA8E3}"/>
              </c:ext>
            </c:extLst>
          </c:dPt>
          <c:dPt>
            <c:idx val="10"/>
            <c:bubble3D val="0"/>
            <c:spPr>
              <a:pattFill prst="ltUpDiag">
                <a:fgClr>
                  <a:schemeClr val="accent1">
                    <a:tint val="42000"/>
                  </a:schemeClr>
                </a:fgClr>
                <a:bgClr>
                  <a:schemeClr val="accent1">
                    <a:tint val="42000"/>
                    <a:lumMod val="20000"/>
                    <a:lumOff val="80000"/>
                  </a:schemeClr>
                </a:bgClr>
              </a:pattFill>
              <a:ln w="19050">
                <a:solidFill>
                  <a:schemeClr val="lt1"/>
                </a:solidFill>
              </a:ln>
              <a:effectLst>
                <a:innerShdw blurRad="114300">
                  <a:schemeClr val="accent1">
                    <a:tint val="42000"/>
                  </a:schemeClr>
                </a:innerShdw>
              </a:effectLst>
            </c:spPr>
            <c:extLst>
              <c:ext xmlns:c16="http://schemas.microsoft.com/office/drawing/2014/chart" uri="{C3380CC4-5D6E-409C-BE32-E72D297353CC}">
                <c16:uniqueId val="{00000015-DD1B-4AA9-91CE-B3BD737FA8E3}"/>
              </c:ext>
            </c:extLst>
          </c:dPt>
          <c:dLbls>
            <c:dLbl>
              <c:idx val="0"/>
              <c:layout>
                <c:manualLayout>
                  <c:x val="0.14803992803938407"/>
                  <c:y val="-0.10519913284674297"/>
                </c:manualLayout>
              </c:layout>
              <c:tx>
                <c:rich>
                  <a:bodyPr/>
                  <a:lstStyle/>
                  <a:p>
                    <a:fld id="{1E7F2F24-ED93-40CD-AB71-C58AFDE0A647}" type="CATEGORYNAME">
                      <a:rPr lang="en-US" smtClean="0"/>
                      <a:pPr/>
                      <a:t>[NAZWA KATEGORII]</a:t>
                    </a:fld>
                    <a:endParaRPr lang="en-US" dirty="0"/>
                  </a:p>
                  <a:p>
                    <a:r>
                      <a:rPr lang="en-US" baseline="0" dirty="0"/>
                      <a:t> </a:t>
                    </a:r>
                    <a:fld id="{A70F5D84-4D6F-434A-9A3C-F70ACD53EA90}"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DD1B-4AA9-91CE-B3BD737FA8E3}"/>
                </c:ext>
              </c:extLst>
            </c:dLbl>
            <c:dLbl>
              <c:idx val="1"/>
              <c:layout>
                <c:manualLayout>
                  <c:x val="0.22553928484380531"/>
                  <c:y val="-9.768490907197562E-2"/>
                </c:manualLayout>
              </c:layout>
              <c:tx>
                <c:rich>
                  <a:bodyPr/>
                  <a:lstStyle/>
                  <a:p>
                    <a:fld id="{5D1E9800-E295-42E5-8A62-A95B21B5967C}" type="CATEGORYNAME">
                      <a:rPr lang="en-US" smtClean="0"/>
                      <a:pPr/>
                      <a:t>[NAZWA KATEGORII]</a:t>
                    </a:fld>
                    <a:endParaRPr lang="en-US" dirty="0"/>
                  </a:p>
                  <a:p>
                    <a:r>
                      <a:rPr lang="en-US" baseline="0" dirty="0"/>
                      <a:t> </a:t>
                    </a:r>
                    <a:fld id="{AD321142-58B0-4969-9653-E03F933AF872}"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DD1B-4AA9-91CE-B3BD737FA8E3}"/>
                </c:ext>
              </c:extLst>
            </c:dLbl>
            <c:dLbl>
              <c:idx val="2"/>
              <c:layout>
                <c:manualLayout>
                  <c:x val="0.21083577809129184"/>
                  <c:y val="-2.2542671324302099E-2"/>
                </c:manualLayout>
              </c:layout>
              <c:tx>
                <c:rich>
                  <a:bodyPr/>
                  <a:lstStyle/>
                  <a:p>
                    <a:fld id="{B4689E08-3A81-4784-BCF6-376BABA63E9E}" type="CATEGORYNAME">
                      <a:rPr lang="en-US" smtClean="0"/>
                      <a:pPr/>
                      <a:t>[NAZWA KATEGORII]</a:t>
                    </a:fld>
                    <a:endParaRPr lang="en-US" dirty="0"/>
                  </a:p>
                  <a:p>
                    <a:r>
                      <a:rPr lang="en-US" baseline="0" dirty="0"/>
                      <a:t> </a:t>
                    </a:r>
                    <a:fld id="{26F053F8-81D1-44F1-923A-5C7BC3CBB30D}"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layout>
                    <c:manualLayout>
                      <c:w val="0.21515136208390481"/>
                      <c:h val="0.10335814802192497"/>
                    </c:manualLayout>
                  </c15:layout>
                  <c15:dlblFieldTable/>
                  <c15:showDataLabelsRange val="0"/>
                </c:ext>
                <c:ext xmlns:c16="http://schemas.microsoft.com/office/drawing/2014/chart" uri="{C3380CC4-5D6E-409C-BE32-E72D297353CC}">
                  <c16:uniqueId val="{00000005-DD1B-4AA9-91CE-B3BD737FA8E3}"/>
                </c:ext>
              </c:extLst>
            </c:dLbl>
            <c:dLbl>
              <c:idx val="3"/>
              <c:layout>
                <c:manualLayout>
                  <c:x val="0.26638954467902637"/>
                  <c:y val="7.5142237747673896E-3"/>
                </c:manualLayout>
              </c:layout>
              <c:tx>
                <c:rich>
                  <a:bodyPr/>
                  <a:lstStyle/>
                  <a:p>
                    <a:fld id="{F3C95CEB-FED7-494D-BF2B-D36D9BC28F67}" type="CATEGORYNAME">
                      <a:rPr lang="en-US" smtClean="0"/>
                      <a:pPr/>
                      <a:t>[NAZWA KATEGORII]</a:t>
                    </a:fld>
                    <a:endParaRPr lang="en-US" baseline="0" dirty="0"/>
                  </a:p>
                  <a:p>
                    <a:fld id="{BB7B405C-E2B0-4699-9EEC-139C4D06CC9B}" type="VALUE">
                      <a:rPr lang="en-US" baseline="0" smtClean="0"/>
                      <a:pPr/>
                      <a:t>[WARTOŚĆ]</a:t>
                    </a:fld>
                    <a:endParaRPr lang="pl-PL"/>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DD1B-4AA9-91CE-B3BD737FA8E3}"/>
                </c:ext>
              </c:extLst>
            </c:dLbl>
            <c:dLbl>
              <c:idx val="4"/>
              <c:layout>
                <c:manualLayout>
                  <c:x val="0.21069425195743718"/>
                  <c:y val="3.0056895099069281E-2"/>
                </c:manualLayout>
              </c:layout>
              <c:tx>
                <c:rich>
                  <a:bodyPr/>
                  <a:lstStyle/>
                  <a:p>
                    <a:fld id="{DD1ED0C4-7E17-4082-B91A-985D8026FA05}" type="CATEGORYNAME">
                      <a:rPr lang="en-US" smtClean="0"/>
                      <a:pPr/>
                      <a:t>[NAZWA KATEGORII]</a:t>
                    </a:fld>
                    <a:endParaRPr lang="en-US" baseline="0" dirty="0"/>
                  </a:p>
                  <a:p>
                    <a:r>
                      <a:rPr lang="en-US" baseline="0" dirty="0"/>
                      <a:t> </a:t>
                    </a:r>
                    <a:fld id="{4BBAF2AE-8D78-40BF-B1BE-E2E982B5E43D}"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DD1B-4AA9-91CE-B3BD737FA8E3}"/>
                </c:ext>
              </c:extLst>
            </c:dLbl>
            <c:dLbl>
              <c:idx val="5"/>
              <c:layout>
                <c:manualLayout>
                  <c:x val="0.22443127131565044"/>
                  <c:y val="0.10519913284674297"/>
                </c:manualLayout>
              </c:layout>
              <c:tx>
                <c:rich>
                  <a:bodyPr/>
                  <a:lstStyle/>
                  <a:p>
                    <a:fld id="{86788246-9211-4532-AF20-A11850CD86C8}" type="CATEGORYNAME">
                      <a:rPr lang="en-US" smtClean="0"/>
                      <a:pPr/>
                      <a:t>[NAZWA KATEGORII]</a:t>
                    </a:fld>
                    <a:endParaRPr lang="en-US" baseline="0" dirty="0"/>
                  </a:p>
                  <a:p>
                    <a:r>
                      <a:rPr lang="en-US" baseline="0" dirty="0"/>
                      <a:t> </a:t>
                    </a:r>
                    <a:fld id="{BC51E3D4-B52E-4787-B9AA-C4C80A93B147}"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DD1B-4AA9-91CE-B3BD737FA8E3}"/>
                </c:ext>
              </c:extLst>
            </c:dLbl>
            <c:dLbl>
              <c:idx val="6"/>
              <c:layout>
                <c:manualLayout>
                  <c:x val="5.3093204432765745E-3"/>
                  <c:y val="0.11329763189533559"/>
                </c:manualLayout>
              </c:layout>
              <c:tx>
                <c:rich>
                  <a:bodyPr/>
                  <a:lstStyle/>
                  <a:p>
                    <a:fld id="{9D9F06F6-3CC6-4D42-A008-CACC8821CA8B}" type="CATEGORYNAME">
                      <a:rPr lang="en-US" smtClean="0"/>
                      <a:pPr/>
                      <a:t>[NAZWA KATEGORII]</a:t>
                    </a:fld>
                    <a:endParaRPr lang="en-US" baseline="0" dirty="0"/>
                  </a:p>
                  <a:p>
                    <a:fld id="{9B3B60EB-277F-437B-8562-48ACF4CB0906}" type="VALUE">
                      <a:rPr lang="en-US" baseline="0" smtClean="0"/>
                      <a:pPr/>
                      <a:t>[WARTOŚĆ]</a:t>
                    </a:fld>
                    <a:endParaRPr lang="pl-PL"/>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DD1B-4AA9-91CE-B3BD737FA8E3}"/>
                </c:ext>
              </c:extLst>
            </c:dLbl>
            <c:dLbl>
              <c:idx val="7"/>
              <c:layout>
                <c:manualLayout>
                  <c:x val="-0.2251532236112915"/>
                  <c:y val="0.12808408593905313"/>
                </c:manualLayout>
              </c:layout>
              <c:tx>
                <c:rich>
                  <a:bodyPr/>
                  <a:lstStyle/>
                  <a:p>
                    <a:fld id="{7A163867-8592-4C28-9DFB-222686E18920}" type="CATEGORYNAME">
                      <a:rPr lang="en-US" smtClean="0"/>
                      <a:pPr/>
                      <a:t>[NAZWA KATEGORII]</a:t>
                    </a:fld>
                    <a:endParaRPr lang="en-US" dirty="0"/>
                  </a:p>
                  <a:p>
                    <a:r>
                      <a:rPr lang="en-US" baseline="0" dirty="0"/>
                      <a:t> </a:t>
                    </a:r>
                    <a:fld id="{9B6D7456-61B6-48BE-BD12-0CA67153F8E7}"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F-DD1B-4AA9-91CE-B3BD737FA8E3}"/>
                </c:ext>
              </c:extLst>
            </c:dLbl>
            <c:dLbl>
              <c:idx val="8"/>
              <c:layout>
                <c:manualLayout>
                  <c:x val="-0.29634647305488299"/>
                  <c:y val="5.2033337120028778E-2"/>
                </c:manualLayout>
              </c:layout>
              <c:tx>
                <c:rich>
                  <a:bodyPr/>
                  <a:lstStyle/>
                  <a:p>
                    <a:fld id="{0C8E400D-73C5-4ADF-B18B-6B5D069A5846}" type="CATEGORYNAME">
                      <a:rPr lang="en-US" smtClean="0"/>
                      <a:pPr/>
                      <a:t>[NAZWA KATEGORII]</a:t>
                    </a:fld>
                    <a:endParaRPr lang="en-US" baseline="0" dirty="0"/>
                  </a:p>
                  <a:p>
                    <a:r>
                      <a:rPr lang="en-US" baseline="0" dirty="0"/>
                      <a:t> </a:t>
                    </a:r>
                    <a:fld id="{BB365803-0706-402E-8287-8072F1344657}"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1-DD1B-4AA9-91CE-B3BD737FA8E3}"/>
                </c:ext>
              </c:extLst>
            </c:dLbl>
            <c:dLbl>
              <c:idx val="9"/>
              <c:layout>
                <c:manualLayout>
                  <c:x val="-0.24102514379446599"/>
                  <c:y val="-8.832822129448184E-2"/>
                </c:manualLayout>
              </c:layout>
              <c:tx>
                <c:rich>
                  <a:bodyPr/>
                  <a:lstStyle/>
                  <a:p>
                    <a:fld id="{A6999AF1-DD37-4E5C-8CA2-659868DE98C1}" type="CATEGORYNAME">
                      <a:rPr lang="en-US" smtClean="0"/>
                      <a:pPr/>
                      <a:t>[NAZWA KATEGORII]</a:t>
                    </a:fld>
                    <a:endParaRPr lang="en-US" baseline="0" dirty="0"/>
                  </a:p>
                  <a:p>
                    <a:r>
                      <a:rPr lang="en-US" baseline="0" dirty="0"/>
                      <a:t> </a:t>
                    </a:r>
                    <a:fld id="{B4B16B21-C465-4348-9031-3FA0F39F1B72}"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3-DD1B-4AA9-91CE-B3BD737FA8E3}"/>
                </c:ext>
              </c:extLst>
            </c:dLbl>
            <c:dLbl>
              <c:idx val="10"/>
              <c:layout>
                <c:manualLayout>
                  <c:x val="-0.16220656232931913"/>
                  <c:y val="-0.10519913284674301"/>
                </c:manualLayout>
              </c:layout>
              <c:tx>
                <c:rich>
                  <a:bodyPr/>
                  <a:lstStyle/>
                  <a:p>
                    <a:fld id="{9284E013-5D25-4FFB-9E0E-0E5CFD2B1C6C}" type="CATEGORYNAME">
                      <a:rPr lang="en-US" smtClean="0"/>
                      <a:pPr/>
                      <a:t>[NAZWA KATEGORII]</a:t>
                    </a:fld>
                    <a:endParaRPr lang="en-US" dirty="0"/>
                  </a:p>
                  <a:p>
                    <a:r>
                      <a:rPr lang="en-US" baseline="0" dirty="0"/>
                      <a:t> </a:t>
                    </a:r>
                    <a:fld id="{87652FC3-F489-403B-8304-C52829409C5B}"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5-DD1B-4AA9-91CE-B3BD737FA8E3}"/>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1"/>
            <c:showSerName val="0"/>
            <c:showPercent val="0"/>
            <c:showBubbleSize val="0"/>
            <c:showLeaderLines val="1"/>
            <c:leaderLines>
              <c:spPr>
                <a:ln w="9525">
                  <a:solidFill>
                    <a:schemeClr val="tx1">
                      <a:lumMod val="35000"/>
                      <a:lumOff val="65000"/>
                    </a:schemeClr>
                  </a:solidFill>
                </a:ln>
                <a:effectLst/>
              </c:spPr>
            </c:leaderLines>
            <c:extLst>
              <c:ext xmlns:c15="http://schemas.microsoft.com/office/drawing/2012/chart" uri="{CE6537A1-D6FC-4f65-9D91-7224C49458BB}"/>
            </c:extLst>
          </c:dLbls>
          <c:cat>
            <c:strRef>
              <c:f>Лист1!$A$2:$A$12</c:f>
              <c:strCache>
                <c:ptCount val="11"/>
                <c:pt idx="0">
                  <c:v>Netherlands</c:v>
                </c:pt>
                <c:pt idx="1">
                  <c:v>Germany</c:v>
                </c:pt>
                <c:pt idx="2">
                  <c:v>USA</c:v>
                </c:pt>
                <c:pt idx="3">
                  <c:v>China</c:v>
                </c:pt>
                <c:pt idx="4">
                  <c:v>Belgium</c:v>
                </c:pt>
                <c:pt idx="5">
                  <c:v>France</c:v>
                </c:pt>
                <c:pt idx="6">
                  <c:v>United Kingdom</c:v>
                </c:pt>
                <c:pt idx="7">
                  <c:v>Spain</c:v>
                </c:pt>
                <c:pt idx="8">
                  <c:v>Italy</c:v>
                </c:pt>
                <c:pt idx="9">
                  <c:v>Denmark</c:v>
                </c:pt>
                <c:pt idx="10">
                  <c:v>other</c:v>
                </c:pt>
              </c:strCache>
            </c:strRef>
          </c:cat>
          <c:val>
            <c:numRef>
              <c:f>Лист1!$B$2:$B$12</c:f>
              <c:numCache>
                <c:formatCode>0.00%</c:formatCode>
                <c:ptCount val="11"/>
                <c:pt idx="0">
                  <c:v>0.13170000000000001</c:v>
                </c:pt>
                <c:pt idx="1">
                  <c:v>8.1100000000000005E-2</c:v>
                </c:pt>
                <c:pt idx="2">
                  <c:v>7.9699999999999993E-2</c:v>
                </c:pt>
                <c:pt idx="3">
                  <c:v>7.6600000000000001E-2</c:v>
                </c:pt>
                <c:pt idx="4">
                  <c:v>7.4700000000000003E-2</c:v>
                </c:pt>
                <c:pt idx="5">
                  <c:v>6.3500000000000001E-2</c:v>
                </c:pt>
                <c:pt idx="6">
                  <c:v>4.2900000000000001E-2</c:v>
                </c:pt>
                <c:pt idx="7">
                  <c:v>2.98E-2</c:v>
                </c:pt>
                <c:pt idx="8">
                  <c:v>2.7799999999999998E-2</c:v>
                </c:pt>
                <c:pt idx="9">
                  <c:v>2.18E-2</c:v>
                </c:pt>
                <c:pt idx="10">
                  <c:v>0.37040000000000001</c:v>
                </c:pt>
              </c:numCache>
            </c:numRef>
          </c:val>
          <c:extLst>
            <c:ext xmlns:c16="http://schemas.microsoft.com/office/drawing/2014/chart" uri="{C3380CC4-5D6E-409C-BE32-E72D297353CC}">
              <c16:uniqueId val="{00000016-DD1B-4AA9-91CE-B3BD737FA8E3}"/>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doughnutChart>
        <c:varyColors val="1"/>
        <c:ser>
          <c:idx val="0"/>
          <c:order val="0"/>
          <c:tx>
            <c:strRef>
              <c:f>Лист1!$B$1</c:f>
              <c:strCache>
                <c:ptCount val="1"/>
                <c:pt idx="0">
                  <c:v>Продажи</c:v>
                </c:pt>
              </c:strCache>
            </c:strRef>
          </c:tx>
          <c:dPt>
            <c:idx val="0"/>
            <c:bubble3D val="0"/>
            <c:spPr>
              <a:pattFill prst="ltUpDiag">
                <a:fgClr>
                  <a:schemeClr val="accent1">
                    <a:shade val="41000"/>
                  </a:schemeClr>
                </a:fgClr>
                <a:bgClr>
                  <a:schemeClr val="accent1">
                    <a:shade val="41000"/>
                    <a:lumMod val="20000"/>
                    <a:lumOff val="80000"/>
                  </a:schemeClr>
                </a:bgClr>
              </a:pattFill>
              <a:ln w="19050">
                <a:solidFill>
                  <a:schemeClr val="lt1"/>
                </a:solidFill>
              </a:ln>
              <a:effectLst>
                <a:innerShdw blurRad="114300">
                  <a:schemeClr val="accent1">
                    <a:shade val="41000"/>
                  </a:schemeClr>
                </a:innerShdw>
              </a:effectLst>
            </c:spPr>
            <c:extLst>
              <c:ext xmlns:c16="http://schemas.microsoft.com/office/drawing/2014/chart" uri="{C3380CC4-5D6E-409C-BE32-E72D297353CC}">
                <c16:uniqueId val="{00000002-F691-40C7-B65E-6409D0FA16B9}"/>
              </c:ext>
            </c:extLst>
          </c:dPt>
          <c:dPt>
            <c:idx val="1"/>
            <c:bubble3D val="0"/>
            <c:spPr>
              <a:pattFill prst="ltUpDiag">
                <a:fgClr>
                  <a:schemeClr val="accent1">
                    <a:shade val="53000"/>
                  </a:schemeClr>
                </a:fgClr>
                <a:bgClr>
                  <a:schemeClr val="accent1">
                    <a:shade val="53000"/>
                    <a:lumMod val="20000"/>
                    <a:lumOff val="80000"/>
                  </a:schemeClr>
                </a:bgClr>
              </a:pattFill>
              <a:ln w="19050">
                <a:solidFill>
                  <a:schemeClr val="lt1"/>
                </a:solidFill>
              </a:ln>
              <a:effectLst>
                <a:innerShdw blurRad="114300">
                  <a:schemeClr val="accent1">
                    <a:shade val="53000"/>
                  </a:schemeClr>
                </a:innerShdw>
              </a:effectLst>
            </c:spPr>
            <c:extLst>
              <c:ext xmlns:c16="http://schemas.microsoft.com/office/drawing/2014/chart" uri="{C3380CC4-5D6E-409C-BE32-E72D297353CC}">
                <c16:uniqueId val="{00000003-F691-40C7-B65E-6409D0FA16B9}"/>
              </c:ext>
            </c:extLst>
          </c:dPt>
          <c:dPt>
            <c:idx val="2"/>
            <c:bubble3D val="0"/>
            <c:spPr>
              <a:pattFill prst="ltUpDiag">
                <a:fgClr>
                  <a:schemeClr val="accent1">
                    <a:shade val="65000"/>
                  </a:schemeClr>
                </a:fgClr>
                <a:bgClr>
                  <a:schemeClr val="accent1">
                    <a:shade val="65000"/>
                    <a:lumMod val="20000"/>
                    <a:lumOff val="80000"/>
                  </a:schemeClr>
                </a:bgClr>
              </a:pattFill>
              <a:ln w="19050">
                <a:solidFill>
                  <a:schemeClr val="lt1"/>
                </a:solidFill>
              </a:ln>
              <a:effectLst>
                <a:innerShdw blurRad="114300">
                  <a:schemeClr val="accent1">
                    <a:shade val="65000"/>
                  </a:schemeClr>
                </a:innerShdw>
              </a:effectLst>
            </c:spPr>
            <c:extLst>
              <c:ext xmlns:c16="http://schemas.microsoft.com/office/drawing/2014/chart" uri="{C3380CC4-5D6E-409C-BE32-E72D297353CC}">
                <c16:uniqueId val="{00000004-F691-40C7-B65E-6409D0FA16B9}"/>
              </c:ext>
            </c:extLst>
          </c:dPt>
          <c:dPt>
            <c:idx val="3"/>
            <c:bubble3D val="0"/>
            <c:spPr>
              <a:pattFill prst="ltUpDiag">
                <a:fgClr>
                  <a:schemeClr val="accent1">
                    <a:shade val="76000"/>
                  </a:schemeClr>
                </a:fgClr>
                <a:bgClr>
                  <a:schemeClr val="accent1">
                    <a:shade val="76000"/>
                    <a:lumMod val="20000"/>
                    <a:lumOff val="80000"/>
                  </a:schemeClr>
                </a:bgClr>
              </a:pattFill>
              <a:ln w="19050">
                <a:solidFill>
                  <a:schemeClr val="lt1"/>
                </a:solidFill>
              </a:ln>
              <a:effectLst>
                <a:innerShdw blurRad="114300">
                  <a:schemeClr val="accent1">
                    <a:shade val="76000"/>
                  </a:schemeClr>
                </a:innerShdw>
              </a:effectLst>
            </c:spPr>
            <c:extLst>
              <c:ext xmlns:c16="http://schemas.microsoft.com/office/drawing/2014/chart" uri="{C3380CC4-5D6E-409C-BE32-E72D297353CC}">
                <c16:uniqueId val="{00000005-F691-40C7-B65E-6409D0FA16B9}"/>
              </c:ext>
            </c:extLst>
          </c:dPt>
          <c:dPt>
            <c:idx val="4"/>
            <c:bubble3D val="0"/>
            <c:spPr>
              <a:pattFill prst="ltUpDiag">
                <a:fgClr>
                  <a:schemeClr val="accent1">
                    <a:shade val="88000"/>
                  </a:schemeClr>
                </a:fgClr>
                <a:bgClr>
                  <a:schemeClr val="accent1">
                    <a:shade val="88000"/>
                    <a:lumMod val="20000"/>
                    <a:lumOff val="80000"/>
                  </a:schemeClr>
                </a:bgClr>
              </a:pattFill>
              <a:ln w="19050">
                <a:solidFill>
                  <a:schemeClr val="lt1"/>
                </a:solidFill>
              </a:ln>
              <a:effectLst>
                <a:innerShdw blurRad="114300">
                  <a:schemeClr val="accent1">
                    <a:shade val="88000"/>
                  </a:schemeClr>
                </a:innerShdw>
              </a:effectLst>
            </c:spPr>
            <c:extLst>
              <c:ext xmlns:c16="http://schemas.microsoft.com/office/drawing/2014/chart" uri="{C3380CC4-5D6E-409C-BE32-E72D297353CC}">
                <c16:uniqueId val="{00000006-F691-40C7-B65E-6409D0FA16B9}"/>
              </c:ext>
            </c:extLst>
          </c:dPt>
          <c:dPt>
            <c:idx val="5"/>
            <c:bubble3D val="0"/>
            <c:spPr>
              <a:pattFill prst="ltUpDiag">
                <a:fgClr>
                  <a:schemeClr val="accent1"/>
                </a:fgClr>
                <a:bgClr>
                  <a:schemeClr val="accent1">
                    <a:lumMod val="20000"/>
                    <a:lumOff val="80000"/>
                  </a:schemeClr>
                </a:bgClr>
              </a:pattFill>
              <a:ln w="19050">
                <a:solidFill>
                  <a:schemeClr val="lt1"/>
                </a:solidFill>
              </a:ln>
              <a:effectLst>
                <a:innerShdw blurRad="114300">
                  <a:schemeClr val="accent1"/>
                </a:innerShdw>
              </a:effectLst>
            </c:spPr>
            <c:extLst>
              <c:ext xmlns:c16="http://schemas.microsoft.com/office/drawing/2014/chart" uri="{C3380CC4-5D6E-409C-BE32-E72D297353CC}">
                <c16:uniqueId val="{00000007-F691-40C7-B65E-6409D0FA16B9}"/>
              </c:ext>
            </c:extLst>
          </c:dPt>
          <c:dPt>
            <c:idx val="6"/>
            <c:bubble3D val="0"/>
            <c:spPr>
              <a:pattFill prst="ltUpDiag">
                <a:fgClr>
                  <a:schemeClr val="accent1">
                    <a:tint val="89000"/>
                  </a:schemeClr>
                </a:fgClr>
                <a:bgClr>
                  <a:schemeClr val="accent1">
                    <a:tint val="89000"/>
                    <a:lumMod val="20000"/>
                    <a:lumOff val="80000"/>
                  </a:schemeClr>
                </a:bgClr>
              </a:pattFill>
              <a:ln w="19050">
                <a:solidFill>
                  <a:schemeClr val="lt1"/>
                </a:solidFill>
              </a:ln>
              <a:effectLst>
                <a:innerShdw blurRad="114300">
                  <a:schemeClr val="accent1">
                    <a:tint val="89000"/>
                  </a:schemeClr>
                </a:innerShdw>
              </a:effectLst>
            </c:spPr>
            <c:extLst>
              <c:ext xmlns:c16="http://schemas.microsoft.com/office/drawing/2014/chart" uri="{C3380CC4-5D6E-409C-BE32-E72D297353CC}">
                <c16:uniqueId val="{00000008-F691-40C7-B65E-6409D0FA16B9}"/>
              </c:ext>
            </c:extLst>
          </c:dPt>
          <c:dPt>
            <c:idx val="7"/>
            <c:bubble3D val="0"/>
            <c:spPr>
              <a:pattFill prst="ltUpDiag">
                <a:fgClr>
                  <a:schemeClr val="accent1">
                    <a:tint val="77000"/>
                  </a:schemeClr>
                </a:fgClr>
                <a:bgClr>
                  <a:schemeClr val="accent1">
                    <a:tint val="77000"/>
                    <a:lumMod val="20000"/>
                    <a:lumOff val="80000"/>
                  </a:schemeClr>
                </a:bgClr>
              </a:pattFill>
              <a:ln w="19050">
                <a:solidFill>
                  <a:schemeClr val="lt1"/>
                </a:solidFill>
              </a:ln>
              <a:effectLst>
                <a:innerShdw blurRad="114300">
                  <a:schemeClr val="accent1">
                    <a:tint val="77000"/>
                  </a:schemeClr>
                </a:innerShdw>
              </a:effectLst>
            </c:spPr>
            <c:extLst>
              <c:ext xmlns:c16="http://schemas.microsoft.com/office/drawing/2014/chart" uri="{C3380CC4-5D6E-409C-BE32-E72D297353CC}">
                <c16:uniqueId val="{00000009-F691-40C7-B65E-6409D0FA16B9}"/>
              </c:ext>
            </c:extLst>
          </c:dPt>
          <c:dPt>
            <c:idx val="8"/>
            <c:bubble3D val="0"/>
            <c:spPr>
              <a:pattFill prst="ltUpDiag">
                <a:fgClr>
                  <a:schemeClr val="accent1">
                    <a:tint val="65000"/>
                  </a:schemeClr>
                </a:fgClr>
                <a:bgClr>
                  <a:schemeClr val="accent1">
                    <a:tint val="65000"/>
                    <a:lumMod val="20000"/>
                    <a:lumOff val="80000"/>
                  </a:schemeClr>
                </a:bgClr>
              </a:pattFill>
              <a:ln w="19050">
                <a:solidFill>
                  <a:schemeClr val="lt1"/>
                </a:solidFill>
              </a:ln>
              <a:effectLst>
                <a:innerShdw blurRad="114300">
                  <a:schemeClr val="accent1">
                    <a:tint val="65000"/>
                  </a:schemeClr>
                </a:innerShdw>
              </a:effectLst>
            </c:spPr>
            <c:extLst>
              <c:ext xmlns:c16="http://schemas.microsoft.com/office/drawing/2014/chart" uri="{C3380CC4-5D6E-409C-BE32-E72D297353CC}">
                <c16:uniqueId val="{0000000A-F691-40C7-B65E-6409D0FA16B9}"/>
              </c:ext>
            </c:extLst>
          </c:dPt>
          <c:dPt>
            <c:idx val="9"/>
            <c:bubble3D val="0"/>
            <c:spPr>
              <a:pattFill prst="ltUpDiag">
                <a:fgClr>
                  <a:schemeClr val="accent1">
                    <a:tint val="54000"/>
                  </a:schemeClr>
                </a:fgClr>
                <a:bgClr>
                  <a:schemeClr val="accent1">
                    <a:tint val="54000"/>
                    <a:lumMod val="20000"/>
                    <a:lumOff val="80000"/>
                  </a:schemeClr>
                </a:bgClr>
              </a:pattFill>
              <a:ln w="19050">
                <a:solidFill>
                  <a:schemeClr val="lt1"/>
                </a:solidFill>
              </a:ln>
              <a:effectLst>
                <a:innerShdw blurRad="114300">
                  <a:schemeClr val="accent1">
                    <a:tint val="54000"/>
                  </a:schemeClr>
                </a:innerShdw>
              </a:effectLst>
            </c:spPr>
            <c:extLst>
              <c:ext xmlns:c16="http://schemas.microsoft.com/office/drawing/2014/chart" uri="{C3380CC4-5D6E-409C-BE32-E72D297353CC}">
                <c16:uniqueId val="{0000000B-F691-40C7-B65E-6409D0FA16B9}"/>
              </c:ext>
            </c:extLst>
          </c:dPt>
          <c:dPt>
            <c:idx val="10"/>
            <c:bubble3D val="0"/>
            <c:spPr>
              <a:pattFill prst="ltUpDiag">
                <a:fgClr>
                  <a:schemeClr val="accent1">
                    <a:tint val="42000"/>
                  </a:schemeClr>
                </a:fgClr>
                <a:bgClr>
                  <a:schemeClr val="accent1">
                    <a:tint val="42000"/>
                    <a:lumMod val="20000"/>
                    <a:lumOff val="80000"/>
                  </a:schemeClr>
                </a:bgClr>
              </a:pattFill>
              <a:ln w="19050">
                <a:solidFill>
                  <a:schemeClr val="lt1"/>
                </a:solidFill>
              </a:ln>
              <a:effectLst>
                <a:innerShdw blurRad="114300">
                  <a:schemeClr val="accent1">
                    <a:tint val="42000"/>
                  </a:schemeClr>
                </a:innerShdw>
              </a:effectLst>
            </c:spPr>
            <c:extLst>
              <c:ext xmlns:c16="http://schemas.microsoft.com/office/drawing/2014/chart" uri="{C3380CC4-5D6E-409C-BE32-E72D297353CC}">
                <c16:uniqueId val="{00000001-F691-40C7-B65E-6409D0FA16B9}"/>
              </c:ext>
            </c:extLst>
          </c:dPt>
          <c:dLbls>
            <c:dLbl>
              <c:idx val="0"/>
              <c:layout>
                <c:manualLayout>
                  <c:x val="0.14803992803938407"/>
                  <c:y val="-0.10519913284674297"/>
                </c:manualLayout>
              </c:layout>
              <c:tx>
                <c:rich>
                  <a:bodyPr/>
                  <a:lstStyle/>
                  <a:p>
                    <a:fld id="{1E7F2F24-ED93-40CD-AB71-C58AFDE0A647}" type="CATEGORYNAME">
                      <a:rPr lang="en-US" smtClean="0"/>
                      <a:pPr/>
                      <a:t>[NAZWA KATEGORII]</a:t>
                    </a:fld>
                    <a:endParaRPr lang="en-US" dirty="0"/>
                  </a:p>
                  <a:p>
                    <a:r>
                      <a:rPr lang="en-US" baseline="0" dirty="0"/>
                      <a:t> </a:t>
                    </a:r>
                    <a:fld id="{A70F5D84-4D6F-434A-9A3C-F70ACD53EA90}"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F691-40C7-B65E-6409D0FA16B9}"/>
                </c:ext>
              </c:extLst>
            </c:dLbl>
            <c:dLbl>
              <c:idx val="1"/>
              <c:layout>
                <c:manualLayout>
                  <c:x val="0.22553928484380531"/>
                  <c:y val="-9.768490907197562E-2"/>
                </c:manualLayout>
              </c:layout>
              <c:tx>
                <c:rich>
                  <a:bodyPr/>
                  <a:lstStyle/>
                  <a:p>
                    <a:fld id="{5D1E9800-E295-42E5-8A62-A95B21B5967C}" type="CATEGORYNAME">
                      <a:rPr lang="en-US" smtClean="0"/>
                      <a:pPr/>
                      <a:t>[NAZWA KATEGORII]</a:t>
                    </a:fld>
                    <a:endParaRPr lang="en-US" dirty="0"/>
                  </a:p>
                  <a:p>
                    <a:r>
                      <a:rPr lang="en-US" baseline="0" dirty="0"/>
                      <a:t> </a:t>
                    </a:r>
                    <a:fld id="{AD321142-58B0-4969-9653-E03F933AF872}"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F691-40C7-B65E-6409D0FA16B9}"/>
                </c:ext>
              </c:extLst>
            </c:dLbl>
            <c:dLbl>
              <c:idx val="2"/>
              <c:layout>
                <c:manualLayout>
                  <c:x val="0.21083577809129184"/>
                  <c:y val="-2.2542671324302099E-2"/>
                </c:manualLayout>
              </c:layout>
              <c:tx>
                <c:rich>
                  <a:bodyPr/>
                  <a:lstStyle/>
                  <a:p>
                    <a:fld id="{B4689E08-3A81-4784-BCF6-376BABA63E9E}" type="CATEGORYNAME">
                      <a:rPr lang="en-US" smtClean="0"/>
                      <a:pPr/>
                      <a:t>[NAZWA KATEGORII]</a:t>
                    </a:fld>
                    <a:endParaRPr lang="en-US" dirty="0"/>
                  </a:p>
                  <a:p>
                    <a:r>
                      <a:rPr lang="en-US" baseline="0" dirty="0"/>
                      <a:t> </a:t>
                    </a:r>
                    <a:fld id="{26F053F8-81D1-44F1-923A-5C7BC3CBB30D}"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layout>
                    <c:manualLayout>
                      <c:w val="0.21515136208390481"/>
                      <c:h val="0.10335814802192497"/>
                    </c:manualLayout>
                  </c15:layout>
                  <c15:dlblFieldTable/>
                  <c15:showDataLabelsRange val="0"/>
                </c:ext>
                <c:ext xmlns:c16="http://schemas.microsoft.com/office/drawing/2014/chart" uri="{C3380CC4-5D6E-409C-BE32-E72D297353CC}">
                  <c16:uniqueId val="{00000004-F691-40C7-B65E-6409D0FA16B9}"/>
                </c:ext>
              </c:extLst>
            </c:dLbl>
            <c:dLbl>
              <c:idx val="3"/>
              <c:layout>
                <c:manualLayout>
                  <c:x val="0.26638954467902637"/>
                  <c:y val="7.5142237747673896E-3"/>
                </c:manualLayout>
              </c:layout>
              <c:tx>
                <c:rich>
                  <a:bodyPr/>
                  <a:lstStyle/>
                  <a:p>
                    <a:fld id="{F3C95CEB-FED7-494D-BF2B-D36D9BC28F67}" type="CATEGORYNAME">
                      <a:rPr lang="en-US" smtClean="0"/>
                      <a:pPr/>
                      <a:t>[NAZWA KATEGORII]</a:t>
                    </a:fld>
                    <a:endParaRPr lang="en-US" baseline="0" dirty="0"/>
                  </a:p>
                  <a:p>
                    <a:fld id="{BB7B405C-E2B0-4699-9EEC-139C4D06CC9B}" type="VALUE">
                      <a:rPr lang="en-US" baseline="0" smtClean="0"/>
                      <a:pPr/>
                      <a:t>[WARTOŚĆ]</a:t>
                    </a:fld>
                    <a:endParaRPr lang="pl-PL"/>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F691-40C7-B65E-6409D0FA16B9}"/>
                </c:ext>
              </c:extLst>
            </c:dLbl>
            <c:dLbl>
              <c:idx val="4"/>
              <c:layout>
                <c:manualLayout>
                  <c:x val="0.25588298608578386"/>
                  <c:y val="3.38140069864531E-2"/>
                </c:manualLayout>
              </c:layout>
              <c:tx>
                <c:rich>
                  <a:bodyPr/>
                  <a:lstStyle/>
                  <a:p>
                    <a:fld id="{DD1ED0C4-7E17-4082-B91A-985D8026FA05}" type="CATEGORYNAME">
                      <a:rPr lang="en-US" smtClean="0"/>
                      <a:pPr/>
                      <a:t>[NAZWA KATEGORII]</a:t>
                    </a:fld>
                    <a:endParaRPr lang="en-US" baseline="0" dirty="0"/>
                  </a:p>
                  <a:p>
                    <a:r>
                      <a:rPr lang="en-US" baseline="0" dirty="0"/>
                      <a:t> </a:t>
                    </a:r>
                    <a:fld id="{4BBAF2AE-8D78-40BF-B1BE-E2E982B5E43D}"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F691-40C7-B65E-6409D0FA16B9}"/>
                </c:ext>
              </c:extLst>
            </c:dLbl>
            <c:dLbl>
              <c:idx val="5"/>
              <c:layout>
                <c:manualLayout>
                  <c:x val="0.26962000544399711"/>
                  <c:y val="8.6413573409824584E-2"/>
                </c:manualLayout>
              </c:layout>
              <c:tx>
                <c:rich>
                  <a:bodyPr/>
                  <a:lstStyle/>
                  <a:p>
                    <a:fld id="{86788246-9211-4532-AF20-A11850CD86C8}" type="CATEGORYNAME">
                      <a:rPr lang="en-US" smtClean="0"/>
                      <a:pPr/>
                      <a:t>[NAZWA KATEGORII]</a:t>
                    </a:fld>
                    <a:endParaRPr lang="en-US" baseline="0" dirty="0"/>
                  </a:p>
                  <a:p>
                    <a:r>
                      <a:rPr lang="en-US" baseline="0" dirty="0"/>
                      <a:t> </a:t>
                    </a:r>
                    <a:fld id="{BC51E3D4-B52E-4787-B9AA-C4C80A93B147}"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F691-40C7-B65E-6409D0FA16B9}"/>
                </c:ext>
              </c:extLst>
            </c:dLbl>
            <c:dLbl>
              <c:idx val="6"/>
              <c:layout>
                <c:manualLayout>
                  <c:x val="0.28547947203902596"/>
                  <c:y val="0.15404158738273077"/>
                </c:manualLayout>
              </c:layout>
              <c:tx>
                <c:rich>
                  <a:bodyPr/>
                  <a:lstStyle/>
                  <a:p>
                    <a:fld id="{9D9F06F6-3CC6-4D42-A008-CACC8821CA8B}" type="CATEGORYNAME">
                      <a:rPr lang="en-US" smtClean="0"/>
                      <a:pPr/>
                      <a:t>[NAZWA KATEGORII]</a:t>
                    </a:fld>
                    <a:endParaRPr lang="en-US" baseline="0" dirty="0"/>
                  </a:p>
                  <a:p>
                    <a:fld id="{9B3B60EB-277F-437B-8562-48ACF4CB0906}" type="VALUE">
                      <a:rPr lang="en-US" baseline="0" smtClean="0"/>
                      <a:pPr/>
                      <a:t>[WARTOŚĆ]</a:t>
                    </a:fld>
                    <a:endParaRPr lang="pl-PL"/>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F691-40C7-B65E-6409D0FA16B9}"/>
                </c:ext>
              </c:extLst>
            </c:dLbl>
            <c:dLbl>
              <c:idx val="7"/>
              <c:layout>
                <c:manualLayout>
                  <c:x val="0.17476707342457662"/>
                  <c:y val="0.22166960135563682"/>
                </c:manualLayout>
              </c:layout>
              <c:tx>
                <c:rich>
                  <a:bodyPr/>
                  <a:lstStyle/>
                  <a:p>
                    <a:fld id="{7A163867-8592-4C28-9DFB-222686E18920}" type="CATEGORYNAME">
                      <a:rPr lang="en-US" smtClean="0"/>
                      <a:pPr/>
                      <a:t>[NAZWA KATEGORII]</a:t>
                    </a:fld>
                    <a:r>
                      <a:rPr lang="en-US" baseline="0" dirty="0"/>
                      <a:t> </a:t>
                    </a:r>
                    <a:fld id="{9B6D7456-61B6-48BE-BD12-0CA67153F8E7}"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F691-40C7-B65E-6409D0FA16B9}"/>
                </c:ext>
              </c:extLst>
            </c:dLbl>
            <c:dLbl>
              <c:idx val="8"/>
              <c:layout>
                <c:manualLayout>
                  <c:x val="4.4828558568335425E-2"/>
                  <c:y val="0.11177644533431774"/>
                </c:manualLayout>
              </c:layout>
              <c:tx>
                <c:rich>
                  <a:bodyPr/>
                  <a:lstStyle/>
                  <a:p>
                    <a:fld id="{0C8E400D-73C5-4ADF-B18B-6B5D069A5846}" type="CATEGORYNAME">
                      <a:rPr lang="en-US" smtClean="0"/>
                      <a:pPr/>
                      <a:t>[NAZWA KATEGORII]</a:t>
                    </a:fld>
                    <a:endParaRPr lang="en-US" baseline="0" dirty="0"/>
                  </a:p>
                  <a:p>
                    <a:r>
                      <a:rPr lang="en-US" baseline="0" dirty="0"/>
                      <a:t> </a:t>
                    </a:r>
                    <a:fld id="{BB365803-0706-402E-8287-8072F1344657}"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layout>
                    <c:manualLayout>
                      <c:w val="0.10375333355868395"/>
                      <c:h val="0.10335814802192497"/>
                    </c:manualLayout>
                  </c15:layout>
                  <c15:dlblFieldTable/>
                  <c15:showDataLabelsRange val="0"/>
                </c:ext>
                <c:ext xmlns:c16="http://schemas.microsoft.com/office/drawing/2014/chart" uri="{C3380CC4-5D6E-409C-BE32-E72D297353CC}">
                  <c16:uniqueId val="{0000000A-F691-40C7-B65E-6409D0FA16B9}"/>
                </c:ext>
              </c:extLst>
            </c:dLbl>
            <c:dLbl>
              <c:idx val="9"/>
              <c:layout>
                <c:manualLayout>
                  <c:x val="-0.11449668823509528"/>
                  <c:y val="0.2855405034411595"/>
                </c:manualLayout>
              </c:layout>
              <c:tx>
                <c:rich>
                  <a:bodyPr/>
                  <a:lstStyle/>
                  <a:p>
                    <a:fld id="{A6999AF1-DD37-4E5C-8CA2-659868DE98C1}" type="CATEGORYNAME">
                      <a:rPr lang="en-US" smtClean="0"/>
                      <a:pPr/>
                      <a:t>[NAZWA KATEGORII]</a:t>
                    </a:fld>
                    <a:endParaRPr lang="en-US" baseline="0" dirty="0"/>
                  </a:p>
                  <a:p>
                    <a:r>
                      <a:rPr lang="en-US" baseline="0" dirty="0"/>
                      <a:t> </a:t>
                    </a:r>
                    <a:fld id="{B4B16B21-C465-4348-9031-3FA0F39F1B72}"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F691-40C7-B65E-6409D0FA16B9}"/>
                </c:ext>
              </c:extLst>
            </c:dLbl>
            <c:dLbl>
              <c:idx val="10"/>
              <c:layout>
                <c:manualLayout>
                  <c:x val="-0.14187159770440971"/>
                  <c:y val="7.1385125860289875E-2"/>
                </c:manualLayout>
              </c:layout>
              <c:tx>
                <c:rich>
                  <a:bodyPr/>
                  <a:lstStyle/>
                  <a:p>
                    <a:fld id="{9284E013-5D25-4FFB-9E0E-0E5CFD2B1C6C}" type="CATEGORYNAME">
                      <a:rPr lang="en-US" smtClean="0"/>
                      <a:pPr/>
                      <a:t>[NAZWA KATEGORII]</a:t>
                    </a:fld>
                    <a:endParaRPr lang="en-US" dirty="0"/>
                  </a:p>
                  <a:p>
                    <a:r>
                      <a:rPr lang="en-US" baseline="0" dirty="0"/>
                      <a:t> </a:t>
                    </a:r>
                    <a:fld id="{87652FC3-F489-403B-8304-C52829409C5B}"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F691-40C7-B65E-6409D0FA16B9}"/>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1"/>
            <c:showSerName val="0"/>
            <c:showPercent val="0"/>
            <c:showBubbleSize val="0"/>
            <c:showLeaderLines val="1"/>
            <c:leaderLines>
              <c:spPr>
                <a:ln w="9525">
                  <a:solidFill>
                    <a:schemeClr val="tx1">
                      <a:lumMod val="35000"/>
                      <a:lumOff val="65000"/>
                    </a:schemeClr>
                  </a:solidFill>
                </a:ln>
                <a:effectLst/>
              </c:spPr>
            </c:leaderLines>
            <c:extLst>
              <c:ext xmlns:c15="http://schemas.microsoft.com/office/drawing/2012/chart" uri="{CE6537A1-D6FC-4f65-9D91-7224C49458BB}"/>
            </c:extLst>
          </c:dLbls>
          <c:cat>
            <c:strRef>
              <c:f>Лист1!$A$2:$A$12</c:f>
              <c:strCache>
                <c:ptCount val="11"/>
                <c:pt idx="0">
                  <c:v>Vietnam</c:v>
                </c:pt>
                <c:pt idx="1">
                  <c:v>France</c:v>
                </c:pt>
                <c:pt idx="2">
                  <c:v>Spain</c:v>
                </c:pt>
                <c:pt idx="3">
                  <c:v>USA</c:v>
                </c:pt>
                <c:pt idx="4">
                  <c:v>Italy</c:v>
                </c:pt>
                <c:pt idx="5">
                  <c:v> Netherlands</c:v>
                </c:pt>
                <c:pt idx="6">
                  <c:v>Portugal</c:v>
                </c:pt>
                <c:pt idx="7">
                  <c:v>India</c:v>
                </c:pt>
                <c:pt idx="8">
                  <c:v>Poland</c:v>
                </c:pt>
                <c:pt idx="9">
                  <c:v>Germany</c:v>
                </c:pt>
                <c:pt idx="10">
                  <c:v>other</c:v>
                </c:pt>
              </c:strCache>
            </c:strRef>
          </c:cat>
          <c:val>
            <c:numRef>
              <c:f>Лист1!$B$2:$B$12</c:f>
              <c:numCache>
                <c:formatCode>0.00%</c:formatCode>
                <c:ptCount val="11"/>
                <c:pt idx="0">
                  <c:v>8.5400000000000004E-2</c:v>
                </c:pt>
                <c:pt idx="1">
                  <c:v>7.9500000000000001E-2</c:v>
                </c:pt>
                <c:pt idx="2">
                  <c:v>6.1699999999999998E-2</c:v>
                </c:pt>
                <c:pt idx="3">
                  <c:v>5.6899999999999999E-2</c:v>
                </c:pt>
                <c:pt idx="4">
                  <c:v>5.5199999999999999E-2</c:v>
                </c:pt>
                <c:pt idx="5">
                  <c:v>5.4899999999999997E-2</c:v>
                </c:pt>
                <c:pt idx="6">
                  <c:v>4.7500000000000001E-2</c:v>
                </c:pt>
                <c:pt idx="7">
                  <c:v>3.7100000000000001E-2</c:v>
                </c:pt>
                <c:pt idx="8">
                  <c:v>3.2599999999999997E-2</c:v>
                </c:pt>
                <c:pt idx="9">
                  <c:v>3.1300000000000001E-2</c:v>
                </c:pt>
                <c:pt idx="10">
                  <c:v>0.45789999999999997</c:v>
                </c:pt>
              </c:numCache>
            </c:numRef>
          </c:val>
          <c:extLst>
            <c:ext xmlns:c16="http://schemas.microsoft.com/office/drawing/2014/chart" uri="{C3380CC4-5D6E-409C-BE32-E72D297353CC}">
              <c16:uniqueId val="{00000000-F691-40C7-B65E-6409D0FA16B9}"/>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doughnutChart>
        <c:varyColors val="1"/>
        <c:ser>
          <c:idx val="0"/>
          <c:order val="0"/>
          <c:tx>
            <c:strRef>
              <c:f>Лист1!$B$1</c:f>
              <c:strCache>
                <c:ptCount val="1"/>
                <c:pt idx="0">
                  <c:v>Продажи</c:v>
                </c:pt>
              </c:strCache>
            </c:strRef>
          </c:tx>
          <c:dPt>
            <c:idx val="0"/>
            <c:bubble3D val="0"/>
            <c:spPr>
              <a:pattFill prst="ltUpDiag">
                <a:fgClr>
                  <a:schemeClr val="accent1">
                    <a:shade val="41000"/>
                  </a:schemeClr>
                </a:fgClr>
                <a:bgClr>
                  <a:schemeClr val="accent1">
                    <a:shade val="41000"/>
                    <a:lumMod val="20000"/>
                    <a:lumOff val="80000"/>
                  </a:schemeClr>
                </a:bgClr>
              </a:pattFill>
              <a:ln w="19050">
                <a:solidFill>
                  <a:schemeClr val="lt1"/>
                </a:solidFill>
              </a:ln>
              <a:effectLst>
                <a:innerShdw blurRad="114300">
                  <a:schemeClr val="accent1">
                    <a:shade val="41000"/>
                  </a:schemeClr>
                </a:innerShdw>
              </a:effectLst>
            </c:spPr>
            <c:extLst>
              <c:ext xmlns:c16="http://schemas.microsoft.com/office/drawing/2014/chart" uri="{C3380CC4-5D6E-409C-BE32-E72D297353CC}">
                <c16:uniqueId val="{00000001-DD1B-4AA9-91CE-B3BD737FA8E3}"/>
              </c:ext>
            </c:extLst>
          </c:dPt>
          <c:dPt>
            <c:idx val="1"/>
            <c:bubble3D val="0"/>
            <c:spPr>
              <a:pattFill prst="ltUpDiag">
                <a:fgClr>
                  <a:schemeClr val="accent1">
                    <a:shade val="53000"/>
                  </a:schemeClr>
                </a:fgClr>
                <a:bgClr>
                  <a:schemeClr val="accent1">
                    <a:shade val="53000"/>
                    <a:lumMod val="20000"/>
                    <a:lumOff val="80000"/>
                  </a:schemeClr>
                </a:bgClr>
              </a:pattFill>
              <a:ln w="19050">
                <a:solidFill>
                  <a:schemeClr val="lt1"/>
                </a:solidFill>
              </a:ln>
              <a:effectLst>
                <a:innerShdw blurRad="114300">
                  <a:schemeClr val="accent1">
                    <a:shade val="53000"/>
                  </a:schemeClr>
                </a:innerShdw>
              </a:effectLst>
            </c:spPr>
            <c:extLst>
              <c:ext xmlns:c16="http://schemas.microsoft.com/office/drawing/2014/chart" uri="{C3380CC4-5D6E-409C-BE32-E72D297353CC}">
                <c16:uniqueId val="{00000003-DD1B-4AA9-91CE-B3BD737FA8E3}"/>
              </c:ext>
            </c:extLst>
          </c:dPt>
          <c:dPt>
            <c:idx val="2"/>
            <c:bubble3D val="0"/>
            <c:spPr>
              <a:pattFill prst="ltUpDiag">
                <a:fgClr>
                  <a:schemeClr val="accent1">
                    <a:shade val="65000"/>
                  </a:schemeClr>
                </a:fgClr>
                <a:bgClr>
                  <a:schemeClr val="accent1">
                    <a:shade val="65000"/>
                    <a:lumMod val="20000"/>
                    <a:lumOff val="80000"/>
                  </a:schemeClr>
                </a:bgClr>
              </a:pattFill>
              <a:ln w="19050">
                <a:solidFill>
                  <a:schemeClr val="lt1"/>
                </a:solidFill>
              </a:ln>
              <a:effectLst>
                <a:innerShdw blurRad="114300">
                  <a:schemeClr val="accent1">
                    <a:shade val="65000"/>
                  </a:schemeClr>
                </a:innerShdw>
              </a:effectLst>
            </c:spPr>
            <c:extLst>
              <c:ext xmlns:c16="http://schemas.microsoft.com/office/drawing/2014/chart" uri="{C3380CC4-5D6E-409C-BE32-E72D297353CC}">
                <c16:uniqueId val="{00000005-DD1B-4AA9-91CE-B3BD737FA8E3}"/>
              </c:ext>
            </c:extLst>
          </c:dPt>
          <c:dPt>
            <c:idx val="3"/>
            <c:bubble3D val="0"/>
            <c:spPr>
              <a:pattFill prst="ltUpDiag">
                <a:fgClr>
                  <a:schemeClr val="accent1">
                    <a:shade val="76000"/>
                  </a:schemeClr>
                </a:fgClr>
                <a:bgClr>
                  <a:schemeClr val="accent1">
                    <a:shade val="76000"/>
                    <a:lumMod val="20000"/>
                    <a:lumOff val="80000"/>
                  </a:schemeClr>
                </a:bgClr>
              </a:pattFill>
              <a:ln w="19050">
                <a:solidFill>
                  <a:schemeClr val="lt1"/>
                </a:solidFill>
              </a:ln>
              <a:effectLst>
                <a:innerShdw blurRad="114300">
                  <a:schemeClr val="accent1">
                    <a:shade val="76000"/>
                  </a:schemeClr>
                </a:innerShdw>
              </a:effectLst>
            </c:spPr>
            <c:extLst>
              <c:ext xmlns:c16="http://schemas.microsoft.com/office/drawing/2014/chart" uri="{C3380CC4-5D6E-409C-BE32-E72D297353CC}">
                <c16:uniqueId val="{00000007-DD1B-4AA9-91CE-B3BD737FA8E3}"/>
              </c:ext>
            </c:extLst>
          </c:dPt>
          <c:dPt>
            <c:idx val="4"/>
            <c:bubble3D val="0"/>
            <c:spPr>
              <a:pattFill prst="ltUpDiag">
                <a:fgClr>
                  <a:schemeClr val="accent1">
                    <a:shade val="88000"/>
                  </a:schemeClr>
                </a:fgClr>
                <a:bgClr>
                  <a:schemeClr val="accent1">
                    <a:shade val="88000"/>
                    <a:lumMod val="20000"/>
                    <a:lumOff val="80000"/>
                  </a:schemeClr>
                </a:bgClr>
              </a:pattFill>
              <a:ln w="19050">
                <a:solidFill>
                  <a:schemeClr val="lt1"/>
                </a:solidFill>
              </a:ln>
              <a:effectLst>
                <a:innerShdw blurRad="114300">
                  <a:schemeClr val="accent1">
                    <a:shade val="88000"/>
                  </a:schemeClr>
                </a:innerShdw>
              </a:effectLst>
            </c:spPr>
            <c:extLst>
              <c:ext xmlns:c16="http://schemas.microsoft.com/office/drawing/2014/chart" uri="{C3380CC4-5D6E-409C-BE32-E72D297353CC}">
                <c16:uniqueId val="{00000009-DD1B-4AA9-91CE-B3BD737FA8E3}"/>
              </c:ext>
            </c:extLst>
          </c:dPt>
          <c:dPt>
            <c:idx val="5"/>
            <c:bubble3D val="0"/>
            <c:spPr>
              <a:pattFill prst="ltUpDiag">
                <a:fgClr>
                  <a:schemeClr val="accent1"/>
                </a:fgClr>
                <a:bgClr>
                  <a:schemeClr val="accent1">
                    <a:lumMod val="20000"/>
                    <a:lumOff val="80000"/>
                  </a:schemeClr>
                </a:bgClr>
              </a:pattFill>
              <a:ln w="19050">
                <a:solidFill>
                  <a:schemeClr val="lt1"/>
                </a:solidFill>
              </a:ln>
              <a:effectLst>
                <a:innerShdw blurRad="114300">
                  <a:schemeClr val="accent1"/>
                </a:innerShdw>
              </a:effectLst>
            </c:spPr>
            <c:extLst>
              <c:ext xmlns:c16="http://schemas.microsoft.com/office/drawing/2014/chart" uri="{C3380CC4-5D6E-409C-BE32-E72D297353CC}">
                <c16:uniqueId val="{0000000B-DD1B-4AA9-91CE-B3BD737FA8E3}"/>
              </c:ext>
            </c:extLst>
          </c:dPt>
          <c:dPt>
            <c:idx val="6"/>
            <c:bubble3D val="0"/>
            <c:spPr>
              <a:pattFill prst="ltUpDiag">
                <a:fgClr>
                  <a:schemeClr val="accent1">
                    <a:tint val="89000"/>
                  </a:schemeClr>
                </a:fgClr>
                <a:bgClr>
                  <a:schemeClr val="accent1">
                    <a:tint val="89000"/>
                    <a:lumMod val="20000"/>
                    <a:lumOff val="80000"/>
                  </a:schemeClr>
                </a:bgClr>
              </a:pattFill>
              <a:ln w="19050">
                <a:solidFill>
                  <a:schemeClr val="lt1"/>
                </a:solidFill>
              </a:ln>
              <a:effectLst>
                <a:innerShdw blurRad="114300">
                  <a:schemeClr val="accent1">
                    <a:tint val="89000"/>
                  </a:schemeClr>
                </a:innerShdw>
              </a:effectLst>
            </c:spPr>
            <c:extLst>
              <c:ext xmlns:c16="http://schemas.microsoft.com/office/drawing/2014/chart" uri="{C3380CC4-5D6E-409C-BE32-E72D297353CC}">
                <c16:uniqueId val="{0000000D-DD1B-4AA9-91CE-B3BD737FA8E3}"/>
              </c:ext>
            </c:extLst>
          </c:dPt>
          <c:dPt>
            <c:idx val="7"/>
            <c:bubble3D val="0"/>
            <c:spPr>
              <a:pattFill prst="ltUpDiag">
                <a:fgClr>
                  <a:schemeClr val="accent1">
                    <a:tint val="77000"/>
                  </a:schemeClr>
                </a:fgClr>
                <a:bgClr>
                  <a:schemeClr val="accent1">
                    <a:tint val="77000"/>
                    <a:lumMod val="20000"/>
                    <a:lumOff val="80000"/>
                  </a:schemeClr>
                </a:bgClr>
              </a:pattFill>
              <a:ln w="19050">
                <a:solidFill>
                  <a:schemeClr val="lt1"/>
                </a:solidFill>
              </a:ln>
              <a:effectLst>
                <a:innerShdw blurRad="114300">
                  <a:schemeClr val="accent1">
                    <a:tint val="77000"/>
                  </a:schemeClr>
                </a:innerShdw>
              </a:effectLst>
            </c:spPr>
            <c:extLst>
              <c:ext xmlns:c16="http://schemas.microsoft.com/office/drawing/2014/chart" uri="{C3380CC4-5D6E-409C-BE32-E72D297353CC}">
                <c16:uniqueId val="{0000000F-DD1B-4AA9-91CE-B3BD737FA8E3}"/>
              </c:ext>
            </c:extLst>
          </c:dPt>
          <c:dPt>
            <c:idx val="8"/>
            <c:bubble3D val="0"/>
            <c:spPr>
              <a:pattFill prst="ltUpDiag">
                <a:fgClr>
                  <a:schemeClr val="accent1">
                    <a:tint val="65000"/>
                  </a:schemeClr>
                </a:fgClr>
                <a:bgClr>
                  <a:schemeClr val="accent1">
                    <a:tint val="65000"/>
                    <a:lumMod val="20000"/>
                    <a:lumOff val="80000"/>
                  </a:schemeClr>
                </a:bgClr>
              </a:pattFill>
              <a:ln w="19050">
                <a:solidFill>
                  <a:schemeClr val="lt1"/>
                </a:solidFill>
              </a:ln>
              <a:effectLst>
                <a:innerShdw blurRad="114300">
                  <a:schemeClr val="accent1">
                    <a:tint val="65000"/>
                  </a:schemeClr>
                </a:innerShdw>
              </a:effectLst>
            </c:spPr>
            <c:extLst>
              <c:ext xmlns:c16="http://schemas.microsoft.com/office/drawing/2014/chart" uri="{C3380CC4-5D6E-409C-BE32-E72D297353CC}">
                <c16:uniqueId val="{00000011-DD1B-4AA9-91CE-B3BD737FA8E3}"/>
              </c:ext>
            </c:extLst>
          </c:dPt>
          <c:dPt>
            <c:idx val="9"/>
            <c:bubble3D val="0"/>
            <c:spPr>
              <a:pattFill prst="ltUpDiag">
                <a:fgClr>
                  <a:schemeClr val="accent1">
                    <a:tint val="54000"/>
                  </a:schemeClr>
                </a:fgClr>
                <a:bgClr>
                  <a:schemeClr val="accent1">
                    <a:tint val="54000"/>
                    <a:lumMod val="20000"/>
                    <a:lumOff val="80000"/>
                  </a:schemeClr>
                </a:bgClr>
              </a:pattFill>
              <a:ln w="19050">
                <a:solidFill>
                  <a:schemeClr val="lt1"/>
                </a:solidFill>
              </a:ln>
              <a:effectLst>
                <a:innerShdw blurRad="114300">
                  <a:schemeClr val="accent1">
                    <a:tint val="54000"/>
                  </a:schemeClr>
                </a:innerShdw>
              </a:effectLst>
            </c:spPr>
            <c:extLst>
              <c:ext xmlns:c16="http://schemas.microsoft.com/office/drawing/2014/chart" uri="{C3380CC4-5D6E-409C-BE32-E72D297353CC}">
                <c16:uniqueId val="{00000013-DD1B-4AA9-91CE-B3BD737FA8E3}"/>
              </c:ext>
            </c:extLst>
          </c:dPt>
          <c:dPt>
            <c:idx val="10"/>
            <c:bubble3D val="0"/>
            <c:spPr>
              <a:pattFill prst="ltUpDiag">
                <a:fgClr>
                  <a:schemeClr val="accent1">
                    <a:tint val="42000"/>
                  </a:schemeClr>
                </a:fgClr>
                <a:bgClr>
                  <a:schemeClr val="accent1">
                    <a:tint val="42000"/>
                    <a:lumMod val="20000"/>
                    <a:lumOff val="80000"/>
                  </a:schemeClr>
                </a:bgClr>
              </a:pattFill>
              <a:ln w="19050">
                <a:solidFill>
                  <a:schemeClr val="lt1"/>
                </a:solidFill>
              </a:ln>
              <a:effectLst>
                <a:innerShdw blurRad="114300">
                  <a:schemeClr val="accent1">
                    <a:tint val="42000"/>
                  </a:schemeClr>
                </a:innerShdw>
              </a:effectLst>
            </c:spPr>
            <c:extLst>
              <c:ext xmlns:c16="http://schemas.microsoft.com/office/drawing/2014/chart" uri="{C3380CC4-5D6E-409C-BE32-E72D297353CC}">
                <c16:uniqueId val="{00000015-DD1B-4AA9-91CE-B3BD737FA8E3}"/>
              </c:ext>
            </c:extLst>
          </c:dPt>
          <c:dLbls>
            <c:dLbl>
              <c:idx val="0"/>
              <c:layout>
                <c:manualLayout>
                  <c:x val="0.14803992803938407"/>
                  <c:y val="-0.10519913284674297"/>
                </c:manualLayout>
              </c:layout>
              <c:tx>
                <c:rich>
                  <a:bodyPr/>
                  <a:lstStyle/>
                  <a:p>
                    <a:fld id="{1E7F2F24-ED93-40CD-AB71-C58AFDE0A647}" type="CATEGORYNAME">
                      <a:rPr lang="en-US" smtClean="0"/>
                      <a:pPr/>
                      <a:t>[NAZWA KATEGORII]</a:t>
                    </a:fld>
                    <a:endParaRPr lang="en-US" dirty="0"/>
                  </a:p>
                  <a:p>
                    <a:r>
                      <a:rPr lang="en-US" baseline="0" dirty="0"/>
                      <a:t> </a:t>
                    </a:r>
                    <a:fld id="{A70F5D84-4D6F-434A-9A3C-F70ACD53EA90}"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DD1B-4AA9-91CE-B3BD737FA8E3}"/>
                </c:ext>
              </c:extLst>
            </c:dLbl>
            <c:dLbl>
              <c:idx val="1"/>
              <c:layout>
                <c:manualLayout>
                  <c:x val="0.22553928484380531"/>
                  <c:y val="-9.768490907197562E-2"/>
                </c:manualLayout>
              </c:layout>
              <c:tx>
                <c:rich>
                  <a:bodyPr/>
                  <a:lstStyle/>
                  <a:p>
                    <a:fld id="{5D1E9800-E295-42E5-8A62-A95B21B5967C}" type="CATEGORYNAME">
                      <a:rPr lang="en-US" smtClean="0"/>
                      <a:pPr/>
                      <a:t>[NAZWA KATEGORII]</a:t>
                    </a:fld>
                    <a:endParaRPr lang="en-US" dirty="0"/>
                  </a:p>
                  <a:p>
                    <a:r>
                      <a:rPr lang="en-US" baseline="0" dirty="0"/>
                      <a:t> </a:t>
                    </a:r>
                    <a:fld id="{AD321142-58B0-4969-9653-E03F933AF872}"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DD1B-4AA9-91CE-B3BD737FA8E3}"/>
                </c:ext>
              </c:extLst>
            </c:dLbl>
            <c:dLbl>
              <c:idx val="2"/>
              <c:layout>
                <c:manualLayout>
                  <c:x val="0.2402084552747171"/>
                  <c:y val="-4.884245453598781E-2"/>
                </c:manualLayout>
              </c:layout>
              <c:tx>
                <c:rich>
                  <a:bodyPr/>
                  <a:lstStyle/>
                  <a:p>
                    <a:fld id="{B4689E08-3A81-4784-BCF6-376BABA63E9E}" type="CATEGORYNAME">
                      <a:rPr lang="en-US" smtClean="0"/>
                      <a:pPr/>
                      <a:t>[NAZWA KATEGORII]</a:t>
                    </a:fld>
                    <a:r>
                      <a:rPr lang="en-US" baseline="0" dirty="0"/>
                      <a:t> </a:t>
                    </a:r>
                  </a:p>
                  <a:p>
                    <a:fld id="{26F053F8-81D1-44F1-923A-5C7BC3CBB30D}" type="VALUE">
                      <a:rPr lang="en-US" baseline="0" smtClean="0"/>
                      <a:pPr/>
                      <a:t>[WARTOŚĆ]</a:t>
                    </a:fld>
                    <a:endParaRPr lang="pl-PL"/>
                  </a:p>
                </c:rich>
              </c:tx>
              <c:showLegendKey val="0"/>
              <c:showVal val="1"/>
              <c:showCatName val="1"/>
              <c:showSerName val="0"/>
              <c:showPercent val="0"/>
              <c:showBubbleSize val="0"/>
              <c:extLst>
                <c:ext xmlns:c15="http://schemas.microsoft.com/office/drawing/2012/chart" uri="{CE6537A1-D6FC-4f65-9D91-7224C49458BB}">
                  <c15:layout>
                    <c:manualLayout>
                      <c:w val="0.21515136208390481"/>
                      <c:h val="0.10335814802192497"/>
                    </c:manualLayout>
                  </c15:layout>
                  <c15:dlblFieldTable/>
                  <c15:showDataLabelsRange val="0"/>
                </c:ext>
                <c:ext xmlns:c16="http://schemas.microsoft.com/office/drawing/2014/chart" uri="{C3380CC4-5D6E-409C-BE32-E72D297353CC}">
                  <c16:uniqueId val="{00000005-DD1B-4AA9-91CE-B3BD737FA8E3}"/>
                </c:ext>
              </c:extLst>
            </c:dLbl>
            <c:dLbl>
              <c:idx val="3"/>
              <c:layout>
                <c:manualLayout>
                  <c:x val="0.38388025341272775"/>
                  <c:y val="7.5142237747673549E-3"/>
                </c:manualLayout>
              </c:layout>
              <c:tx>
                <c:rich>
                  <a:bodyPr/>
                  <a:lstStyle/>
                  <a:p>
                    <a:fld id="{F3C95CEB-FED7-494D-BF2B-D36D9BC28F67}" type="CATEGORYNAME">
                      <a:rPr lang="en-US" smtClean="0"/>
                      <a:pPr/>
                      <a:t>[NAZWA KATEGORII]</a:t>
                    </a:fld>
                    <a:endParaRPr lang="en-US" baseline="0" dirty="0"/>
                  </a:p>
                  <a:p>
                    <a:fld id="{BB7B405C-E2B0-4699-9EEC-139C4D06CC9B}" type="VALUE">
                      <a:rPr lang="en-US" baseline="0" smtClean="0"/>
                      <a:pPr/>
                      <a:t>[WARTOŚĆ]</a:t>
                    </a:fld>
                    <a:endParaRPr lang="pl-PL"/>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DD1B-4AA9-91CE-B3BD737FA8E3}"/>
                </c:ext>
              </c:extLst>
            </c:dLbl>
            <c:dLbl>
              <c:idx val="4"/>
              <c:layout>
                <c:manualLayout>
                  <c:x val="0.28977453668204389"/>
                  <c:y val="9.768490907197562E-2"/>
                </c:manualLayout>
              </c:layout>
              <c:tx>
                <c:rich>
                  <a:bodyPr/>
                  <a:lstStyle/>
                  <a:p>
                    <a:fld id="{DD1ED0C4-7E17-4082-B91A-985D8026FA05}" type="CATEGORYNAME">
                      <a:rPr lang="en-US" smtClean="0"/>
                      <a:pPr/>
                      <a:t>[NAZWA KATEGORII]</a:t>
                    </a:fld>
                    <a:endParaRPr lang="en-US" baseline="0" dirty="0"/>
                  </a:p>
                  <a:p>
                    <a:r>
                      <a:rPr lang="en-US" baseline="0" dirty="0"/>
                      <a:t> </a:t>
                    </a:r>
                    <a:fld id="{4BBAF2AE-8D78-40BF-B1BE-E2E982B5E43D}"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DD1B-4AA9-91CE-B3BD737FA8E3}"/>
                </c:ext>
              </c:extLst>
            </c:dLbl>
            <c:dLbl>
              <c:idx val="5"/>
              <c:layout>
                <c:manualLayout>
                  <c:x val="-8.5111557463524334E-2"/>
                  <c:y val="0.13495427565249496"/>
                </c:manualLayout>
              </c:layout>
              <c:tx>
                <c:rich>
                  <a:bodyPr/>
                  <a:lstStyle/>
                  <a:p>
                    <a:fld id="{86788246-9211-4532-AF20-A11850CD86C8}" type="CATEGORYNAME">
                      <a:rPr lang="en-US" smtClean="0"/>
                      <a:pPr/>
                      <a:t>[NAZWA KATEGORII]</a:t>
                    </a:fld>
                    <a:endParaRPr lang="en-US" baseline="0" dirty="0"/>
                  </a:p>
                  <a:p>
                    <a:r>
                      <a:rPr lang="en-US" baseline="0" dirty="0"/>
                      <a:t> </a:t>
                    </a:r>
                    <a:fld id="{BC51E3D4-B52E-4787-B9AA-C4C80A93B147}"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DD1B-4AA9-91CE-B3BD737FA8E3}"/>
                </c:ext>
              </c:extLst>
            </c:dLbl>
            <c:dLbl>
              <c:idx val="6"/>
              <c:layout>
                <c:manualLayout>
                  <c:x val="-0.26130421091396888"/>
                  <c:y val="0.18053928459856294"/>
                </c:manualLayout>
              </c:layout>
              <c:tx>
                <c:rich>
                  <a:bodyPr/>
                  <a:lstStyle/>
                  <a:p>
                    <a:fld id="{9D9F06F6-3CC6-4D42-A008-CACC8821CA8B}" type="CATEGORYNAME">
                      <a:rPr lang="en-US" smtClean="0"/>
                      <a:pPr/>
                      <a:t>[NAZWA KATEGORII]</a:t>
                    </a:fld>
                    <a:endParaRPr lang="en-US" baseline="0" dirty="0"/>
                  </a:p>
                  <a:p>
                    <a:fld id="{9B3B60EB-277F-437B-8562-48ACF4CB0906}" type="VALUE">
                      <a:rPr lang="en-US" baseline="0" smtClean="0"/>
                      <a:pPr/>
                      <a:t>[WARTOŚĆ]</a:t>
                    </a:fld>
                    <a:endParaRPr lang="pl-PL"/>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DD1B-4AA9-91CE-B3BD737FA8E3}"/>
                </c:ext>
              </c:extLst>
            </c:dLbl>
            <c:dLbl>
              <c:idx val="7"/>
              <c:layout>
                <c:manualLayout>
                  <c:x val="-0.24774759067546484"/>
                  <c:y val="7.9720589209811329E-2"/>
                </c:manualLayout>
              </c:layout>
              <c:tx>
                <c:rich>
                  <a:bodyPr/>
                  <a:lstStyle/>
                  <a:p>
                    <a:fld id="{7A163867-8592-4C28-9DFB-222686E18920}" type="CATEGORYNAME">
                      <a:rPr lang="en-US" smtClean="0"/>
                      <a:pPr/>
                      <a:t>[NAZWA KATEGORII]</a:t>
                    </a:fld>
                    <a:endParaRPr lang="en-US" dirty="0"/>
                  </a:p>
                  <a:p>
                    <a:r>
                      <a:rPr lang="en-US" baseline="0" dirty="0"/>
                      <a:t> </a:t>
                    </a:r>
                    <a:fld id="{9B6D7456-61B6-48BE-BD12-0CA67153F8E7}"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F-DD1B-4AA9-91CE-B3BD737FA8E3}"/>
                </c:ext>
              </c:extLst>
            </c:dLbl>
            <c:dLbl>
              <c:idx val="8"/>
              <c:layout>
                <c:manualLayout>
                  <c:x val="-0.24663886551370162"/>
                  <c:y val="-5.6922907614097934E-2"/>
                </c:manualLayout>
              </c:layout>
              <c:tx>
                <c:rich>
                  <a:bodyPr/>
                  <a:lstStyle/>
                  <a:p>
                    <a:fld id="{0C8E400D-73C5-4ADF-B18B-6B5D069A5846}" type="CATEGORYNAME">
                      <a:rPr lang="en-US" smtClean="0"/>
                      <a:pPr/>
                      <a:t>[NAZWA KATEGORII]</a:t>
                    </a:fld>
                    <a:endParaRPr lang="en-US" baseline="0" dirty="0"/>
                  </a:p>
                  <a:p>
                    <a:r>
                      <a:rPr lang="en-US" baseline="0" dirty="0"/>
                      <a:t> </a:t>
                    </a:r>
                    <a:fld id="{BB365803-0706-402E-8287-8072F1344657}"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1-DD1B-4AA9-91CE-B3BD737FA8E3}"/>
                </c:ext>
              </c:extLst>
            </c:dLbl>
            <c:dLbl>
              <c:idx val="9"/>
              <c:layout>
                <c:manualLayout>
                  <c:x val="-0.2103526678254434"/>
                  <c:y val="-0.17474179470430642"/>
                </c:manualLayout>
              </c:layout>
              <c:tx>
                <c:rich>
                  <a:bodyPr/>
                  <a:lstStyle/>
                  <a:p>
                    <a:fld id="{A6999AF1-DD37-4E5C-8CA2-659868DE98C1}" type="CATEGORYNAME">
                      <a:rPr lang="en-US" smtClean="0"/>
                      <a:pPr/>
                      <a:t>[NAZWA KATEGORII]</a:t>
                    </a:fld>
                    <a:endParaRPr lang="en-US" baseline="0" dirty="0"/>
                  </a:p>
                  <a:p>
                    <a:r>
                      <a:rPr lang="en-US" baseline="0" dirty="0"/>
                      <a:t> </a:t>
                    </a:r>
                    <a:fld id="{B4B16B21-C465-4348-9031-3FA0F39F1B72}"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3-DD1B-4AA9-91CE-B3BD737FA8E3}"/>
                </c:ext>
              </c:extLst>
            </c:dLbl>
            <c:dLbl>
              <c:idx val="10"/>
              <c:layout>
                <c:manualLayout>
                  <c:x val="-0.14187163197156313"/>
                  <c:y val="-0.12022758039627768"/>
                </c:manualLayout>
              </c:layout>
              <c:tx>
                <c:rich>
                  <a:bodyPr/>
                  <a:lstStyle/>
                  <a:p>
                    <a:fld id="{9284E013-5D25-4FFB-9E0E-0E5CFD2B1C6C}" type="CATEGORYNAME">
                      <a:rPr lang="en-US" smtClean="0"/>
                      <a:pPr/>
                      <a:t>[NAZWA KATEGORII]</a:t>
                    </a:fld>
                    <a:endParaRPr lang="en-US" dirty="0"/>
                  </a:p>
                  <a:p>
                    <a:r>
                      <a:rPr lang="en-US" baseline="0" dirty="0"/>
                      <a:t> </a:t>
                    </a:r>
                    <a:fld id="{87652FC3-F489-403B-8304-C52829409C5B}"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5-DD1B-4AA9-91CE-B3BD737FA8E3}"/>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1"/>
            <c:showSerName val="0"/>
            <c:showPercent val="0"/>
            <c:showBubbleSize val="0"/>
            <c:showLeaderLines val="1"/>
            <c:leaderLines>
              <c:spPr>
                <a:ln w="9525">
                  <a:solidFill>
                    <a:schemeClr val="tx1">
                      <a:lumMod val="35000"/>
                      <a:lumOff val="65000"/>
                    </a:schemeClr>
                  </a:solidFill>
                </a:ln>
                <a:effectLst/>
              </c:spPr>
            </c:leaderLines>
            <c:extLst>
              <c:ext xmlns:c15="http://schemas.microsoft.com/office/drawing/2012/chart" uri="{CE6537A1-D6FC-4f65-9D91-7224C49458BB}"/>
            </c:extLst>
          </c:dLbls>
          <c:cat>
            <c:strRef>
              <c:f>Лист1!$A$2:$A$12</c:f>
              <c:strCache>
                <c:ptCount val="11"/>
                <c:pt idx="0">
                  <c:v>Netherlands</c:v>
                </c:pt>
                <c:pt idx="1">
                  <c:v>Italy</c:v>
                </c:pt>
                <c:pt idx="2">
                  <c:v>Belgium</c:v>
                </c:pt>
                <c:pt idx="3">
                  <c:v>Spain</c:v>
                </c:pt>
                <c:pt idx="4">
                  <c:v>France</c:v>
                </c:pt>
                <c:pt idx="5">
                  <c:v>USA</c:v>
                </c:pt>
                <c:pt idx="6">
                  <c:v>Canada</c:v>
                </c:pt>
                <c:pt idx="7">
                  <c:v>Ireland</c:v>
                </c:pt>
                <c:pt idx="8">
                  <c:v>Germany</c:v>
                </c:pt>
                <c:pt idx="9">
                  <c:v>United Kingdom</c:v>
                </c:pt>
                <c:pt idx="10">
                  <c:v>other</c:v>
                </c:pt>
              </c:strCache>
            </c:strRef>
          </c:cat>
          <c:val>
            <c:numRef>
              <c:f>Лист1!$B$2:$B$12</c:f>
              <c:numCache>
                <c:formatCode>0.00%</c:formatCode>
                <c:ptCount val="11"/>
                <c:pt idx="0">
                  <c:v>0.18049999999999999</c:v>
                </c:pt>
                <c:pt idx="1">
                  <c:v>0.14660000000000001</c:v>
                </c:pt>
                <c:pt idx="2">
                  <c:v>0.12889999999999999</c:v>
                </c:pt>
                <c:pt idx="3">
                  <c:v>6.2300000000000001E-2</c:v>
                </c:pt>
                <c:pt idx="4">
                  <c:v>4.2299999999999997E-2</c:v>
                </c:pt>
                <c:pt idx="5">
                  <c:v>3.9800000000000002E-2</c:v>
                </c:pt>
                <c:pt idx="6">
                  <c:v>3.4299999999999997E-2</c:v>
                </c:pt>
                <c:pt idx="7">
                  <c:v>2.75E-2</c:v>
                </c:pt>
                <c:pt idx="8">
                  <c:v>2.5999999999999999E-2</c:v>
                </c:pt>
                <c:pt idx="9">
                  <c:v>2.4899999999999999E-2</c:v>
                </c:pt>
                <c:pt idx="10">
                  <c:v>0.28689999999999999</c:v>
                </c:pt>
              </c:numCache>
            </c:numRef>
          </c:val>
          <c:extLst>
            <c:ext xmlns:c16="http://schemas.microsoft.com/office/drawing/2014/chart" uri="{C3380CC4-5D6E-409C-BE32-E72D297353CC}">
              <c16:uniqueId val="{00000016-DD1B-4AA9-91CE-B3BD737FA8E3}"/>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col"/>
        <c:grouping val="clustered"/>
        <c:varyColors val="0"/>
        <c:ser>
          <c:idx val="0"/>
          <c:order val="0"/>
          <c:tx>
            <c:strRef>
              <c:f>Лист1!$B$1</c:f>
              <c:strCache>
                <c:ptCount val="1"/>
                <c:pt idx="0">
                  <c:v>Производство</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6</c:f>
              <c:numCache>
                <c:formatCode>General</c:formatCode>
                <c:ptCount val="5"/>
                <c:pt idx="0">
                  <c:v>2020</c:v>
                </c:pt>
                <c:pt idx="1">
                  <c:v>2021</c:v>
                </c:pt>
                <c:pt idx="2">
                  <c:v>2022</c:v>
                </c:pt>
                <c:pt idx="3">
                  <c:v>2023</c:v>
                </c:pt>
                <c:pt idx="4">
                  <c:v>2024</c:v>
                </c:pt>
              </c:numCache>
            </c:numRef>
          </c:cat>
          <c:val>
            <c:numRef>
              <c:f>Лист1!$B$2:$B$6</c:f>
              <c:numCache>
                <c:formatCode>General</c:formatCode>
                <c:ptCount val="5"/>
                <c:pt idx="0">
                  <c:v>30.625</c:v>
                </c:pt>
                <c:pt idx="1">
                  <c:v>28.08</c:v>
                </c:pt>
                <c:pt idx="2">
                  <c:v>33.497</c:v>
                </c:pt>
                <c:pt idx="3">
                  <c:v>26.321000000000002</c:v>
                </c:pt>
                <c:pt idx="4">
                  <c:v>33.591999999999999</c:v>
                </c:pt>
              </c:numCache>
            </c:numRef>
          </c:val>
          <c:extLst>
            <c:ext xmlns:c16="http://schemas.microsoft.com/office/drawing/2014/chart" uri="{C3380CC4-5D6E-409C-BE32-E72D297353CC}">
              <c16:uniqueId val="{00000000-6899-48DF-A443-FD5C5A0F4EA3}"/>
            </c:ext>
          </c:extLst>
        </c:ser>
        <c:dLbls>
          <c:showLegendKey val="0"/>
          <c:showVal val="0"/>
          <c:showCatName val="0"/>
          <c:showSerName val="0"/>
          <c:showPercent val="0"/>
          <c:showBubbleSize val="0"/>
        </c:dLbls>
        <c:gapWidth val="219"/>
        <c:overlap val="-27"/>
        <c:axId val="1071015360"/>
        <c:axId val="1071025760"/>
      </c:barChart>
      <c:catAx>
        <c:axId val="10710153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1071025760"/>
        <c:crosses val="autoZero"/>
        <c:auto val="1"/>
        <c:lblAlgn val="ctr"/>
        <c:lblOffset val="100"/>
        <c:noMultiLvlLbl val="0"/>
      </c:catAx>
      <c:valAx>
        <c:axId val="1071025760"/>
        <c:scaling>
          <c:orientation val="minMax"/>
        </c:scaling>
        <c:delete val="1"/>
        <c:axPos val="l"/>
        <c:numFmt formatCode="General" sourceLinked="1"/>
        <c:majorTickMark val="none"/>
        <c:minorTickMark val="none"/>
        <c:tickLblPos val="nextTo"/>
        <c:crossAx val="1071015360"/>
        <c:crosses val="autoZero"/>
        <c:crossBetween val="between"/>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sz="1000">
          <a:latin typeface="Century Gothic" panose="020B0502020202020204" pitchFamily="34" charset="0"/>
        </a:defRPr>
      </a:pPr>
      <a:endParaRPr lang="ru-RU"/>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doughnutChart>
        <c:varyColors val="1"/>
        <c:ser>
          <c:idx val="0"/>
          <c:order val="0"/>
          <c:tx>
            <c:strRef>
              <c:f>Лист1!$B$1</c:f>
              <c:strCache>
                <c:ptCount val="1"/>
                <c:pt idx="0">
                  <c:v>Продажи</c:v>
                </c:pt>
              </c:strCache>
            </c:strRef>
          </c:tx>
          <c:dPt>
            <c:idx val="0"/>
            <c:bubble3D val="0"/>
            <c:spPr>
              <a:pattFill prst="ltUpDiag">
                <a:fgClr>
                  <a:schemeClr val="accent1">
                    <a:shade val="41000"/>
                  </a:schemeClr>
                </a:fgClr>
                <a:bgClr>
                  <a:schemeClr val="accent1">
                    <a:shade val="41000"/>
                    <a:lumMod val="20000"/>
                    <a:lumOff val="80000"/>
                  </a:schemeClr>
                </a:bgClr>
              </a:pattFill>
              <a:ln w="19050">
                <a:solidFill>
                  <a:schemeClr val="lt1"/>
                </a:solidFill>
              </a:ln>
              <a:effectLst>
                <a:innerShdw blurRad="114300">
                  <a:schemeClr val="accent1">
                    <a:shade val="41000"/>
                  </a:schemeClr>
                </a:innerShdw>
              </a:effectLst>
            </c:spPr>
            <c:extLst>
              <c:ext xmlns:c16="http://schemas.microsoft.com/office/drawing/2014/chart" uri="{C3380CC4-5D6E-409C-BE32-E72D297353CC}">
                <c16:uniqueId val="{00000001-DD1B-4AA9-91CE-B3BD737FA8E3}"/>
              </c:ext>
            </c:extLst>
          </c:dPt>
          <c:dPt>
            <c:idx val="1"/>
            <c:bubble3D val="0"/>
            <c:spPr>
              <a:pattFill prst="ltUpDiag">
                <a:fgClr>
                  <a:schemeClr val="accent1">
                    <a:shade val="53000"/>
                  </a:schemeClr>
                </a:fgClr>
                <a:bgClr>
                  <a:schemeClr val="accent1">
                    <a:shade val="53000"/>
                    <a:lumMod val="20000"/>
                    <a:lumOff val="80000"/>
                  </a:schemeClr>
                </a:bgClr>
              </a:pattFill>
              <a:ln w="19050">
                <a:solidFill>
                  <a:schemeClr val="lt1"/>
                </a:solidFill>
              </a:ln>
              <a:effectLst>
                <a:innerShdw blurRad="114300">
                  <a:schemeClr val="accent1">
                    <a:shade val="53000"/>
                  </a:schemeClr>
                </a:innerShdw>
              </a:effectLst>
            </c:spPr>
            <c:extLst>
              <c:ext xmlns:c16="http://schemas.microsoft.com/office/drawing/2014/chart" uri="{C3380CC4-5D6E-409C-BE32-E72D297353CC}">
                <c16:uniqueId val="{00000003-DD1B-4AA9-91CE-B3BD737FA8E3}"/>
              </c:ext>
            </c:extLst>
          </c:dPt>
          <c:dPt>
            <c:idx val="2"/>
            <c:bubble3D val="0"/>
            <c:spPr>
              <a:pattFill prst="ltUpDiag">
                <a:fgClr>
                  <a:schemeClr val="accent1">
                    <a:shade val="65000"/>
                  </a:schemeClr>
                </a:fgClr>
                <a:bgClr>
                  <a:schemeClr val="accent1">
                    <a:shade val="65000"/>
                    <a:lumMod val="20000"/>
                    <a:lumOff val="80000"/>
                  </a:schemeClr>
                </a:bgClr>
              </a:pattFill>
              <a:ln w="19050">
                <a:solidFill>
                  <a:schemeClr val="lt1"/>
                </a:solidFill>
              </a:ln>
              <a:effectLst>
                <a:innerShdw blurRad="114300">
                  <a:schemeClr val="accent1">
                    <a:shade val="65000"/>
                  </a:schemeClr>
                </a:innerShdw>
              </a:effectLst>
            </c:spPr>
            <c:extLst>
              <c:ext xmlns:c16="http://schemas.microsoft.com/office/drawing/2014/chart" uri="{C3380CC4-5D6E-409C-BE32-E72D297353CC}">
                <c16:uniqueId val="{00000005-DD1B-4AA9-91CE-B3BD737FA8E3}"/>
              </c:ext>
            </c:extLst>
          </c:dPt>
          <c:dPt>
            <c:idx val="3"/>
            <c:bubble3D val="0"/>
            <c:spPr>
              <a:pattFill prst="ltUpDiag">
                <a:fgClr>
                  <a:schemeClr val="accent1">
                    <a:shade val="76000"/>
                  </a:schemeClr>
                </a:fgClr>
                <a:bgClr>
                  <a:schemeClr val="accent1">
                    <a:shade val="76000"/>
                    <a:lumMod val="20000"/>
                    <a:lumOff val="80000"/>
                  </a:schemeClr>
                </a:bgClr>
              </a:pattFill>
              <a:ln w="19050">
                <a:solidFill>
                  <a:schemeClr val="lt1"/>
                </a:solidFill>
              </a:ln>
              <a:effectLst>
                <a:innerShdw blurRad="114300">
                  <a:schemeClr val="accent1">
                    <a:shade val="76000"/>
                  </a:schemeClr>
                </a:innerShdw>
              </a:effectLst>
            </c:spPr>
            <c:extLst>
              <c:ext xmlns:c16="http://schemas.microsoft.com/office/drawing/2014/chart" uri="{C3380CC4-5D6E-409C-BE32-E72D297353CC}">
                <c16:uniqueId val="{00000007-DD1B-4AA9-91CE-B3BD737FA8E3}"/>
              </c:ext>
            </c:extLst>
          </c:dPt>
          <c:dPt>
            <c:idx val="4"/>
            <c:bubble3D val="0"/>
            <c:spPr>
              <a:pattFill prst="ltUpDiag">
                <a:fgClr>
                  <a:schemeClr val="accent1">
                    <a:shade val="88000"/>
                  </a:schemeClr>
                </a:fgClr>
                <a:bgClr>
                  <a:schemeClr val="accent1">
                    <a:shade val="88000"/>
                    <a:lumMod val="20000"/>
                    <a:lumOff val="80000"/>
                  </a:schemeClr>
                </a:bgClr>
              </a:pattFill>
              <a:ln w="19050">
                <a:solidFill>
                  <a:schemeClr val="lt1"/>
                </a:solidFill>
              </a:ln>
              <a:effectLst>
                <a:innerShdw blurRad="114300">
                  <a:schemeClr val="accent1">
                    <a:shade val="88000"/>
                  </a:schemeClr>
                </a:innerShdw>
              </a:effectLst>
            </c:spPr>
            <c:extLst>
              <c:ext xmlns:c16="http://schemas.microsoft.com/office/drawing/2014/chart" uri="{C3380CC4-5D6E-409C-BE32-E72D297353CC}">
                <c16:uniqueId val="{00000009-DD1B-4AA9-91CE-B3BD737FA8E3}"/>
              </c:ext>
            </c:extLst>
          </c:dPt>
          <c:dPt>
            <c:idx val="5"/>
            <c:bubble3D val="0"/>
            <c:spPr>
              <a:pattFill prst="ltUpDiag">
                <a:fgClr>
                  <a:schemeClr val="accent1"/>
                </a:fgClr>
                <a:bgClr>
                  <a:schemeClr val="accent1">
                    <a:lumMod val="20000"/>
                    <a:lumOff val="80000"/>
                  </a:schemeClr>
                </a:bgClr>
              </a:pattFill>
              <a:ln w="19050">
                <a:solidFill>
                  <a:schemeClr val="lt1"/>
                </a:solidFill>
              </a:ln>
              <a:effectLst>
                <a:innerShdw blurRad="114300">
                  <a:schemeClr val="accent1"/>
                </a:innerShdw>
              </a:effectLst>
            </c:spPr>
            <c:extLst>
              <c:ext xmlns:c16="http://schemas.microsoft.com/office/drawing/2014/chart" uri="{C3380CC4-5D6E-409C-BE32-E72D297353CC}">
                <c16:uniqueId val="{0000000B-DD1B-4AA9-91CE-B3BD737FA8E3}"/>
              </c:ext>
            </c:extLst>
          </c:dPt>
          <c:dPt>
            <c:idx val="6"/>
            <c:bubble3D val="0"/>
            <c:spPr>
              <a:pattFill prst="ltUpDiag">
                <a:fgClr>
                  <a:schemeClr val="accent1">
                    <a:tint val="89000"/>
                  </a:schemeClr>
                </a:fgClr>
                <a:bgClr>
                  <a:schemeClr val="accent1">
                    <a:tint val="89000"/>
                    <a:lumMod val="20000"/>
                    <a:lumOff val="80000"/>
                  </a:schemeClr>
                </a:bgClr>
              </a:pattFill>
              <a:ln w="19050">
                <a:solidFill>
                  <a:schemeClr val="lt1"/>
                </a:solidFill>
              </a:ln>
              <a:effectLst>
                <a:innerShdw blurRad="114300">
                  <a:schemeClr val="accent1">
                    <a:tint val="89000"/>
                  </a:schemeClr>
                </a:innerShdw>
              </a:effectLst>
            </c:spPr>
            <c:extLst>
              <c:ext xmlns:c16="http://schemas.microsoft.com/office/drawing/2014/chart" uri="{C3380CC4-5D6E-409C-BE32-E72D297353CC}">
                <c16:uniqueId val="{0000000D-DD1B-4AA9-91CE-B3BD737FA8E3}"/>
              </c:ext>
            </c:extLst>
          </c:dPt>
          <c:dPt>
            <c:idx val="7"/>
            <c:bubble3D val="0"/>
            <c:spPr>
              <a:pattFill prst="ltUpDiag">
                <a:fgClr>
                  <a:schemeClr val="accent1">
                    <a:tint val="77000"/>
                  </a:schemeClr>
                </a:fgClr>
                <a:bgClr>
                  <a:schemeClr val="accent1">
                    <a:tint val="77000"/>
                    <a:lumMod val="20000"/>
                    <a:lumOff val="80000"/>
                  </a:schemeClr>
                </a:bgClr>
              </a:pattFill>
              <a:ln w="19050">
                <a:solidFill>
                  <a:schemeClr val="lt1"/>
                </a:solidFill>
              </a:ln>
              <a:effectLst>
                <a:innerShdw blurRad="114300">
                  <a:schemeClr val="accent1">
                    <a:tint val="77000"/>
                  </a:schemeClr>
                </a:innerShdw>
              </a:effectLst>
            </c:spPr>
            <c:extLst>
              <c:ext xmlns:c16="http://schemas.microsoft.com/office/drawing/2014/chart" uri="{C3380CC4-5D6E-409C-BE32-E72D297353CC}">
                <c16:uniqueId val="{0000000F-DD1B-4AA9-91CE-B3BD737FA8E3}"/>
              </c:ext>
            </c:extLst>
          </c:dPt>
          <c:dPt>
            <c:idx val="8"/>
            <c:bubble3D val="0"/>
            <c:spPr>
              <a:pattFill prst="ltUpDiag">
                <a:fgClr>
                  <a:schemeClr val="accent1">
                    <a:tint val="65000"/>
                  </a:schemeClr>
                </a:fgClr>
                <a:bgClr>
                  <a:schemeClr val="accent1">
                    <a:tint val="65000"/>
                    <a:lumMod val="20000"/>
                    <a:lumOff val="80000"/>
                  </a:schemeClr>
                </a:bgClr>
              </a:pattFill>
              <a:ln w="19050">
                <a:solidFill>
                  <a:schemeClr val="lt1"/>
                </a:solidFill>
              </a:ln>
              <a:effectLst>
                <a:innerShdw blurRad="114300">
                  <a:schemeClr val="accent1">
                    <a:tint val="65000"/>
                  </a:schemeClr>
                </a:innerShdw>
              </a:effectLst>
            </c:spPr>
            <c:extLst>
              <c:ext xmlns:c16="http://schemas.microsoft.com/office/drawing/2014/chart" uri="{C3380CC4-5D6E-409C-BE32-E72D297353CC}">
                <c16:uniqueId val="{00000011-DD1B-4AA9-91CE-B3BD737FA8E3}"/>
              </c:ext>
            </c:extLst>
          </c:dPt>
          <c:dPt>
            <c:idx val="9"/>
            <c:bubble3D val="0"/>
            <c:spPr>
              <a:pattFill prst="ltUpDiag">
                <a:fgClr>
                  <a:schemeClr val="accent1">
                    <a:tint val="54000"/>
                  </a:schemeClr>
                </a:fgClr>
                <a:bgClr>
                  <a:schemeClr val="accent1">
                    <a:tint val="54000"/>
                    <a:lumMod val="20000"/>
                    <a:lumOff val="80000"/>
                  </a:schemeClr>
                </a:bgClr>
              </a:pattFill>
              <a:ln w="19050">
                <a:solidFill>
                  <a:schemeClr val="lt1"/>
                </a:solidFill>
              </a:ln>
              <a:effectLst>
                <a:innerShdw blurRad="114300">
                  <a:schemeClr val="accent1">
                    <a:tint val="54000"/>
                  </a:schemeClr>
                </a:innerShdw>
              </a:effectLst>
            </c:spPr>
            <c:extLst>
              <c:ext xmlns:c16="http://schemas.microsoft.com/office/drawing/2014/chart" uri="{C3380CC4-5D6E-409C-BE32-E72D297353CC}">
                <c16:uniqueId val="{00000013-DD1B-4AA9-91CE-B3BD737FA8E3}"/>
              </c:ext>
            </c:extLst>
          </c:dPt>
          <c:dPt>
            <c:idx val="10"/>
            <c:bubble3D val="0"/>
            <c:spPr>
              <a:pattFill prst="ltUpDiag">
                <a:fgClr>
                  <a:schemeClr val="accent1">
                    <a:tint val="42000"/>
                  </a:schemeClr>
                </a:fgClr>
                <a:bgClr>
                  <a:schemeClr val="accent1">
                    <a:tint val="42000"/>
                    <a:lumMod val="20000"/>
                    <a:lumOff val="80000"/>
                  </a:schemeClr>
                </a:bgClr>
              </a:pattFill>
              <a:ln w="19050">
                <a:solidFill>
                  <a:schemeClr val="lt1"/>
                </a:solidFill>
              </a:ln>
              <a:effectLst>
                <a:innerShdw blurRad="114300">
                  <a:schemeClr val="accent1">
                    <a:tint val="42000"/>
                  </a:schemeClr>
                </a:innerShdw>
              </a:effectLst>
            </c:spPr>
            <c:extLst>
              <c:ext xmlns:c16="http://schemas.microsoft.com/office/drawing/2014/chart" uri="{C3380CC4-5D6E-409C-BE32-E72D297353CC}">
                <c16:uniqueId val="{00000015-DD1B-4AA9-91CE-B3BD737FA8E3}"/>
              </c:ext>
            </c:extLst>
          </c:dPt>
          <c:dLbls>
            <c:dLbl>
              <c:idx val="0"/>
              <c:layout>
                <c:manualLayout>
                  <c:x val="0.14803992803938407"/>
                  <c:y val="-0.10519913284674297"/>
                </c:manualLayout>
              </c:layout>
              <c:tx>
                <c:rich>
                  <a:bodyPr/>
                  <a:lstStyle/>
                  <a:p>
                    <a:fld id="{1E7F2F24-ED93-40CD-AB71-C58AFDE0A647}" type="CATEGORYNAME">
                      <a:rPr lang="en-US" smtClean="0"/>
                      <a:pPr/>
                      <a:t>[NAZWA KATEGORII]</a:t>
                    </a:fld>
                    <a:endParaRPr lang="en-US" dirty="0"/>
                  </a:p>
                  <a:p>
                    <a:r>
                      <a:rPr lang="en-US" baseline="0" dirty="0"/>
                      <a:t> </a:t>
                    </a:r>
                    <a:fld id="{A70F5D84-4D6F-434A-9A3C-F70ACD53EA90}"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DD1B-4AA9-91CE-B3BD737FA8E3}"/>
                </c:ext>
              </c:extLst>
            </c:dLbl>
            <c:dLbl>
              <c:idx val="1"/>
              <c:layout>
                <c:manualLayout>
                  <c:x val="0.22553928484380531"/>
                  <c:y val="-9.768490907197562E-2"/>
                </c:manualLayout>
              </c:layout>
              <c:tx>
                <c:rich>
                  <a:bodyPr/>
                  <a:lstStyle/>
                  <a:p>
                    <a:fld id="{5D1E9800-E295-42E5-8A62-A95B21B5967C}" type="CATEGORYNAME">
                      <a:rPr lang="en-US" smtClean="0"/>
                      <a:pPr/>
                      <a:t>[NAZWA KATEGORII]</a:t>
                    </a:fld>
                    <a:endParaRPr lang="en-US" dirty="0"/>
                  </a:p>
                  <a:p>
                    <a:r>
                      <a:rPr lang="en-US" baseline="0" dirty="0"/>
                      <a:t> </a:t>
                    </a:r>
                    <a:fld id="{AD321142-58B0-4969-9653-E03F933AF872}"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DD1B-4AA9-91CE-B3BD737FA8E3}"/>
                </c:ext>
              </c:extLst>
            </c:dLbl>
            <c:dLbl>
              <c:idx val="2"/>
              <c:layout>
                <c:manualLayout>
                  <c:x val="0.21083577809129192"/>
                  <c:y val="-9.7684909071975676E-2"/>
                </c:manualLayout>
              </c:layout>
              <c:tx>
                <c:rich>
                  <a:bodyPr/>
                  <a:lstStyle/>
                  <a:p>
                    <a:fld id="{B4689E08-3A81-4784-BCF6-376BABA63E9E}" type="CATEGORYNAME">
                      <a:rPr lang="en-US" smtClean="0"/>
                      <a:pPr/>
                      <a:t>[NAZWA KATEGORII]</a:t>
                    </a:fld>
                    <a:r>
                      <a:rPr lang="en-US" baseline="0" dirty="0"/>
                      <a:t> </a:t>
                    </a:r>
                    <a:fld id="{26F053F8-81D1-44F1-923A-5C7BC3CBB30D}"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layout>
                    <c:manualLayout>
                      <c:w val="0.21515136208390481"/>
                      <c:h val="0.10335814802192497"/>
                    </c:manualLayout>
                  </c15:layout>
                  <c15:dlblFieldTable/>
                  <c15:showDataLabelsRange val="0"/>
                </c:ext>
                <c:ext xmlns:c16="http://schemas.microsoft.com/office/drawing/2014/chart" uri="{C3380CC4-5D6E-409C-BE32-E72D297353CC}">
                  <c16:uniqueId val="{00000005-DD1B-4AA9-91CE-B3BD737FA8E3}"/>
                </c:ext>
              </c:extLst>
            </c:dLbl>
            <c:dLbl>
              <c:idx val="3"/>
              <c:layout>
                <c:manualLayout>
                  <c:x val="0.29124334844961725"/>
                  <c:y val="-3.7571118873836774E-2"/>
                </c:manualLayout>
              </c:layout>
              <c:tx>
                <c:rich>
                  <a:bodyPr/>
                  <a:lstStyle/>
                  <a:p>
                    <a:fld id="{F3C95CEB-FED7-494D-BF2B-D36D9BC28F67}" type="CATEGORYNAME">
                      <a:rPr lang="en-US" smtClean="0"/>
                      <a:pPr/>
                      <a:t>[NAZWA KATEGORII]</a:t>
                    </a:fld>
                    <a:endParaRPr lang="en-US" baseline="0" dirty="0"/>
                  </a:p>
                  <a:p>
                    <a:fld id="{BB7B405C-E2B0-4699-9EEC-139C4D06CC9B}" type="VALUE">
                      <a:rPr lang="en-US" baseline="0" smtClean="0"/>
                      <a:pPr/>
                      <a:t>[WARTOŚĆ]</a:t>
                    </a:fld>
                    <a:endParaRPr lang="pl-PL"/>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DD1B-4AA9-91CE-B3BD737FA8E3}"/>
                </c:ext>
              </c:extLst>
            </c:dLbl>
            <c:dLbl>
              <c:idx val="4"/>
              <c:layout>
                <c:manualLayout>
                  <c:x val="0.31010946703979975"/>
                  <c:y val="6.0113790198138839E-2"/>
                </c:manualLayout>
              </c:layout>
              <c:tx>
                <c:rich>
                  <a:bodyPr/>
                  <a:lstStyle/>
                  <a:p>
                    <a:fld id="{DD1ED0C4-7E17-4082-B91A-985D8026FA05}" type="CATEGORYNAME">
                      <a:rPr lang="en-US" smtClean="0"/>
                      <a:pPr/>
                      <a:t>[NAZWA KATEGORII]</a:t>
                    </a:fld>
                    <a:endParaRPr lang="en-US" baseline="0" dirty="0"/>
                  </a:p>
                  <a:p>
                    <a:r>
                      <a:rPr lang="en-US" baseline="0" dirty="0"/>
                      <a:t> </a:t>
                    </a:r>
                    <a:fld id="{4BBAF2AE-8D78-40BF-B1BE-E2E982B5E43D}"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DD1B-4AA9-91CE-B3BD737FA8E3}"/>
                </c:ext>
              </c:extLst>
            </c:dLbl>
            <c:dLbl>
              <c:idx val="5"/>
              <c:layout>
                <c:manualLayout>
                  <c:x val="0.22669070802206767"/>
                  <c:y val="0.11271335662151033"/>
                </c:manualLayout>
              </c:layout>
              <c:tx>
                <c:rich>
                  <a:bodyPr/>
                  <a:lstStyle/>
                  <a:p>
                    <a:fld id="{86788246-9211-4532-AF20-A11850CD86C8}" type="CATEGORYNAME">
                      <a:rPr lang="en-US" smtClean="0"/>
                      <a:pPr/>
                      <a:t>[NAZWA KATEGORII]</a:t>
                    </a:fld>
                    <a:endParaRPr lang="en-US" baseline="0" dirty="0"/>
                  </a:p>
                  <a:p>
                    <a:r>
                      <a:rPr lang="en-US" baseline="0" dirty="0"/>
                      <a:t> </a:t>
                    </a:r>
                    <a:fld id="{BC51E3D4-B52E-4787-B9AA-C4C80A93B147}"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DD1B-4AA9-91CE-B3BD737FA8E3}"/>
                </c:ext>
              </c:extLst>
            </c:dLbl>
            <c:dLbl>
              <c:idx val="6"/>
              <c:layout>
                <c:manualLayout>
                  <c:x val="5.5016927984457925E-2"/>
                  <c:y val="0.11705474378271942"/>
                </c:manualLayout>
              </c:layout>
              <c:tx>
                <c:rich>
                  <a:bodyPr/>
                  <a:lstStyle/>
                  <a:p>
                    <a:fld id="{9D9F06F6-3CC6-4D42-A008-CACC8821CA8B}" type="CATEGORYNAME">
                      <a:rPr lang="en-US" smtClean="0"/>
                      <a:pPr/>
                      <a:t>[NAZWA KATEGORII]</a:t>
                    </a:fld>
                    <a:endParaRPr lang="en-US" baseline="0" dirty="0"/>
                  </a:p>
                  <a:p>
                    <a:fld id="{9B3B60EB-277F-437B-8562-48ACF4CB0906}" type="VALUE">
                      <a:rPr lang="en-US" baseline="0" smtClean="0"/>
                      <a:pPr/>
                      <a:t>[WARTOŚĆ]</a:t>
                    </a:fld>
                    <a:endParaRPr lang="pl-PL"/>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DD1B-4AA9-91CE-B3BD737FA8E3}"/>
                </c:ext>
              </c:extLst>
            </c:dLbl>
            <c:dLbl>
              <c:idx val="7"/>
              <c:layout>
                <c:manualLayout>
                  <c:x val="-0.10088420475833812"/>
                  <c:y val="0.13983437940795015"/>
                </c:manualLayout>
              </c:layout>
              <c:tx>
                <c:rich>
                  <a:bodyPr/>
                  <a:lstStyle/>
                  <a:p>
                    <a:fld id="{7A163867-8592-4C28-9DFB-222686E18920}" type="CATEGORYNAME">
                      <a:rPr lang="en-US" smtClean="0"/>
                      <a:pPr/>
                      <a:t>[NAZWA KATEGORII]</a:t>
                    </a:fld>
                    <a:endParaRPr lang="en-US" dirty="0"/>
                  </a:p>
                  <a:p>
                    <a:r>
                      <a:rPr lang="en-US" baseline="0" dirty="0"/>
                      <a:t> </a:t>
                    </a:r>
                    <a:fld id="{9B6D7456-61B6-48BE-BD12-0CA67153F8E7}"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F-DD1B-4AA9-91CE-B3BD737FA8E3}"/>
                </c:ext>
              </c:extLst>
            </c:dLbl>
            <c:dLbl>
              <c:idx val="8"/>
              <c:layout>
                <c:manualLayout>
                  <c:x val="-0.24889830222011899"/>
                  <c:y val="0.10463290354340013"/>
                </c:manualLayout>
              </c:layout>
              <c:tx>
                <c:rich>
                  <a:bodyPr/>
                  <a:lstStyle/>
                  <a:p>
                    <a:fld id="{0C8E400D-73C5-4ADF-B18B-6B5D069A5846}" type="CATEGORYNAME">
                      <a:rPr lang="en-US" smtClean="0"/>
                      <a:pPr/>
                      <a:t>[NAZWA KATEGORII]</a:t>
                    </a:fld>
                    <a:endParaRPr lang="en-US" baseline="0" dirty="0"/>
                  </a:p>
                  <a:p>
                    <a:r>
                      <a:rPr lang="en-US" baseline="0" dirty="0"/>
                      <a:t> </a:t>
                    </a:r>
                    <a:fld id="{BB365803-0706-402E-8287-8072F1344657}"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1-DD1B-4AA9-91CE-B3BD737FA8E3}"/>
                </c:ext>
              </c:extLst>
            </c:dLbl>
            <c:dLbl>
              <c:idx val="9"/>
              <c:layout>
                <c:manualLayout>
                  <c:x val="-0.24328458050088331"/>
                  <c:y val="-2.0700207321575643E-2"/>
                </c:manualLayout>
              </c:layout>
              <c:tx>
                <c:rich>
                  <a:bodyPr/>
                  <a:lstStyle/>
                  <a:p>
                    <a:fld id="{A6999AF1-DD37-4E5C-8CA2-659868DE98C1}" type="CATEGORYNAME">
                      <a:rPr lang="en-US" smtClean="0"/>
                      <a:pPr/>
                      <a:t>[NAZWA KATEGORII]</a:t>
                    </a:fld>
                    <a:endParaRPr lang="en-US" baseline="0" dirty="0"/>
                  </a:p>
                  <a:p>
                    <a:r>
                      <a:rPr lang="en-US" baseline="0" dirty="0"/>
                      <a:t> </a:t>
                    </a:r>
                    <a:fld id="{B4B16B21-C465-4348-9031-3FA0F39F1B72}"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3-DD1B-4AA9-91CE-B3BD737FA8E3}"/>
                </c:ext>
              </c:extLst>
            </c:dLbl>
            <c:dLbl>
              <c:idx val="10"/>
              <c:layout>
                <c:manualLayout>
                  <c:x val="-0.15090937879723246"/>
                  <c:y val="-0.14652736360796342"/>
                </c:manualLayout>
              </c:layout>
              <c:tx>
                <c:rich>
                  <a:bodyPr/>
                  <a:lstStyle/>
                  <a:p>
                    <a:fld id="{9284E013-5D25-4FFB-9E0E-0E5CFD2B1C6C}" type="CATEGORYNAME">
                      <a:rPr lang="en-US" smtClean="0"/>
                      <a:pPr/>
                      <a:t>[NAZWA KATEGORII]</a:t>
                    </a:fld>
                    <a:endParaRPr lang="en-US" dirty="0"/>
                  </a:p>
                  <a:p>
                    <a:r>
                      <a:rPr lang="en-US" baseline="0" dirty="0"/>
                      <a:t> </a:t>
                    </a:r>
                    <a:fld id="{87652FC3-F489-403B-8304-C52829409C5B}"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5-DD1B-4AA9-91CE-B3BD737FA8E3}"/>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1"/>
            <c:showSerName val="0"/>
            <c:showPercent val="0"/>
            <c:showBubbleSize val="0"/>
            <c:showLeaderLines val="1"/>
            <c:leaderLines>
              <c:spPr>
                <a:ln w="9525">
                  <a:solidFill>
                    <a:schemeClr val="tx1">
                      <a:lumMod val="35000"/>
                      <a:lumOff val="65000"/>
                    </a:schemeClr>
                  </a:solidFill>
                </a:ln>
                <a:effectLst/>
              </c:spPr>
            </c:leaderLines>
            <c:extLst>
              <c:ext xmlns:c15="http://schemas.microsoft.com/office/drawing/2012/chart" uri="{CE6537A1-D6FC-4f65-9D91-7224C49458BB}"/>
            </c:extLst>
          </c:dLbls>
          <c:cat>
            <c:strRef>
              <c:f>Лист1!$A$2:$A$12</c:f>
              <c:strCache>
                <c:ptCount val="11"/>
                <c:pt idx="0">
                  <c:v>USA</c:v>
                </c:pt>
                <c:pt idx="1">
                  <c:v>Brazil</c:v>
                </c:pt>
                <c:pt idx="2">
                  <c:v>Canada</c:v>
                </c:pt>
                <c:pt idx="3">
                  <c:v>China</c:v>
                </c:pt>
                <c:pt idx="4">
                  <c:v>Australia</c:v>
                </c:pt>
                <c:pt idx="5">
                  <c:v>India</c:v>
                </c:pt>
                <c:pt idx="6">
                  <c:v>Netherlands</c:v>
                </c:pt>
                <c:pt idx="7">
                  <c:v>France</c:v>
                </c:pt>
                <c:pt idx="8">
                  <c:v>Argentina</c:v>
                </c:pt>
                <c:pt idx="9">
                  <c:v>Russia</c:v>
                </c:pt>
                <c:pt idx="10">
                  <c:v>other</c:v>
                </c:pt>
              </c:strCache>
            </c:strRef>
          </c:cat>
          <c:val>
            <c:numRef>
              <c:f>Лист1!$B$2:$B$12</c:f>
              <c:numCache>
                <c:formatCode>0.00%</c:formatCode>
                <c:ptCount val="11"/>
                <c:pt idx="0">
                  <c:v>0.15559999999999999</c:v>
                </c:pt>
                <c:pt idx="1">
                  <c:v>0.13769999999999999</c:v>
                </c:pt>
                <c:pt idx="2">
                  <c:v>6.2E-2</c:v>
                </c:pt>
                <c:pt idx="3">
                  <c:v>4.1000000000000002E-2</c:v>
                </c:pt>
                <c:pt idx="4">
                  <c:v>3.8600000000000002E-2</c:v>
                </c:pt>
                <c:pt idx="5">
                  <c:v>3.6799999999999999E-2</c:v>
                </c:pt>
                <c:pt idx="6">
                  <c:v>3.5299999999999998E-2</c:v>
                </c:pt>
                <c:pt idx="7">
                  <c:v>3.4799999999999998E-2</c:v>
                </c:pt>
                <c:pt idx="8">
                  <c:v>3.4200000000000001E-2</c:v>
                </c:pt>
                <c:pt idx="9">
                  <c:v>2.6499999999999999E-2</c:v>
                </c:pt>
                <c:pt idx="10">
                  <c:v>0.39750000000000002</c:v>
                </c:pt>
              </c:numCache>
            </c:numRef>
          </c:val>
          <c:extLst>
            <c:ext xmlns:c16="http://schemas.microsoft.com/office/drawing/2014/chart" uri="{C3380CC4-5D6E-409C-BE32-E72D297353CC}">
              <c16:uniqueId val="{00000016-DD1B-4AA9-91CE-B3BD737FA8E3}"/>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Лист1!$B$1</c:f>
              <c:strCache>
                <c:ptCount val="1"/>
                <c:pt idx="0">
                  <c:v>Столбец1</c:v>
                </c:pt>
              </c:strCache>
            </c:strRef>
          </c:tx>
          <c:dPt>
            <c:idx val="0"/>
            <c:bubble3D val="0"/>
            <c:spPr>
              <a:solidFill>
                <a:schemeClr val="tx2">
                  <a:lumMod val="75000"/>
                  <a:lumOff val="25000"/>
                </a:schemeClr>
              </a:solidFill>
              <a:ln w="19050">
                <a:solidFill>
                  <a:schemeClr val="lt1"/>
                </a:solidFill>
              </a:ln>
              <a:effectLst/>
            </c:spPr>
            <c:extLst>
              <c:ext xmlns:c16="http://schemas.microsoft.com/office/drawing/2014/chart" uri="{C3380CC4-5D6E-409C-BE32-E72D297353CC}">
                <c16:uniqueId val="{00000001-A06E-44B5-BA8B-3BC17793F7F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A06E-44B5-BA8B-3BC17793F7F3}"/>
              </c:ext>
            </c:extLst>
          </c:dPt>
          <c:dLbls>
            <c:dLbl>
              <c:idx val="0"/>
              <c:layout>
                <c:manualLayout>
                  <c:x val="0.11988672120830711"/>
                  <c:y val="-2.9136370449449545E-2"/>
                </c:manualLayout>
              </c:layout>
              <c:tx>
                <c:rich>
                  <a:bodyPr/>
                  <a:lstStyle/>
                  <a:p>
                    <a:fld id="{6F24067B-83FA-427F-8BB0-B3C5CE60492B}" type="VALUE">
                      <a:rPr lang="en-US">
                        <a:solidFill>
                          <a:schemeClr val="tx1">
                            <a:lumMod val="65000"/>
                            <a:lumOff val="35000"/>
                          </a:schemeClr>
                        </a:solidFill>
                      </a:rPr>
                      <a:pPr/>
                      <a:t>[WARTOŚĆ]</a:t>
                    </a:fld>
                    <a:endParaRPr lang="pl-PL"/>
                  </a:p>
                </c:rich>
              </c:tx>
              <c:showLegendKey val="0"/>
              <c:showVal val="1"/>
              <c:showCatName val="0"/>
              <c:showSerName val="0"/>
              <c:showPercent val="0"/>
              <c:showBubbleSize val="0"/>
              <c:extLst>
                <c:ext xmlns:c15="http://schemas.microsoft.com/office/drawing/2012/chart" uri="{CE6537A1-D6FC-4f65-9D91-7224C49458BB}">
                  <c15:layout>
                    <c:manualLayout>
                      <c:w val="0.3130375498216908"/>
                      <c:h val="0.320500074943945"/>
                    </c:manualLayout>
                  </c15:layout>
                  <c15:dlblFieldTable/>
                  <c15:showDataLabelsRange val="0"/>
                </c:ext>
                <c:ext xmlns:c16="http://schemas.microsoft.com/office/drawing/2014/chart" uri="{C3380CC4-5D6E-409C-BE32-E72D297353CC}">
                  <c16:uniqueId val="{00000001-A06E-44B5-BA8B-3BC17793F7F3}"/>
                </c:ext>
              </c:extLst>
            </c:dLbl>
            <c:dLbl>
              <c:idx val="1"/>
              <c:layout>
                <c:manualLayout>
                  <c:x val="-8.2903293475980702E-2"/>
                  <c:y val="2.081759255577207E-2"/>
                </c:manualLayout>
              </c:layout>
              <c:tx>
                <c:rich>
                  <a:bodyPr/>
                  <a:lstStyle/>
                  <a:p>
                    <a:fld id="{1F935691-6118-4134-BFB4-8B78A73EB34A}" type="VALUE">
                      <a:rPr lang="en-US">
                        <a:solidFill>
                          <a:schemeClr val="tx1">
                            <a:lumMod val="65000"/>
                            <a:lumOff val="35000"/>
                          </a:schemeClr>
                        </a:solidFill>
                      </a:rPr>
                      <a:pPr/>
                      <a:t>[WARTOŚĆ]</a:t>
                    </a:fld>
                    <a:endParaRPr lang="pl-PL"/>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A06E-44B5-BA8B-3BC17793F7F3}"/>
                </c:ext>
              </c:extLst>
            </c:dLbl>
            <c:spPr>
              <a:noFill/>
              <a:ln>
                <a:noFill/>
              </a:ln>
              <a:effectLst/>
            </c:spPr>
            <c:txPr>
              <a:bodyPr rot="0" spcFirstLastPara="1" vertOverflow="ellipsis" vert="horz" wrap="square" anchor="ctr" anchorCtr="1"/>
              <a:lstStyle/>
              <a:p>
                <a:pPr>
                  <a:defRPr sz="700" b="1"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extLst>
          </c:dLbls>
          <c:cat>
            <c:strRef>
              <c:f>Лист1!$A$2:$A$3</c:f>
              <c:strCache>
                <c:ptCount val="2"/>
                <c:pt idx="0">
                  <c:v>потребность, тыс. тонн</c:v>
                </c:pt>
                <c:pt idx="1">
                  <c:v>внесение от потребности, %</c:v>
                </c:pt>
              </c:strCache>
            </c:strRef>
          </c:cat>
          <c:val>
            <c:numRef>
              <c:f>Лист1!$B$2:$B$3</c:f>
              <c:numCache>
                <c:formatCode>General</c:formatCode>
                <c:ptCount val="2"/>
                <c:pt idx="0">
                  <c:v>149</c:v>
                </c:pt>
                <c:pt idx="1">
                  <c:v>6</c:v>
                </c:pt>
              </c:numCache>
            </c:numRef>
          </c:val>
          <c:extLst>
            <c:ext xmlns:c16="http://schemas.microsoft.com/office/drawing/2014/chart" uri="{C3380CC4-5D6E-409C-BE32-E72D297353CC}">
              <c16:uniqueId val="{00000004-A06E-44B5-BA8B-3BC17793F7F3}"/>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chart>
  <c:spPr>
    <a:noFill/>
    <a:ln>
      <a:noFill/>
    </a:ln>
    <a:effectLst/>
  </c:spPr>
  <c:txPr>
    <a:bodyPr/>
    <a:lstStyle/>
    <a:p>
      <a:pPr>
        <a:defRPr sz="700" b="1">
          <a:latin typeface="Century Gothic" panose="020B0502020202020204" pitchFamily="34" charset="0"/>
        </a:defRPr>
      </a:pPr>
      <a:endParaRPr lang="ru-RU"/>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doughnutChart>
        <c:varyColors val="1"/>
        <c:ser>
          <c:idx val="0"/>
          <c:order val="0"/>
          <c:tx>
            <c:strRef>
              <c:f>Лист1!$B$1</c:f>
              <c:strCache>
                <c:ptCount val="1"/>
                <c:pt idx="0">
                  <c:v>Продажи</c:v>
                </c:pt>
              </c:strCache>
            </c:strRef>
          </c:tx>
          <c:dPt>
            <c:idx val="0"/>
            <c:bubble3D val="0"/>
            <c:spPr>
              <a:pattFill prst="ltUpDiag">
                <a:fgClr>
                  <a:schemeClr val="accent1">
                    <a:shade val="41000"/>
                  </a:schemeClr>
                </a:fgClr>
                <a:bgClr>
                  <a:schemeClr val="accent1">
                    <a:shade val="41000"/>
                    <a:lumMod val="20000"/>
                    <a:lumOff val="80000"/>
                  </a:schemeClr>
                </a:bgClr>
              </a:pattFill>
              <a:ln w="19050">
                <a:solidFill>
                  <a:schemeClr val="lt1"/>
                </a:solidFill>
              </a:ln>
              <a:effectLst>
                <a:innerShdw blurRad="114300">
                  <a:schemeClr val="accent1">
                    <a:shade val="41000"/>
                  </a:schemeClr>
                </a:innerShdw>
              </a:effectLst>
            </c:spPr>
            <c:extLst>
              <c:ext xmlns:c16="http://schemas.microsoft.com/office/drawing/2014/chart" uri="{C3380CC4-5D6E-409C-BE32-E72D297353CC}">
                <c16:uniqueId val="{00000002-F691-40C7-B65E-6409D0FA16B9}"/>
              </c:ext>
            </c:extLst>
          </c:dPt>
          <c:dPt>
            <c:idx val="1"/>
            <c:bubble3D val="0"/>
            <c:spPr>
              <a:pattFill prst="ltUpDiag">
                <a:fgClr>
                  <a:schemeClr val="accent1">
                    <a:shade val="53000"/>
                  </a:schemeClr>
                </a:fgClr>
                <a:bgClr>
                  <a:schemeClr val="accent1">
                    <a:shade val="53000"/>
                    <a:lumMod val="20000"/>
                    <a:lumOff val="80000"/>
                  </a:schemeClr>
                </a:bgClr>
              </a:pattFill>
              <a:ln w="19050">
                <a:solidFill>
                  <a:schemeClr val="lt1"/>
                </a:solidFill>
              </a:ln>
              <a:effectLst>
                <a:innerShdw blurRad="114300">
                  <a:schemeClr val="accent1">
                    <a:shade val="53000"/>
                  </a:schemeClr>
                </a:innerShdw>
              </a:effectLst>
            </c:spPr>
            <c:extLst>
              <c:ext xmlns:c16="http://schemas.microsoft.com/office/drawing/2014/chart" uri="{C3380CC4-5D6E-409C-BE32-E72D297353CC}">
                <c16:uniqueId val="{00000003-F691-40C7-B65E-6409D0FA16B9}"/>
              </c:ext>
            </c:extLst>
          </c:dPt>
          <c:dPt>
            <c:idx val="2"/>
            <c:bubble3D val="0"/>
            <c:spPr>
              <a:pattFill prst="ltUpDiag">
                <a:fgClr>
                  <a:schemeClr val="accent1">
                    <a:shade val="65000"/>
                  </a:schemeClr>
                </a:fgClr>
                <a:bgClr>
                  <a:schemeClr val="accent1">
                    <a:shade val="65000"/>
                    <a:lumMod val="20000"/>
                    <a:lumOff val="80000"/>
                  </a:schemeClr>
                </a:bgClr>
              </a:pattFill>
              <a:ln w="19050">
                <a:solidFill>
                  <a:schemeClr val="lt1"/>
                </a:solidFill>
              </a:ln>
              <a:effectLst>
                <a:innerShdw blurRad="114300">
                  <a:schemeClr val="accent1">
                    <a:shade val="65000"/>
                  </a:schemeClr>
                </a:innerShdw>
              </a:effectLst>
            </c:spPr>
            <c:extLst>
              <c:ext xmlns:c16="http://schemas.microsoft.com/office/drawing/2014/chart" uri="{C3380CC4-5D6E-409C-BE32-E72D297353CC}">
                <c16:uniqueId val="{00000004-F691-40C7-B65E-6409D0FA16B9}"/>
              </c:ext>
            </c:extLst>
          </c:dPt>
          <c:dPt>
            <c:idx val="3"/>
            <c:bubble3D val="0"/>
            <c:spPr>
              <a:pattFill prst="ltUpDiag">
                <a:fgClr>
                  <a:schemeClr val="accent1">
                    <a:shade val="76000"/>
                  </a:schemeClr>
                </a:fgClr>
                <a:bgClr>
                  <a:schemeClr val="accent1">
                    <a:shade val="76000"/>
                    <a:lumMod val="20000"/>
                    <a:lumOff val="80000"/>
                  </a:schemeClr>
                </a:bgClr>
              </a:pattFill>
              <a:ln w="19050">
                <a:solidFill>
                  <a:schemeClr val="lt1"/>
                </a:solidFill>
              </a:ln>
              <a:effectLst>
                <a:innerShdw blurRad="114300">
                  <a:schemeClr val="accent1">
                    <a:shade val="76000"/>
                  </a:schemeClr>
                </a:innerShdw>
              </a:effectLst>
            </c:spPr>
            <c:extLst>
              <c:ext xmlns:c16="http://schemas.microsoft.com/office/drawing/2014/chart" uri="{C3380CC4-5D6E-409C-BE32-E72D297353CC}">
                <c16:uniqueId val="{00000005-F691-40C7-B65E-6409D0FA16B9}"/>
              </c:ext>
            </c:extLst>
          </c:dPt>
          <c:dPt>
            <c:idx val="4"/>
            <c:bubble3D val="0"/>
            <c:spPr>
              <a:pattFill prst="ltUpDiag">
                <a:fgClr>
                  <a:schemeClr val="accent1">
                    <a:shade val="88000"/>
                  </a:schemeClr>
                </a:fgClr>
                <a:bgClr>
                  <a:schemeClr val="accent1">
                    <a:shade val="88000"/>
                    <a:lumMod val="20000"/>
                    <a:lumOff val="80000"/>
                  </a:schemeClr>
                </a:bgClr>
              </a:pattFill>
              <a:ln w="19050">
                <a:solidFill>
                  <a:schemeClr val="lt1"/>
                </a:solidFill>
              </a:ln>
              <a:effectLst>
                <a:innerShdw blurRad="114300">
                  <a:schemeClr val="accent1">
                    <a:shade val="88000"/>
                  </a:schemeClr>
                </a:innerShdw>
              </a:effectLst>
            </c:spPr>
            <c:extLst>
              <c:ext xmlns:c16="http://schemas.microsoft.com/office/drawing/2014/chart" uri="{C3380CC4-5D6E-409C-BE32-E72D297353CC}">
                <c16:uniqueId val="{00000006-F691-40C7-B65E-6409D0FA16B9}"/>
              </c:ext>
            </c:extLst>
          </c:dPt>
          <c:dPt>
            <c:idx val="5"/>
            <c:bubble3D val="0"/>
            <c:spPr>
              <a:pattFill prst="ltUpDiag">
                <a:fgClr>
                  <a:schemeClr val="accent1"/>
                </a:fgClr>
                <a:bgClr>
                  <a:schemeClr val="accent1">
                    <a:lumMod val="20000"/>
                    <a:lumOff val="80000"/>
                  </a:schemeClr>
                </a:bgClr>
              </a:pattFill>
              <a:ln w="19050">
                <a:solidFill>
                  <a:schemeClr val="lt1"/>
                </a:solidFill>
              </a:ln>
              <a:effectLst>
                <a:innerShdw blurRad="114300">
                  <a:schemeClr val="accent1"/>
                </a:innerShdw>
              </a:effectLst>
            </c:spPr>
            <c:extLst>
              <c:ext xmlns:c16="http://schemas.microsoft.com/office/drawing/2014/chart" uri="{C3380CC4-5D6E-409C-BE32-E72D297353CC}">
                <c16:uniqueId val="{00000007-F691-40C7-B65E-6409D0FA16B9}"/>
              </c:ext>
            </c:extLst>
          </c:dPt>
          <c:dPt>
            <c:idx val="6"/>
            <c:bubble3D val="0"/>
            <c:spPr>
              <a:pattFill prst="ltUpDiag">
                <a:fgClr>
                  <a:schemeClr val="accent1">
                    <a:tint val="89000"/>
                  </a:schemeClr>
                </a:fgClr>
                <a:bgClr>
                  <a:schemeClr val="accent1">
                    <a:tint val="89000"/>
                    <a:lumMod val="20000"/>
                    <a:lumOff val="80000"/>
                  </a:schemeClr>
                </a:bgClr>
              </a:pattFill>
              <a:ln w="19050">
                <a:solidFill>
                  <a:schemeClr val="lt1"/>
                </a:solidFill>
              </a:ln>
              <a:effectLst>
                <a:innerShdw blurRad="114300">
                  <a:schemeClr val="accent1">
                    <a:tint val="89000"/>
                  </a:schemeClr>
                </a:innerShdw>
              </a:effectLst>
            </c:spPr>
            <c:extLst>
              <c:ext xmlns:c16="http://schemas.microsoft.com/office/drawing/2014/chart" uri="{C3380CC4-5D6E-409C-BE32-E72D297353CC}">
                <c16:uniqueId val="{00000008-F691-40C7-B65E-6409D0FA16B9}"/>
              </c:ext>
            </c:extLst>
          </c:dPt>
          <c:dPt>
            <c:idx val="7"/>
            <c:bubble3D val="0"/>
            <c:spPr>
              <a:pattFill prst="ltUpDiag">
                <a:fgClr>
                  <a:schemeClr val="accent1">
                    <a:tint val="77000"/>
                  </a:schemeClr>
                </a:fgClr>
                <a:bgClr>
                  <a:schemeClr val="accent1">
                    <a:tint val="77000"/>
                    <a:lumMod val="20000"/>
                    <a:lumOff val="80000"/>
                  </a:schemeClr>
                </a:bgClr>
              </a:pattFill>
              <a:ln w="19050">
                <a:solidFill>
                  <a:schemeClr val="lt1"/>
                </a:solidFill>
              </a:ln>
              <a:effectLst>
                <a:innerShdw blurRad="114300">
                  <a:schemeClr val="accent1">
                    <a:tint val="77000"/>
                  </a:schemeClr>
                </a:innerShdw>
              </a:effectLst>
            </c:spPr>
            <c:extLst>
              <c:ext xmlns:c16="http://schemas.microsoft.com/office/drawing/2014/chart" uri="{C3380CC4-5D6E-409C-BE32-E72D297353CC}">
                <c16:uniqueId val="{00000009-F691-40C7-B65E-6409D0FA16B9}"/>
              </c:ext>
            </c:extLst>
          </c:dPt>
          <c:dPt>
            <c:idx val="8"/>
            <c:bubble3D val="0"/>
            <c:spPr>
              <a:pattFill prst="ltUpDiag">
                <a:fgClr>
                  <a:schemeClr val="accent1">
                    <a:tint val="65000"/>
                  </a:schemeClr>
                </a:fgClr>
                <a:bgClr>
                  <a:schemeClr val="accent1">
                    <a:tint val="65000"/>
                    <a:lumMod val="20000"/>
                    <a:lumOff val="80000"/>
                  </a:schemeClr>
                </a:bgClr>
              </a:pattFill>
              <a:ln w="19050">
                <a:solidFill>
                  <a:schemeClr val="lt1"/>
                </a:solidFill>
              </a:ln>
              <a:effectLst>
                <a:innerShdw blurRad="114300">
                  <a:schemeClr val="accent1">
                    <a:tint val="65000"/>
                  </a:schemeClr>
                </a:innerShdw>
              </a:effectLst>
            </c:spPr>
            <c:extLst>
              <c:ext xmlns:c16="http://schemas.microsoft.com/office/drawing/2014/chart" uri="{C3380CC4-5D6E-409C-BE32-E72D297353CC}">
                <c16:uniqueId val="{0000000A-F691-40C7-B65E-6409D0FA16B9}"/>
              </c:ext>
            </c:extLst>
          </c:dPt>
          <c:dPt>
            <c:idx val="9"/>
            <c:bubble3D val="0"/>
            <c:spPr>
              <a:pattFill prst="ltUpDiag">
                <a:fgClr>
                  <a:schemeClr val="accent1">
                    <a:tint val="54000"/>
                  </a:schemeClr>
                </a:fgClr>
                <a:bgClr>
                  <a:schemeClr val="accent1">
                    <a:tint val="54000"/>
                    <a:lumMod val="20000"/>
                    <a:lumOff val="80000"/>
                  </a:schemeClr>
                </a:bgClr>
              </a:pattFill>
              <a:ln w="19050">
                <a:solidFill>
                  <a:schemeClr val="lt1"/>
                </a:solidFill>
              </a:ln>
              <a:effectLst>
                <a:innerShdw blurRad="114300">
                  <a:schemeClr val="accent1">
                    <a:tint val="54000"/>
                  </a:schemeClr>
                </a:innerShdw>
              </a:effectLst>
            </c:spPr>
            <c:extLst>
              <c:ext xmlns:c16="http://schemas.microsoft.com/office/drawing/2014/chart" uri="{C3380CC4-5D6E-409C-BE32-E72D297353CC}">
                <c16:uniqueId val="{0000000B-F691-40C7-B65E-6409D0FA16B9}"/>
              </c:ext>
            </c:extLst>
          </c:dPt>
          <c:dPt>
            <c:idx val="10"/>
            <c:bubble3D val="0"/>
            <c:spPr>
              <a:pattFill prst="ltUpDiag">
                <a:fgClr>
                  <a:schemeClr val="accent1">
                    <a:tint val="42000"/>
                  </a:schemeClr>
                </a:fgClr>
                <a:bgClr>
                  <a:schemeClr val="accent1">
                    <a:tint val="42000"/>
                    <a:lumMod val="20000"/>
                    <a:lumOff val="80000"/>
                  </a:schemeClr>
                </a:bgClr>
              </a:pattFill>
              <a:ln w="19050">
                <a:solidFill>
                  <a:schemeClr val="lt1"/>
                </a:solidFill>
              </a:ln>
              <a:effectLst>
                <a:innerShdw blurRad="114300">
                  <a:schemeClr val="accent1">
                    <a:tint val="42000"/>
                  </a:schemeClr>
                </a:innerShdw>
              </a:effectLst>
            </c:spPr>
            <c:extLst>
              <c:ext xmlns:c16="http://schemas.microsoft.com/office/drawing/2014/chart" uri="{C3380CC4-5D6E-409C-BE32-E72D297353CC}">
                <c16:uniqueId val="{00000001-F691-40C7-B65E-6409D0FA16B9}"/>
              </c:ext>
            </c:extLst>
          </c:dPt>
          <c:dLbls>
            <c:dLbl>
              <c:idx val="0"/>
              <c:layout>
                <c:manualLayout>
                  <c:x val="0.14803992803938407"/>
                  <c:y val="-0.10519913284674297"/>
                </c:manualLayout>
              </c:layout>
              <c:tx>
                <c:rich>
                  <a:bodyPr/>
                  <a:lstStyle/>
                  <a:p>
                    <a:fld id="{1E7F2F24-ED93-40CD-AB71-C58AFDE0A647}" type="CATEGORYNAME">
                      <a:rPr lang="en-US" smtClean="0"/>
                      <a:pPr/>
                      <a:t>[NAZWA KATEGORII]</a:t>
                    </a:fld>
                    <a:endParaRPr lang="en-US" dirty="0"/>
                  </a:p>
                  <a:p>
                    <a:r>
                      <a:rPr lang="en-US" baseline="0" dirty="0"/>
                      <a:t> </a:t>
                    </a:r>
                    <a:fld id="{A70F5D84-4D6F-434A-9A3C-F70ACD53EA90}"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F691-40C7-B65E-6409D0FA16B9}"/>
                </c:ext>
              </c:extLst>
            </c:dLbl>
            <c:dLbl>
              <c:idx val="1"/>
              <c:layout>
                <c:manualLayout>
                  <c:x val="0.22779872155022265"/>
                  <c:y val="-0.1540415873827308"/>
                </c:manualLayout>
              </c:layout>
              <c:tx>
                <c:rich>
                  <a:bodyPr/>
                  <a:lstStyle/>
                  <a:p>
                    <a:fld id="{5D1E9800-E295-42E5-8A62-A95B21B5967C}" type="CATEGORYNAME">
                      <a:rPr lang="en-US" smtClean="0"/>
                      <a:pPr/>
                      <a:t>[NAZWA KATEGORII]</a:t>
                    </a:fld>
                    <a:endParaRPr lang="en-US" dirty="0"/>
                  </a:p>
                  <a:p>
                    <a:r>
                      <a:rPr lang="en-US" baseline="0" dirty="0"/>
                      <a:t> </a:t>
                    </a:r>
                    <a:fld id="{AD321142-58B0-4969-9653-E03F933AF872}"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F691-40C7-B65E-6409D0FA16B9}"/>
                </c:ext>
              </c:extLst>
            </c:dLbl>
            <c:dLbl>
              <c:idx val="2"/>
              <c:layout>
                <c:manualLayout>
                  <c:x val="0.19447087372595345"/>
                  <c:y val="-7.8899349635057223E-2"/>
                </c:manualLayout>
              </c:layout>
              <c:tx>
                <c:rich>
                  <a:bodyPr/>
                  <a:lstStyle/>
                  <a:p>
                    <a:fld id="{B4689E08-3A81-4784-BCF6-376BABA63E9E}" type="CATEGORYNAME">
                      <a:rPr lang="en-US" smtClean="0"/>
                      <a:pPr/>
                      <a:t>[NAZWA KATEGORII]</a:t>
                    </a:fld>
                    <a:r>
                      <a:rPr lang="en-US" baseline="0" dirty="0"/>
                      <a:t> </a:t>
                    </a:r>
                  </a:p>
                  <a:p>
                    <a:fld id="{26F053F8-81D1-44F1-923A-5C7BC3CBB30D}" type="VALUE">
                      <a:rPr lang="en-US" baseline="0" smtClean="0"/>
                      <a:pPr/>
                      <a:t>[WARTOŚĆ]</a:t>
                    </a:fld>
                    <a:endParaRPr lang="pl-PL"/>
                  </a:p>
                </c:rich>
              </c:tx>
              <c:showLegendKey val="0"/>
              <c:showVal val="1"/>
              <c:showCatName val="1"/>
              <c:showSerName val="0"/>
              <c:showPercent val="0"/>
              <c:showBubbleSize val="0"/>
              <c:extLst>
                <c:ext xmlns:c15="http://schemas.microsoft.com/office/drawing/2012/chart" uri="{CE6537A1-D6FC-4f65-9D91-7224C49458BB}">
                  <c15:layout>
                    <c:manualLayout>
                      <c:w val="0.17448153043923803"/>
                      <c:h val="0.10335814802192497"/>
                    </c:manualLayout>
                  </c15:layout>
                  <c15:dlblFieldTable/>
                  <c15:showDataLabelsRange val="0"/>
                </c:ext>
                <c:ext xmlns:c16="http://schemas.microsoft.com/office/drawing/2014/chart" uri="{C3380CC4-5D6E-409C-BE32-E72D297353CC}">
                  <c16:uniqueId val="{00000004-F691-40C7-B65E-6409D0FA16B9}"/>
                </c:ext>
              </c:extLst>
            </c:dLbl>
            <c:dLbl>
              <c:idx val="3"/>
              <c:layout>
                <c:manualLayout>
                  <c:x val="0.25780172820221781"/>
                  <c:y val="-2.6299783211685673E-2"/>
                </c:manualLayout>
              </c:layout>
              <c:tx>
                <c:rich>
                  <a:bodyPr/>
                  <a:lstStyle/>
                  <a:p>
                    <a:fld id="{F3C95CEB-FED7-494D-BF2B-D36D9BC28F67}" type="CATEGORYNAME">
                      <a:rPr lang="en-US" smtClean="0"/>
                      <a:pPr/>
                      <a:t>[NAZWA KATEGORII]</a:t>
                    </a:fld>
                    <a:endParaRPr lang="en-US" baseline="0" dirty="0"/>
                  </a:p>
                  <a:p>
                    <a:fld id="{BB7B405C-E2B0-4699-9EEC-139C4D06CC9B}" type="VALUE">
                      <a:rPr lang="en-US" baseline="0" smtClean="0"/>
                      <a:pPr/>
                      <a:t>[WARTOŚĆ]</a:t>
                    </a:fld>
                    <a:endParaRPr lang="pl-PL"/>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F691-40C7-B65E-6409D0FA16B9}"/>
                </c:ext>
              </c:extLst>
            </c:dLbl>
            <c:dLbl>
              <c:idx val="4"/>
              <c:layout>
                <c:manualLayout>
                  <c:x val="0.20617537854460252"/>
                  <c:y val="2.6299783211685742E-2"/>
                </c:manualLayout>
              </c:layout>
              <c:tx>
                <c:rich>
                  <a:bodyPr/>
                  <a:lstStyle/>
                  <a:p>
                    <a:fld id="{DD1ED0C4-7E17-4082-B91A-985D8026FA05}" type="CATEGORYNAME">
                      <a:rPr lang="en-US" smtClean="0"/>
                      <a:pPr/>
                      <a:t>[NAZWA KATEGORII]</a:t>
                    </a:fld>
                    <a:endParaRPr lang="en-US" baseline="0" dirty="0"/>
                  </a:p>
                  <a:p>
                    <a:r>
                      <a:rPr lang="en-US" baseline="0" dirty="0"/>
                      <a:t> </a:t>
                    </a:r>
                    <a:fld id="{4BBAF2AE-8D78-40BF-B1BE-E2E982B5E43D}"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F691-40C7-B65E-6409D0FA16B9}"/>
                </c:ext>
              </c:extLst>
            </c:dLbl>
            <c:dLbl>
              <c:idx val="5"/>
              <c:layout>
                <c:manualLayout>
                  <c:x val="0.27639831556324912"/>
                  <c:y val="0.10519913284674297"/>
                </c:manualLayout>
              </c:layout>
              <c:tx>
                <c:rich>
                  <a:bodyPr/>
                  <a:lstStyle/>
                  <a:p>
                    <a:fld id="{86788246-9211-4532-AF20-A11850CD86C8}" type="CATEGORYNAME">
                      <a:rPr lang="en-US" smtClean="0"/>
                      <a:pPr/>
                      <a:t>[NAZWA KATEGORII]</a:t>
                    </a:fld>
                    <a:endParaRPr lang="en-US" baseline="0" dirty="0"/>
                  </a:p>
                  <a:p>
                    <a:r>
                      <a:rPr lang="en-US" baseline="0" dirty="0"/>
                      <a:t> </a:t>
                    </a:r>
                    <a:fld id="{BC51E3D4-B52E-4787-B9AA-C4C80A93B147}"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F691-40C7-B65E-6409D0FA16B9}"/>
                </c:ext>
              </c:extLst>
            </c:dLbl>
            <c:dLbl>
              <c:idx val="6"/>
              <c:layout>
                <c:manualLayout>
                  <c:x val="0.28547947203902596"/>
                  <c:y val="0.19912693003133491"/>
                </c:manualLayout>
              </c:layout>
              <c:tx>
                <c:rich>
                  <a:bodyPr/>
                  <a:lstStyle/>
                  <a:p>
                    <a:fld id="{9D9F06F6-3CC6-4D42-A008-CACC8821CA8B}" type="CATEGORYNAME">
                      <a:rPr lang="en-US" smtClean="0"/>
                      <a:pPr/>
                      <a:t>[NAZWA KATEGORII]</a:t>
                    </a:fld>
                    <a:endParaRPr lang="en-US" baseline="0" dirty="0"/>
                  </a:p>
                  <a:p>
                    <a:fld id="{9B3B60EB-277F-437B-8562-48ACF4CB0906}" type="VALUE">
                      <a:rPr lang="en-US" baseline="0" smtClean="0"/>
                      <a:pPr/>
                      <a:t>[WARTOŚĆ]</a:t>
                    </a:fld>
                    <a:endParaRPr lang="pl-PL"/>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F691-40C7-B65E-6409D0FA16B9}"/>
                </c:ext>
              </c:extLst>
            </c:dLbl>
            <c:dLbl>
              <c:idx val="7"/>
              <c:layout>
                <c:manualLayout>
                  <c:x val="0.14313495953473387"/>
                  <c:y val="0.18191610339571901"/>
                </c:manualLayout>
              </c:layout>
              <c:tx>
                <c:rich>
                  <a:bodyPr/>
                  <a:lstStyle/>
                  <a:p>
                    <a:fld id="{7A163867-8592-4C28-9DFB-222686E18920}" type="CATEGORYNAME">
                      <a:rPr lang="en-US" smtClean="0"/>
                      <a:pPr/>
                      <a:t>[NAZWA KATEGORII]</a:t>
                    </a:fld>
                    <a:r>
                      <a:rPr lang="en-US" baseline="0" dirty="0"/>
                      <a:t> </a:t>
                    </a:r>
                    <a:fld id="{9B6D7456-61B6-48BE-BD12-0CA67153F8E7}"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F691-40C7-B65E-6409D0FA16B9}"/>
                </c:ext>
              </c:extLst>
            </c:dLbl>
            <c:dLbl>
              <c:idx val="8"/>
              <c:layout>
                <c:manualLayout>
                  <c:x val="-7.1385746334642142E-3"/>
                  <c:y val="0.15879359433131679"/>
                </c:manualLayout>
              </c:layout>
              <c:tx>
                <c:rich>
                  <a:bodyPr/>
                  <a:lstStyle/>
                  <a:p>
                    <a:fld id="{0C8E400D-73C5-4ADF-B18B-6B5D069A5846}" type="CATEGORYNAME">
                      <a:rPr lang="en-US" smtClean="0"/>
                      <a:pPr/>
                      <a:t>[NAZWA KATEGORII]</a:t>
                    </a:fld>
                    <a:endParaRPr lang="en-US" baseline="0" dirty="0"/>
                  </a:p>
                  <a:p>
                    <a:r>
                      <a:rPr lang="en-US" baseline="0" dirty="0"/>
                      <a:t> </a:t>
                    </a:r>
                    <a:fld id="{BB365803-0706-402E-8287-8072F1344657}"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F691-40C7-B65E-6409D0FA16B9}"/>
                </c:ext>
              </c:extLst>
            </c:dLbl>
            <c:dLbl>
              <c:idx val="9"/>
              <c:layout>
                <c:manualLayout>
                  <c:x val="-0.21617134002387531"/>
                  <c:y val="0.14136651188549018"/>
                </c:manualLayout>
              </c:layout>
              <c:tx>
                <c:rich>
                  <a:bodyPr/>
                  <a:lstStyle/>
                  <a:p>
                    <a:fld id="{A6999AF1-DD37-4E5C-8CA2-659868DE98C1}" type="CATEGORYNAME">
                      <a:rPr lang="en-US" smtClean="0"/>
                      <a:pPr/>
                      <a:t>[NAZWA KATEGORII]</a:t>
                    </a:fld>
                    <a:endParaRPr lang="en-US" baseline="0" dirty="0"/>
                  </a:p>
                  <a:p>
                    <a:r>
                      <a:rPr lang="en-US" baseline="0" dirty="0"/>
                      <a:t> </a:t>
                    </a:r>
                    <a:fld id="{B4B16B21-C465-4348-9031-3FA0F39F1B72}"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F691-40C7-B65E-6409D0FA16B9}"/>
                </c:ext>
              </c:extLst>
            </c:dLbl>
            <c:dLbl>
              <c:idx val="10"/>
              <c:layout>
                <c:manualLayout>
                  <c:x val="-0.14187159770440971"/>
                  <c:y val="7.1385125860289875E-2"/>
                </c:manualLayout>
              </c:layout>
              <c:tx>
                <c:rich>
                  <a:bodyPr/>
                  <a:lstStyle/>
                  <a:p>
                    <a:fld id="{9284E013-5D25-4FFB-9E0E-0E5CFD2B1C6C}" type="CATEGORYNAME">
                      <a:rPr lang="en-US" smtClean="0"/>
                      <a:pPr/>
                      <a:t>[NAZWA KATEGORII]</a:t>
                    </a:fld>
                    <a:endParaRPr lang="en-US" dirty="0"/>
                  </a:p>
                  <a:p>
                    <a:r>
                      <a:rPr lang="en-US" baseline="0" dirty="0"/>
                      <a:t> </a:t>
                    </a:r>
                    <a:fld id="{87652FC3-F489-403B-8304-C52829409C5B}"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F691-40C7-B65E-6409D0FA16B9}"/>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1"/>
            <c:showSerName val="0"/>
            <c:showPercent val="0"/>
            <c:showBubbleSize val="0"/>
            <c:showLeaderLines val="1"/>
            <c:leaderLines>
              <c:spPr>
                <a:ln w="9525">
                  <a:solidFill>
                    <a:schemeClr val="tx1">
                      <a:lumMod val="35000"/>
                      <a:lumOff val="65000"/>
                    </a:schemeClr>
                  </a:solidFill>
                </a:ln>
                <a:effectLst/>
              </c:spPr>
            </c:leaderLines>
            <c:extLst>
              <c:ext xmlns:c15="http://schemas.microsoft.com/office/drawing/2012/chart" uri="{CE6537A1-D6FC-4f65-9D91-7224C49458BB}"/>
            </c:extLst>
          </c:dLbls>
          <c:cat>
            <c:strRef>
              <c:f>Лист1!$A$2:$A$12</c:f>
              <c:strCache>
                <c:ptCount val="11"/>
                <c:pt idx="0">
                  <c:v>China</c:v>
                </c:pt>
                <c:pt idx="1">
                  <c:v>USA</c:v>
                </c:pt>
                <c:pt idx="2">
                  <c:v>Germany</c:v>
                </c:pt>
                <c:pt idx="3">
                  <c:v>Japan</c:v>
                </c:pt>
                <c:pt idx="4">
                  <c:v>Mexico</c:v>
                </c:pt>
                <c:pt idx="5">
                  <c:v>Spain</c:v>
                </c:pt>
                <c:pt idx="6">
                  <c:v>Egypt</c:v>
                </c:pt>
                <c:pt idx="7">
                  <c:v>Netherlands</c:v>
                </c:pt>
                <c:pt idx="8">
                  <c:v>Italy</c:v>
                </c:pt>
                <c:pt idx="9">
                  <c:v>Indonesia</c:v>
                </c:pt>
                <c:pt idx="10">
                  <c:v>other</c:v>
                </c:pt>
              </c:strCache>
            </c:strRef>
          </c:cat>
          <c:val>
            <c:numRef>
              <c:f>Лист1!$B$2:$B$12</c:f>
              <c:numCache>
                <c:formatCode>0.00%</c:formatCode>
                <c:ptCount val="11"/>
                <c:pt idx="0">
                  <c:v>0.1857</c:v>
                </c:pt>
                <c:pt idx="1">
                  <c:v>4.7199999999999999E-2</c:v>
                </c:pt>
                <c:pt idx="2">
                  <c:v>4.0399999999999998E-2</c:v>
                </c:pt>
                <c:pt idx="3">
                  <c:v>3.4799999999999998E-2</c:v>
                </c:pt>
                <c:pt idx="4">
                  <c:v>3.1099999999999999E-2</c:v>
                </c:pt>
                <c:pt idx="5">
                  <c:v>2.4299999999999999E-2</c:v>
                </c:pt>
                <c:pt idx="6">
                  <c:v>2.1899999999999999E-2</c:v>
                </c:pt>
                <c:pt idx="7">
                  <c:v>1.9699999999999999E-2</c:v>
                </c:pt>
                <c:pt idx="8">
                  <c:v>1.9199999999999998E-2</c:v>
                </c:pt>
                <c:pt idx="9">
                  <c:v>1.6500000000000001E-2</c:v>
                </c:pt>
                <c:pt idx="10">
                  <c:v>0.55920000000000003</c:v>
                </c:pt>
              </c:numCache>
            </c:numRef>
          </c:val>
          <c:extLst>
            <c:ext xmlns:c16="http://schemas.microsoft.com/office/drawing/2014/chart" uri="{C3380CC4-5D6E-409C-BE32-E72D297353CC}">
              <c16:uniqueId val="{00000000-F691-40C7-B65E-6409D0FA16B9}"/>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doughnutChart>
        <c:varyColors val="1"/>
        <c:ser>
          <c:idx val="0"/>
          <c:order val="0"/>
          <c:tx>
            <c:strRef>
              <c:f>Лист1!$B$1</c:f>
              <c:strCache>
                <c:ptCount val="1"/>
                <c:pt idx="0">
                  <c:v>Продажи</c:v>
                </c:pt>
              </c:strCache>
            </c:strRef>
          </c:tx>
          <c:dPt>
            <c:idx val="0"/>
            <c:bubble3D val="0"/>
            <c:spPr>
              <a:pattFill prst="ltUpDiag">
                <a:fgClr>
                  <a:schemeClr val="accent1">
                    <a:shade val="41000"/>
                  </a:schemeClr>
                </a:fgClr>
                <a:bgClr>
                  <a:schemeClr val="accent1">
                    <a:shade val="41000"/>
                    <a:lumMod val="20000"/>
                    <a:lumOff val="80000"/>
                  </a:schemeClr>
                </a:bgClr>
              </a:pattFill>
              <a:ln w="19050">
                <a:solidFill>
                  <a:schemeClr val="lt1"/>
                </a:solidFill>
              </a:ln>
              <a:effectLst>
                <a:innerShdw blurRad="114300">
                  <a:schemeClr val="accent1">
                    <a:shade val="41000"/>
                  </a:schemeClr>
                </a:innerShdw>
              </a:effectLst>
            </c:spPr>
            <c:extLst>
              <c:ext xmlns:c16="http://schemas.microsoft.com/office/drawing/2014/chart" uri="{C3380CC4-5D6E-409C-BE32-E72D297353CC}">
                <c16:uniqueId val="{00000001-D158-45B2-99BF-E64F9A25250B}"/>
              </c:ext>
            </c:extLst>
          </c:dPt>
          <c:dPt>
            <c:idx val="1"/>
            <c:bubble3D val="0"/>
            <c:spPr>
              <a:pattFill prst="ltUpDiag">
                <a:fgClr>
                  <a:schemeClr val="accent1">
                    <a:shade val="53000"/>
                  </a:schemeClr>
                </a:fgClr>
                <a:bgClr>
                  <a:schemeClr val="accent1">
                    <a:shade val="53000"/>
                    <a:lumMod val="20000"/>
                    <a:lumOff val="80000"/>
                  </a:schemeClr>
                </a:bgClr>
              </a:pattFill>
              <a:ln w="19050">
                <a:solidFill>
                  <a:schemeClr val="lt1"/>
                </a:solidFill>
              </a:ln>
              <a:effectLst>
                <a:innerShdw blurRad="114300">
                  <a:schemeClr val="accent1">
                    <a:shade val="53000"/>
                  </a:schemeClr>
                </a:innerShdw>
              </a:effectLst>
            </c:spPr>
            <c:extLst>
              <c:ext xmlns:c16="http://schemas.microsoft.com/office/drawing/2014/chart" uri="{C3380CC4-5D6E-409C-BE32-E72D297353CC}">
                <c16:uniqueId val="{00000003-D158-45B2-99BF-E64F9A25250B}"/>
              </c:ext>
            </c:extLst>
          </c:dPt>
          <c:dPt>
            <c:idx val="2"/>
            <c:bubble3D val="0"/>
            <c:spPr>
              <a:pattFill prst="ltUpDiag">
                <a:fgClr>
                  <a:schemeClr val="accent1">
                    <a:shade val="65000"/>
                  </a:schemeClr>
                </a:fgClr>
                <a:bgClr>
                  <a:schemeClr val="accent1">
                    <a:shade val="65000"/>
                    <a:lumMod val="20000"/>
                    <a:lumOff val="80000"/>
                  </a:schemeClr>
                </a:bgClr>
              </a:pattFill>
              <a:ln w="19050">
                <a:solidFill>
                  <a:schemeClr val="lt1"/>
                </a:solidFill>
              </a:ln>
              <a:effectLst>
                <a:innerShdw blurRad="114300">
                  <a:schemeClr val="accent1">
                    <a:shade val="65000"/>
                  </a:schemeClr>
                </a:innerShdw>
              </a:effectLst>
            </c:spPr>
            <c:extLst>
              <c:ext xmlns:c16="http://schemas.microsoft.com/office/drawing/2014/chart" uri="{C3380CC4-5D6E-409C-BE32-E72D297353CC}">
                <c16:uniqueId val="{00000005-D158-45B2-99BF-E64F9A25250B}"/>
              </c:ext>
            </c:extLst>
          </c:dPt>
          <c:dPt>
            <c:idx val="3"/>
            <c:bubble3D val="0"/>
            <c:spPr>
              <a:pattFill prst="ltUpDiag">
                <a:fgClr>
                  <a:schemeClr val="accent1">
                    <a:shade val="76000"/>
                  </a:schemeClr>
                </a:fgClr>
                <a:bgClr>
                  <a:schemeClr val="accent1">
                    <a:shade val="76000"/>
                    <a:lumMod val="20000"/>
                    <a:lumOff val="80000"/>
                  </a:schemeClr>
                </a:bgClr>
              </a:pattFill>
              <a:ln w="19050">
                <a:solidFill>
                  <a:schemeClr val="lt1"/>
                </a:solidFill>
              </a:ln>
              <a:effectLst>
                <a:innerShdw blurRad="114300">
                  <a:schemeClr val="accent1">
                    <a:shade val="76000"/>
                  </a:schemeClr>
                </a:innerShdw>
              </a:effectLst>
            </c:spPr>
            <c:extLst>
              <c:ext xmlns:c16="http://schemas.microsoft.com/office/drawing/2014/chart" uri="{C3380CC4-5D6E-409C-BE32-E72D297353CC}">
                <c16:uniqueId val="{00000007-D158-45B2-99BF-E64F9A25250B}"/>
              </c:ext>
            </c:extLst>
          </c:dPt>
          <c:dPt>
            <c:idx val="4"/>
            <c:bubble3D val="0"/>
            <c:spPr>
              <a:pattFill prst="ltUpDiag">
                <a:fgClr>
                  <a:schemeClr val="accent1">
                    <a:shade val="88000"/>
                  </a:schemeClr>
                </a:fgClr>
                <a:bgClr>
                  <a:schemeClr val="accent1">
                    <a:shade val="88000"/>
                    <a:lumMod val="20000"/>
                    <a:lumOff val="80000"/>
                  </a:schemeClr>
                </a:bgClr>
              </a:pattFill>
              <a:ln w="19050">
                <a:solidFill>
                  <a:schemeClr val="lt1"/>
                </a:solidFill>
              </a:ln>
              <a:effectLst>
                <a:innerShdw blurRad="114300">
                  <a:schemeClr val="accent1">
                    <a:shade val="88000"/>
                  </a:schemeClr>
                </a:innerShdw>
              </a:effectLst>
            </c:spPr>
            <c:extLst>
              <c:ext xmlns:c16="http://schemas.microsoft.com/office/drawing/2014/chart" uri="{C3380CC4-5D6E-409C-BE32-E72D297353CC}">
                <c16:uniqueId val="{00000009-D158-45B2-99BF-E64F9A25250B}"/>
              </c:ext>
            </c:extLst>
          </c:dPt>
          <c:dPt>
            <c:idx val="5"/>
            <c:bubble3D val="0"/>
            <c:spPr>
              <a:pattFill prst="ltUpDiag">
                <a:fgClr>
                  <a:schemeClr val="accent1"/>
                </a:fgClr>
                <a:bgClr>
                  <a:schemeClr val="accent1">
                    <a:lumMod val="20000"/>
                    <a:lumOff val="80000"/>
                  </a:schemeClr>
                </a:bgClr>
              </a:pattFill>
              <a:ln w="19050">
                <a:solidFill>
                  <a:schemeClr val="lt1"/>
                </a:solidFill>
              </a:ln>
              <a:effectLst>
                <a:innerShdw blurRad="114300">
                  <a:schemeClr val="accent1"/>
                </a:innerShdw>
              </a:effectLst>
            </c:spPr>
            <c:extLst>
              <c:ext xmlns:c16="http://schemas.microsoft.com/office/drawing/2014/chart" uri="{C3380CC4-5D6E-409C-BE32-E72D297353CC}">
                <c16:uniqueId val="{0000000B-D158-45B2-99BF-E64F9A25250B}"/>
              </c:ext>
            </c:extLst>
          </c:dPt>
          <c:dPt>
            <c:idx val="6"/>
            <c:bubble3D val="0"/>
            <c:spPr>
              <a:pattFill prst="ltUpDiag">
                <a:fgClr>
                  <a:schemeClr val="accent1">
                    <a:tint val="89000"/>
                  </a:schemeClr>
                </a:fgClr>
                <a:bgClr>
                  <a:schemeClr val="accent1">
                    <a:tint val="89000"/>
                    <a:lumMod val="20000"/>
                    <a:lumOff val="80000"/>
                  </a:schemeClr>
                </a:bgClr>
              </a:pattFill>
              <a:ln w="19050">
                <a:solidFill>
                  <a:schemeClr val="lt1"/>
                </a:solidFill>
              </a:ln>
              <a:effectLst>
                <a:innerShdw blurRad="114300">
                  <a:schemeClr val="accent1">
                    <a:tint val="89000"/>
                  </a:schemeClr>
                </a:innerShdw>
              </a:effectLst>
            </c:spPr>
            <c:extLst>
              <c:ext xmlns:c16="http://schemas.microsoft.com/office/drawing/2014/chart" uri="{C3380CC4-5D6E-409C-BE32-E72D297353CC}">
                <c16:uniqueId val="{0000000D-D158-45B2-99BF-E64F9A25250B}"/>
              </c:ext>
            </c:extLst>
          </c:dPt>
          <c:dPt>
            <c:idx val="7"/>
            <c:bubble3D val="0"/>
            <c:spPr>
              <a:pattFill prst="ltUpDiag">
                <a:fgClr>
                  <a:schemeClr val="accent1">
                    <a:tint val="77000"/>
                  </a:schemeClr>
                </a:fgClr>
                <a:bgClr>
                  <a:schemeClr val="accent1">
                    <a:tint val="77000"/>
                    <a:lumMod val="20000"/>
                    <a:lumOff val="80000"/>
                  </a:schemeClr>
                </a:bgClr>
              </a:pattFill>
              <a:ln w="19050">
                <a:solidFill>
                  <a:schemeClr val="lt1"/>
                </a:solidFill>
              </a:ln>
              <a:effectLst>
                <a:innerShdw blurRad="114300">
                  <a:schemeClr val="accent1">
                    <a:tint val="77000"/>
                  </a:schemeClr>
                </a:innerShdw>
              </a:effectLst>
            </c:spPr>
            <c:extLst>
              <c:ext xmlns:c16="http://schemas.microsoft.com/office/drawing/2014/chart" uri="{C3380CC4-5D6E-409C-BE32-E72D297353CC}">
                <c16:uniqueId val="{0000000F-D158-45B2-99BF-E64F9A25250B}"/>
              </c:ext>
            </c:extLst>
          </c:dPt>
          <c:dPt>
            <c:idx val="8"/>
            <c:bubble3D val="0"/>
            <c:spPr>
              <a:pattFill prst="ltUpDiag">
                <a:fgClr>
                  <a:schemeClr val="accent1">
                    <a:tint val="65000"/>
                  </a:schemeClr>
                </a:fgClr>
                <a:bgClr>
                  <a:schemeClr val="accent1">
                    <a:tint val="65000"/>
                    <a:lumMod val="20000"/>
                    <a:lumOff val="80000"/>
                  </a:schemeClr>
                </a:bgClr>
              </a:pattFill>
              <a:ln w="19050">
                <a:solidFill>
                  <a:schemeClr val="lt1"/>
                </a:solidFill>
              </a:ln>
              <a:effectLst>
                <a:innerShdw blurRad="114300">
                  <a:schemeClr val="accent1">
                    <a:tint val="65000"/>
                  </a:schemeClr>
                </a:innerShdw>
              </a:effectLst>
            </c:spPr>
            <c:extLst>
              <c:ext xmlns:c16="http://schemas.microsoft.com/office/drawing/2014/chart" uri="{C3380CC4-5D6E-409C-BE32-E72D297353CC}">
                <c16:uniqueId val="{00000011-D158-45B2-99BF-E64F9A25250B}"/>
              </c:ext>
            </c:extLst>
          </c:dPt>
          <c:dPt>
            <c:idx val="9"/>
            <c:bubble3D val="0"/>
            <c:spPr>
              <a:pattFill prst="ltUpDiag">
                <a:fgClr>
                  <a:schemeClr val="accent1">
                    <a:tint val="54000"/>
                  </a:schemeClr>
                </a:fgClr>
                <a:bgClr>
                  <a:schemeClr val="accent1">
                    <a:tint val="54000"/>
                    <a:lumMod val="20000"/>
                    <a:lumOff val="80000"/>
                  </a:schemeClr>
                </a:bgClr>
              </a:pattFill>
              <a:ln w="19050">
                <a:solidFill>
                  <a:schemeClr val="lt1"/>
                </a:solidFill>
              </a:ln>
              <a:effectLst>
                <a:innerShdw blurRad="114300">
                  <a:schemeClr val="accent1">
                    <a:tint val="54000"/>
                  </a:schemeClr>
                </a:innerShdw>
              </a:effectLst>
            </c:spPr>
            <c:extLst>
              <c:ext xmlns:c16="http://schemas.microsoft.com/office/drawing/2014/chart" uri="{C3380CC4-5D6E-409C-BE32-E72D297353CC}">
                <c16:uniqueId val="{00000013-D158-45B2-99BF-E64F9A25250B}"/>
              </c:ext>
            </c:extLst>
          </c:dPt>
          <c:dPt>
            <c:idx val="10"/>
            <c:bubble3D val="0"/>
            <c:spPr>
              <a:pattFill prst="ltUpDiag">
                <a:fgClr>
                  <a:schemeClr val="accent1">
                    <a:tint val="42000"/>
                  </a:schemeClr>
                </a:fgClr>
                <a:bgClr>
                  <a:schemeClr val="accent1">
                    <a:tint val="42000"/>
                    <a:lumMod val="20000"/>
                    <a:lumOff val="80000"/>
                  </a:schemeClr>
                </a:bgClr>
              </a:pattFill>
              <a:ln w="19050">
                <a:solidFill>
                  <a:schemeClr val="lt1"/>
                </a:solidFill>
              </a:ln>
              <a:effectLst>
                <a:innerShdw blurRad="114300">
                  <a:schemeClr val="accent1">
                    <a:tint val="42000"/>
                  </a:schemeClr>
                </a:innerShdw>
              </a:effectLst>
            </c:spPr>
            <c:extLst>
              <c:ext xmlns:c16="http://schemas.microsoft.com/office/drawing/2014/chart" uri="{C3380CC4-5D6E-409C-BE32-E72D297353CC}">
                <c16:uniqueId val="{00000015-D158-45B2-99BF-E64F9A25250B}"/>
              </c:ext>
            </c:extLst>
          </c:dPt>
          <c:dLbls>
            <c:dLbl>
              <c:idx val="0"/>
              <c:layout>
                <c:manualLayout>
                  <c:x val="0.14803992803938407"/>
                  <c:y val="-0.10519913284674297"/>
                </c:manualLayout>
              </c:layout>
              <c:tx>
                <c:rich>
                  <a:bodyPr/>
                  <a:lstStyle/>
                  <a:p>
                    <a:fld id="{1E7F2F24-ED93-40CD-AB71-C58AFDE0A647}" type="CATEGORYNAME">
                      <a:rPr lang="en-US" smtClean="0"/>
                      <a:pPr/>
                      <a:t>[NAZWA KATEGORII]</a:t>
                    </a:fld>
                    <a:endParaRPr lang="en-US" dirty="0"/>
                  </a:p>
                  <a:p>
                    <a:r>
                      <a:rPr lang="en-US" baseline="0" dirty="0"/>
                      <a:t> </a:t>
                    </a:r>
                    <a:fld id="{A70F5D84-4D6F-434A-9A3C-F70ACD53EA90}"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D158-45B2-99BF-E64F9A25250B}"/>
                </c:ext>
              </c:extLst>
            </c:dLbl>
            <c:dLbl>
              <c:idx val="1"/>
              <c:layout>
                <c:manualLayout>
                  <c:x val="0.19842604436679731"/>
                  <c:y val="-9.3927797184591932E-2"/>
                </c:manualLayout>
              </c:layout>
              <c:tx>
                <c:rich>
                  <a:bodyPr/>
                  <a:lstStyle/>
                  <a:p>
                    <a:fld id="{5D1E9800-E295-42E5-8A62-A95B21B5967C}" type="CATEGORYNAME">
                      <a:rPr lang="en-US" smtClean="0"/>
                      <a:pPr/>
                      <a:t>[NAZWA KATEGORII]</a:t>
                    </a:fld>
                    <a:endParaRPr lang="en-US" dirty="0"/>
                  </a:p>
                  <a:p>
                    <a:r>
                      <a:rPr lang="en-US" baseline="0" dirty="0"/>
                      <a:t> </a:t>
                    </a:r>
                    <a:fld id="{AD321142-58B0-4969-9653-E03F933AF872}"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D158-45B2-99BF-E64F9A25250B}"/>
                </c:ext>
              </c:extLst>
            </c:dLbl>
            <c:dLbl>
              <c:idx val="2"/>
              <c:layout>
                <c:manualLayout>
                  <c:x val="0.23965960785430013"/>
                  <c:y val="1.5028447549534573E-2"/>
                </c:manualLayout>
              </c:layout>
              <c:tx>
                <c:rich>
                  <a:bodyPr/>
                  <a:lstStyle/>
                  <a:p>
                    <a:fld id="{B4689E08-3A81-4784-BCF6-376BABA63E9E}" type="CATEGORYNAME">
                      <a:rPr lang="en-US" smtClean="0"/>
                      <a:pPr/>
                      <a:t>[NAZWA KATEGORII]</a:t>
                    </a:fld>
                    <a:r>
                      <a:rPr lang="en-US" baseline="0" dirty="0"/>
                      <a:t> </a:t>
                    </a:r>
                  </a:p>
                  <a:p>
                    <a:fld id="{26F053F8-81D1-44F1-923A-5C7BC3CBB30D}" type="VALUE">
                      <a:rPr lang="en-US" baseline="0" smtClean="0"/>
                      <a:pPr/>
                      <a:t>[WARTOŚĆ]</a:t>
                    </a:fld>
                    <a:endParaRPr lang="pl-PL"/>
                  </a:p>
                </c:rich>
              </c:tx>
              <c:showLegendKey val="0"/>
              <c:showVal val="1"/>
              <c:showCatName val="1"/>
              <c:showSerName val="0"/>
              <c:showPercent val="0"/>
              <c:showBubbleSize val="0"/>
              <c:extLst>
                <c:ext xmlns:c15="http://schemas.microsoft.com/office/drawing/2012/chart" uri="{CE6537A1-D6FC-4f65-9D91-7224C49458BB}">
                  <c15:layout>
                    <c:manualLayout>
                      <c:w val="0.17448153043923803"/>
                      <c:h val="0.10335814802192497"/>
                    </c:manualLayout>
                  </c15:layout>
                  <c15:dlblFieldTable/>
                  <c15:showDataLabelsRange val="0"/>
                </c:ext>
                <c:ext xmlns:c16="http://schemas.microsoft.com/office/drawing/2014/chart" uri="{C3380CC4-5D6E-409C-BE32-E72D297353CC}">
                  <c16:uniqueId val="{00000005-D158-45B2-99BF-E64F9A25250B}"/>
                </c:ext>
              </c:extLst>
            </c:dLbl>
            <c:dLbl>
              <c:idx val="3"/>
              <c:layout>
                <c:manualLayout>
                  <c:x val="0.20131581054178438"/>
                  <c:y val="7.8899349635057084E-2"/>
                </c:manualLayout>
              </c:layout>
              <c:tx>
                <c:rich>
                  <a:bodyPr/>
                  <a:lstStyle/>
                  <a:p>
                    <a:fld id="{F3C95CEB-FED7-494D-BF2B-D36D9BC28F67}" type="CATEGORYNAME">
                      <a:rPr lang="en-US" smtClean="0"/>
                      <a:pPr/>
                      <a:t>[NAZWA KATEGORII]</a:t>
                    </a:fld>
                    <a:endParaRPr lang="en-US" baseline="0" dirty="0"/>
                  </a:p>
                  <a:p>
                    <a:fld id="{BB7B405C-E2B0-4699-9EEC-139C4D06CC9B}" type="VALUE">
                      <a:rPr lang="en-US" baseline="0" smtClean="0"/>
                      <a:pPr/>
                      <a:t>[WARTOŚĆ]</a:t>
                    </a:fld>
                    <a:endParaRPr lang="pl-PL"/>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D158-45B2-99BF-E64F9A25250B}"/>
                </c:ext>
              </c:extLst>
            </c:dLbl>
            <c:dLbl>
              <c:idx val="4"/>
              <c:layout>
                <c:manualLayout>
                  <c:x val="-0.16663167801425763"/>
                  <c:y val="0.10605350600664551"/>
                </c:manualLayout>
              </c:layout>
              <c:tx>
                <c:rich>
                  <a:bodyPr/>
                  <a:lstStyle/>
                  <a:p>
                    <a:fld id="{DD1ED0C4-7E17-4082-B91A-985D8026FA05}" type="CATEGORYNAME">
                      <a:rPr lang="en-US" smtClean="0"/>
                      <a:pPr/>
                      <a:t>[NAZWA KATEGORII]</a:t>
                    </a:fld>
                    <a:endParaRPr lang="en-US" baseline="0" dirty="0"/>
                  </a:p>
                  <a:p>
                    <a:r>
                      <a:rPr lang="en-US" baseline="0" dirty="0"/>
                      <a:t> </a:t>
                    </a:r>
                    <a:fld id="{4BBAF2AE-8D78-40BF-B1BE-E2E982B5E43D}"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D158-45B2-99BF-E64F9A25250B}"/>
                </c:ext>
              </c:extLst>
            </c:dLbl>
            <c:dLbl>
              <c:idx val="5"/>
              <c:layout>
                <c:manualLayout>
                  <c:x val="-0.23875325349990303"/>
                  <c:y val="8.6413573409824584E-2"/>
                </c:manualLayout>
              </c:layout>
              <c:tx>
                <c:rich>
                  <a:bodyPr/>
                  <a:lstStyle/>
                  <a:p>
                    <a:fld id="{86788246-9211-4532-AF20-A11850CD86C8}" type="CATEGORYNAME">
                      <a:rPr lang="en-US" smtClean="0"/>
                      <a:pPr/>
                      <a:t>[NAZWA KATEGORII]</a:t>
                    </a:fld>
                    <a:endParaRPr lang="en-US" baseline="0" dirty="0"/>
                  </a:p>
                  <a:p>
                    <a:r>
                      <a:rPr lang="en-US" baseline="0" dirty="0"/>
                      <a:t> </a:t>
                    </a:r>
                    <a:fld id="{BC51E3D4-B52E-4787-B9AA-C4C80A93B147}"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D158-45B2-99BF-E64F9A25250B}"/>
                </c:ext>
              </c:extLst>
            </c:dLbl>
            <c:dLbl>
              <c:idx val="6"/>
              <c:layout>
                <c:manualLayout>
                  <c:x val="-0.18674279960219681"/>
                  <c:y val="6.7628013972906131E-2"/>
                </c:manualLayout>
              </c:layout>
              <c:tx>
                <c:rich>
                  <a:bodyPr/>
                  <a:lstStyle/>
                  <a:p>
                    <a:fld id="{9D9F06F6-3CC6-4D42-A008-CACC8821CA8B}" type="CATEGORYNAME">
                      <a:rPr lang="en-US" smtClean="0"/>
                      <a:pPr/>
                      <a:t>[NAZWA KATEGORII]</a:t>
                    </a:fld>
                    <a:endParaRPr lang="en-US" baseline="0" dirty="0"/>
                  </a:p>
                  <a:p>
                    <a:fld id="{9B3B60EB-277F-437B-8562-48ACF4CB0906}" type="VALUE">
                      <a:rPr lang="en-US" baseline="0" smtClean="0"/>
                      <a:pPr/>
                      <a:t>[WARTOŚĆ]</a:t>
                    </a:fld>
                    <a:endParaRPr lang="pl-PL"/>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D158-45B2-99BF-E64F9A25250B}"/>
                </c:ext>
              </c:extLst>
            </c:dLbl>
            <c:dLbl>
              <c:idx val="7"/>
              <c:layout>
                <c:manualLayout>
                  <c:x val="-0.20255885654711814"/>
                  <c:y val="4.2902963562523141E-2"/>
                </c:manualLayout>
              </c:layout>
              <c:tx>
                <c:rich>
                  <a:bodyPr/>
                  <a:lstStyle/>
                  <a:p>
                    <a:fld id="{7A163867-8592-4C28-9DFB-222686E18920}" type="CATEGORYNAME">
                      <a:rPr lang="en-US" smtClean="0"/>
                      <a:pPr/>
                      <a:t>[NAZWA KATEGORII]</a:t>
                    </a:fld>
                    <a:r>
                      <a:rPr lang="en-US" baseline="0" dirty="0"/>
                      <a:t> </a:t>
                    </a:r>
                  </a:p>
                  <a:p>
                    <a:fld id="{9B6D7456-61B6-48BE-BD12-0CA67153F8E7}" type="VALUE">
                      <a:rPr lang="en-US" baseline="0" smtClean="0"/>
                      <a:pPr/>
                      <a:t>[WARTOŚĆ]</a:t>
                    </a:fld>
                    <a:endParaRPr lang="pl-PL"/>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F-D158-45B2-99BF-E64F9A25250B}"/>
                </c:ext>
              </c:extLst>
            </c:dLbl>
            <c:dLbl>
              <c:idx val="8"/>
              <c:layout>
                <c:manualLayout>
                  <c:x val="-0.21952562503669359"/>
                  <c:y val="-2.5304888150483311E-2"/>
                </c:manualLayout>
              </c:layout>
              <c:tx>
                <c:rich>
                  <a:bodyPr/>
                  <a:lstStyle/>
                  <a:p>
                    <a:fld id="{0C8E400D-73C5-4ADF-B18B-6B5D069A5846}" type="CATEGORYNAME">
                      <a:rPr lang="en-US" smtClean="0"/>
                      <a:pPr/>
                      <a:t>[NAZWA KATEGORII]</a:t>
                    </a:fld>
                    <a:endParaRPr lang="en-US" baseline="0" dirty="0"/>
                  </a:p>
                  <a:p>
                    <a:r>
                      <a:rPr lang="en-US" baseline="0" dirty="0"/>
                      <a:t> </a:t>
                    </a:r>
                    <a:fld id="{BB365803-0706-402E-8287-8072F1344657}"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1-D158-45B2-99BF-E64F9A25250B}"/>
                </c:ext>
              </c:extLst>
            </c:dLbl>
            <c:dLbl>
              <c:idx val="9"/>
              <c:layout>
                <c:manualLayout>
                  <c:x val="-0.21843077673029265"/>
                  <c:y val="-0.12914554400613446"/>
                </c:manualLayout>
              </c:layout>
              <c:tx>
                <c:rich>
                  <a:bodyPr/>
                  <a:lstStyle/>
                  <a:p>
                    <a:fld id="{A6999AF1-DD37-4E5C-8CA2-659868DE98C1}" type="CATEGORYNAME">
                      <a:rPr lang="en-US" smtClean="0"/>
                      <a:pPr/>
                      <a:t>[NAZWA KATEGORII]</a:t>
                    </a:fld>
                    <a:endParaRPr lang="en-US" baseline="0" dirty="0"/>
                  </a:p>
                  <a:p>
                    <a:r>
                      <a:rPr lang="en-US" baseline="0" dirty="0"/>
                      <a:t> </a:t>
                    </a:r>
                    <a:fld id="{B4B16B21-C465-4348-9031-3FA0F39F1B72}"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3-D158-45B2-99BF-E64F9A25250B}"/>
                </c:ext>
              </c:extLst>
            </c:dLbl>
            <c:dLbl>
              <c:idx val="10"/>
              <c:layout>
                <c:manualLayout>
                  <c:x val="-0.14187163197156313"/>
                  <c:y val="-7.5142237747673549E-2"/>
                </c:manualLayout>
              </c:layout>
              <c:tx>
                <c:rich>
                  <a:bodyPr/>
                  <a:lstStyle/>
                  <a:p>
                    <a:fld id="{9284E013-5D25-4FFB-9E0E-0E5CFD2B1C6C}" type="CATEGORYNAME">
                      <a:rPr lang="en-US" smtClean="0"/>
                      <a:pPr/>
                      <a:t>[NAZWA KATEGORII]</a:t>
                    </a:fld>
                    <a:endParaRPr lang="en-US" dirty="0"/>
                  </a:p>
                  <a:p>
                    <a:r>
                      <a:rPr lang="en-US" baseline="0" dirty="0"/>
                      <a:t> </a:t>
                    </a:r>
                    <a:fld id="{87652FC3-F489-403B-8304-C52829409C5B}"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5-D158-45B2-99BF-E64F9A25250B}"/>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1"/>
            <c:showSerName val="0"/>
            <c:showPercent val="0"/>
            <c:showBubbleSize val="0"/>
            <c:showLeaderLines val="1"/>
            <c:leaderLines>
              <c:spPr>
                <a:ln w="9525">
                  <a:solidFill>
                    <a:schemeClr val="tx1">
                      <a:lumMod val="35000"/>
                      <a:lumOff val="65000"/>
                    </a:schemeClr>
                  </a:solidFill>
                </a:ln>
                <a:effectLst/>
              </c:spPr>
            </c:leaderLines>
            <c:extLst>
              <c:ext xmlns:c15="http://schemas.microsoft.com/office/drawing/2012/chart" uri="{CE6537A1-D6FC-4f65-9D91-7224C49458BB}"/>
            </c:extLst>
          </c:dLbls>
          <c:cat>
            <c:strRef>
              <c:f>Лист1!$A$2:$A$12</c:f>
              <c:strCache>
                <c:ptCount val="11"/>
                <c:pt idx="0">
                  <c:v>Australia</c:v>
                </c:pt>
                <c:pt idx="1">
                  <c:v>France</c:v>
                </c:pt>
                <c:pt idx="2">
                  <c:v>Russia</c:v>
                </c:pt>
                <c:pt idx="3">
                  <c:v>Germany</c:v>
                </c:pt>
                <c:pt idx="4">
                  <c:v>Canada</c:v>
                </c:pt>
                <c:pt idx="5">
                  <c:v>Argentina</c:v>
                </c:pt>
                <c:pt idx="6">
                  <c:v>Ukraine</c:v>
                </c:pt>
                <c:pt idx="7">
                  <c:v>Romania</c:v>
                </c:pt>
                <c:pt idx="8">
                  <c:v>Kazakhstan</c:v>
                </c:pt>
                <c:pt idx="9">
                  <c:v>Hungary</c:v>
                </c:pt>
                <c:pt idx="10">
                  <c:v>other</c:v>
                </c:pt>
              </c:strCache>
            </c:strRef>
          </c:cat>
          <c:val>
            <c:numRef>
              <c:f>Лист1!$B$2:$B$12</c:f>
              <c:numCache>
                <c:formatCode>0.00%</c:formatCode>
                <c:ptCount val="11"/>
                <c:pt idx="0">
                  <c:v>0.19</c:v>
                </c:pt>
                <c:pt idx="1">
                  <c:v>0.16</c:v>
                </c:pt>
                <c:pt idx="2">
                  <c:v>0.1</c:v>
                </c:pt>
                <c:pt idx="3">
                  <c:v>0.08</c:v>
                </c:pt>
                <c:pt idx="4">
                  <c:v>0.08</c:v>
                </c:pt>
                <c:pt idx="5">
                  <c:v>7.0000000000000007E-2</c:v>
                </c:pt>
                <c:pt idx="6">
                  <c:v>7.0000000000000007E-2</c:v>
                </c:pt>
                <c:pt idx="7">
                  <c:v>0.06</c:v>
                </c:pt>
                <c:pt idx="8">
                  <c:v>0.03</c:v>
                </c:pt>
                <c:pt idx="9">
                  <c:v>0.02</c:v>
                </c:pt>
                <c:pt idx="10">
                  <c:v>0.14000000000000001</c:v>
                </c:pt>
              </c:numCache>
            </c:numRef>
          </c:val>
          <c:extLst>
            <c:ext xmlns:c16="http://schemas.microsoft.com/office/drawing/2014/chart" uri="{C3380CC4-5D6E-409C-BE32-E72D297353CC}">
              <c16:uniqueId val="{00000016-D158-45B2-99BF-E64F9A25250B}"/>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doughnutChart>
        <c:varyColors val="1"/>
        <c:ser>
          <c:idx val="0"/>
          <c:order val="0"/>
          <c:tx>
            <c:strRef>
              <c:f>Лист1!$B$1</c:f>
              <c:strCache>
                <c:ptCount val="1"/>
                <c:pt idx="0">
                  <c:v>Продажи</c:v>
                </c:pt>
              </c:strCache>
            </c:strRef>
          </c:tx>
          <c:dPt>
            <c:idx val="0"/>
            <c:bubble3D val="0"/>
            <c:spPr>
              <a:pattFill prst="ltUpDiag">
                <a:fgClr>
                  <a:schemeClr val="accent1">
                    <a:shade val="41000"/>
                  </a:schemeClr>
                </a:fgClr>
                <a:bgClr>
                  <a:schemeClr val="accent1">
                    <a:shade val="41000"/>
                    <a:lumMod val="20000"/>
                    <a:lumOff val="80000"/>
                  </a:schemeClr>
                </a:bgClr>
              </a:pattFill>
              <a:ln w="19050">
                <a:solidFill>
                  <a:schemeClr val="lt1"/>
                </a:solidFill>
              </a:ln>
              <a:effectLst>
                <a:innerShdw blurRad="114300">
                  <a:schemeClr val="accent1">
                    <a:shade val="41000"/>
                  </a:schemeClr>
                </a:innerShdw>
              </a:effectLst>
            </c:spPr>
            <c:extLst>
              <c:ext xmlns:c16="http://schemas.microsoft.com/office/drawing/2014/chart" uri="{C3380CC4-5D6E-409C-BE32-E72D297353CC}">
                <c16:uniqueId val="{00000001-22A5-4293-BA8D-7F71518B560B}"/>
              </c:ext>
            </c:extLst>
          </c:dPt>
          <c:dPt>
            <c:idx val="1"/>
            <c:bubble3D val="0"/>
            <c:spPr>
              <a:pattFill prst="ltUpDiag">
                <a:fgClr>
                  <a:schemeClr val="accent1">
                    <a:shade val="53000"/>
                  </a:schemeClr>
                </a:fgClr>
                <a:bgClr>
                  <a:schemeClr val="accent1">
                    <a:shade val="53000"/>
                    <a:lumMod val="20000"/>
                    <a:lumOff val="80000"/>
                  </a:schemeClr>
                </a:bgClr>
              </a:pattFill>
              <a:ln w="19050">
                <a:solidFill>
                  <a:schemeClr val="lt1"/>
                </a:solidFill>
              </a:ln>
              <a:effectLst>
                <a:innerShdw blurRad="114300">
                  <a:schemeClr val="accent1">
                    <a:shade val="53000"/>
                  </a:schemeClr>
                </a:innerShdw>
              </a:effectLst>
            </c:spPr>
            <c:extLst>
              <c:ext xmlns:c16="http://schemas.microsoft.com/office/drawing/2014/chart" uri="{C3380CC4-5D6E-409C-BE32-E72D297353CC}">
                <c16:uniqueId val="{00000003-22A5-4293-BA8D-7F71518B560B}"/>
              </c:ext>
            </c:extLst>
          </c:dPt>
          <c:dPt>
            <c:idx val="2"/>
            <c:bubble3D val="0"/>
            <c:spPr>
              <a:pattFill prst="ltUpDiag">
                <a:fgClr>
                  <a:schemeClr val="accent1">
                    <a:shade val="65000"/>
                  </a:schemeClr>
                </a:fgClr>
                <a:bgClr>
                  <a:schemeClr val="accent1">
                    <a:shade val="65000"/>
                    <a:lumMod val="20000"/>
                    <a:lumOff val="80000"/>
                  </a:schemeClr>
                </a:bgClr>
              </a:pattFill>
              <a:ln w="19050">
                <a:solidFill>
                  <a:schemeClr val="lt1"/>
                </a:solidFill>
              </a:ln>
              <a:effectLst>
                <a:innerShdw blurRad="114300">
                  <a:schemeClr val="accent1">
                    <a:shade val="65000"/>
                  </a:schemeClr>
                </a:innerShdw>
              </a:effectLst>
            </c:spPr>
            <c:extLst>
              <c:ext xmlns:c16="http://schemas.microsoft.com/office/drawing/2014/chart" uri="{C3380CC4-5D6E-409C-BE32-E72D297353CC}">
                <c16:uniqueId val="{00000005-22A5-4293-BA8D-7F71518B560B}"/>
              </c:ext>
            </c:extLst>
          </c:dPt>
          <c:dPt>
            <c:idx val="3"/>
            <c:bubble3D val="0"/>
            <c:spPr>
              <a:pattFill prst="ltUpDiag">
                <a:fgClr>
                  <a:schemeClr val="accent1">
                    <a:shade val="76000"/>
                  </a:schemeClr>
                </a:fgClr>
                <a:bgClr>
                  <a:schemeClr val="accent1">
                    <a:shade val="76000"/>
                    <a:lumMod val="20000"/>
                    <a:lumOff val="80000"/>
                  </a:schemeClr>
                </a:bgClr>
              </a:pattFill>
              <a:ln w="19050">
                <a:solidFill>
                  <a:schemeClr val="lt1"/>
                </a:solidFill>
              </a:ln>
              <a:effectLst>
                <a:innerShdw blurRad="114300">
                  <a:schemeClr val="accent1">
                    <a:shade val="76000"/>
                  </a:schemeClr>
                </a:innerShdw>
              </a:effectLst>
            </c:spPr>
            <c:extLst>
              <c:ext xmlns:c16="http://schemas.microsoft.com/office/drawing/2014/chart" uri="{C3380CC4-5D6E-409C-BE32-E72D297353CC}">
                <c16:uniqueId val="{00000007-22A5-4293-BA8D-7F71518B560B}"/>
              </c:ext>
            </c:extLst>
          </c:dPt>
          <c:dPt>
            <c:idx val="4"/>
            <c:bubble3D val="0"/>
            <c:spPr>
              <a:pattFill prst="ltUpDiag">
                <a:fgClr>
                  <a:schemeClr val="accent1">
                    <a:shade val="88000"/>
                  </a:schemeClr>
                </a:fgClr>
                <a:bgClr>
                  <a:schemeClr val="accent1">
                    <a:shade val="88000"/>
                    <a:lumMod val="20000"/>
                    <a:lumOff val="80000"/>
                  </a:schemeClr>
                </a:bgClr>
              </a:pattFill>
              <a:ln w="19050">
                <a:solidFill>
                  <a:schemeClr val="lt1"/>
                </a:solidFill>
              </a:ln>
              <a:effectLst>
                <a:innerShdw blurRad="114300">
                  <a:schemeClr val="accent1">
                    <a:shade val="88000"/>
                  </a:schemeClr>
                </a:innerShdw>
              </a:effectLst>
            </c:spPr>
            <c:extLst>
              <c:ext xmlns:c16="http://schemas.microsoft.com/office/drawing/2014/chart" uri="{C3380CC4-5D6E-409C-BE32-E72D297353CC}">
                <c16:uniqueId val="{00000009-22A5-4293-BA8D-7F71518B560B}"/>
              </c:ext>
            </c:extLst>
          </c:dPt>
          <c:dPt>
            <c:idx val="5"/>
            <c:bubble3D val="0"/>
            <c:spPr>
              <a:pattFill prst="ltUpDiag">
                <a:fgClr>
                  <a:schemeClr val="accent1"/>
                </a:fgClr>
                <a:bgClr>
                  <a:schemeClr val="accent1">
                    <a:lumMod val="20000"/>
                    <a:lumOff val="80000"/>
                  </a:schemeClr>
                </a:bgClr>
              </a:pattFill>
              <a:ln w="19050">
                <a:solidFill>
                  <a:schemeClr val="lt1"/>
                </a:solidFill>
              </a:ln>
              <a:effectLst>
                <a:innerShdw blurRad="114300">
                  <a:schemeClr val="accent1"/>
                </a:innerShdw>
              </a:effectLst>
            </c:spPr>
            <c:extLst>
              <c:ext xmlns:c16="http://schemas.microsoft.com/office/drawing/2014/chart" uri="{C3380CC4-5D6E-409C-BE32-E72D297353CC}">
                <c16:uniqueId val="{0000000B-22A5-4293-BA8D-7F71518B560B}"/>
              </c:ext>
            </c:extLst>
          </c:dPt>
          <c:dPt>
            <c:idx val="6"/>
            <c:bubble3D val="0"/>
            <c:spPr>
              <a:pattFill prst="ltUpDiag">
                <a:fgClr>
                  <a:schemeClr val="accent1">
                    <a:tint val="89000"/>
                  </a:schemeClr>
                </a:fgClr>
                <a:bgClr>
                  <a:schemeClr val="accent1">
                    <a:tint val="89000"/>
                    <a:lumMod val="20000"/>
                    <a:lumOff val="80000"/>
                  </a:schemeClr>
                </a:bgClr>
              </a:pattFill>
              <a:ln w="19050">
                <a:solidFill>
                  <a:schemeClr val="lt1"/>
                </a:solidFill>
              </a:ln>
              <a:effectLst>
                <a:innerShdw blurRad="114300">
                  <a:schemeClr val="accent1">
                    <a:tint val="89000"/>
                  </a:schemeClr>
                </a:innerShdw>
              </a:effectLst>
            </c:spPr>
            <c:extLst>
              <c:ext xmlns:c16="http://schemas.microsoft.com/office/drawing/2014/chart" uri="{C3380CC4-5D6E-409C-BE32-E72D297353CC}">
                <c16:uniqueId val="{0000000D-22A5-4293-BA8D-7F71518B560B}"/>
              </c:ext>
            </c:extLst>
          </c:dPt>
          <c:dPt>
            <c:idx val="7"/>
            <c:bubble3D val="0"/>
            <c:spPr>
              <a:pattFill prst="ltUpDiag">
                <a:fgClr>
                  <a:schemeClr val="accent1">
                    <a:tint val="77000"/>
                  </a:schemeClr>
                </a:fgClr>
                <a:bgClr>
                  <a:schemeClr val="accent1">
                    <a:tint val="77000"/>
                    <a:lumMod val="20000"/>
                    <a:lumOff val="80000"/>
                  </a:schemeClr>
                </a:bgClr>
              </a:pattFill>
              <a:ln w="19050">
                <a:solidFill>
                  <a:schemeClr val="lt1"/>
                </a:solidFill>
              </a:ln>
              <a:effectLst>
                <a:innerShdw blurRad="114300">
                  <a:schemeClr val="accent1">
                    <a:tint val="77000"/>
                  </a:schemeClr>
                </a:innerShdw>
              </a:effectLst>
            </c:spPr>
            <c:extLst>
              <c:ext xmlns:c16="http://schemas.microsoft.com/office/drawing/2014/chart" uri="{C3380CC4-5D6E-409C-BE32-E72D297353CC}">
                <c16:uniqueId val="{0000000F-22A5-4293-BA8D-7F71518B560B}"/>
              </c:ext>
            </c:extLst>
          </c:dPt>
          <c:dPt>
            <c:idx val="8"/>
            <c:bubble3D val="0"/>
            <c:spPr>
              <a:pattFill prst="ltUpDiag">
                <a:fgClr>
                  <a:schemeClr val="accent1">
                    <a:tint val="65000"/>
                  </a:schemeClr>
                </a:fgClr>
                <a:bgClr>
                  <a:schemeClr val="accent1">
                    <a:tint val="65000"/>
                    <a:lumMod val="20000"/>
                    <a:lumOff val="80000"/>
                  </a:schemeClr>
                </a:bgClr>
              </a:pattFill>
              <a:ln w="19050">
                <a:solidFill>
                  <a:schemeClr val="lt1"/>
                </a:solidFill>
              </a:ln>
              <a:effectLst>
                <a:innerShdw blurRad="114300">
                  <a:schemeClr val="accent1">
                    <a:tint val="65000"/>
                  </a:schemeClr>
                </a:innerShdw>
              </a:effectLst>
            </c:spPr>
            <c:extLst>
              <c:ext xmlns:c16="http://schemas.microsoft.com/office/drawing/2014/chart" uri="{C3380CC4-5D6E-409C-BE32-E72D297353CC}">
                <c16:uniqueId val="{00000011-22A5-4293-BA8D-7F71518B560B}"/>
              </c:ext>
            </c:extLst>
          </c:dPt>
          <c:dPt>
            <c:idx val="9"/>
            <c:bubble3D val="0"/>
            <c:spPr>
              <a:pattFill prst="ltUpDiag">
                <a:fgClr>
                  <a:schemeClr val="accent1">
                    <a:tint val="54000"/>
                  </a:schemeClr>
                </a:fgClr>
                <a:bgClr>
                  <a:schemeClr val="accent1">
                    <a:tint val="54000"/>
                    <a:lumMod val="20000"/>
                    <a:lumOff val="80000"/>
                  </a:schemeClr>
                </a:bgClr>
              </a:pattFill>
              <a:ln w="19050">
                <a:solidFill>
                  <a:schemeClr val="lt1"/>
                </a:solidFill>
              </a:ln>
              <a:effectLst>
                <a:innerShdw blurRad="114300">
                  <a:schemeClr val="accent1">
                    <a:tint val="54000"/>
                  </a:schemeClr>
                </a:innerShdw>
              </a:effectLst>
            </c:spPr>
            <c:extLst>
              <c:ext xmlns:c16="http://schemas.microsoft.com/office/drawing/2014/chart" uri="{C3380CC4-5D6E-409C-BE32-E72D297353CC}">
                <c16:uniqueId val="{00000013-22A5-4293-BA8D-7F71518B560B}"/>
              </c:ext>
            </c:extLst>
          </c:dPt>
          <c:dPt>
            <c:idx val="10"/>
            <c:bubble3D val="0"/>
            <c:spPr>
              <a:pattFill prst="ltUpDiag">
                <a:fgClr>
                  <a:schemeClr val="accent1">
                    <a:tint val="42000"/>
                  </a:schemeClr>
                </a:fgClr>
                <a:bgClr>
                  <a:schemeClr val="accent1">
                    <a:tint val="42000"/>
                    <a:lumMod val="20000"/>
                    <a:lumOff val="80000"/>
                  </a:schemeClr>
                </a:bgClr>
              </a:pattFill>
              <a:ln w="19050">
                <a:solidFill>
                  <a:schemeClr val="lt1"/>
                </a:solidFill>
              </a:ln>
              <a:effectLst>
                <a:innerShdw blurRad="114300">
                  <a:schemeClr val="accent1">
                    <a:tint val="42000"/>
                  </a:schemeClr>
                </a:innerShdw>
              </a:effectLst>
            </c:spPr>
            <c:extLst>
              <c:ext xmlns:c16="http://schemas.microsoft.com/office/drawing/2014/chart" uri="{C3380CC4-5D6E-409C-BE32-E72D297353CC}">
                <c16:uniqueId val="{00000015-22A5-4293-BA8D-7F71518B560B}"/>
              </c:ext>
            </c:extLst>
          </c:dPt>
          <c:dLbls>
            <c:dLbl>
              <c:idx val="0"/>
              <c:layout>
                <c:manualLayout>
                  <c:x val="0.14803992803938407"/>
                  <c:y val="-0.10519913284674297"/>
                </c:manualLayout>
              </c:layout>
              <c:tx>
                <c:rich>
                  <a:bodyPr/>
                  <a:lstStyle/>
                  <a:p>
                    <a:fld id="{1E7F2F24-ED93-40CD-AB71-C58AFDE0A647}" type="CATEGORYNAME">
                      <a:rPr lang="en-US" smtClean="0"/>
                      <a:pPr/>
                      <a:t>[NAZWA KATEGORII]</a:t>
                    </a:fld>
                    <a:endParaRPr lang="en-US" dirty="0"/>
                  </a:p>
                  <a:p>
                    <a:r>
                      <a:rPr lang="en-US" baseline="0" dirty="0"/>
                      <a:t> </a:t>
                    </a:r>
                    <a:fld id="{A70F5D84-4D6F-434A-9A3C-F70ACD53EA90}"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22A5-4293-BA8D-7F71518B560B}"/>
                </c:ext>
              </c:extLst>
            </c:dLbl>
            <c:dLbl>
              <c:idx val="1"/>
              <c:layout>
                <c:manualLayout>
                  <c:x val="0.30687900627482934"/>
                  <c:y val="-6.0113790198138839E-2"/>
                </c:manualLayout>
              </c:layout>
              <c:tx>
                <c:rich>
                  <a:bodyPr/>
                  <a:lstStyle/>
                  <a:p>
                    <a:fld id="{5D1E9800-E295-42E5-8A62-A95B21B5967C}" type="CATEGORYNAME">
                      <a:rPr lang="en-US" smtClean="0"/>
                      <a:pPr/>
                      <a:t>[NAZWA KATEGORII]</a:t>
                    </a:fld>
                    <a:endParaRPr lang="en-US" dirty="0"/>
                  </a:p>
                  <a:p>
                    <a:r>
                      <a:rPr lang="en-US" baseline="0" dirty="0"/>
                      <a:t> </a:t>
                    </a:r>
                    <a:fld id="{AD321142-58B0-4969-9653-E03F933AF872}"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22A5-4293-BA8D-7F71518B560B}"/>
                </c:ext>
              </c:extLst>
            </c:dLbl>
            <c:dLbl>
              <c:idx val="2"/>
              <c:layout>
                <c:manualLayout>
                  <c:x val="0.2306218610286308"/>
                  <c:y val="5.2599566423371345E-2"/>
                </c:manualLayout>
              </c:layout>
              <c:tx>
                <c:rich>
                  <a:bodyPr/>
                  <a:lstStyle/>
                  <a:p>
                    <a:fld id="{B4689E08-3A81-4784-BCF6-376BABA63E9E}" type="CATEGORYNAME">
                      <a:rPr lang="en-US" smtClean="0"/>
                      <a:pPr/>
                      <a:t>[NAZWA KATEGORII]</a:t>
                    </a:fld>
                    <a:r>
                      <a:rPr lang="en-US" baseline="0" dirty="0"/>
                      <a:t> </a:t>
                    </a:r>
                  </a:p>
                  <a:p>
                    <a:fld id="{26F053F8-81D1-44F1-923A-5C7BC3CBB30D}" type="VALUE">
                      <a:rPr lang="en-US" baseline="0" smtClean="0"/>
                      <a:pPr/>
                      <a:t>[WARTOŚĆ]</a:t>
                    </a:fld>
                    <a:endParaRPr lang="pl-PL"/>
                  </a:p>
                </c:rich>
              </c:tx>
              <c:showLegendKey val="0"/>
              <c:showVal val="1"/>
              <c:showCatName val="1"/>
              <c:showSerName val="0"/>
              <c:showPercent val="0"/>
              <c:showBubbleSize val="0"/>
              <c:extLst>
                <c:ext xmlns:c15="http://schemas.microsoft.com/office/drawing/2012/chart" uri="{CE6537A1-D6FC-4f65-9D91-7224C49458BB}">
                  <c15:layout>
                    <c:manualLayout>
                      <c:w val="0.17448153043923803"/>
                      <c:h val="0.10335814802192497"/>
                    </c:manualLayout>
                  </c15:layout>
                  <c15:dlblFieldTable/>
                  <c15:showDataLabelsRange val="0"/>
                </c:ext>
                <c:ext xmlns:c16="http://schemas.microsoft.com/office/drawing/2014/chart" uri="{C3380CC4-5D6E-409C-BE32-E72D297353CC}">
                  <c16:uniqueId val="{00000005-22A5-4293-BA8D-7F71518B560B}"/>
                </c:ext>
              </c:extLst>
            </c:dLbl>
            <c:dLbl>
              <c:idx val="3"/>
              <c:layout>
                <c:manualLayout>
                  <c:x val="-4.7222227164122318E-2"/>
                  <c:y val="9.0170685297208258E-2"/>
                </c:manualLayout>
              </c:layout>
              <c:tx>
                <c:rich>
                  <a:bodyPr/>
                  <a:lstStyle/>
                  <a:p>
                    <a:fld id="{F3C95CEB-FED7-494D-BF2B-D36D9BC28F67}" type="CATEGORYNAME">
                      <a:rPr lang="en-US" smtClean="0"/>
                      <a:pPr/>
                      <a:t>[NAZWA KATEGORII]</a:t>
                    </a:fld>
                    <a:endParaRPr lang="en-US" baseline="0" dirty="0"/>
                  </a:p>
                  <a:p>
                    <a:fld id="{BB7B405C-E2B0-4699-9EEC-139C4D06CC9B}" type="VALUE">
                      <a:rPr lang="en-US" baseline="0" smtClean="0"/>
                      <a:pPr/>
                      <a:t>[WARTOŚĆ]</a:t>
                    </a:fld>
                    <a:endParaRPr lang="pl-PL"/>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22A5-4293-BA8D-7F71518B560B}"/>
                </c:ext>
              </c:extLst>
            </c:dLbl>
            <c:dLbl>
              <c:idx val="4"/>
              <c:layout>
                <c:manualLayout>
                  <c:x val="-0.15985336789500559"/>
                  <c:y val="0.1314989160584287"/>
                </c:manualLayout>
              </c:layout>
              <c:tx>
                <c:rich>
                  <a:bodyPr/>
                  <a:lstStyle/>
                  <a:p>
                    <a:fld id="{DD1ED0C4-7E17-4082-B91A-985D8026FA05}" type="CATEGORYNAME">
                      <a:rPr lang="en-US" smtClean="0"/>
                      <a:pPr/>
                      <a:t>[NAZWA KATEGORII]</a:t>
                    </a:fld>
                    <a:endParaRPr lang="en-US" baseline="0" dirty="0"/>
                  </a:p>
                  <a:p>
                    <a:r>
                      <a:rPr lang="en-US" baseline="0" dirty="0"/>
                      <a:t> </a:t>
                    </a:r>
                    <a:fld id="{4BBAF2AE-8D78-40BF-B1BE-E2E982B5E43D}"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22A5-4293-BA8D-7F71518B560B}"/>
                </c:ext>
              </c:extLst>
            </c:dLbl>
            <c:dLbl>
              <c:idx val="5"/>
              <c:layout>
                <c:manualLayout>
                  <c:x val="-0.26586649397691103"/>
                  <c:y val="0.11271335662151033"/>
                </c:manualLayout>
              </c:layout>
              <c:tx>
                <c:rich>
                  <a:bodyPr/>
                  <a:lstStyle/>
                  <a:p>
                    <a:fld id="{86788246-9211-4532-AF20-A11850CD86C8}" type="CATEGORYNAME">
                      <a:rPr lang="en-US" smtClean="0"/>
                      <a:pPr/>
                      <a:t>[NAZWA KATEGORII]</a:t>
                    </a:fld>
                    <a:endParaRPr lang="en-US" baseline="0" dirty="0"/>
                  </a:p>
                  <a:p>
                    <a:r>
                      <a:rPr lang="en-US" baseline="0" dirty="0"/>
                      <a:t> </a:t>
                    </a:r>
                    <a:fld id="{BC51E3D4-B52E-4787-B9AA-C4C80A93B147}"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22A5-4293-BA8D-7F71518B560B}"/>
                </c:ext>
              </c:extLst>
            </c:dLbl>
            <c:dLbl>
              <c:idx val="6"/>
              <c:layout>
                <c:manualLayout>
                  <c:x val="-0.23419097043696083"/>
                  <c:y val="1.502844754953471E-2"/>
                </c:manualLayout>
              </c:layout>
              <c:tx>
                <c:rich>
                  <a:bodyPr/>
                  <a:lstStyle/>
                  <a:p>
                    <a:fld id="{9D9F06F6-3CC6-4D42-A008-CACC8821CA8B}" type="CATEGORYNAME">
                      <a:rPr lang="en-US" smtClean="0"/>
                      <a:pPr/>
                      <a:t>[NAZWA KATEGORII]</a:t>
                    </a:fld>
                    <a:endParaRPr lang="en-US" baseline="0" dirty="0"/>
                  </a:p>
                  <a:p>
                    <a:fld id="{9B3B60EB-277F-437B-8562-48ACF4CB0906}" type="VALUE">
                      <a:rPr lang="en-US" baseline="0" smtClean="0"/>
                      <a:pPr/>
                      <a:t>[WARTOŚĆ]</a:t>
                    </a:fld>
                    <a:endParaRPr lang="pl-PL"/>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22A5-4293-BA8D-7F71518B560B}"/>
                </c:ext>
              </c:extLst>
            </c:dLbl>
            <c:dLbl>
              <c:idx val="7"/>
              <c:layout>
                <c:manualLayout>
                  <c:x val="-0.22741266031770882"/>
                  <c:y val="-4.7267721734685186E-2"/>
                </c:manualLayout>
              </c:layout>
              <c:tx>
                <c:rich>
                  <a:bodyPr/>
                  <a:lstStyle/>
                  <a:p>
                    <a:fld id="{7A163867-8592-4C28-9DFB-222686E18920}" type="CATEGORYNAME">
                      <a:rPr lang="en-US" smtClean="0"/>
                      <a:pPr/>
                      <a:t>[NAZWA KATEGORII]</a:t>
                    </a:fld>
                    <a:endParaRPr lang="en-US" dirty="0"/>
                  </a:p>
                  <a:p>
                    <a:r>
                      <a:rPr lang="en-US" baseline="0" dirty="0"/>
                      <a:t> </a:t>
                    </a:r>
                    <a:fld id="{9B6D7456-61B6-48BE-BD12-0CA67153F8E7}"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F-22A5-4293-BA8D-7F71518B560B}"/>
                </c:ext>
              </c:extLst>
            </c:dLbl>
            <c:dLbl>
              <c:idx val="8"/>
              <c:layout>
                <c:manualLayout>
                  <c:x val="-0.22404449844952828"/>
                  <c:y val="-0.11547557344769153"/>
                </c:manualLayout>
              </c:layout>
              <c:tx>
                <c:rich>
                  <a:bodyPr/>
                  <a:lstStyle/>
                  <a:p>
                    <a:fld id="{0C8E400D-73C5-4ADF-B18B-6B5D069A5846}" type="CATEGORYNAME">
                      <a:rPr lang="en-US" smtClean="0"/>
                      <a:pPr/>
                      <a:t>[NAZWA KATEGORII]</a:t>
                    </a:fld>
                    <a:endParaRPr lang="en-US" baseline="0" dirty="0"/>
                  </a:p>
                  <a:p>
                    <a:r>
                      <a:rPr lang="en-US" baseline="0" dirty="0"/>
                      <a:t> </a:t>
                    </a:r>
                    <a:fld id="{BB365803-0706-402E-8287-8072F1344657}"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1-22A5-4293-BA8D-7F71518B560B}"/>
                </c:ext>
              </c:extLst>
            </c:dLbl>
            <c:dLbl>
              <c:idx val="9"/>
              <c:layout>
                <c:manualLayout>
                  <c:x val="-0.22972796026237932"/>
                  <c:y val="-0.20053066986642434"/>
                </c:manualLayout>
              </c:layout>
              <c:tx>
                <c:rich>
                  <a:bodyPr/>
                  <a:lstStyle/>
                  <a:p>
                    <a:fld id="{A6999AF1-DD37-4E5C-8CA2-659868DE98C1}" type="CATEGORYNAME">
                      <a:rPr lang="en-US" smtClean="0"/>
                      <a:pPr/>
                      <a:t>[NAZWA KATEGORII]</a:t>
                    </a:fld>
                    <a:endParaRPr lang="en-US" baseline="0" dirty="0"/>
                  </a:p>
                  <a:p>
                    <a:r>
                      <a:rPr lang="en-US" baseline="0" dirty="0"/>
                      <a:t> </a:t>
                    </a:r>
                    <a:fld id="{B4B16B21-C465-4348-9031-3FA0F39F1B72}"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3-22A5-4293-BA8D-7F71518B560B}"/>
                </c:ext>
              </c:extLst>
            </c:dLbl>
            <c:dLbl>
              <c:idx val="10"/>
              <c:layout>
                <c:manualLayout>
                  <c:x val="-0.14864994209081511"/>
                  <c:y val="-0.10895624473412664"/>
                </c:manualLayout>
              </c:layout>
              <c:tx>
                <c:rich>
                  <a:bodyPr/>
                  <a:lstStyle/>
                  <a:p>
                    <a:fld id="{9284E013-5D25-4FFB-9E0E-0E5CFD2B1C6C}" type="CATEGORYNAME">
                      <a:rPr lang="en-US" smtClean="0"/>
                      <a:pPr/>
                      <a:t>[NAZWA KATEGORII]</a:t>
                    </a:fld>
                    <a:endParaRPr lang="en-US" dirty="0"/>
                  </a:p>
                  <a:p>
                    <a:r>
                      <a:rPr lang="en-US" baseline="0" dirty="0"/>
                      <a:t> </a:t>
                    </a:r>
                    <a:fld id="{87652FC3-F489-403B-8304-C52829409C5B}"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5-22A5-4293-BA8D-7F71518B560B}"/>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1"/>
            <c:showSerName val="0"/>
            <c:showPercent val="0"/>
            <c:showBubbleSize val="0"/>
            <c:showLeaderLines val="1"/>
            <c:leaderLines>
              <c:spPr>
                <a:ln w="9525">
                  <a:solidFill>
                    <a:schemeClr val="tx1">
                      <a:lumMod val="35000"/>
                      <a:lumOff val="65000"/>
                    </a:schemeClr>
                  </a:solidFill>
                </a:ln>
                <a:effectLst/>
              </c:spPr>
            </c:leaderLines>
            <c:extLst>
              <c:ext xmlns:c15="http://schemas.microsoft.com/office/drawing/2012/chart" uri="{CE6537A1-D6FC-4f65-9D91-7224C49458BB}"/>
            </c:extLst>
          </c:dLbls>
          <c:cat>
            <c:strRef>
              <c:f>Лист1!$A$2:$A$12</c:f>
              <c:strCache>
                <c:ptCount val="11"/>
                <c:pt idx="0">
                  <c:v>China</c:v>
                </c:pt>
                <c:pt idx="1">
                  <c:v>Saudi Arabia</c:v>
                </c:pt>
                <c:pt idx="2">
                  <c:v>Netherlands</c:v>
                </c:pt>
                <c:pt idx="3">
                  <c:v>Belgium</c:v>
                </c:pt>
                <c:pt idx="4">
                  <c:v>Spain</c:v>
                </c:pt>
                <c:pt idx="5">
                  <c:v>Japan</c:v>
                </c:pt>
                <c:pt idx="6">
                  <c:v>Germany</c:v>
                </c:pt>
                <c:pt idx="7">
                  <c:v>Brazil</c:v>
                </c:pt>
                <c:pt idx="8">
                  <c:v>Morocco</c:v>
                </c:pt>
                <c:pt idx="9">
                  <c:v>Italy</c:v>
                </c:pt>
                <c:pt idx="10">
                  <c:v>other</c:v>
                </c:pt>
              </c:strCache>
            </c:strRef>
          </c:cat>
          <c:val>
            <c:numRef>
              <c:f>Лист1!$B$2:$B$12</c:f>
              <c:numCache>
                <c:formatCode>0.00%</c:formatCode>
                <c:ptCount val="11"/>
                <c:pt idx="0">
                  <c:v>0.39</c:v>
                </c:pt>
                <c:pt idx="1">
                  <c:v>0.09</c:v>
                </c:pt>
                <c:pt idx="2">
                  <c:v>0.06</c:v>
                </c:pt>
                <c:pt idx="3">
                  <c:v>0.05</c:v>
                </c:pt>
                <c:pt idx="4">
                  <c:v>0.04</c:v>
                </c:pt>
                <c:pt idx="5">
                  <c:v>0.04</c:v>
                </c:pt>
                <c:pt idx="6">
                  <c:v>0.03</c:v>
                </c:pt>
                <c:pt idx="7">
                  <c:v>0.03</c:v>
                </c:pt>
                <c:pt idx="8">
                  <c:v>0.02</c:v>
                </c:pt>
                <c:pt idx="9">
                  <c:v>0.02</c:v>
                </c:pt>
                <c:pt idx="10">
                  <c:v>0.23</c:v>
                </c:pt>
              </c:numCache>
            </c:numRef>
          </c:val>
          <c:extLst>
            <c:ext xmlns:c16="http://schemas.microsoft.com/office/drawing/2014/chart" uri="{C3380CC4-5D6E-409C-BE32-E72D297353CC}">
              <c16:uniqueId val="{00000016-22A5-4293-BA8D-7F71518B560B}"/>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doughnutChart>
        <c:varyColors val="1"/>
        <c:ser>
          <c:idx val="0"/>
          <c:order val="0"/>
          <c:tx>
            <c:strRef>
              <c:f>Лист1!$B$1</c:f>
              <c:strCache>
                <c:ptCount val="1"/>
                <c:pt idx="0">
                  <c:v>Продажи</c:v>
                </c:pt>
              </c:strCache>
            </c:strRef>
          </c:tx>
          <c:dPt>
            <c:idx val="0"/>
            <c:bubble3D val="0"/>
            <c:spPr>
              <a:pattFill prst="ltUpDiag">
                <a:fgClr>
                  <a:schemeClr val="accent1">
                    <a:shade val="41000"/>
                  </a:schemeClr>
                </a:fgClr>
                <a:bgClr>
                  <a:schemeClr val="accent1">
                    <a:shade val="41000"/>
                    <a:lumMod val="20000"/>
                    <a:lumOff val="80000"/>
                  </a:schemeClr>
                </a:bgClr>
              </a:pattFill>
              <a:ln w="19050">
                <a:solidFill>
                  <a:schemeClr val="lt1"/>
                </a:solidFill>
              </a:ln>
              <a:effectLst>
                <a:innerShdw blurRad="114300">
                  <a:schemeClr val="accent1">
                    <a:shade val="41000"/>
                  </a:schemeClr>
                </a:innerShdw>
              </a:effectLst>
            </c:spPr>
            <c:extLst>
              <c:ext xmlns:c16="http://schemas.microsoft.com/office/drawing/2014/chart" uri="{C3380CC4-5D6E-409C-BE32-E72D297353CC}">
                <c16:uniqueId val="{00000001-A06C-4DFF-974D-19ABCEDB3A33}"/>
              </c:ext>
            </c:extLst>
          </c:dPt>
          <c:dPt>
            <c:idx val="1"/>
            <c:bubble3D val="0"/>
            <c:spPr>
              <a:pattFill prst="ltUpDiag">
                <a:fgClr>
                  <a:schemeClr val="accent1">
                    <a:shade val="53000"/>
                  </a:schemeClr>
                </a:fgClr>
                <a:bgClr>
                  <a:schemeClr val="accent1">
                    <a:shade val="53000"/>
                    <a:lumMod val="20000"/>
                    <a:lumOff val="80000"/>
                  </a:schemeClr>
                </a:bgClr>
              </a:pattFill>
              <a:ln w="19050">
                <a:solidFill>
                  <a:schemeClr val="lt1"/>
                </a:solidFill>
              </a:ln>
              <a:effectLst>
                <a:innerShdw blurRad="114300">
                  <a:schemeClr val="accent1">
                    <a:shade val="53000"/>
                  </a:schemeClr>
                </a:innerShdw>
              </a:effectLst>
            </c:spPr>
            <c:extLst>
              <c:ext xmlns:c16="http://schemas.microsoft.com/office/drawing/2014/chart" uri="{C3380CC4-5D6E-409C-BE32-E72D297353CC}">
                <c16:uniqueId val="{00000003-A06C-4DFF-974D-19ABCEDB3A33}"/>
              </c:ext>
            </c:extLst>
          </c:dPt>
          <c:dPt>
            <c:idx val="2"/>
            <c:bubble3D val="0"/>
            <c:spPr>
              <a:pattFill prst="ltUpDiag">
                <a:fgClr>
                  <a:schemeClr val="accent1">
                    <a:shade val="65000"/>
                  </a:schemeClr>
                </a:fgClr>
                <a:bgClr>
                  <a:schemeClr val="accent1">
                    <a:shade val="65000"/>
                    <a:lumMod val="20000"/>
                    <a:lumOff val="80000"/>
                  </a:schemeClr>
                </a:bgClr>
              </a:pattFill>
              <a:ln w="19050">
                <a:solidFill>
                  <a:schemeClr val="lt1"/>
                </a:solidFill>
              </a:ln>
              <a:effectLst>
                <a:innerShdw blurRad="114300">
                  <a:schemeClr val="accent1">
                    <a:shade val="65000"/>
                  </a:schemeClr>
                </a:innerShdw>
              </a:effectLst>
            </c:spPr>
            <c:extLst>
              <c:ext xmlns:c16="http://schemas.microsoft.com/office/drawing/2014/chart" uri="{C3380CC4-5D6E-409C-BE32-E72D297353CC}">
                <c16:uniqueId val="{00000005-A06C-4DFF-974D-19ABCEDB3A33}"/>
              </c:ext>
            </c:extLst>
          </c:dPt>
          <c:dPt>
            <c:idx val="3"/>
            <c:bubble3D val="0"/>
            <c:spPr>
              <a:pattFill prst="ltUpDiag">
                <a:fgClr>
                  <a:schemeClr val="accent1">
                    <a:shade val="76000"/>
                  </a:schemeClr>
                </a:fgClr>
                <a:bgClr>
                  <a:schemeClr val="accent1">
                    <a:shade val="76000"/>
                    <a:lumMod val="20000"/>
                    <a:lumOff val="80000"/>
                  </a:schemeClr>
                </a:bgClr>
              </a:pattFill>
              <a:ln w="19050">
                <a:solidFill>
                  <a:schemeClr val="lt1"/>
                </a:solidFill>
              </a:ln>
              <a:effectLst>
                <a:innerShdw blurRad="114300">
                  <a:schemeClr val="accent1">
                    <a:shade val="76000"/>
                  </a:schemeClr>
                </a:innerShdw>
              </a:effectLst>
            </c:spPr>
            <c:extLst>
              <c:ext xmlns:c16="http://schemas.microsoft.com/office/drawing/2014/chart" uri="{C3380CC4-5D6E-409C-BE32-E72D297353CC}">
                <c16:uniqueId val="{00000007-A06C-4DFF-974D-19ABCEDB3A33}"/>
              </c:ext>
            </c:extLst>
          </c:dPt>
          <c:dPt>
            <c:idx val="4"/>
            <c:bubble3D val="0"/>
            <c:spPr>
              <a:pattFill prst="ltUpDiag">
                <a:fgClr>
                  <a:schemeClr val="accent1">
                    <a:shade val="88000"/>
                  </a:schemeClr>
                </a:fgClr>
                <a:bgClr>
                  <a:schemeClr val="accent1">
                    <a:shade val="88000"/>
                    <a:lumMod val="20000"/>
                    <a:lumOff val="80000"/>
                  </a:schemeClr>
                </a:bgClr>
              </a:pattFill>
              <a:ln w="19050">
                <a:solidFill>
                  <a:schemeClr val="lt1"/>
                </a:solidFill>
              </a:ln>
              <a:effectLst>
                <a:innerShdw blurRad="114300">
                  <a:schemeClr val="accent1">
                    <a:shade val="88000"/>
                  </a:schemeClr>
                </a:innerShdw>
              </a:effectLst>
            </c:spPr>
            <c:extLst>
              <c:ext xmlns:c16="http://schemas.microsoft.com/office/drawing/2014/chart" uri="{C3380CC4-5D6E-409C-BE32-E72D297353CC}">
                <c16:uniqueId val="{00000009-A06C-4DFF-974D-19ABCEDB3A33}"/>
              </c:ext>
            </c:extLst>
          </c:dPt>
          <c:dPt>
            <c:idx val="5"/>
            <c:bubble3D val="0"/>
            <c:spPr>
              <a:pattFill prst="ltUpDiag">
                <a:fgClr>
                  <a:schemeClr val="accent1"/>
                </a:fgClr>
                <a:bgClr>
                  <a:schemeClr val="accent1">
                    <a:lumMod val="20000"/>
                    <a:lumOff val="80000"/>
                  </a:schemeClr>
                </a:bgClr>
              </a:pattFill>
              <a:ln w="19050">
                <a:solidFill>
                  <a:schemeClr val="lt1"/>
                </a:solidFill>
              </a:ln>
              <a:effectLst>
                <a:innerShdw blurRad="114300">
                  <a:schemeClr val="accent1"/>
                </a:innerShdw>
              </a:effectLst>
            </c:spPr>
            <c:extLst>
              <c:ext xmlns:c16="http://schemas.microsoft.com/office/drawing/2014/chart" uri="{C3380CC4-5D6E-409C-BE32-E72D297353CC}">
                <c16:uniqueId val="{0000000B-A06C-4DFF-974D-19ABCEDB3A33}"/>
              </c:ext>
            </c:extLst>
          </c:dPt>
          <c:dPt>
            <c:idx val="6"/>
            <c:bubble3D val="0"/>
            <c:spPr>
              <a:pattFill prst="ltUpDiag">
                <a:fgClr>
                  <a:schemeClr val="accent1">
                    <a:tint val="89000"/>
                  </a:schemeClr>
                </a:fgClr>
                <a:bgClr>
                  <a:schemeClr val="accent1">
                    <a:tint val="89000"/>
                    <a:lumMod val="20000"/>
                    <a:lumOff val="80000"/>
                  </a:schemeClr>
                </a:bgClr>
              </a:pattFill>
              <a:ln w="19050">
                <a:solidFill>
                  <a:schemeClr val="lt1"/>
                </a:solidFill>
              </a:ln>
              <a:effectLst>
                <a:innerShdw blurRad="114300">
                  <a:schemeClr val="accent1">
                    <a:tint val="89000"/>
                  </a:schemeClr>
                </a:innerShdw>
              </a:effectLst>
            </c:spPr>
            <c:extLst>
              <c:ext xmlns:c16="http://schemas.microsoft.com/office/drawing/2014/chart" uri="{C3380CC4-5D6E-409C-BE32-E72D297353CC}">
                <c16:uniqueId val="{0000000D-A06C-4DFF-974D-19ABCEDB3A33}"/>
              </c:ext>
            </c:extLst>
          </c:dPt>
          <c:dPt>
            <c:idx val="7"/>
            <c:bubble3D val="0"/>
            <c:spPr>
              <a:pattFill prst="ltUpDiag">
                <a:fgClr>
                  <a:schemeClr val="accent1">
                    <a:tint val="77000"/>
                  </a:schemeClr>
                </a:fgClr>
                <a:bgClr>
                  <a:schemeClr val="accent1">
                    <a:tint val="77000"/>
                    <a:lumMod val="20000"/>
                    <a:lumOff val="80000"/>
                  </a:schemeClr>
                </a:bgClr>
              </a:pattFill>
              <a:ln w="19050">
                <a:solidFill>
                  <a:schemeClr val="lt1"/>
                </a:solidFill>
              </a:ln>
              <a:effectLst>
                <a:innerShdw blurRad="114300">
                  <a:schemeClr val="accent1">
                    <a:tint val="77000"/>
                  </a:schemeClr>
                </a:innerShdw>
              </a:effectLst>
            </c:spPr>
            <c:extLst>
              <c:ext xmlns:c16="http://schemas.microsoft.com/office/drawing/2014/chart" uri="{C3380CC4-5D6E-409C-BE32-E72D297353CC}">
                <c16:uniqueId val="{0000000F-A06C-4DFF-974D-19ABCEDB3A33}"/>
              </c:ext>
            </c:extLst>
          </c:dPt>
          <c:dPt>
            <c:idx val="8"/>
            <c:bubble3D val="0"/>
            <c:spPr>
              <a:pattFill prst="ltUpDiag">
                <a:fgClr>
                  <a:schemeClr val="accent1">
                    <a:tint val="65000"/>
                  </a:schemeClr>
                </a:fgClr>
                <a:bgClr>
                  <a:schemeClr val="accent1">
                    <a:tint val="65000"/>
                    <a:lumMod val="20000"/>
                    <a:lumOff val="80000"/>
                  </a:schemeClr>
                </a:bgClr>
              </a:pattFill>
              <a:ln w="19050">
                <a:solidFill>
                  <a:schemeClr val="lt1"/>
                </a:solidFill>
              </a:ln>
              <a:effectLst>
                <a:innerShdw blurRad="114300">
                  <a:schemeClr val="accent1">
                    <a:tint val="65000"/>
                  </a:schemeClr>
                </a:innerShdw>
              </a:effectLst>
            </c:spPr>
            <c:extLst>
              <c:ext xmlns:c16="http://schemas.microsoft.com/office/drawing/2014/chart" uri="{C3380CC4-5D6E-409C-BE32-E72D297353CC}">
                <c16:uniqueId val="{00000011-A06C-4DFF-974D-19ABCEDB3A33}"/>
              </c:ext>
            </c:extLst>
          </c:dPt>
          <c:dPt>
            <c:idx val="9"/>
            <c:bubble3D val="0"/>
            <c:spPr>
              <a:pattFill prst="ltUpDiag">
                <a:fgClr>
                  <a:schemeClr val="accent1">
                    <a:tint val="54000"/>
                  </a:schemeClr>
                </a:fgClr>
                <a:bgClr>
                  <a:schemeClr val="accent1">
                    <a:tint val="54000"/>
                    <a:lumMod val="20000"/>
                    <a:lumOff val="80000"/>
                  </a:schemeClr>
                </a:bgClr>
              </a:pattFill>
              <a:ln w="19050">
                <a:solidFill>
                  <a:schemeClr val="lt1"/>
                </a:solidFill>
              </a:ln>
              <a:effectLst>
                <a:innerShdw blurRad="114300">
                  <a:schemeClr val="accent1">
                    <a:tint val="54000"/>
                  </a:schemeClr>
                </a:innerShdw>
              </a:effectLst>
            </c:spPr>
            <c:extLst>
              <c:ext xmlns:c16="http://schemas.microsoft.com/office/drawing/2014/chart" uri="{C3380CC4-5D6E-409C-BE32-E72D297353CC}">
                <c16:uniqueId val="{00000013-A06C-4DFF-974D-19ABCEDB3A33}"/>
              </c:ext>
            </c:extLst>
          </c:dPt>
          <c:dPt>
            <c:idx val="10"/>
            <c:bubble3D val="0"/>
            <c:spPr>
              <a:pattFill prst="ltUpDiag">
                <a:fgClr>
                  <a:schemeClr val="accent1">
                    <a:tint val="42000"/>
                  </a:schemeClr>
                </a:fgClr>
                <a:bgClr>
                  <a:schemeClr val="accent1">
                    <a:tint val="42000"/>
                    <a:lumMod val="20000"/>
                    <a:lumOff val="80000"/>
                  </a:schemeClr>
                </a:bgClr>
              </a:pattFill>
              <a:ln w="19050">
                <a:solidFill>
                  <a:schemeClr val="lt1"/>
                </a:solidFill>
              </a:ln>
              <a:effectLst>
                <a:innerShdw blurRad="114300">
                  <a:schemeClr val="accent1">
                    <a:tint val="42000"/>
                  </a:schemeClr>
                </a:innerShdw>
              </a:effectLst>
            </c:spPr>
            <c:extLst>
              <c:ext xmlns:c16="http://schemas.microsoft.com/office/drawing/2014/chart" uri="{C3380CC4-5D6E-409C-BE32-E72D297353CC}">
                <c16:uniqueId val="{00000015-A06C-4DFF-974D-19ABCEDB3A33}"/>
              </c:ext>
            </c:extLst>
          </c:dPt>
          <c:dLbls>
            <c:dLbl>
              <c:idx val="0"/>
              <c:layout>
                <c:manualLayout>
                  <c:x val="0.14803992803938407"/>
                  <c:y val="-0.10519913284674297"/>
                </c:manualLayout>
              </c:layout>
              <c:tx>
                <c:rich>
                  <a:bodyPr/>
                  <a:lstStyle/>
                  <a:p>
                    <a:fld id="{1E7F2F24-ED93-40CD-AB71-C58AFDE0A647}" type="CATEGORYNAME">
                      <a:rPr lang="en-US" smtClean="0"/>
                      <a:pPr/>
                      <a:t>[NAZWA KATEGORII]</a:t>
                    </a:fld>
                    <a:endParaRPr lang="en-US" dirty="0"/>
                  </a:p>
                  <a:p>
                    <a:r>
                      <a:rPr lang="en-US" baseline="0" dirty="0"/>
                      <a:t> </a:t>
                    </a:r>
                    <a:fld id="{A70F5D84-4D6F-434A-9A3C-F70ACD53EA90}"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06C-4DFF-974D-19ABCEDB3A33}"/>
                </c:ext>
              </c:extLst>
            </c:dLbl>
            <c:dLbl>
              <c:idx val="1"/>
              <c:layout>
                <c:manualLayout>
                  <c:x val="0.19842604436679723"/>
                  <c:y val="5.2599566423371484E-2"/>
                </c:manualLayout>
              </c:layout>
              <c:tx>
                <c:rich>
                  <a:bodyPr/>
                  <a:lstStyle/>
                  <a:p>
                    <a:fld id="{5D1E9800-E295-42E5-8A62-A95B21B5967C}" type="CATEGORYNAME">
                      <a:rPr lang="en-US" smtClean="0"/>
                      <a:pPr/>
                      <a:t>[NAZWA KATEGORII]</a:t>
                    </a:fld>
                    <a:endParaRPr lang="en-US" dirty="0"/>
                  </a:p>
                  <a:p>
                    <a:r>
                      <a:rPr lang="en-US" baseline="0" dirty="0"/>
                      <a:t> </a:t>
                    </a:r>
                    <a:fld id="{AD321142-58B0-4969-9653-E03F933AF872}"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A06C-4DFF-974D-19ABCEDB3A33}"/>
                </c:ext>
              </c:extLst>
            </c:dLbl>
            <c:dLbl>
              <c:idx val="2"/>
              <c:layout>
                <c:manualLayout>
                  <c:x val="-0.10829364493396934"/>
                  <c:y val="0.11271335662151033"/>
                </c:manualLayout>
              </c:layout>
              <c:tx>
                <c:rich>
                  <a:bodyPr/>
                  <a:lstStyle/>
                  <a:p>
                    <a:fld id="{B4689E08-3A81-4784-BCF6-376BABA63E9E}" type="CATEGORYNAME">
                      <a:rPr lang="en-US" smtClean="0"/>
                      <a:pPr/>
                      <a:t>[NAZWA KATEGORII]</a:t>
                    </a:fld>
                    <a:r>
                      <a:rPr lang="en-US" baseline="0" dirty="0"/>
                      <a:t> </a:t>
                    </a:r>
                  </a:p>
                  <a:p>
                    <a:fld id="{26F053F8-81D1-44F1-923A-5C7BC3CBB30D}" type="VALUE">
                      <a:rPr lang="en-US" baseline="0" smtClean="0"/>
                      <a:pPr/>
                      <a:t>[WARTOŚĆ]</a:t>
                    </a:fld>
                    <a:endParaRPr lang="pl-PL"/>
                  </a:p>
                </c:rich>
              </c:tx>
              <c:showLegendKey val="0"/>
              <c:showVal val="1"/>
              <c:showCatName val="1"/>
              <c:showSerName val="0"/>
              <c:showPercent val="0"/>
              <c:showBubbleSize val="0"/>
              <c:extLst>
                <c:ext xmlns:c15="http://schemas.microsoft.com/office/drawing/2012/chart" uri="{CE6537A1-D6FC-4f65-9D91-7224C49458BB}">
                  <c15:layout>
                    <c:manualLayout>
                      <c:w val="0.17448153043923803"/>
                      <c:h val="0.10335814802192497"/>
                    </c:manualLayout>
                  </c15:layout>
                  <c15:dlblFieldTable/>
                  <c15:showDataLabelsRange val="0"/>
                </c:ext>
                <c:ext xmlns:c16="http://schemas.microsoft.com/office/drawing/2014/chart" uri="{C3380CC4-5D6E-409C-BE32-E72D297353CC}">
                  <c16:uniqueId val="{00000005-A06C-4DFF-974D-19ABCEDB3A33}"/>
                </c:ext>
              </c:extLst>
            </c:dLbl>
            <c:dLbl>
              <c:idx val="3"/>
              <c:layout>
                <c:manualLayout>
                  <c:x val="-0.20312335990691832"/>
                  <c:y val="0.22166960135563696"/>
                </c:manualLayout>
              </c:layout>
              <c:tx>
                <c:rich>
                  <a:bodyPr/>
                  <a:lstStyle/>
                  <a:p>
                    <a:fld id="{F3C95CEB-FED7-494D-BF2B-D36D9BC28F67}" type="CATEGORYNAME">
                      <a:rPr lang="en-US" smtClean="0"/>
                      <a:pPr/>
                      <a:t>[NAZWA KATEGORII]</a:t>
                    </a:fld>
                    <a:endParaRPr lang="en-US" baseline="0" dirty="0"/>
                  </a:p>
                  <a:p>
                    <a:fld id="{BB7B405C-E2B0-4699-9EEC-139C4D06CC9B}" type="VALUE">
                      <a:rPr lang="en-US" baseline="0" smtClean="0"/>
                      <a:pPr/>
                      <a:t>[WARTOŚĆ]</a:t>
                    </a:fld>
                    <a:endParaRPr lang="pl-PL"/>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A06C-4DFF-974D-19ABCEDB3A33}"/>
                </c:ext>
              </c:extLst>
            </c:dLbl>
            <c:dLbl>
              <c:idx val="4"/>
              <c:layout>
                <c:manualLayout>
                  <c:x val="-0.23893365261961227"/>
                  <c:y val="0.16616729620478435"/>
                </c:manualLayout>
              </c:layout>
              <c:tx>
                <c:rich>
                  <a:bodyPr/>
                  <a:lstStyle/>
                  <a:p>
                    <a:fld id="{DD1ED0C4-7E17-4082-B91A-985D8026FA05}" type="CATEGORYNAME">
                      <a:rPr lang="en-US" smtClean="0"/>
                      <a:pPr/>
                      <a:t>[NAZWA KATEGORII]</a:t>
                    </a:fld>
                    <a:endParaRPr lang="en-US" baseline="0" dirty="0"/>
                  </a:p>
                  <a:p>
                    <a:r>
                      <a:rPr lang="en-US" baseline="0" dirty="0"/>
                      <a:t> </a:t>
                    </a:r>
                    <a:fld id="{4BBAF2AE-8D78-40BF-B1BE-E2E982B5E43D}"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A06C-4DFF-974D-19ABCEDB3A33}"/>
                </c:ext>
              </c:extLst>
            </c:dLbl>
            <c:dLbl>
              <c:idx val="5"/>
              <c:layout>
                <c:manualLayout>
                  <c:x val="-0.18678620925230435"/>
                  <c:y val="0.12774180417104497"/>
                </c:manualLayout>
              </c:layout>
              <c:tx>
                <c:rich>
                  <a:bodyPr/>
                  <a:lstStyle/>
                  <a:p>
                    <a:fld id="{86788246-9211-4532-AF20-A11850CD86C8}" type="CATEGORYNAME">
                      <a:rPr lang="en-US" smtClean="0"/>
                      <a:pPr/>
                      <a:t>[NAZWA KATEGORII]</a:t>
                    </a:fld>
                    <a:endParaRPr lang="en-US" baseline="0" dirty="0"/>
                  </a:p>
                  <a:p>
                    <a:r>
                      <a:rPr lang="en-US" baseline="0" dirty="0"/>
                      <a:t> </a:t>
                    </a:r>
                    <a:fld id="{BC51E3D4-B52E-4787-B9AA-C4C80A93B147}"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A06C-4DFF-974D-19ABCEDB3A33}"/>
                </c:ext>
              </c:extLst>
            </c:dLbl>
            <c:dLbl>
              <c:idx val="6"/>
              <c:layout>
                <c:manualLayout>
                  <c:x val="-0.2251532236112915"/>
                  <c:y val="7.5142237747673479E-2"/>
                </c:manualLayout>
              </c:layout>
              <c:tx>
                <c:rich>
                  <a:bodyPr/>
                  <a:lstStyle/>
                  <a:p>
                    <a:fld id="{9D9F06F6-3CC6-4D42-A008-CACC8821CA8B}" type="CATEGORYNAME">
                      <a:rPr lang="en-US" smtClean="0"/>
                      <a:pPr/>
                      <a:t>[NAZWA KATEGORII]</a:t>
                    </a:fld>
                    <a:endParaRPr lang="en-US" baseline="0" dirty="0"/>
                  </a:p>
                  <a:p>
                    <a:fld id="{9B3B60EB-277F-437B-8562-48ACF4CB0906}" type="VALUE">
                      <a:rPr lang="en-US" baseline="0" smtClean="0"/>
                      <a:pPr/>
                      <a:t>[WARTOŚĆ]</a:t>
                    </a:fld>
                    <a:endParaRPr lang="pl-PL"/>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A06C-4DFF-974D-19ABCEDB3A33}"/>
                </c:ext>
              </c:extLst>
            </c:dLbl>
            <c:dLbl>
              <c:idx val="7"/>
              <c:layout>
                <c:manualLayout>
                  <c:x val="-0.19352110972144881"/>
                  <c:y val="1.2846068463453587E-2"/>
                </c:manualLayout>
              </c:layout>
              <c:tx>
                <c:rich>
                  <a:bodyPr/>
                  <a:lstStyle/>
                  <a:p>
                    <a:fld id="{7A163867-8592-4C28-9DFB-222686E18920}" type="CATEGORYNAME">
                      <a:rPr lang="en-US" smtClean="0"/>
                      <a:pPr/>
                      <a:t>[NAZWA KATEGORII]</a:t>
                    </a:fld>
                    <a:r>
                      <a:rPr lang="en-US" baseline="0" dirty="0"/>
                      <a:t> </a:t>
                    </a:r>
                  </a:p>
                  <a:p>
                    <a:fld id="{9B6D7456-61B6-48BE-BD12-0CA67153F8E7}" type="VALUE">
                      <a:rPr lang="en-US" baseline="0" smtClean="0"/>
                      <a:pPr/>
                      <a:t>[WARTOŚĆ]</a:t>
                    </a:fld>
                    <a:endParaRPr lang="pl-PL"/>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F-A06C-4DFF-974D-19ABCEDB3A33}"/>
                </c:ext>
              </c:extLst>
            </c:dLbl>
            <c:dLbl>
              <c:idx val="8"/>
              <c:layout>
                <c:manualLayout>
                  <c:x val="-0.22404449844952828"/>
                  <c:y val="-7.4147342686471121E-2"/>
                </c:manualLayout>
              </c:layout>
              <c:tx>
                <c:rich>
                  <a:bodyPr/>
                  <a:lstStyle/>
                  <a:p>
                    <a:fld id="{0C8E400D-73C5-4ADF-B18B-6B5D069A5846}" type="CATEGORYNAME">
                      <a:rPr lang="en-US" smtClean="0"/>
                      <a:pPr/>
                      <a:t>[NAZWA KATEGORII]</a:t>
                    </a:fld>
                    <a:endParaRPr lang="en-US" baseline="0" dirty="0"/>
                  </a:p>
                  <a:p>
                    <a:r>
                      <a:rPr lang="en-US" baseline="0" dirty="0"/>
                      <a:t> </a:t>
                    </a:r>
                    <a:fld id="{BB365803-0706-402E-8287-8072F1344657}"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1-A06C-4DFF-974D-19ABCEDB3A33}"/>
                </c:ext>
              </c:extLst>
            </c:dLbl>
            <c:dLbl>
              <c:idx val="9"/>
              <c:layout>
                <c:manualLayout>
                  <c:x val="-0.21843077673029265"/>
                  <c:y val="-0.17423088665473857"/>
                </c:manualLayout>
              </c:layout>
              <c:tx>
                <c:rich>
                  <a:bodyPr/>
                  <a:lstStyle/>
                  <a:p>
                    <a:fld id="{A6999AF1-DD37-4E5C-8CA2-659868DE98C1}" type="CATEGORYNAME">
                      <a:rPr lang="en-US" smtClean="0"/>
                      <a:pPr/>
                      <a:t>[NAZWA KATEGORII]</a:t>
                    </a:fld>
                    <a:endParaRPr lang="en-US" baseline="0" dirty="0"/>
                  </a:p>
                  <a:p>
                    <a:r>
                      <a:rPr lang="en-US" baseline="0" dirty="0"/>
                      <a:t> </a:t>
                    </a:r>
                    <a:fld id="{B4B16B21-C465-4348-9031-3FA0F39F1B72}"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3-A06C-4DFF-974D-19ABCEDB3A33}"/>
                </c:ext>
              </c:extLst>
            </c:dLbl>
            <c:dLbl>
              <c:idx val="10"/>
              <c:layout>
                <c:manualLayout>
                  <c:x val="-0.10798008137530311"/>
                  <c:y val="-9.3927797184591932E-2"/>
                </c:manualLayout>
              </c:layout>
              <c:tx>
                <c:rich>
                  <a:bodyPr/>
                  <a:lstStyle/>
                  <a:p>
                    <a:fld id="{9284E013-5D25-4FFB-9E0E-0E5CFD2B1C6C}" type="CATEGORYNAME">
                      <a:rPr lang="en-US" smtClean="0"/>
                      <a:pPr/>
                      <a:t>[NAZWA KATEGORII]</a:t>
                    </a:fld>
                    <a:endParaRPr lang="en-US" dirty="0"/>
                  </a:p>
                  <a:p>
                    <a:r>
                      <a:rPr lang="en-US" baseline="0" dirty="0"/>
                      <a:t> </a:t>
                    </a:r>
                    <a:fld id="{87652FC3-F489-403B-8304-C52829409C5B}"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5-A06C-4DFF-974D-19ABCEDB3A33}"/>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1"/>
            <c:showSerName val="0"/>
            <c:showPercent val="0"/>
            <c:showBubbleSize val="0"/>
            <c:showLeaderLines val="1"/>
            <c:leaderLines>
              <c:spPr>
                <a:ln w="9525">
                  <a:solidFill>
                    <a:schemeClr val="tx1">
                      <a:lumMod val="35000"/>
                      <a:lumOff val="65000"/>
                    </a:schemeClr>
                  </a:solidFill>
                </a:ln>
                <a:effectLst/>
              </c:spPr>
            </c:leaderLines>
            <c:extLst>
              <c:ext xmlns:c15="http://schemas.microsoft.com/office/drawing/2012/chart" uri="{CE6537A1-D6FC-4f65-9D91-7224C49458BB}"/>
            </c:extLst>
          </c:dLbls>
          <c:cat>
            <c:strRef>
              <c:f>Лист1!$A$2:$A$12</c:f>
              <c:strCache>
                <c:ptCount val="11"/>
                <c:pt idx="0">
                  <c:v>USA</c:v>
                </c:pt>
                <c:pt idx="1">
                  <c:v>Germany</c:v>
                </c:pt>
                <c:pt idx="2">
                  <c:v>China</c:v>
                </c:pt>
                <c:pt idx="3">
                  <c:v>Belgium</c:v>
                </c:pt>
                <c:pt idx="4">
                  <c:v>Spain</c:v>
                </c:pt>
                <c:pt idx="5">
                  <c:v>Netherlands</c:v>
                </c:pt>
                <c:pt idx="6">
                  <c:v>Mexico</c:v>
                </c:pt>
                <c:pt idx="7">
                  <c:v>Japan</c:v>
                </c:pt>
                <c:pt idx="8">
                  <c:v>Denmark</c:v>
                </c:pt>
                <c:pt idx="9">
                  <c:v>Switzerland</c:v>
                </c:pt>
                <c:pt idx="10">
                  <c:v>other</c:v>
                </c:pt>
              </c:strCache>
            </c:strRef>
          </c:cat>
          <c:val>
            <c:numRef>
              <c:f>Лист1!$B$2:$B$12</c:f>
              <c:numCache>
                <c:formatCode>0.00%</c:formatCode>
                <c:ptCount val="11"/>
                <c:pt idx="0">
                  <c:v>0.31</c:v>
                </c:pt>
                <c:pt idx="1">
                  <c:v>0.15</c:v>
                </c:pt>
                <c:pt idx="2">
                  <c:v>0.13</c:v>
                </c:pt>
                <c:pt idx="3">
                  <c:v>0.05</c:v>
                </c:pt>
                <c:pt idx="4">
                  <c:v>0.05</c:v>
                </c:pt>
                <c:pt idx="5">
                  <c:v>0.04</c:v>
                </c:pt>
                <c:pt idx="6">
                  <c:v>0.03</c:v>
                </c:pt>
                <c:pt idx="7">
                  <c:v>0.02</c:v>
                </c:pt>
                <c:pt idx="8">
                  <c:v>0.02</c:v>
                </c:pt>
                <c:pt idx="9">
                  <c:v>0.02</c:v>
                </c:pt>
                <c:pt idx="10">
                  <c:v>0.18</c:v>
                </c:pt>
              </c:numCache>
            </c:numRef>
          </c:val>
          <c:extLst>
            <c:ext xmlns:c16="http://schemas.microsoft.com/office/drawing/2014/chart" uri="{C3380CC4-5D6E-409C-BE32-E72D297353CC}">
              <c16:uniqueId val="{00000016-A06C-4DFF-974D-19ABCEDB3A33}"/>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doughnutChart>
        <c:varyColors val="1"/>
        <c:ser>
          <c:idx val="0"/>
          <c:order val="0"/>
          <c:tx>
            <c:strRef>
              <c:f>Лист1!$B$1</c:f>
              <c:strCache>
                <c:ptCount val="1"/>
                <c:pt idx="0">
                  <c:v>Продажи</c:v>
                </c:pt>
              </c:strCache>
            </c:strRef>
          </c:tx>
          <c:dPt>
            <c:idx val="0"/>
            <c:bubble3D val="0"/>
            <c:spPr>
              <a:pattFill prst="ltUpDiag">
                <a:fgClr>
                  <a:schemeClr val="accent1">
                    <a:shade val="41000"/>
                  </a:schemeClr>
                </a:fgClr>
                <a:bgClr>
                  <a:schemeClr val="accent1">
                    <a:shade val="41000"/>
                    <a:lumMod val="20000"/>
                    <a:lumOff val="80000"/>
                  </a:schemeClr>
                </a:bgClr>
              </a:pattFill>
              <a:ln w="19050">
                <a:solidFill>
                  <a:schemeClr val="lt1"/>
                </a:solidFill>
              </a:ln>
              <a:effectLst>
                <a:innerShdw blurRad="114300">
                  <a:schemeClr val="accent1">
                    <a:shade val="41000"/>
                  </a:schemeClr>
                </a:innerShdw>
              </a:effectLst>
            </c:spPr>
            <c:extLst>
              <c:ext xmlns:c16="http://schemas.microsoft.com/office/drawing/2014/chart" uri="{C3380CC4-5D6E-409C-BE32-E72D297353CC}">
                <c16:uniqueId val="{00000001-12DE-42FF-ACEE-CE572625C63F}"/>
              </c:ext>
            </c:extLst>
          </c:dPt>
          <c:dPt>
            <c:idx val="1"/>
            <c:bubble3D val="0"/>
            <c:spPr>
              <a:pattFill prst="ltUpDiag">
                <a:fgClr>
                  <a:schemeClr val="accent1">
                    <a:shade val="53000"/>
                  </a:schemeClr>
                </a:fgClr>
                <a:bgClr>
                  <a:schemeClr val="accent1">
                    <a:shade val="53000"/>
                    <a:lumMod val="20000"/>
                    <a:lumOff val="80000"/>
                  </a:schemeClr>
                </a:bgClr>
              </a:pattFill>
              <a:ln w="19050">
                <a:solidFill>
                  <a:schemeClr val="lt1"/>
                </a:solidFill>
              </a:ln>
              <a:effectLst>
                <a:innerShdw blurRad="114300">
                  <a:schemeClr val="accent1">
                    <a:shade val="53000"/>
                  </a:schemeClr>
                </a:innerShdw>
              </a:effectLst>
            </c:spPr>
            <c:extLst>
              <c:ext xmlns:c16="http://schemas.microsoft.com/office/drawing/2014/chart" uri="{C3380CC4-5D6E-409C-BE32-E72D297353CC}">
                <c16:uniqueId val="{00000003-12DE-42FF-ACEE-CE572625C63F}"/>
              </c:ext>
            </c:extLst>
          </c:dPt>
          <c:dPt>
            <c:idx val="2"/>
            <c:bubble3D val="0"/>
            <c:spPr>
              <a:pattFill prst="ltUpDiag">
                <a:fgClr>
                  <a:schemeClr val="accent1">
                    <a:shade val="65000"/>
                  </a:schemeClr>
                </a:fgClr>
                <a:bgClr>
                  <a:schemeClr val="accent1">
                    <a:shade val="65000"/>
                    <a:lumMod val="20000"/>
                    <a:lumOff val="80000"/>
                  </a:schemeClr>
                </a:bgClr>
              </a:pattFill>
              <a:ln w="19050">
                <a:solidFill>
                  <a:schemeClr val="lt1"/>
                </a:solidFill>
              </a:ln>
              <a:effectLst>
                <a:innerShdw blurRad="114300">
                  <a:schemeClr val="accent1">
                    <a:shade val="65000"/>
                  </a:schemeClr>
                </a:innerShdw>
              </a:effectLst>
            </c:spPr>
            <c:extLst>
              <c:ext xmlns:c16="http://schemas.microsoft.com/office/drawing/2014/chart" uri="{C3380CC4-5D6E-409C-BE32-E72D297353CC}">
                <c16:uniqueId val="{00000005-12DE-42FF-ACEE-CE572625C63F}"/>
              </c:ext>
            </c:extLst>
          </c:dPt>
          <c:dPt>
            <c:idx val="3"/>
            <c:bubble3D val="0"/>
            <c:spPr>
              <a:pattFill prst="ltUpDiag">
                <a:fgClr>
                  <a:schemeClr val="accent1">
                    <a:shade val="76000"/>
                  </a:schemeClr>
                </a:fgClr>
                <a:bgClr>
                  <a:schemeClr val="accent1">
                    <a:shade val="76000"/>
                    <a:lumMod val="20000"/>
                    <a:lumOff val="80000"/>
                  </a:schemeClr>
                </a:bgClr>
              </a:pattFill>
              <a:ln w="19050">
                <a:solidFill>
                  <a:schemeClr val="lt1"/>
                </a:solidFill>
              </a:ln>
              <a:effectLst>
                <a:innerShdw blurRad="114300">
                  <a:schemeClr val="accent1">
                    <a:shade val="76000"/>
                  </a:schemeClr>
                </a:innerShdw>
              </a:effectLst>
            </c:spPr>
            <c:extLst>
              <c:ext xmlns:c16="http://schemas.microsoft.com/office/drawing/2014/chart" uri="{C3380CC4-5D6E-409C-BE32-E72D297353CC}">
                <c16:uniqueId val="{00000007-12DE-42FF-ACEE-CE572625C63F}"/>
              </c:ext>
            </c:extLst>
          </c:dPt>
          <c:dPt>
            <c:idx val="4"/>
            <c:bubble3D val="0"/>
            <c:spPr>
              <a:pattFill prst="ltUpDiag">
                <a:fgClr>
                  <a:schemeClr val="accent1">
                    <a:shade val="88000"/>
                  </a:schemeClr>
                </a:fgClr>
                <a:bgClr>
                  <a:schemeClr val="accent1">
                    <a:shade val="88000"/>
                    <a:lumMod val="20000"/>
                    <a:lumOff val="80000"/>
                  </a:schemeClr>
                </a:bgClr>
              </a:pattFill>
              <a:ln w="19050">
                <a:solidFill>
                  <a:schemeClr val="lt1"/>
                </a:solidFill>
              </a:ln>
              <a:effectLst>
                <a:innerShdw blurRad="114300">
                  <a:schemeClr val="accent1">
                    <a:shade val="88000"/>
                  </a:schemeClr>
                </a:innerShdw>
              </a:effectLst>
            </c:spPr>
            <c:extLst>
              <c:ext xmlns:c16="http://schemas.microsoft.com/office/drawing/2014/chart" uri="{C3380CC4-5D6E-409C-BE32-E72D297353CC}">
                <c16:uniqueId val="{00000009-12DE-42FF-ACEE-CE572625C63F}"/>
              </c:ext>
            </c:extLst>
          </c:dPt>
          <c:dPt>
            <c:idx val="5"/>
            <c:bubble3D val="0"/>
            <c:spPr>
              <a:pattFill prst="ltUpDiag">
                <a:fgClr>
                  <a:schemeClr val="accent1"/>
                </a:fgClr>
                <a:bgClr>
                  <a:schemeClr val="accent1">
                    <a:lumMod val="20000"/>
                    <a:lumOff val="80000"/>
                  </a:schemeClr>
                </a:bgClr>
              </a:pattFill>
              <a:ln w="19050">
                <a:solidFill>
                  <a:schemeClr val="lt1"/>
                </a:solidFill>
              </a:ln>
              <a:effectLst>
                <a:innerShdw blurRad="114300">
                  <a:schemeClr val="accent1"/>
                </a:innerShdw>
              </a:effectLst>
            </c:spPr>
            <c:extLst>
              <c:ext xmlns:c16="http://schemas.microsoft.com/office/drawing/2014/chart" uri="{C3380CC4-5D6E-409C-BE32-E72D297353CC}">
                <c16:uniqueId val="{0000000B-12DE-42FF-ACEE-CE572625C63F}"/>
              </c:ext>
            </c:extLst>
          </c:dPt>
          <c:dPt>
            <c:idx val="6"/>
            <c:bubble3D val="0"/>
            <c:spPr>
              <a:pattFill prst="ltUpDiag">
                <a:fgClr>
                  <a:schemeClr val="accent1">
                    <a:tint val="89000"/>
                  </a:schemeClr>
                </a:fgClr>
                <a:bgClr>
                  <a:schemeClr val="accent1">
                    <a:tint val="89000"/>
                    <a:lumMod val="20000"/>
                    <a:lumOff val="80000"/>
                  </a:schemeClr>
                </a:bgClr>
              </a:pattFill>
              <a:ln w="19050">
                <a:solidFill>
                  <a:schemeClr val="lt1"/>
                </a:solidFill>
              </a:ln>
              <a:effectLst>
                <a:innerShdw blurRad="114300">
                  <a:schemeClr val="accent1">
                    <a:tint val="89000"/>
                  </a:schemeClr>
                </a:innerShdw>
              </a:effectLst>
            </c:spPr>
            <c:extLst>
              <c:ext xmlns:c16="http://schemas.microsoft.com/office/drawing/2014/chart" uri="{C3380CC4-5D6E-409C-BE32-E72D297353CC}">
                <c16:uniqueId val="{0000000D-12DE-42FF-ACEE-CE572625C63F}"/>
              </c:ext>
            </c:extLst>
          </c:dPt>
          <c:dPt>
            <c:idx val="7"/>
            <c:bubble3D val="0"/>
            <c:spPr>
              <a:pattFill prst="ltUpDiag">
                <a:fgClr>
                  <a:schemeClr val="accent1">
                    <a:tint val="77000"/>
                  </a:schemeClr>
                </a:fgClr>
                <a:bgClr>
                  <a:schemeClr val="accent1">
                    <a:tint val="77000"/>
                    <a:lumMod val="20000"/>
                    <a:lumOff val="80000"/>
                  </a:schemeClr>
                </a:bgClr>
              </a:pattFill>
              <a:ln w="19050">
                <a:solidFill>
                  <a:schemeClr val="lt1"/>
                </a:solidFill>
              </a:ln>
              <a:effectLst>
                <a:innerShdw blurRad="114300">
                  <a:schemeClr val="accent1">
                    <a:tint val="77000"/>
                  </a:schemeClr>
                </a:innerShdw>
              </a:effectLst>
            </c:spPr>
            <c:extLst>
              <c:ext xmlns:c16="http://schemas.microsoft.com/office/drawing/2014/chart" uri="{C3380CC4-5D6E-409C-BE32-E72D297353CC}">
                <c16:uniqueId val="{0000000F-12DE-42FF-ACEE-CE572625C63F}"/>
              </c:ext>
            </c:extLst>
          </c:dPt>
          <c:dPt>
            <c:idx val="8"/>
            <c:bubble3D val="0"/>
            <c:spPr>
              <a:pattFill prst="ltUpDiag">
                <a:fgClr>
                  <a:schemeClr val="accent1">
                    <a:tint val="65000"/>
                  </a:schemeClr>
                </a:fgClr>
                <a:bgClr>
                  <a:schemeClr val="accent1">
                    <a:tint val="65000"/>
                    <a:lumMod val="20000"/>
                    <a:lumOff val="80000"/>
                  </a:schemeClr>
                </a:bgClr>
              </a:pattFill>
              <a:ln w="19050">
                <a:solidFill>
                  <a:schemeClr val="lt1"/>
                </a:solidFill>
              </a:ln>
              <a:effectLst>
                <a:innerShdw blurRad="114300">
                  <a:schemeClr val="accent1">
                    <a:tint val="65000"/>
                  </a:schemeClr>
                </a:innerShdw>
              </a:effectLst>
            </c:spPr>
            <c:extLst>
              <c:ext xmlns:c16="http://schemas.microsoft.com/office/drawing/2014/chart" uri="{C3380CC4-5D6E-409C-BE32-E72D297353CC}">
                <c16:uniqueId val="{00000011-12DE-42FF-ACEE-CE572625C63F}"/>
              </c:ext>
            </c:extLst>
          </c:dPt>
          <c:dPt>
            <c:idx val="9"/>
            <c:bubble3D val="0"/>
            <c:spPr>
              <a:pattFill prst="ltUpDiag">
                <a:fgClr>
                  <a:schemeClr val="accent1">
                    <a:tint val="54000"/>
                  </a:schemeClr>
                </a:fgClr>
                <a:bgClr>
                  <a:schemeClr val="accent1">
                    <a:tint val="54000"/>
                    <a:lumMod val="20000"/>
                    <a:lumOff val="80000"/>
                  </a:schemeClr>
                </a:bgClr>
              </a:pattFill>
              <a:ln w="19050">
                <a:solidFill>
                  <a:schemeClr val="lt1"/>
                </a:solidFill>
              </a:ln>
              <a:effectLst>
                <a:innerShdw blurRad="114300">
                  <a:schemeClr val="accent1">
                    <a:tint val="54000"/>
                  </a:schemeClr>
                </a:innerShdw>
              </a:effectLst>
            </c:spPr>
            <c:extLst>
              <c:ext xmlns:c16="http://schemas.microsoft.com/office/drawing/2014/chart" uri="{C3380CC4-5D6E-409C-BE32-E72D297353CC}">
                <c16:uniqueId val="{00000013-12DE-42FF-ACEE-CE572625C63F}"/>
              </c:ext>
            </c:extLst>
          </c:dPt>
          <c:dPt>
            <c:idx val="10"/>
            <c:bubble3D val="0"/>
            <c:spPr>
              <a:pattFill prst="ltUpDiag">
                <a:fgClr>
                  <a:schemeClr val="accent1">
                    <a:tint val="42000"/>
                  </a:schemeClr>
                </a:fgClr>
                <a:bgClr>
                  <a:schemeClr val="accent1">
                    <a:tint val="42000"/>
                    <a:lumMod val="20000"/>
                    <a:lumOff val="80000"/>
                  </a:schemeClr>
                </a:bgClr>
              </a:pattFill>
              <a:ln w="19050">
                <a:solidFill>
                  <a:schemeClr val="lt1"/>
                </a:solidFill>
              </a:ln>
              <a:effectLst>
                <a:innerShdw blurRad="114300">
                  <a:schemeClr val="accent1">
                    <a:tint val="42000"/>
                  </a:schemeClr>
                </a:innerShdw>
              </a:effectLst>
            </c:spPr>
            <c:extLst>
              <c:ext xmlns:c16="http://schemas.microsoft.com/office/drawing/2014/chart" uri="{C3380CC4-5D6E-409C-BE32-E72D297353CC}">
                <c16:uniqueId val="{00000015-12DE-42FF-ACEE-CE572625C63F}"/>
              </c:ext>
            </c:extLst>
          </c:dPt>
          <c:dLbls>
            <c:dLbl>
              <c:idx val="0"/>
              <c:layout>
                <c:manualLayout>
                  <c:x val="0.14803992803938407"/>
                  <c:y val="-0.10519913284674297"/>
                </c:manualLayout>
              </c:layout>
              <c:tx>
                <c:rich>
                  <a:bodyPr/>
                  <a:lstStyle/>
                  <a:p>
                    <a:fld id="{1E7F2F24-ED93-40CD-AB71-C58AFDE0A647}" type="CATEGORYNAME">
                      <a:rPr lang="en-US" smtClean="0"/>
                      <a:pPr/>
                      <a:t>[NAZWA KATEGORII]</a:t>
                    </a:fld>
                    <a:endParaRPr lang="en-US" dirty="0"/>
                  </a:p>
                  <a:p>
                    <a:r>
                      <a:rPr lang="en-US" baseline="0" dirty="0"/>
                      <a:t> </a:t>
                    </a:r>
                    <a:fld id="{A70F5D84-4D6F-434A-9A3C-F70ACD53EA90}"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12DE-42FF-ACEE-CE572625C63F}"/>
                </c:ext>
              </c:extLst>
            </c:dLbl>
            <c:dLbl>
              <c:idx val="1"/>
              <c:layout>
                <c:manualLayout>
                  <c:x val="0.19842604436679723"/>
                  <c:y val="5.2599566423371484E-2"/>
                </c:manualLayout>
              </c:layout>
              <c:tx>
                <c:rich>
                  <a:bodyPr/>
                  <a:lstStyle/>
                  <a:p>
                    <a:fld id="{5D1E9800-E295-42E5-8A62-A95B21B5967C}" type="CATEGORYNAME">
                      <a:rPr lang="en-US" smtClean="0"/>
                      <a:pPr/>
                      <a:t>[NAZWA KATEGORII]</a:t>
                    </a:fld>
                    <a:endParaRPr lang="en-US" dirty="0"/>
                  </a:p>
                  <a:p>
                    <a:r>
                      <a:rPr lang="en-US" baseline="0" dirty="0"/>
                      <a:t> </a:t>
                    </a:r>
                    <a:fld id="{AD321142-58B0-4969-9653-E03F933AF872}"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12DE-42FF-ACEE-CE572625C63F}"/>
                </c:ext>
              </c:extLst>
            </c:dLbl>
            <c:dLbl>
              <c:idx val="2"/>
              <c:layout>
                <c:manualLayout>
                  <c:x val="-0.10829364493396934"/>
                  <c:y val="0.11271335662151033"/>
                </c:manualLayout>
              </c:layout>
              <c:tx>
                <c:rich>
                  <a:bodyPr/>
                  <a:lstStyle/>
                  <a:p>
                    <a:fld id="{B4689E08-3A81-4784-BCF6-376BABA63E9E}" type="CATEGORYNAME">
                      <a:rPr lang="en-US" smtClean="0"/>
                      <a:pPr/>
                      <a:t>[NAZWA KATEGORII]</a:t>
                    </a:fld>
                    <a:r>
                      <a:rPr lang="en-US" baseline="0" dirty="0"/>
                      <a:t> </a:t>
                    </a:r>
                  </a:p>
                  <a:p>
                    <a:fld id="{26F053F8-81D1-44F1-923A-5C7BC3CBB30D}" type="VALUE">
                      <a:rPr lang="en-US" baseline="0" smtClean="0"/>
                      <a:pPr/>
                      <a:t>[WARTOŚĆ]</a:t>
                    </a:fld>
                    <a:endParaRPr lang="pl-PL"/>
                  </a:p>
                </c:rich>
              </c:tx>
              <c:showLegendKey val="0"/>
              <c:showVal val="1"/>
              <c:showCatName val="1"/>
              <c:showSerName val="0"/>
              <c:showPercent val="0"/>
              <c:showBubbleSize val="0"/>
              <c:extLst>
                <c:ext xmlns:c15="http://schemas.microsoft.com/office/drawing/2012/chart" uri="{CE6537A1-D6FC-4f65-9D91-7224C49458BB}">
                  <c15:layout>
                    <c:manualLayout>
                      <c:w val="0.17448153043923803"/>
                      <c:h val="0.10335814802192497"/>
                    </c:manualLayout>
                  </c15:layout>
                  <c15:dlblFieldTable/>
                  <c15:showDataLabelsRange val="0"/>
                </c:ext>
                <c:ext xmlns:c16="http://schemas.microsoft.com/office/drawing/2014/chart" uri="{C3380CC4-5D6E-409C-BE32-E72D297353CC}">
                  <c16:uniqueId val="{00000005-12DE-42FF-ACEE-CE572625C63F}"/>
                </c:ext>
              </c:extLst>
            </c:dLbl>
            <c:dLbl>
              <c:idx val="3"/>
              <c:layout>
                <c:manualLayout>
                  <c:x val="-0.20312335990691832"/>
                  <c:y val="0.22166960135563696"/>
                </c:manualLayout>
              </c:layout>
              <c:tx>
                <c:rich>
                  <a:bodyPr/>
                  <a:lstStyle/>
                  <a:p>
                    <a:fld id="{F3C95CEB-FED7-494D-BF2B-D36D9BC28F67}" type="CATEGORYNAME">
                      <a:rPr lang="en-US" smtClean="0"/>
                      <a:pPr/>
                      <a:t>[NAZWA KATEGORII]</a:t>
                    </a:fld>
                    <a:endParaRPr lang="en-US" baseline="0" dirty="0"/>
                  </a:p>
                  <a:p>
                    <a:fld id="{BB7B405C-E2B0-4699-9EEC-139C4D06CC9B}" type="VALUE">
                      <a:rPr lang="en-US" baseline="0" smtClean="0"/>
                      <a:pPr/>
                      <a:t>[WARTOŚĆ]</a:t>
                    </a:fld>
                    <a:endParaRPr lang="pl-PL"/>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12DE-42FF-ACEE-CE572625C63F}"/>
                </c:ext>
              </c:extLst>
            </c:dLbl>
            <c:dLbl>
              <c:idx val="4"/>
              <c:layout>
                <c:manualLayout>
                  <c:x val="-0.20956097543618693"/>
                  <c:y val="0.19246707941647023"/>
                </c:manualLayout>
              </c:layout>
              <c:tx>
                <c:rich>
                  <a:bodyPr/>
                  <a:lstStyle/>
                  <a:p>
                    <a:fld id="{DD1ED0C4-7E17-4082-B91A-985D8026FA05}" type="CATEGORYNAME">
                      <a:rPr lang="en-US" smtClean="0"/>
                      <a:pPr/>
                      <a:t>[NAZWA KATEGORII]</a:t>
                    </a:fld>
                    <a:endParaRPr lang="en-US" baseline="0" dirty="0"/>
                  </a:p>
                  <a:p>
                    <a:r>
                      <a:rPr lang="en-US" baseline="0" dirty="0"/>
                      <a:t> </a:t>
                    </a:r>
                    <a:fld id="{4BBAF2AE-8D78-40BF-B1BE-E2E982B5E43D}"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12DE-42FF-ACEE-CE572625C63F}"/>
                </c:ext>
              </c:extLst>
            </c:dLbl>
            <c:dLbl>
              <c:idx val="5"/>
              <c:layout>
                <c:manualLayout>
                  <c:x val="-0.18678620925230435"/>
                  <c:y val="0.12774180417104497"/>
                </c:manualLayout>
              </c:layout>
              <c:tx>
                <c:rich>
                  <a:bodyPr/>
                  <a:lstStyle/>
                  <a:p>
                    <a:fld id="{86788246-9211-4532-AF20-A11850CD86C8}" type="CATEGORYNAME">
                      <a:rPr lang="en-US" smtClean="0"/>
                      <a:pPr/>
                      <a:t>[NAZWA KATEGORII]</a:t>
                    </a:fld>
                    <a:endParaRPr lang="en-US" baseline="0" dirty="0"/>
                  </a:p>
                  <a:p>
                    <a:r>
                      <a:rPr lang="en-US" baseline="0" dirty="0"/>
                      <a:t> </a:t>
                    </a:r>
                    <a:fld id="{BC51E3D4-B52E-4787-B9AA-C4C80A93B147}"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12DE-42FF-ACEE-CE572625C63F}"/>
                </c:ext>
              </c:extLst>
            </c:dLbl>
            <c:dLbl>
              <c:idx val="6"/>
              <c:layout>
                <c:manualLayout>
                  <c:x val="-0.2251532236112915"/>
                  <c:y val="7.5142237747673479E-2"/>
                </c:manualLayout>
              </c:layout>
              <c:tx>
                <c:rich>
                  <a:bodyPr/>
                  <a:lstStyle/>
                  <a:p>
                    <a:fld id="{9D9F06F6-3CC6-4D42-A008-CACC8821CA8B}" type="CATEGORYNAME">
                      <a:rPr lang="en-US" smtClean="0"/>
                      <a:pPr/>
                      <a:t>[NAZWA KATEGORII]</a:t>
                    </a:fld>
                    <a:endParaRPr lang="en-US" baseline="0" dirty="0"/>
                  </a:p>
                  <a:p>
                    <a:fld id="{9B3B60EB-277F-437B-8562-48ACF4CB0906}" type="VALUE">
                      <a:rPr lang="en-US" baseline="0" smtClean="0"/>
                      <a:pPr/>
                      <a:t>[WARTOŚĆ]</a:t>
                    </a:fld>
                    <a:endParaRPr lang="pl-PL"/>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12DE-42FF-ACEE-CE572625C63F}"/>
                </c:ext>
              </c:extLst>
            </c:dLbl>
            <c:dLbl>
              <c:idx val="7"/>
              <c:layout>
                <c:manualLayout>
                  <c:x val="-0.19352110972144881"/>
                  <c:y val="1.2846068463453587E-2"/>
                </c:manualLayout>
              </c:layout>
              <c:tx>
                <c:rich>
                  <a:bodyPr/>
                  <a:lstStyle/>
                  <a:p>
                    <a:fld id="{7A163867-8592-4C28-9DFB-222686E18920}" type="CATEGORYNAME">
                      <a:rPr lang="en-US" smtClean="0"/>
                      <a:pPr/>
                      <a:t>[NAZWA KATEGORII]</a:t>
                    </a:fld>
                    <a:r>
                      <a:rPr lang="en-US" baseline="0" dirty="0"/>
                      <a:t> </a:t>
                    </a:r>
                  </a:p>
                  <a:p>
                    <a:fld id="{9B6D7456-61B6-48BE-BD12-0CA67153F8E7}" type="VALUE">
                      <a:rPr lang="en-US" baseline="0" smtClean="0"/>
                      <a:pPr/>
                      <a:t>[WARTOŚĆ]</a:t>
                    </a:fld>
                    <a:endParaRPr lang="pl-PL"/>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F-12DE-42FF-ACEE-CE572625C63F}"/>
                </c:ext>
              </c:extLst>
            </c:dLbl>
            <c:dLbl>
              <c:idx val="8"/>
              <c:layout>
                <c:manualLayout>
                  <c:x val="-0.22404449844952828"/>
                  <c:y val="-7.4147342686471121E-2"/>
                </c:manualLayout>
              </c:layout>
              <c:tx>
                <c:rich>
                  <a:bodyPr/>
                  <a:lstStyle/>
                  <a:p>
                    <a:fld id="{0C8E400D-73C5-4ADF-B18B-6B5D069A5846}" type="CATEGORYNAME">
                      <a:rPr lang="en-US" smtClean="0"/>
                      <a:pPr/>
                      <a:t>[NAZWA KATEGORII]</a:t>
                    </a:fld>
                    <a:endParaRPr lang="en-US" baseline="0" dirty="0"/>
                  </a:p>
                  <a:p>
                    <a:r>
                      <a:rPr lang="en-US" baseline="0" dirty="0"/>
                      <a:t> </a:t>
                    </a:r>
                    <a:fld id="{BB365803-0706-402E-8287-8072F1344657}"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1-12DE-42FF-ACEE-CE572625C63F}"/>
                </c:ext>
              </c:extLst>
            </c:dLbl>
            <c:dLbl>
              <c:idx val="9"/>
              <c:layout>
                <c:manualLayout>
                  <c:x val="-0.21843077673029265"/>
                  <c:y val="-0.17423088665473857"/>
                </c:manualLayout>
              </c:layout>
              <c:tx>
                <c:rich>
                  <a:bodyPr/>
                  <a:lstStyle/>
                  <a:p>
                    <a:fld id="{A6999AF1-DD37-4E5C-8CA2-659868DE98C1}" type="CATEGORYNAME">
                      <a:rPr lang="en-US" smtClean="0"/>
                      <a:pPr/>
                      <a:t>[NAZWA KATEGORII]</a:t>
                    </a:fld>
                    <a:endParaRPr lang="en-US" baseline="0" dirty="0"/>
                  </a:p>
                  <a:p>
                    <a:r>
                      <a:rPr lang="en-US" baseline="0" dirty="0"/>
                      <a:t> </a:t>
                    </a:r>
                    <a:fld id="{B4B16B21-C465-4348-9031-3FA0F39F1B72}"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3-12DE-42FF-ACEE-CE572625C63F}"/>
                </c:ext>
              </c:extLst>
            </c:dLbl>
            <c:dLbl>
              <c:idx val="10"/>
              <c:layout>
                <c:manualLayout>
                  <c:x val="-0.10798008137530311"/>
                  <c:y val="-9.3927797184591932E-2"/>
                </c:manualLayout>
              </c:layout>
              <c:tx>
                <c:rich>
                  <a:bodyPr/>
                  <a:lstStyle/>
                  <a:p>
                    <a:fld id="{9284E013-5D25-4FFB-9E0E-0E5CFD2B1C6C}" type="CATEGORYNAME">
                      <a:rPr lang="en-US" smtClean="0"/>
                      <a:pPr/>
                      <a:t>[NAZWA KATEGORII]</a:t>
                    </a:fld>
                    <a:endParaRPr lang="en-US" dirty="0"/>
                  </a:p>
                  <a:p>
                    <a:r>
                      <a:rPr lang="en-US" baseline="0" dirty="0"/>
                      <a:t> </a:t>
                    </a:r>
                    <a:fld id="{87652FC3-F489-403B-8304-C52829409C5B}" type="VALUE">
                      <a:rPr lang="en-US" baseline="0"/>
                      <a:pPr/>
                      <a:t>[WARTOŚĆ]</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5-12DE-42FF-ACEE-CE572625C63F}"/>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1"/>
            <c:showSerName val="0"/>
            <c:showPercent val="0"/>
            <c:showBubbleSize val="0"/>
            <c:showLeaderLines val="1"/>
            <c:leaderLines>
              <c:spPr>
                <a:ln w="9525">
                  <a:solidFill>
                    <a:schemeClr val="tx1">
                      <a:lumMod val="35000"/>
                      <a:lumOff val="65000"/>
                    </a:schemeClr>
                  </a:solidFill>
                </a:ln>
                <a:effectLst/>
              </c:spPr>
            </c:leaderLines>
            <c:extLst>
              <c:ext xmlns:c15="http://schemas.microsoft.com/office/drawing/2012/chart" uri="{CE6537A1-D6FC-4f65-9D91-7224C49458BB}"/>
            </c:extLst>
          </c:dLbls>
          <c:cat>
            <c:strRef>
              <c:f>Лист1!$A$2:$A$12</c:f>
              <c:strCache>
                <c:ptCount val="11"/>
                <c:pt idx="0">
                  <c:v>Canada</c:v>
                </c:pt>
                <c:pt idx="1">
                  <c:v>Finland</c:v>
                </c:pt>
                <c:pt idx="2">
                  <c:v>Australia</c:v>
                </c:pt>
                <c:pt idx="3">
                  <c:v>Russia</c:v>
                </c:pt>
                <c:pt idx="4">
                  <c:v>Poland</c:v>
                </c:pt>
                <c:pt idx="5">
                  <c:v>Estonia</c:v>
                </c:pt>
                <c:pt idx="6">
                  <c:v>Sweden</c:v>
                </c:pt>
                <c:pt idx="7">
                  <c:v>France</c:v>
                </c:pt>
                <c:pt idx="8">
                  <c:v>United Kingdom</c:v>
                </c:pt>
                <c:pt idx="9">
                  <c:v>Latvia</c:v>
                </c:pt>
                <c:pt idx="10">
                  <c:v>other</c:v>
                </c:pt>
              </c:strCache>
            </c:strRef>
          </c:cat>
          <c:val>
            <c:numRef>
              <c:f>Лист1!$B$2:$B$12</c:f>
              <c:numCache>
                <c:formatCode>0.00%</c:formatCode>
                <c:ptCount val="11"/>
                <c:pt idx="0">
                  <c:v>0.41</c:v>
                </c:pt>
                <c:pt idx="1">
                  <c:v>0.13</c:v>
                </c:pt>
                <c:pt idx="2">
                  <c:v>0.11</c:v>
                </c:pt>
                <c:pt idx="3">
                  <c:v>0.05</c:v>
                </c:pt>
                <c:pt idx="4">
                  <c:v>0.04</c:v>
                </c:pt>
                <c:pt idx="5">
                  <c:v>0.03</c:v>
                </c:pt>
                <c:pt idx="6">
                  <c:v>0.03</c:v>
                </c:pt>
                <c:pt idx="7">
                  <c:v>0.02</c:v>
                </c:pt>
                <c:pt idx="8">
                  <c:v>0.02</c:v>
                </c:pt>
                <c:pt idx="9">
                  <c:v>0.02</c:v>
                </c:pt>
                <c:pt idx="10">
                  <c:v>0.14000000000000001</c:v>
                </c:pt>
              </c:numCache>
            </c:numRef>
          </c:val>
          <c:extLst>
            <c:ext xmlns:c16="http://schemas.microsoft.com/office/drawing/2014/chart" uri="{C3380CC4-5D6E-409C-BE32-E72D297353CC}">
              <c16:uniqueId val="{00000016-12DE-42FF-ACEE-CE572625C63F}"/>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barChart>
        <c:barDir val="col"/>
        <c:grouping val="clustered"/>
        <c:varyColors val="0"/>
        <c:ser>
          <c:idx val="0"/>
          <c:order val="0"/>
          <c:tx>
            <c:strRef>
              <c:f>Лист1!$B$1</c:f>
              <c:strCache>
                <c:ptCount val="1"/>
                <c:pt idx="0">
                  <c:v>Gross crop output</c:v>
                </c:pt>
              </c:strCache>
            </c:strRef>
          </c:tx>
          <c:spPr>
            <a:solidFill>
              <a:schemeClr val="accent6">
                <a:tint val="77000"/>
              </a:schemeClr>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6</c:f>
              <c:numCache>
                <c:formatCode>General</c:formatCode>
                <c:ptCount val="5"/>
                <c:pt idx="0">
                  <c:v>2020</c:v>
                </c:pt>
                <c:pt idx="1">
                  <c:v>2021</c:v>
                </c:pt>
                <c:pt idx="2">
                  <c:v>2022</c:v>
                </c:pt>
                <c:pt idx="3">
                  <c:v>2023</c:v>
                </c:pt>
                <c:pt idx="4">
                  <c:v>2024</c:v>
                </c:pt>
              </c:numCache>
            </c:numRef>
          </c:cat>
          <c:val>
            <c:numRef>
              <c:f>Лист1!$B$2:$B$6</c:f>
              <c:numCache>
                <c:formatCode>General</c:formatCode>
                <c:ptCount val="5"/>
                <c:pt idx="0">
                  <c:v>3.6</c:v>
                </c:pt>
                <c:pt idx="1">
                  <c:v>4.3</c:v>
                </c:pt>
                <c:pt idx="2">
                  <c:v>5.8</c:v>
                </c:pt>
                <c:pt idx="3">
                  <c:v>4.5</c:v>
                </c:pt>
                <c:pt idx="4">
                  <c:v>5</c:v>
                </c:pt>
              </c:numCache>
            </c:numRef>
          </c:val>
          <c:extLst>
            <c:ext xmlns:c16="http://schemas.microsoft.com/office/drawing/2014/chart" uri="{C3380CC4-5D6E-409C-BE32-E72D297353CC}">
              <c16:uniqueId val="{00000000-CA3B-4103-9A1A-4D83C3E03132}"/>
            </c:ext>
          </c:extLst>
        </c:ser>
        <c:ser>
          <c:idx val="1"/>
          <c:order val="1"/>
          <c:tx>
            <c:strRef>
              <c:f>Лист1!$C$1</c:f>
              <c:strCache>
                <c:ptCount val="1"/>
                <c:pt idx="0">
                  <c:v>Gross output of agricultural products (services)</c:v>
                </c:pt>
              </c:strCache>
            </c:strRef>
          </c:tx>
          <c:spPr>
            <a:solidFill>
              <a:schemeClr val="accent6">
                <a:shade val="76000"/>
              </a:schemeClr>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6</c:f>
              <c:numCache>
                <c:formatCode>General</c:formatCode>
                <c:ptCount val="5"/>
                <c:pt idx="0">
                  <c:v>2020</c:v>
                </c:pt>
                <c:pt idx="1">
                  <c:v>2021</c:v>
                </c:pt>
                <c:pt idx="2">
                  <c:v>2022</c:v>
                </c:pt>
                <c:pt idx="3">
                  <c:v>2023</c:v>
                </c:pt>
                <c:pt idx="4">
                  <c:v>2024</c:v>
                </c:pt>
              </c:numCache>
            </c:numRef>
          </c:cat>
          <c:val>
            <c:numRef>
              <c:f>Лист1!$C$2:$C$6</c:f>
              <c:numCache>
                <c:formatCode>General</c:formatCode>
                <c:ptCount val="5"/>
                <c:pt idx="0">
                  <c:v>6.2</c:v>
                </c:pt>
                <c:pt idx="1">
                  <c:v>7.5</c:v>
                </c:pt>
                <c:pt idx="2">
                  <c:v>9.4</c:v>
                </c:pt>
                <c:pt idx="3">
                  <c:v>7.5</c:v>
                </c:pt>
                <c:pt idx="4">
                  <c:v>8.3000000000000007</c:v>
                </c:pt>
              </c:numCache>
            </c:numRef>
          </c:val>
          <c:extLst>
            <c:ext xmlns:c16="http://schemas.microsoft.com/office/drawing/2014/chart" uri="{C3380CC4-5D6E-409C-BE32-E72D297353CC}">
              <c16:uniqueId val="{00000001-CA3B-4103-9A1A-4D83C3E03132}"/>
            </c:ext>
          </c:extLst>
        </c:ser>
        <c:dLbls>
          <c:showLegendKey val="0"/>
          <c:showVal val="0"/>
          <c:showCatName val="0"/>
          <c:showSerName val="0"/>
          <c:showPercent val="0"/>
          <c:showBubbleSize val="0"/>
        </c:dLbls>
        <c:gapWidth val="219"/>
        <c:overlap val="-27"/>
        <c:axId val="1869528703"/>
        <c:axId val="1869532863"/>
      </c:barChart>
      <c:catAx>
        <c:axId val="18695287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1869532863"/>
        <c:crosses val="autoZero"/>
        <c:auto val="1"/>
        <c:lblAlgn val="ctr"/>
        <c:lblOffset val="100"/>
        <c:noMultiLvlLbl val="0"/>
      </c:catAx>
      <c:valAx>
        <c:axId val="1869532863"/>
        <c:scaling>
          <c:orientation val="minMax"/>
        </c:scaling>
        <c:delete val="1"/>
        <c:axPos val="l"/>
        <c:numFmt formatCode="General" sourceLinked="1"/>
        <c:majorTickMark val="none"/>
        <c:minorTickMark val="none"/>
        <c:tickLblPos val="nextTo"/>
        <c:crossAx val="186952870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legend>
    <c:plotVisOnly val="1"/>
    <c:dispBlanksAs val="gap"/>
    <c:showDLblsOverMax val="0"/>
  </c:chart>
  <c:spPr>
    <a:noFill/>
    <a:ln>
      <a:noFill/>
    </a:ln>
    <a:effectLst/>
  </c:spPr>
  <c:txPr>
    <a:bodyPr/>
    <a:lstStyle/>
    <a:p>
      <a:pPr>
        <a:defRPr sz="900">
          <a:solidFill>
            <a:schemeClr val="tx1">
              <a:lumMod val="65000"/>
              <a:lumOff val="35000"/>
            </a:schemeClr>
          </a:solidFill>
          <a:latin typeface="Century Gothic" panose="020B0502020202020204" pitchFamily="34" charset="0"/>
        </a:defRPr>
      </a:pPr>
      <a:endParaRPr lang="ru-RU"/>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barChart>
        <c:barDir val="col"/>
        <c:grouping val="clustered"/>
        <c:varyColors val="0"/>
        <c:ser>
          <c:idx val="0"/>
          <c:order val="0"/>
          <c:tx>
            <c:strRef>
              <c:f>Лист1!$B$1</c:f>
              <c:strCache>
                <c:ptCount val="1"/>
                <c:pt idx="0">
                  <c:v>GDP</c:v>
                </c:pt>
              </c:strCache>
            </c:strRef>
          </c:tx>
          <c:spPr>
            <a:solidFill>
              <a:schemeClr val="accent4">
                <a:shade val="76000"/>
              </a:schemeClr>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6</c:f>
              <c:numCache>
                <c:formatCode>General</c:formatCode>
                <c:ptCount val="5"/>
                <c:pt idx="0">
                  <c:v>2020</c:v>
                </c:pt>
                <c:pt idx="1">
                  <c:v>2021</c:v>
                </c:pt>
                <c:pt idx="2">
                  <c:v>2022</c:v>
                </c:pt>
                <c:pt idx="3">
                  <c:v>2023</c:v>
                </c:pt>
                <c:pt idx="4">
                  <c:v>2024</c:v>
                </c:pt>
              </c:numCache>
            </c:numRef>
          </c:cat>
          <c:val>
            <c:numRef>
              <c:f>Лист1!$B$2:$B$6</c:f>
              <c:numCache>
                <c:formatCode>General</c:formatCode>
                <c:ptCount val="5"/>
                <c:pt idx="0">
                  <c:v>70.7</c:v>
                </c:pt>
                <c:pt idx="1">
                  <c:v>81.2</c:v>
                </c:pt>
                <c:pt idx="2">
                  <c:v>103.7</c:v>
                </c:pt>
                <c:pt idx="3">
                  <c:v>119.4</c:v>
                </c:pt>
                <c:pt idx="4">
                  <c:v>134.19999999999999</c:v>
                </c:pt>
              </c:numCache>
            </c:numRef>
          </c:val>
          <c:extLst>
            <c:ext xmlns:c16="http://schemas.microsoft.com/office/drawing/2014/chart" uri="{C3380CC4-5D6E-409C-BE32-E72D297353CC}">
              <c16:uniqueId val="{00000000-512C-48A4-911E-6FB8D543F22F}"/>
            </c:ext>
          </c:extLst>
        </c:ser>
        <c:ser>
          <c:idx val="1"/>
          <c:order val="1"/>
          <c:tx>
            <c:strRef>
              <c:f>Лист1!$C$1</c:f>
              <c:strCache>
                <c:ptCount val="1"/>
                <c:pt idx="0">
                  <c:v>Agriculture, forestry and fisheries</c:v>
                </c:pt>
              </c:strCache>
            </c:strRef>
          </c:tx>
          <c:spPr>
            <a:solidFill>
              <a:schemeClr val="accent4">
                <a:tint val="77000"/>
              </a:schemeClr>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6</c:f>
              <c:numCache>
                <c:formatCode>General</c:formatCode>
                <c:ptCount val="5"/>
                <c:pt idx="0">
                  <c:v>2020</c:v>
                </c:pt>
                <c:pt idx="1">
                  <c:v>2021</c:v>
                </c:pt>
                <c:pt idx="2">
                  <c:v>2022</c:v>
                </c:pt>
                <c:pt idx="3">
                  <c:v>2023</c:v>
                </c:pt>
                <c:pt idx="4">
                  <c:v>2024</c:v>
                </c:pt>
              </c:numCache>
            </c:numRef>
          </c:cat>
          <c:val>
            <c:numRef>
              <c:f>Лист1!$C$2:$C$6</c:f>
              <c:numCache>
                <c:formatCode>General</c:formatCode>
                <c:ptCount val="5"/>
                <c:pt idx="0">
                  <c:v>3.7</c:v>
                </c:pt>
                <c:pt idx="1">
                  <c:v>4.0999999999999996</c:v>
                </c:pt>
                <c:pt idx="2">
                  <c:v>5.4</c:v>
                </c:pt>
                <c:pt idx="3">
                  <c:v>4.5</c:v>
                </c:pt>
                <c:pt idx="4">
                  <c:v>5.3</c:v>
                </c:pt>
              </c:numCache>
            </c:numRef>
          </c:val>
          <c:extLst>
            <c:ext xmlns:c16="http://schemas.microsoft.com/office/drawing/2014/chart" uri="{C3380CC4-5D6E-409C-BE32-E72D297353CC}">
              <c16:uniqueId val="{00000001-512C-48A4-911E-6FB8D543F22F}"/>
            </c:ext>
          </c:extLst>
        </c:ser>
        <c:dLbls>
          <c:showLegendKey val="0"/>
          <c:showVal val="0"/>
          <c:showCatName val="0"/>
          <c:showSerName val="0"/>
          <c:showPercent val="0"/>
          <c:showBubbleSize val="0"/>
        </c:dLbls>
        <c:gapWidth val="219"/>
        <c:overlap val="-27"/>
        <c:axId val="1869528703"/>
        <c:axId val="1869532863"/>
      </c:barChart>
      <c:catAx>
        <c:axId val="18695287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1869532863"/>
        <c:crosses val="autoZero"/>
        <c:auto val="1"/>
        <c:lblAlgn val="ctr"/>
        <c:lblOffset val="100"/>
        <c:noMultiLvlLbl val="0"/>
      </c:catAx>
      <c:valAx>
        <c:axId val="1869532863"/>
        <c:scaling>
          <c:orientation val="minMax"/>
        </c:scaling>
        <c:delete val="1"/>
        <c:axPos val="l"/>
        <c:numFmt formatCode="General" sourceLinked="1"/>
        <c:majorTickMark val="none"/>
        <c:minorTickMark val="none"/>
        <c:tickLblPos val="nextTo"/>
        <c:crossAx val="186952870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legend>
    <c:plotVisOnly val="1"/>
    <c:dispBlanksAs val="gap"/>
    <c:showDLblsOverMax val="0"/>
  </c:chart>
  <c:spPr>
    <a:noFill/>
    <a:ln>
      <a:noFill/>
    </a:ln>
    <a:effectLst/>
  </c:spPr>
  <c:txPr>
    <a:bodyPr/>
    <a:lstStyle/>
    <a:p>
      <a:pPr>
        <a:defRPr sz="900">
          <a:solidFill>
            <a:schemeClr val="tx1">
              <a:lumMod val="65000"/>
              <a:lumOff val="35000"/>
            </a:schemeClr>
          </a:solidFill>
          <a:latin typeface="Century Gothic" panose="020B0502020202020204" pitchFamily="34" charset="0"/>
        </a:defRPr>
      </a:pPr>
      <a:endParaRPr lang="ru-RU"/>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6"/>
    </mc:Choice>
    <mc:Fallback>
      <c:style val="6"/>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Лист1!$B$1</c:f>
              <c:strCache>
                <c:ptCount val="1"/>
                <c:pt idx="0">
                  <c:v>Production</c:v>
                </c:pt>
              </c:strCache>
            </c:strRef>
          </c:tx>
          <c:spPr>
            <a:solidFill>
              <a:schemeClr val="accent4">
                <a:tint val="65000"/>
              </a:schemeClr>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6</c:f>
              <c:numCache>
                <c:formatCode>General</c:formatCode>
                <c:ptCount val="5"/>
                <c:pt idx="0">
                  <c:v>2020</c:v>
                </c:pt>
                <c:pt idx="1">
                  <c:v>2021</c:v>
                </c:pt>
                <c:pt idx="2">
                  <c:v>2022</c:v>
                </c:pt>
                <c:pt idx="3">
                  <c:v>2023</c:v>
                </c:pt>
                <c:pt idx="4">
                  <c:v>2024</c:v>
                </c:pt>
              </c:numCache>
            </c:numRef>
          </c:cat>
          <c:val>
            <c:numRef>
              <c:f>Лист1!$B$2:$B$6</c:f>
              <c:numCache>
                <c:formatCode>General</c:formatCode>
                <c:ptCount val="5"/>
                <c:pt idx="0">
                  <c:v>30.6</c:v>
                </c:pt>
                <c:pt idx="1">
                  <c:v>28</c:v>
                </c:pt>
                <c:pt idx="2">
                  <c:v>33.4</c:v>
                </c:pt>
                <c:pt idx="3">
                  <c:v>26.3</c:v>
                </c:pt>
                <c:pt idx="4">
                  <c:v>33.5</c:v>
                </c:pt>
              </c:numCache>
            </c:numRef>
          </c:val>
          <c:extLst>
            <c:ext xmlns:c16="http://schemas.microsoft.com/office/drawing/2014/chart" uri="{C3380CC4-5D6E-409C-BE32-E72D297353CC}">
              <c16:uniqueId val="{00000000-79B3-4367-B9FC-116E7B2F6005}"/>
            </c:ext>
          </c:extLst>
        </c:ser>
        <c:ser>
          <c:idx val="1"/>
          <c:order val="1"/>
          <c:tx>
            <c:strRef>
              <c:f>Лист1!$C$1</c:f>
              <c:strCache>
                <c:ptCount val="1"/>
                <c:pt idx="0">
                  <c:v>Import</c:v>
                </c:pt>
              </c:strCache>
            </c:strRef>
          </c:tx>
          <c:spPr>
            <a:solidFill>
              <a:schemeClr val="accent4"/>
            </a:solidFill>
            <a:ln>
              <a:noFill/>
            </a:ln>
            <a:effectLst/>
          </c:spPr>
          <c:invertIfNegative val="0"/>
          <c:dLbls>
            <c:dLbl>
              <c:idx val="1"/>
              <c:layout>
                <c:manualLayout>
                  <c:x val="0"/>
                  <c:y val="1.060445387062556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9B3-4367-B9FC-116E7B2F6005}"/>
                </c:ext>
              </c:extLst>
            </c:dLbl>
            <c:dLbl>
              <c:idx val="2"/>
              <c:layout>
                <c:manualLayout>
                  <c:x val="0"/>
                  <c:y val="1.060445387062566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9B3-4367-B9FC-116E7B2F6005}"/>
                </c:ext>
              </c:extLst>
            </c:dLbl>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6</c:f>
              <c:numCache>
                <c:formatCode>General</c:formatCode>
                <c:ptCount val="5"/>
                <c:pt idx="0">
                  <c:v>2020</c:v>
                </c:pt>
                <c:pt idx="1">
                  <c:v>2021</c:v>
                </c:pt>
                <c:pt idx="2">
                  <c:v>2022</c:v>
                </c:pt>
                <c:pt idx="3">
                  <c:v>2023</c:v>
                </c:pt>
                <c:pt idx="4">
                  <c:v>2024</c:v>
                </c:pt>
              </c:numCache>
            </c:numRef>
          </c:cat>
          <c:val>
            <c:numRef>
              <c:f>Лист1!$C$2:$C$6</c:f>
              <c:numCache>
                <c:formatCode>General</c:formatCode>
                <c:ptCount val="5"/>
                <c:pt idx="0">
                  <c:v>1.4</c:v>
                </c:pt>
                <c:pt idx="1">
                  <c:v>0.9</c:v>
                </c:pt>
                <c:pt idx="2">
                  <c:v>1</c:v>
                </c:pt>
                <c:pt idx="3">
                  <c:v>3.5</c:v>
                </c:pt>
                <c:pt idx="4">
                  <c:v>2.7</c:v>
                </c:pt>
              </c:numCache>
            </c:numRef>
          </c:val>
          <c:extLst>
            <c:ext xmlns:c16="http://schemas.microsoft.com/office/drawing/2014/chart" uri="{C3380CC4-5D6E-409C-BE32-E72D297353CC}">
              <c16:uniqueId val="{00000003-79B3-4367-B9FC-116E7B2F6005}"/>
            </c:ext>
          </c:extLst>
        </c:ser>
        <c:ser>
          <c:idx val="2"/>
          <c:order val="2"/>
          <c:tx>
            <c:strRef>
              <c:f>Лист1!$D$1</c:f>
              <c:strCache>
                <c:ptCount val="1"/>
                <c:pt idx="0">
                  <c:v>Export</c:v>
                </c:pt>
              </c:strCache>
            </c:strRef>
          </c:tx>
          <c:spPr>
            <a:solidFill>
              <a:schemeClr val="accent4">
                <a:shade val="65000"/>
              </a:schemeClr>
            </a:solidFill>
            <a:ln>
              <a:noFill/>
            </a:ln>
            <a:effectLst/>
          </c:spPr>
          <c:invertIfNegative val="0"/>
          <c:dLbls>
            <c:dLbl>
              <c:idx val="1"/>
              <c:layout>
                <c:manualLayout>
                  <c:x val="-4.0622915017834678E-17"/>
                  <c:y val="-5.832449628844114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9B3-4367-B9FC-116E7B2F6005}"/>
                </c:ext>
              </c:extLst>
            </c:dLbl>
            <c:dLbl>
              <c:idx val="2"/>
              <c:layout>
                <c:manualLayout>
                  <c:x val="0"/>
                  <c:y val="-5.832449628844114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9B3-4367-B9FC-116E7B2F6005}"/>
                </c:ext>
              </c:extLst>
            </c:dLbl>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6</c:f>
              <c:numCache>
                <c:formatCode>General</c:formatCode>
                <c:ptCount val="5"/>
                <c:pt idx="0">
                  <c:v>2020</c:v>
                </c:pt>
                <c:pt idx="1">
                  <c:v>2021</c:v>
                </c:pt>
                <c:pt idx="2">
                  <c:v>2022</c:v>
                </c:pt>
                <c:pt idx="3">
                  <c:v>2023</c:v>
                </c:pt>
                <c:pt idx="4">
                  <c:v>2024</c:v>
                </c:pt>
              </c:numCache>
            </c:numRef>
          </c:cat>
          <c:val>
            <c:numRef>
              <c:f>Лист1!$D$2:$D$6</c:f>
              <c:numCache>
                <c:formatCode>General</c:formatCode>
                <c:ptCount val="5"/>
                <c:pt idx="0">
                  <c:v>7.1</c:v>
                </c:pt>
                <c:pt idx="1">
                  <c:v>1.5</c:v>
                </c:pt>
                <c:pt idx="2">
                  <c:v>1.5</c:v>
                </c:pt>
                <c:pt idx="3">
                  <c:v>9.4</c:v>
                </c:pt>
                <c:pt idx="4">
                  <c:v>8.9</c:v>
                </c:pt>
              </c:numCache>
            </c:numRef>
          </c:val>
          <c:extLst>
            <c:ext xmlns:c16="http://schemas.microsoft.com/office/drawing/2014/chart" uri="{C3380CC4-5D6E-409C-BE32-E72D297353CC}">
              <c16:uniqueId val="{00000006-79B3-4367-B9FC-116E7B2F6005}"/>
            </c:ext>
          </c:extLst>
        </c:ser>
        <c:dLbls>
          <c:showLegendKey val="0"/>
          <c:showVal val="0"/>
          <c:showCatName val="0"/>
          <c:showSerName val="0"/>
          <c:showPercent val="0"/>
          <c:showBubbleSize val="0"/>
        </c:dLbls>
        <c:gapWidth val="219"/>
        <c:overlap val="-27"/>
        <c:axId val="1071015360"/>
        <c:axId val="1071025760"/>
      </c:barChart>
      <c:catAx>
        <c:axId val="10710153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1071025760"/>
        <c:crosses val="autoZero"/>
        <c:auto val="1"/>
        <c:lblAlgn val="ctr"/>
        <c:lblOffset val="100"/>
        <c:noMultiLvlLbl val="0"/>
      </c:catAx>
      <c:valAx>
        <c:axId val="1071025760"/>
        <c:scaling>
          <c:orientation val="minMax"/>
        </c:scaling>
        <c:delete val="1"/>
        <c:axPos val="l"/>
        <c:numFmt formatCode="General" sourceLinked="1"/>
        <c:majorTickMark val="none"/>
        <c:minorTickMark val="none"/>
        <c:tickLblPos val="nextTo"/>
        <c:crossAx val="107101536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legend>
    <c:plotVisOnly val="1"/>
    <c:dispBlanksAs val="gap"/>
    <c:showDLblsOverMax val="0"/>
  </c:chart>
  <c:spPr>
    <a:solidFill>
      <a:schemeClr val="bg1"/>
    </a:solidFill>
    <a:ln w="9525" cap="flat" cmpd="sng" algn="ctr">
      <a:noFill/>
      <a:round/>
    </a:ln>
    <a:effectLst/>
  </c:spPr>
  <c:txPr>
    <a:bodyPr/>
    <a:lstStyle/>
    <a:p>
      <a:pPr>
        <a:defRPr sz="900" b="1">
          <a:solidFill>
            <a:schemeClr val="tx1">
              <a:lumMod val="65000"/>
              <a:lumOff val="35000"/>
            </a:schemeClr>
          </a:solidFill>
          <a:latin typeface="Century Gothic" panose="020B0502020202020204" pitchFamily="34" charset="0"/>
        </a:defRPr>
      </a:pPr>
      <a:endParaRPr lang="ru-RU"/>
    </a:p>
  </c:txPr>
  <c:externalData r:id="rId4">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barChart>
        <c:barDir val="bar"/>
        <c:grouping val="clustered"/>
        <c:varyColors val="0"/>
        <c:ser>
          <c:idx val="0"/>
          <c:order val="0"/>
          <c:tx>
            <c:strRef>
              <c:f>Лист1!$B$1</c:f>
              <c:strCache>
                <c:ptCount val="1"/>
                <c:pt idx="0">
                  <c:v>Ряд 1</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10</c:f>
              <c:strCache>
                <c:ptCount val="9"/>
                <c:pt idx="0">
                  <c:v>Kazakhstan</c:v>
                </c:pt>
                <c:pt idx="1">
                  <c:v>Argentina</c:v>
                </c:pt>
                <c:pt idx="2">
                  <c:v>Ukraine</c:v>
                </c:pt>
                <c:pt idx="3">
                  <c:v>Turkey</c:v>
                </c:pt>
                <c:pt idx="4">
                  <c:v>United Kingdom</c:v>
                </c:pt>
                <c:pt idx="5">
                  <c:v>Canada</c:v>
                </c:pt>
                <c:pt idx="6">
                  <c:v>Australia</c:v>
                </c:pt>
                <c:pt idx="7">
                  <c:v>Russia</c:v>
                </c:pt>
                <c:pt idx="8">
                  <c:v>European Union</c:v>
                </c:pt>
              </c:strCache>
            </c:strRef>
          </c:cat>
          <c:val>
            <c:numRef>
              <c:f>Лист1!$B$2:$B$10</c:f>
              <c:numCache>
                <c:formatCode>General</c:formatCode>
                <c:ptCount val="9"/>
                <c:pt idx="0">
                  <c:v>3.8</c:v>
                </c:pt>
                <c:pt idx="1">
                  <c:v>4.8</c:v>
                </c:pt>
                <c:pt idx="2">
                  <c:v>5.8</c:v>
                </c:pt>
                <c:pt idx="3">
                  <c:v>7</c:v>
                </c:pt>
                <c:pt idx="4">
                  <c:v>7.1</c:v>
                </c:pt>
                <c:pt idx="5">
                  <c:v>8.1</c:v>
                </c:pt>
                <c:pt idx="6">
                  <c:v>13.2</c:v>
                </c:pt>
                <c:pt idx="7">
                  <c:v>16.2</c:v>
                </c:pt>
                <c:pt idx="8">
                  <c:v>50.3</c:v>
                </c:pt>
              </c:numCache>
            </c:numRef>
          </c:val>
          <c:extLst>
            <c:ext xmlns:c16="http://schemas.microsoft.com/office/drawing/2014/chart" uri="{C3380CC4-5D6E-409C-BE32-E72D297353CC}">
              <c16:uniqueId val="{00000000-424C-496D-9936-23D613E967A9}"/>
            </c:ext>
          </c:extLst>
        </c:ser>
        <c:dLbls>
          <c:showLegendKey val="0"/>
          <c:showVal val="0"/>
          <c:showCatName val="0"/>
          <c:showSerName val="0"/>
          <c:showPercent val="0"/>
          <c:showBubbleSize val="0"/>
        </c:dLbls>
        <c:gapWidth val="182"/>
        <c:axId val="989783056"/>
        <c:axId val="989784304"/>
      </c:barChart>
      <c:catAx>
        <c:axId val="98978305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989784304"/>
        <c:crosses val="autoZero"/>
        <c:auto val="1"/>
        <c:lblAlgn val="ctr"/>
        <c:lblOffset val="100"/>
        <c:noMultiLvlLbl val="0"/>
      </c:catAx>
      <c:valAx>
        <c:axId val="989784304"/>
        <c:scaling>
          <c:orientation val="minMax"/>
        </c:scaling>
        <c:delete val="1"/>
        <c:axPos val="b"/>
        <c:numFmt formatCode="General" sourceLinked="1"/>
        <c:majorTickMark val="none"/>
        <c:minorTickMark val="none"/>
        <c:tickLblPos val="nextTo"/>
        <c:crossAx val="989783056"/>
        <c:crosses val="autoZero"/>
        <c:crossBetween val="between"/>
      </c:valAx>
      <c:spPr>
        <a:noFill/>
        <a:ln>
          <a:noFill/>
        </a:ln>
        <a:effectLst/>
      </c:spPr>
    </c:plotArea>
    <c:plotVisOnly val="1"/>
    <c:dispBlanksAs val="gap"/>
    <c:showDLblsOverMax val="0"/>
  </c:chart>
  <c:spPr>
    <a:noFill/>
    <a:ln>
      <a:noFill/>
    </a:ln>
    <a:effectLst/>
  </c:spPr>
  <c:txPr>
    <a:bodyPr/>
    <a:lstStyle/>
    <a:p>
      <a:pPr>
        <a:defRPr sz="900">
          <a:latin typeface="Century Gothic" panose="020B0502020202020204" pitchFamily="34" charset="0"/>
        </a:defRPr>
      </a:pPr>
      <a:endParaRPr lang="ru-RU"/>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barChart>
        <c:barDir val="col"/>
        <c:grouping val="clustered"/>
        <c:varyColors val="0"/>
        <c:ser>
          <c:idx val="0"/>
          <c:order val="0"/>
          <c:tx>
            <c:strRef>
              <c:f>Лист1!$B$1</c:f>
              <c:strCache>
                <c:ptCount val="1"/>
                <c:pt idx="0">
                  <c:v>Export</c:v>
                </c:pt>
              </c:strCache>
            </c:strRef>
          </c:tx>
          <c:spPr>
            <a:solidFill>
              <a:schemeClr val="accent4">
                <a:tint val="77000"/>
              </a:schemeClr>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6</c:f>
              <c:numCache>
                <c:formatCode>General</c:formatCode>
                <c:ptCount val="5"/>
                <c:pt idx="0">
                  <c:v>2020</c:v>
                </c:pt>
                <c:pt idx="1">
                  <c:v>2021</c:v>
                </c:pt>
                <c:pt idx="2">
                  <c:v>2022</c:v>
                </c:pt>
                <c:pt idx="3">
                  <c:v>2023</c:v>
                </c:pt>
                <c:pt idx="4">
                  <c:v>2024</c:v>
                </c:pt>
              </c:numCache>
            </c:numRef>
          </c:cat>
          <c:val>
            <c:numRef>
              <c:f>Лист1!$B$2:$B$6</c:f>
              <c:numCache>
                <c:formatCode>General</c:formatCode>
                <c:ptCount val="5"/>
                <c:pt idx="0">
                  <c:v>976.8</c:v>
                </c:pt>
                <c:pt idx="1">
                  <c:v>775.9</c:v>
                </c:pt>
                <c:pt idx="2">
                  <c:v>836.3</c:v>
                </c:pt>
                <c:pt idx="3" formatCode="#,##0.00">
                  <c:v>1302.0999999999999</c:v>
                </c:pt>
                <c:pt idx="4" formatCode="#,##0.00">
                  <c:v>1599.8</c:v>
                </c:pt>
              </c:numCache>
            </c:numRef>
          </c:val>
          <c:extLst>
            <c:ext xmlns:c16="http://schemas.microsoft.com/office/drawing/2014/chart" uri="{C3380CC4-5D6E-409C-BE32-E72D297353CC}">
              <c16:uniqueId val="{00000000-B9A1-427D-9A43-18396F5496FC}"/>
            </c:ext>
          </c:extLst>
        </c:ser>
        <c:ser>
          <c:idx val="1"/>
          <c:order val="1"/>
          <c:tx>
            <c:strRef>
              <c:f>Лист1!$C$1</c:f>
              <c:strCache>
                <c:ptCount val="1"/>
                <c:pt idx="0">
                  <c:v>Import</c:v>
                </c:pt>
              </c:strCache>
            </c:strRef>
          </c:tx>
          <c:spPr>
            <a:solidFill>
              <a:schemeClr val="accent4">
                <a:shade val="76000"/>
              </a:schemeClr>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6</c:f>
              <c:numCache>
                <c:formatCode>General</c:formatCode>
                <c:ptCount val="5"/>
                <c:pt idx="0">
                  <c:v>2020</c:v>
                </c:pt>
                <c:pt idx="1">
                  <c:v>2021</c:v>
                </c:pt>
                <c:pt idx="2">
                  <c:v>2022</c:v>
                </c:pt>
                <c:pt idx="3">
                  <c:v>2023</c:v>
                </c:pt>
                <c:pt idx="4">
                  <c:v>2024</c:v>
                </c:pt>
              </c:numCache>
            </c:numRef>
          </c:cat>
          <c:val>
            <c:numRef>
              <c:f>Лист1!$C$2:$C$6</c:f>
              <c:numCache>
                <c:formatCode>General</c:formatCode>
                <c:ptCount val="5"/>
                <c:pt idx="0">
                  <c:v>67.400000000000006</c:v>
                </c:pt>
                <c:pt idx="1">
                  <c:v>95.1</c:v>
                </c:pt>
                <c:pt idx="2">
                  <c:v>116.1</c:v>
                </c:pt>
                <c:pt idx="3">
                  <c:v>513.4</c:v>
                </c:pt>
                <c:pt idx="4">
                  <c:v>211.1</c:v>
                </c:pt>
              </c:numCache>
            </c:numRef>
          </c:val>
          <c:extLst>
            <c:ext xmlns:c16="http://schemas.microsoft.com/office/drawing/2014/chart" uri="{C3380CC4-5D6E-409C-BE32-E72D297353CC}">
              <c16:uniqueId val="{00000001-B9A1-427D-9A43-18396F5496FC}"/>
            </c:ext>
          </c:extLst>
        </c:ser>
        <c:dLbls>
          <c:showLegendKey val="0"/>
          <c:showVal val="0"/>
          <c:showCatName val="0"/>
          <c:showSerName val="0"/>
          <c:showPercent val="0"/>
          <c:showBubbleSize val="0"/>
        </c:dLbls>
        <c:gapWidth val="219"/>
        <c:overlap val="-27"/>
        <c:axId val="928003008"/>
        <c:axId val="928019648"/>
      </c:barChart>
      <c:catAx>
        <c:axId val="928003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928019648"/>
        <c:crosses val="autoZero"/>
        <c:auto val="1"/>
        <c:lblAlgn val="ctr"/>
        <c:lblOffset val="100"/>
        <c:noMultiLvlLbl val="0"/>
      </c:catAx>
      <c:valAx>
        <c:axId val="928019648"/>
        <c:scaling>
          <c:orientation val="minMax"/>
        </c:scaling>
        <c:delete val="1"/>
        <c:axPos val="l"/>
        <c:numFmt formatCode="General" sourceLinked="1"/>
        <c:majorTickMark val="none"/>
        <c:minorTickMark val="none"/>
        <c:tickLblPos val="nextTo"/>
        <c:crossAx val="9280030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legend>
    <c:plotVisOnly val="1"/>
    <c:dispBlanksAs val="gap"/>
    <c:showDLblsOverMax val="0"/>
  </c:chart>
  <c:spPr>
    <a:noFill/>
    <a:ln>
      <a:noFill/>
    </a:ln>
    <a:effectLst/>
  </c:spPr>
  <c:txPr>
    <a:bodyPr/>
    <a:lstStyle/>
    <a:p>
      <a:pPr>
        <a:defRPr sz="900">
          <a:latin typeface="Century Gothic" panose="020B0502020202020204" pitchFamily="34" charset="0"/>
        </a:defRPr>
      </a:pPr>
      <a:endParaRPr lang="ru-RU"/>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Лист1!$B$1</c:f>
              <c:strCache>
                <c:ptCount val="1"/>
                <c:pt idx="0">
                  <c:v>Столбец1</c:v>
                </c:pt>
              </c:strCache>
            </c:strRef>
          </c:tx>
          <c:dPt>
            <c:idx val="0"/>
            <c:bubble3D val="0"/>
            <c:spPr>
              <a:solidFill>
                <a:schemeClr val="tx2">
                  <a:lumMod val="75000"/>
                  <a:lumOff val="25000"/>
                </a:schemeClr>
              </a:solidFill>
              <a:ln w="19050">
                <a:solidFill>
                  <a:schemeClr val="lt1"/>
                </a:solidFill>
              </a:ln>
              <a:effectLst/>
            </c:spPr>
            <c:extLst>
              <c:ext xmlns:c16="http://schemas.microsoft.com/office/drawing/2014/chart" uri="{C3380CC4-5D6E-409C-BE32-E72D297353CC}">
                <c16:uniqueId val="{00000001-6712-4D3B-A4DD-03A8AAABF22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6712-4D3B-A4DD-03A8AAABF22E}"/>
              </c:ext>
            </c:extLst>
          </c:dPt>
          <c:dLbls>
            <c:dLbl>
              <c:idx val="0"/>
              <c:layout>
                <c:manualLayout>
                  <c:x val="0.15984896161107615"/>
                  <c:y val="-6.798486438204894E-2"/>
                </c:manualLayout>
              </c:layout>
              <c:tx>
                <c:rich>
                  <a:bodyPr/>
                  <a:lstStyle/>
                  <a:p>
                    <a:fld id="{6F24067B-83FA-427F-8BB0-B3C5CE60492B}" type="VALUE">
                      <a:rPr lang="en-US">
                        <a:solidFill>
                          <a:schemeClr val="tx1">
                            <a:lumMod val="65000"/>
                            <a:lumOff val="35000"/>
                          </a:schemeClr>
                        </a:solidFill>
                      </a:rPr>
                      <a:pPr/>
                      <a:t>[WARTOŚĆ]</a:t>
                    </a:fld>
                    <a:endParaRPr lang="pl-PL"/>
                  </a:p>
                </c:rich>
              </c:tx>
              <c:showLegendKey val="0"/>
              <c:showVal val="1"/>
              <c:showCatName val="0"/>
              <c:showSerName val="0"/>
              <c:showPercent val="0"/>
              <c:showBubbleSize val="0"/>
              <c:extLst>
                <c:ext xmlns:c15="http://schemas.microsoft.com/office/drawing/2012/chart" uri="{CE6537A1-D6FC-4f65-9D91-7224C49458BB}">
                  <c15:layout>
                    <c:manualLayout>
                      <c:w val="0.3130375498216908"/>
                      <c:h val="0.320500074943945"/>
                    </c:manualLayout>
                  </c15:layout>
                  <c15:dlblFieldTable/>
                  <c15:showDataLabelsRange val="0"/>
                </c:ext>
                <c:ext xmlns:c16="http://schemas.microsoft.com/office/drawing/2014/chart" uri="{C3380CC4-5D6E-409C-BE32-E72D297353CC}">
                  <c16:uniqueId val="{00000001-6712-4D3B-A4DD-03A8AAABF22E}"/>
                </c:ext>
              </c:extLst>
            </c:dLbl>
            <c:dLbl>
              <c:idx val="1"/>
              <c:layout>
                <c:manualLayout>
                  <c:x val="5.0304174533249424E-2"/>
                  <c:y val="-1.8030901376827332E-2"/>
                </c:manualLayout>
              </c:layout>
              <c:tx>
                <c:rich>
                  <a:bodyPr/>
                  <a:lstStyle/>
                  <a:p>
                    <a:fld id="{1F935691-6118-4134-BFB4-8B78A73EB34A}" type="VALUE">
                      <a:rPr lang="en-US">
                        <a:solidFill>
                          <a:schemeClr val="tx1">
                            <a:lumMod val="65000"/>
                            <a:lumOff val="35000"/>
                          </a:schemeClr>
                        </a:solidFill>
                      </a:rPr>
                      <a:pPr/>
                      <a:t>[WARTOŚĆ]</a:t>
                    </a:fld>
                    <a:endParaRPr lang="pl-PL"/>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6712-4D3B-A4DD-03A8AAABF22E}"/>
                </c:ext>
              </c:extLst>
            </c:dLbl>
            <c:spPr>
              <a:noFill/>
              <a:ln>
                <a:noFill/>
              </a:ln>
              <a:effectLst/>
            </c:spPr>
            <c:txPr>
              <a:bodyPr rot="0" spcFirstLastPara="1" vertOverflow="ellipsis" vert="horz" wrap="square" anchor="ctr" anchorCtr="1"/>
              <a:lstStyle/>
              <a:p>
                <a:pPr>
                  <a:defRPr sz="700" b="1"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extLst>
          </c:dLbls>
          <c:cat>
            <c:strRef>
              <c:f>Лист1!$A$2:$A$3</c:f>
              <c:strCache>
                <c:ptCount val="2"/>
                <c:pt idx="0">
                  <c:v>потребность, тыс. тонн</c:v>
                </c:pt>
                <c:pt idx="1">
                  <c:v>внесение от потребности, %</c:v>
                </c:pt>
              </c:strCache>
            </c:strRef>
          </c:cat>
          <c:val>
            <c:numRef>
              <c:f>Лист1!$B$2:$B$3</c:f>
              <c:numCache>
                <c:formatCode>General</c:formatCode>
                <c:ptCount val="2"/>
                <c:pt idx="0">
                  <c:v>408</c:v>
                </c:pt>
                <c:pt idx="1">
                  <c:v>8</c:v>
                </c:pt>
              </c:numCache>
            </c:numRef>
          </c:val>
          <c:extLst>
            <c:ext xmlns:c16="http://schemas.microsoft.com/office/drawing/2014/chart" uri="{C3380CC4-5D6E-409C-BE32-E72D297353CC}">
              <c16:uniqueId val="{00000004-6712-4D3B-A4DD-03A8AAABF22E}"/>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chart>
  <c:spPr>
    <a:noFill/>
    <a:ln>
      <a:noFill/>
    </a:ln>
    <a:effectLst/>
  </c:spPr>
  <c:txPr>
    <a:bodyPr/>
    <a:lstStyle/>
    <a:p>
      <a:pPr>
        <a:defRPr sz="700" b="1">
          <a:latin typeface="Century Gothic" panose="020B0502020202020204" pitchFamily="34" charset="0"/>
        </a:defRPr>
      </a:pPr>
      <a:endParaRPr lang="ru-RU"/>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barChart>
        <c:barDir val="bar"/>
        <c:grouping val="clustered"/>
        <c:varyColors val="0"/>
        <c:ser>
          <c:idx val="0"/>
          <c:order val="0"/>
          <c:tx>
            <c:strRef>
              <c:f>Лист1!$B$1</c:f>
              <c:strCache>
                <c:ptCount val="1"/>
                <c:pt idx="0">
                  <c:v>Ряд 1</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10</c:f>
              <c:strCache>
                <c:ptCount val="9"/>
                <c:pt idx="0">
                  <c:v>Kazakhstan</c:v>
                </c:pt>
                <c:pt idx="1">
                  <c:v>China</c:v>
                </c:pt>
                <c:pt idx="2">
                  <c:v>USA</c:v>
                </c:pt>
                <c:pt idx="3">
                  <c:v>United Kingdom</c:v>
                </c:pt>
                <c:pt idx="4">
                  <c:v>Brazil</c:v>
                </c:pt>
                <c:pt idx="5">
                  <c:v>Australia</c:v>
                </c:pt>
                <c:pt idx="6">
                  <c:v>Russia</c:v>
                </c:pt>
                <c:pt idx="7">
                  <c:v>Canada</c:v>
                </c:pt>
                <c:pt idx="8">
                  <c:v>European Union</c:v>
                </c:pt>
              </c:strCache>
            </c:strRef>
          </c:cat>
          <c:val>
            <c:numRef>
              <c:f>Лист1!$B$2:$B$10</c:f>
              <c:numCache>
                <c:formatCode>General</c:formatCode>
                <c:ptCount val="9"/>
                <c:pt idx="0">
                  <c:v>0.3</c:v>
                </c:pt>
                <c:pt idx="1">
                  <c:v>0.8</c:v>
                </c:pt>
                <c:pt idx="2">
                  <c:v>0.9</c:v>
                </c:pt>
                <c:pt idx="3">
                  <c:v>0.9</c:v>
                </c:pt>
                <c:pt idx="4">
                  <c:v>1</c:v>
                </c:pt>
                <c:pt idx="5">
                  <c:v>1.3</c:v>
                </c:pt>
                <c:pt idx="6">
                  <c:v>3</c:v>
                </c:pt>
                <c:pt idx="7">
                  <c:v>3.3</c:v>
                </c:pt>
                <c:pt idx="8">
                  <c:v>7.7</c:v>
                </c:pt>
              </c:numCache>
            </c:numRef>
          </c:val>
          <c:extLst>
            <c:ext xmlns:c16="http://schemas.microsoft.com/office/drawing/2014/chart" uri="{C3380CC4-5D6E-409C-BE32-E72D297353CC}">
              <c16:uniqueId val="{00000000-F192-465E-A6B1-543BC42D06E7}"/>
            </c:ext>
          </c:extLst>
        </c:ser>
        <c:dLbls>
          <c:showLegendKey val="0"/>
          <c:showVal val="0"/>
          <c:showCatName val="0"/>
          <c:showSerName val="0"/>
          <c:showPercent val="0"/>
          <c:showBubbleSize val="0"/>
        </c:dLbls>
        <c:gapWidth val="182"/>
        <c:axId val="989783056"/>
        <c:axId val="989784304"/>
      </c:barChart>
      <c:catAx>
        <c:axId val="98978305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989784304"/>
        <c:crosses val="autoZero"/>
        <c:auto val="1"/>
        <c:lblAlgn val="ctr"/>
        <c:lblOffset val="100"/>
        <c:noMultiLvlLbl val="0"/>
      </c:catAx>
      <c:valAx>
        <c:axId val="989784304"/>
        <c:scaling>
          <c:orientation val="minMax"/>
        </c:scaling>
        <c:delete val="1"/>
        <c:axPos val="b"/>
        <c:numFmt formatCode="General" sourceLinked="1"/>
        <c:majorTickMark val="none"/>
        <c:minorTickMark val="none"/>
        <c:tickLblPos val="nextTo"/>
        <c:crossAx val="989783056"/>
        <c:crosses val="autoZero"/>
        <c:crossBetween val="between"/>
      </c:valAx>
      <c:spPr>
        <a:noFill/>
        <a:ln>
          <a:noFill/>
        </a:ln>
        <a:effectLst/>
      </c:spPr>
    </c:plotArea>
    <c:plotVisOnly val="1"/>
    <c:dispBlanksAs val="gap"/>
    <c:showDLblsOverMax val="0"/>
  </c:chart>
  <c:spPr>
    <a:noFill/>
    <a:ln>
      <a:noFill/>
    </a:ln>
    <a:effectLst/>
  </c:spPr>
  <c:txPr>
    <a:bodyPr/>
    <a:lstStyle/>
    <a:p>
      <a:pPr>
        <a:defRPr sz="900">
          <a:latin typeface="Century Gothic" panose="020B0502020202020204" pitchFamily="34" charset="0"/>
        </a:defRPr>
      </a:pPr>
      <a:endParaRPr lang="ru-RU"/>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barChart>
        <c:barDir val="col"/>
        <c:grouping val="clustered"/>
        <c:varyColors val="0"/>
        <c:ser>
          <c:idx val="0"/>
          <c:order val="0"/>
          <c:tx>
            <c:strRef>
              <c:f>Лист1!$B$1</c:f>
              <c:strCache>
                <c:ptCount val="1"/>
                <c:pt idx="0">
                  <c:v>Export</c:v>
                </c:pt>
              </c:strCache>
            </c:strRef>
          </c:tx>
          <c:spPr>
            <a:solidFill>
              <a:schemeClr val="accent4">
                <a:tint val="77000"/>
              </a:schemeClr>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6</c:f>
              <c:numCache>
                <c:formatCode>General</c:formatCode>
                <c:ptCount val="5"/>
                <c:pt idx="0">
                  <c:v>2020</c:v>
                </c:pt>
                <c:pt idx="1">
                  <c:v>2021</c:v>
                </c:pt>
                <c:pt idx="2">
                  <c:v>2022</c:v>
                </c:pt>
                <c:pt idx="3">
                  <c:v>2023</c:v>
                </c:pt>
                <c:pt idx="4">
                  <c:v>2024</c:v>
                </c:pt>
              </c:numCache>
            </c:numRef>
          </c:cat>
          <c:val>
            <c:numRef>
              <c:f>Лист1!$B$2:$B$6</c:f>
              <c:numCache>
                <c:formatCode>General</c:formatCode>
                <c:ptCount val="5"/>
                <c:pt idx="0">
                  <c:v>10.3</c:v>
                </c:pt>
                <c:pt idx="1">
                  <c:v>1</c:v>
                </c:pt>
                <c:pt idx="2">
                  <c:v>3.7</c:v>
                </c:pt>
                <c:pt idx="3" formatCode="#,##0.00">
                  <c:v>13</c:v>
                </c:pt>
                <c:pt idx="4" formatCode="#,##0.00">
                  <c:v>18.899999999999999</c:v>
                </c:pt>
              </c:numCache>
            </c:numRef>
          </c:val>
          <c:extLst>
            <c:ext xmlns:c16="http://schemas.microsoft.com/office/drawing/2014/chart" uri="{C3380CC4-5D6E-409C-BE32-E72D297353CC}">
              <c16:uniqueId val="{00000000-0C4D-400E-B2D0-6BFB1AA7DE19}"/>
            </c:ext>
          </c:extLst>
        </c:ser>
        <c:ser>
          <c:idx val="1"/>
          <c:order val="1"/>
          <c:tx>
            <c:strRef>
              <c:f>Лист1!$C$1</c:f>
              <c:strCache>
                <c:ptCount val="1"/>
                <c:pt idx="0">
                  <c:v>Import</c:v>
                </c:pt>
              </c:strCache>
            </c:strRef>
          </c:tx>
          <c:spPr>
            <a:solidFill>
              <a:schemeClr val="accent4">
                <a:shade val="76000"/>
              </a:schemeClr>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6</c:f>
              <c:numCache>
                <c:formatCode>General</c:formatCode>
                <c:ptCount val="5"/>
                <c:pt idx="0">
                  <c:v>2020</c:v>
                </c:pt>
                <c:pt idx="1">
                  <c:v>2021</c:v>
                </c:pt>
                <c:pt idx="2">
                  <c:v>2022</c:v>
                </c:pt>
                <c:pt idx="3">
                  <c:v>2023</c:v>
                </c:pt>
                <c:pt idx="4">
                  <c:v>2024</c:v>
                </c:pt>
              </c:numCache>
            </c:numRef>
          </c:cat>
          <c:val>
            <c:numRef>
              <c:f>Лист1!$C$2:$C$6</c:f>
              <c:numCache>
                <c:formatCode>General</c:formatCode>
                <c:ptCount val="5"/>
                <c:pt idx="0">
                  <c:v>0.8</c:v>
                </c:pt>
                <c:pt idx="1">
                  <c:v>1.2</c:v>
                </c:pt>
                <c:pt idx="2">
                  <c:v>3.2</c:v>
                </c:pt>
                <c:pt idx="3">
                  <c:v>7.6</c:v>
                </c:pt>
                <c:pt idx="4">
                  <c:v>7.7</c:v>
                </c:pt>
              </c:numCache>
            </c:numRef>
          </c:val>
          <c:extLst>
            <c:ext xmlns:c16="http://schemas.microsoft.com/office/drawing/2014/chart" uri="{C3380CC4-5D6E-409C-BE32-E72D297353CC}">
              <c16:uniqueId val="{00000001-0C4D-400E-B2D0-6BFB1AA7DE19}"/>
            </c:ext>
          </c:extLst>
        </c:ser>
        <c:dLbls>
          <c:showLegendKey val="0"/>
          <c:showVal val="0"/>
          <c:showCatName val="0"/>
          <c:showSerName val="0"/>
          <c:showPercent val="0"/>
          <c:showBubbleSize val="0"/>
        </c:dLbls>
        <c:gapWidth val="219"/>
        <c:overlap val="-27"/>
        <c:axId val="928003008"/>
        <c:axId val="928019648"/>
      </c:barChart>
      <c:catAx>
        <c:axId val="928003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928019648"/>
        <c:crosses val="autoZero"/>
        <c:auto val="1"/>
        <c:lblAlgn val="ctr"/>
        <c:lblOffset val="100"/>
        <c:noMultiLvlLbl val="0"/>
      </c:catAx>
      <c:valAx>
        <c:axId val="928019648"/>
        <c:scaling>
          <c:orientation val="minMax"/>
        </c:scaling>
        <c:delete val="1"/>
        <c:axPos val="l"/>
        <c:numFmt formatCode="General" sourceLinked="1"/>
        <c:majorTickMark val="none"/>
        <c:minorTickMark val="none"/>
        <c:tickLblPos val="nextTo"/>
        <c:crossAx val="9280030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legend>
    <c:plotVisOnly val="1"/>
    <c:dispBlanksAs val="gap"/>
    <c:showDLblsOverMax val="0"/>
  </c:chart>
  <c:spPr>
    <a:noFill/>
    <a:ln>
      <a:noFill/>
    </a:ln>
    <a:effectLst/>
  </c:spPr>
  <c:txPr>
    <a:bodyPr/>
    <a:lstStyle/>
    <a:p>
      <a:pPr>
        <a:defRPr sz="900">
          <a:latin typeface="Century Gothic" panose="020B0502020202020204" pitchFamily="34" charset="0"/>
        </a:defRPr>
      </a:pPr>
      <a:endParaRPr lang="ru-RU"/>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manualLayout>
          <c:layoutTarget val="inner"/>
          <c:xMode val="edge"/>
          <c:yMode val="edge"/>
          <c:x val="2.3209604157459804E-2"/>
          <c:y val="0.23605801698874232"/>
          <c:w val="0.95358079168508036"/>
          <c:h val="0.54965754721332449"/>
        </c:manualLayout>
      </c:layout>
      <c:barChart>
        <c:barDir val="col"/>
        <c:grouping val="clustered"/>
        <c:varyColors val="0"/>
        <c:ser>
          <c:idx val="0"/>
          <c:order val="0"/>
          <c:tx>
            <c:strRef>
              <c:f>Лист1!$C$12</c:f>
              <c:strCache>
                <c:ptCount val="1"/>
                <c:pt idx="0">
                  <c:v>2020</c:v>
                </c:pt>
              </c:strCache>
            </c:strRef>
          </c:tx>
          <c:spPr>
            <a:solidFill>
              <a:schemeClr val="accent1">
                <a:lumMod val="50000"/>
              </a:schemeClr>
            </a:solidFill>
            <a:ln>
              <a:solidFill>
                <a:schemeClr val="accent1">
                  <a:lumMod val="50000"/>
                </a:schemeClr>
              </a:solidFill>
            </a:ln>
            <a:effectLst/>
          </c:spPr>
          <c:invertIfNegative val="0"/>
          <c:dLbls>
            <c:dLbl>
              <c:idx val="1"/>
              <c:layout>
                <c:manualLayout>
                  <c:x val="-6.3298920429435829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889-4651-9524-ECD3A6AAD55E}"/>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B$13:$B$18</c:f>
              <c:strCache>
                <c:ptCount val="6"/>
                <c:pt idx="0">
                  <c:v>Indonesia</c:v>
                </c:pt>
                <c:pt idx="1">
                  <c:v>Singapore</c:v>
                </c:pt>
                <c:pt idx="2">
                  <c:v>Thailand</c:v>
                </c:pt>
                <c:pt idx="3">
                  <c:v>Vietnam</c:v>
                </c:pt>
                <c:pt idx="4">
                  <c:v>Philippines</c:v>
                </c:pt>
                <c:pt idx="5">
                  <c:v>Malaysia</c:v>
                </c:pt>
              </c:strCache>
            </c:strRef>
          </c:cat>
          <c:val>
            <c:numRef>
              <c:f>Лист1!$C$13:$C$18</c:f>
              <c:numCache>
                <c:formatCode>#\ ##0.0</c:formatCode>
                <c:ptCount val="6"/>
                <c:pt idx="0">
                  <c:v>19</c:v>
                </c:pt>
                <c:pt idx="1">
                  <c:v>72</c:v>
                </c:pt>
                <c:pt idx="2">
                  <c:v>-5</c:v>
                </c:pt>
                <c:pt idx="3">
                  <c:v>16</c:v>
                </c:pt>
                <c:pt idx="4">
                  <c:v>3</c:v>
                </c:pt>
                <c:pt idx="5">
                  <c:v>3</c:v>
                </c:pt>
              </c:numCache>
            </c:numRef>
          </c:val>
          <c:extLst>
            <c:ext xmlns:c16="http://schemas.microsoft.com/office/drawing/2014/chart" uri="{C3380CC4-5D6E-409C-BE32-E72D297353CC}">
              <c16:uniqueId val="{00000000-BC92-48E1-8FBA-803B8C71846B}"/>
            </c:ext>
          </c:extLst>
        </c:ser>
        <c:ser>
          <c:idx val="1"/>
          <c:order val="1"/>
          <c:tx>
            <c:strRef>
              <c:f>Лист1!$D$12</c:f>
              <c:strCache>
                <c:ptCount val="1"/>
                <c:pt idx="0">
                  <c:v>2021</c:v>
                </c:pt>
              </c:strCache>
            </c:strRef>
          </c:tx>
          <c:spPr>
            <a:solidFill>
              <a:schemeClr val="accent1">
                <a:lumMod val="75000"/>
              </a:schemeClr>
            </a:solidFill>
            <a:ln>
              <a:solidFill>
                <a:schemeClr val="accent1">
                  <a:lumMod val="75000"/>
                </a:schemeClr>
              </a:solidFill>
            </a:ln>
            <a:effectLst/>
          </c:spPr>
          <c:invertIfNegative val="0"/>
          <c:cat>
            <c:strRef>
              <c:f>Лист1!$B$13:$B$18</c:f>
              <c:strCache>
                <c:ptCount val="6"/>
                <c:pt idx="0">
                  <c:v>Indonesia</c:v>
                </c:pt>
                <c:pt idx="1">
                  <c:v>Singapore</c:v>
                </c:pt>
                <c:pt idx="2">
                  <c:v>Thailand</c:v>
                </c:pt>
                <c:pt idx="3">
                  <c:v>Vietnam</c:v>
                </c:pt>
                <c:pt idx="4">
                  <c:v>Philippines</c:v>
                </c:pt>
                <c:pt idx="5">
                  <c:v>Malaysia</c:v>
                </c:pt>
              </c:strCache>
            </c:strRef>
          </c:cat>
          <c:val>
            <c:numRef>
              <c:f>Лист1!$D$13:$D$18</c:f>
              <c:numCache>
                <c:formatCode>#\ ##0.0</c:formatCode>
                <c:ptCount val="6"/>
                <c:pt idx="0">
                  <c:v>21</c:v>
                </c:pt>
                <c:pt idx="1">
                  <c:v>131</c:v>
                </c:pt>
                <c:pt idx="2">
                  <c:v>14</c:v>
                </c:pt>
                <c:pt idx="3">
                  <c:v>16</c:v>
                </c:pt>
                <c:pt idx="4">
                  <c:v>10</c:v>
                </c:pt>
                <c:pt idx="5">
                  <c:v>12</c:v>
                </c:pt>
              </c:numCache>
            </c:numRef>
          </c:val>
          <c:extLst>
            <c:ext xmlns:c16="http://schemas.microsoft.com/office/drawing/2014/chart" uri="{C3380CC4-5D6E-409C-BE32-E72D297353CC}">
              <c16:uniqueId val="{00000001-BC92-48E1-8FBA-803B8C71846B}"/>
            </c:ext>
          </c:extLst>
        </c:ser>
        <c:ser>
          <c:idx val="2"/>
          <c:order val="2"/>
          <c:tx>
            <c:strRef>
              <c:f>Лист1!$E$12</c:f>
              <c:strCache>
                <c:ptCount val="1"/>
                <c:pt idx="0">
                  <c:v>2022</c:v>
                </c:pt>
              </c:strCache>
            </c:strRef>
          </c:tx>
          <c:spPr>
            <a:solidFill>
              <a:schemeClr val="accent1">
                <a:lumMod val="60000"/>
                <a:lumOff val="40000"/>
              </a:schemeClr>
            </a:solidFill>
            <a:ln>
              <a:solidFill>
                <a:schemeClr val="accent1">
                  <a:lumMod val="60000"/>
                  <a:lumOff val="40000"/>
                </a:schemeClr>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B$13:$B$18</c:f>
              <c:strCache>
                <c:ptCount val="6"/>
                <c:pt idx="0">
                  <c:v>Indonesia</c:v>
                </c:pt>
                <c:pt idx="1">
                  <c:v>Singapore</c:v>
                </c:pt>
                <c:pt idx="2">
                  <c:v>Thailand</c:v>
                </c:pt>
                <c:pt idx="3">
                  <c:v>Vietnam</c:v>
                </c:pt>
                <c:pt idx="4">
                  <c:v>Philippines</c:v>
                </c:pt>
                <c:pt idx="5">
                  <c:v>Malaysia</c:v>
                </c:pt>
              </c:strCache>
            </c:strRef>
          </c:cat>
          <c:val>
            <c:numRef>
              <c:f>Лист1!$E$13:$E$18</c:f>
              <c:numCache>
                <c:formatCode>#\ ##0.0</c:formatCode>
                <c:ptCount val="6"/>
                <c:pt idx="0">
                  <c:v>25</c:v>
                </c:pt>
                <c:pt idx="1">
                  <c:v>142</c:v>
                </c:pt>
                <c:pt idx="2">
                  <c:v>11</c:v>
                </c:pt>
                <c:pt idx="3">
                  <c:v>18</c:v>
                </c:pt>
                <c:pt idx="4">
                  <c:v>6</c:v>
                </c:pt>
                <c:pt idx="5">
                  <c:v>17</c:v>
                </c:pt>
              </c:numCache>
            </c:numRef>
          </c:val>
          <c:extLst>
            <c:ext xmlns:c16="http://schemas.microsoft.com/office/drawing/2014/chart" uri="{C3380CC4-5D6E-409C-BE32-E72D297353CC}">
              <c16:uniqueId val="{00000002-BC92-48E1-8FBA-803B8C71846B}"/>
            </c:ext>
          </c:extLst>
        </c:ser>
        <c:ser>
          <c:idx val="3"/>
          <c:order val="3"/>
          <c:tx>
            <c:strRef>
              <c:f>Лист1!$F$12</c:f>
              <c:strCache>
                <c:ptCount val="1"/>
                <c:pt idx="0">
                  <c:v>2023</c:v>
                </c:pt>
              </c:strCache>
            </c:strRef>
          </c:tx>
          <c:spPr>
            <a:solidFill>
              <a:schemeClr val="accent1">
                <a:lumMod val="40000"/>
                <a:lumOff val="60000"/>
              </a:schemeClr>
            </a:solidFill>
            <a:ln>
              <a:solidFill>
                <a:schemeClr val="accent1">
                  <a:lumMod val="40000"/>
                  <a:lumOff val="60000"/>
                </a:schemeClr>
              </a:solidFill>
            </a:ln>
            <a:effectLst/>
          </c:spPr>
          <c:invertIfNegative val="0"/>
          <c:cat>
            <c:strRef>
              <c:f>Лист1!$B$13:$B$18</c:f>
              <c:strCache>
                <c:ptCount val="6"/>
                <c:pt idx="0">
                  <c:v>Indonesia</c:v>
                </c:pt>
                <c:pt idx="1">
                  <c:v>Singapore</c:v>
                </c:pt>
                <c:pt idx="2">
                  <c:v>Thailand</c:v>
                </c:pt>
                <c:pt idx="3">
                  <c:v>Vietnam</c:v>
                </c:pt>
                <c:pt idx="4">
                  <c:v>Philippines</c:v>
                </c:pt>
                <c:pt idx="5">
                  <c:v>Malaysia</c:v>
                </c:pt>
              </c:strCache>
            </c:strRef>
          </c:cat>
          <c:val>
            <c:numRef>
              <c:f>Лист1!$F$13:$F$18</c:f>
              <c:numCache>
                <c:formatCode>#\ ##0.0</c:formatCode>
                <c:ptCount val="6"/>
                <c:pt idx="0">
                  <c:v>21</c:v>
                </c:pt>
                <c:pt idx="1">
                  <c:v>135</c:v>
                </c:pt>
                <c:pt idx="2">
                  <c:v>8</c:v>
                </c:pt>
                <c:pt idx="3">
                  <c:v>18</c:v>
                </c:pt>
                <c:pt idx="4">
                  <c:v>6</c:v>
                </c:pt>
                <c:pt idx="5">
                  <c:v>8</c:v>
                </c:pt>
              </c:numCache>
            </c:numRef>
          </c:val>
          <c:extLst>
            <c:ext xmlns:c16="http://schemas.microsoft.com/office/drawing/2014/chart" uri="{C3380CC4-5D6E-409C-BE32-E72D297353CC}">
              <c16:uniqueId val="{00000003-BC92-48E1-8FBA-803B8C71846B}"/>
            </c:ext>
          </c:extLst>
        </c:ser>
        <c:ser>
          <c:idx val="4"/>
          <c:order val="4"/>
          <c:tx>
            <c:strRef>
              <c:f>Лист1!$G$12</c:f>
              <c:strCache>
                <c:ptCount val="1"/>
                <c:pt idx="0">
                  <c:v>2024</c:v>
                </c:pt>
              </c:strCache>
            </c:strRef>
          </c:tx>
          <c:spPr>
            <a:solidFill>
              <a:schemeClr val="accent1">
                <a:lumMod val="20000"/>
                <a:lumOff val="80000"/>
              </a:schemeClr>
            </a:solidFill>
            <a:ln>
              <a:solidFill>
                <a:schemeClr val="accent1">
                  <a:lumMod val="20000"/>
                  <a:lumOff val="80000"/>
                </a:schemeClr>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B$13:$B$18</c:f>
              <c:strCache>
                <c:ptCount val="6"/>
                <c:pt idx="0">
                  <c:v>Indonesia</c:v>
                </c:pt>
                <c:pt idx="1">
                  <c:v>Singapore</c:v>
                </c:pt>
                <c:pt idx="2">
                  <c:v>Thailand</c:v>
                </c:pt>
                <c:pt idx="3">
                  <c:v>Vietnam</c:v>
                </c:pt>
                <c:pt idx="4">
                  <c:v>Philippines</c:v>
                </c:pt>
                <c:pt idx="5">
                  <c:v>Malaysia</c:v>
                </c:pt>
              </c:strCache>
            </c:strRef>
          </c:cat>
          <c:val>
            <c:numRef>
              <c:f>Лист1!$G$13:$G$18</c:f>
              <c:numCache>
                <c:formatCode>#\ ##0.0</c:formatCode>
                <c:ptCount val="6"/>
                <c:pt idx="0">
                  <c:v>24</c:v>
                </c:pt>
                <c:pt idx="1">
                  <c:v>143</c:v>
                </c:pt>
                <c:pt idx="2">
                  <c:v>11</c:v>
                </c:pt>
                <c:pt idx="3">
                  <c:v>20</c:v>
                </c:pt>
                <c:pt idx="4">
                  <c:v>9</c:v>
                </c:pt>
                <c:pt idx="5">
                  <c:v>11</c:v>
                </c:pt>
              </c:numCache>
            </c:numRef>
          </c:val>
          <c:extLst>
            <c:ext xmlns:c16="http://schemas.microsoft.com/office/drawing/2014/chart" uri="{C3380CC4-5D6E-409C-BE32-E72D297353CC}">
              <c16:uniqueId val="{00000004-BC92-48E1-8FBA-803B8C71846B}"/>
            </c:ext>
          </c:extLst>
        </c:ser>
        <c:dLbls>
          <c:showLegendKey val="0"/>
          <c:showVal val="0"/>
          <c:showCatName val="0"/>
          <c:showSerName val="0"/>
          <c:showPercent val="0"/>
          <c:showBubbleSize val="0"/>
        </c:dLbls>
        <c:gapWidth val="219"/>
        <c:overlap val="-27"/>
        <c:axId val="286099152"/>
        <c:axId val="286099544"/>
      </c:barChart>
      <c:catAx>
        <c:axId val="286099152"/>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286099544"/>
        <c:crosses val="autoZero"/>
        <c:auto val="1"/>
        <c:lblAlgn val="ctr"/>
        <c:lblOffset val="100"/>
        <c:noMultiLvlLbl val="0"/>
      </c:catAx>
      <c:valAx>
        <c:axId val="286099544"/>
        <c:scaling>
          <c:orientation val="minMax"/>
        </c:scaling>
        <c:delete val="1"/>
        <c:axPos val="l"/>
        <c:numFmt formatCode="#\ ##0.0" sourceLinked="1"/>
        <c:majorTickMark val="none"/>
        <c:minorTickMark val="none"/>
        <c:tickLblPos val="nextTo"/>
        <c:crossAx val="286099152"/>
        <c:crosses val="autoZero"/>
        <c:crossBetween val="between"/>
      </c:valAx>
      <c:spPr>
        <a:noFill/>
        <a:ln>
          <a:noFill/>
        </a:ln>
        <a:effectLst/>
      </c:spPr>
    </c:plotArea>
    <c:legend>
      <c:legendPos val="b"/>
      <c:layout>
        <c:manualLayout>
          <c:xMode val="edge"/>
          <c:yMode val="edge"/>
          <c:x val="0.14683505397852822"/>
          <c:y val="0.9000026848243402"/>
          <c:w val="0.69156014394274201"/>
          <c:h val="7.37686466213551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ru-RU"/>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346919326443871E-2"/>
          <c:y val="6.8208468421103868E-2"/>
          <c:w val="0.95353064790151953"/>
          <c:h val="0.64253838439894462"/>
        </c:manualLayout>
      </c:layout>
      <c:barChart>
        <c:barDir val="col"/>
        <c:grouping val="clustered"/>
        <c:varyColors val="0"/>
        <c:ser>
          <c:idx val="0"/>
          <c:order val="0"/>
          <c:tx>
            <c:strRef>
              <c:f>Лист1!$B$1</c:f>
              <c:strCache>
                <c:ptCount val="1"/>
                <c:pt idx="0">
                  <c:v>2020</c:v>
                </c:pt>
              </c:strCache>
            </c:strRef>
          </c:tx>
          <c:spPr>
            <a:solidFill>
              <a:schemeClr val="accent1">
                <a:lumMod val="50000"/>
              </a:schemeClr>
            </a:solidFill>
            <a:ln>
              <a:solidFill>
                <a:schemeClr val="accent1">
                  <a:lumMod val="50000"/>
                </a:schemeClr>
              </a:solidFill>
            </a:ln>
            <a:effectLst/>
          </c:spPr>
          <c:invertIfNegative val="0"/>
          <c:dLbls>
            <c:dLbl>
              <c:idx val="0"/>
              <c:layout>
                <c:manualLayout>
                  <c:x val="-1.2673459663221939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641-4079-8AAB-4F5BDB3D5EA7}"/>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7</c:f>
              <c:strCache>
                <c:ptCount val="6"/>
                <c:pt idx="0">
                  <c:v>Indonesia</c:v>
                </c:pt>
                <c:pt idx="1">
                  <c:v>Singapore</c:v>
                </c:pt>
                <c:pt idx="2">
                  <c:v>Thailand</c:v>
                </c:pt>
                <c:pt idx="3">
                  <c:v>Vietnam</c:v>
                </c:pt>
                <c:pt idx="4">
                  <c:v>Philippines</c:v>
                </c:pt>
                <c:pt idx="5">
                  <c:v>Malaysia</c:v>
                </c:pt>
              </c:strCache>
            </c:strRef>
          </c:cat>
          <c:val>
            <c:numRef>
              <c:f>Лист1!$B$2:$B$7</c:f>
              <c:numCache>
                <c:formatCode>General</c:formatCode>
                <c:ptCount val="6"/>
                <c:pt idx="0" formatCode="#,##0">
                  <c:v>1059</c:v>
                </c:pt>
                <c:pt idx="1">
                  <c:v>349</c:v>
                </c:pt>
                <c:pt idx="2">
                  <c:v>500</c:v>
                </c:pt>
                <c:pt idx="3">
                  <c:v>347</c:v>
                </c:pt>
                <c:pt idx="4">
                  <c:v>362</c:v>
                </c:pt>
                <c:pt idx="5">
                  <c:v>337</c:v>
                </c:pt>
              </c:numCache>
            </c:numRef>
          </c:val>
          <c:extLst>
            <c:ext xmlns:c16="http://schemas.microsoft.com/office/drawing/2014/chart" uri="{C3380CC4-5D6E-409C-BE32-E72D297353CC}">
              <c16:uniqueId val="{00000000-C641-4079-8AAB-4F5BDB3D5EA7}"/>
            </c:ext>
          </c:extLst>
        </c:ser>
        <c:ser>
          <c:idx val="1"/>
          <c:order val="1"/>
          <c:tx>
            <c:strRef>
              <c:f>Лист1!$C$1</c:f>
              <c:strCache>
                <c:ptCount val="1"/>
                <c:pt idx="0">
                  <c:v>2021</c:v>
                </c:pt>
              </c:strCache>
            </c:strRef>
          </c:tx>
          <c:spPr>
            <a:solidFill>
              <a:schemeClr val="accent1">
                <a:lumMod val="75000"/>
              </a:schemeClr>
            </a:solidFill>
            <a:ln>
              <a:solidFill>
                <a:schemeClr val="accent1">
                  <a:lumMod val="75000"/>
                </a:schemeClr>
              </a:solidFill>
            </a:ln>
            <a:effectLst/>
          </c:spPr>
          <c:invertIfNegative val="0"/>
          <c:cat>
            <c:strRef>
              <c:f>Лист1!$A$2:$A$7</c:f>
              <c:strCache>
                <c:ptCount val="6"/>
                <c:pt idx="0">
                  <c:v>Indonesia</c:v>
                </c:pt>
                <c:pt idx="1">
                  <c:v>Singapore</c:v>
                </c:pt>
                <c:pt idx="2">
                  <c:v>Thailand</c:v>
                </c:pt>
                <c:pt idx="3">
                  <c:v>Vietnam</c:v>
                </c:pt>
                <c:pt idx="4">
                  <c:v>Philippines</c:v>
                </c:pt>
                <c:pt idx="5">
                  <c:v>Malaysia</c:v>
                </c:pt>
              </c:strCache>
            </c:strRef>
          </c:cat>
          <c:val>
            <c:numRef>
              <c:f>Лист1!$C$2:$C$7</c:f>
              <c:numCache>
                <c:formatCode>General</c:formatCode>
                <c:ptCount val="6"/>
                <c:pt idx="0" formatCode="#,##0">
                  <c:v>1187</c:v>
                </c:pt>
                <c:pt idx="1">
                  <c:v>437</c:v>
                </c:pt>
                <c:pt idx="2">
                  <c:v>506</c:v>
                </c:pt>
                <c:pt idx="3">
                  <c:v>366</c:v>
                </c:pt>
                <c:pt idx="4">
                  <c:v>394</c:v>
                </c:pt>
                <c:pt idx="5">
                  <c:v>374</c:v>
                </c:pt>
              </c:numCache>
            </c:numRef>
          </c:val>
          <c:extLst>
            <c:ext xmlns:c16="http://schemas.microsoft.com/office/drawing/2014/chart" uri="{C3380CC4-5D6E-409C-BE32-E72D297353CC}">
              <c16:uniqueId val="{00000001-C641-4079-8AAB-4F5BDB3D5EA7}"/>
            </c:ext>
          </c:extLst>
        </c:ser>
        <c:ser>
          <c:idx val="2"/>
          <c:order val="2"/>
          <c:tx>
            <c:strRef>
              <c:f>Лист1!$D$1</c:f>
              <c:strCache>
                <c:ptCount val="1"/>
                <c:pt idx="0">
                  <c:v>2022</c:v>
                </c:pt>
              </c:strCache>
            </c:strRef>
          </c:tx>
          <c:spPr>
            <a:solidFill>
              <a:schemeClr val="accent1">
                <a:lumMod val="60000"/>
                <a:lumOff val="40000"/>
              </a:schemeClr>
            </a:solidFill>
            <a:ln>
              <a:solidFill>
                <a:schemeClr val="accent1">
                  <a:lumMod val="60000"/>
                  <a:lumOff val="40000"/>
                </a:schemeClr>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7</c:f>
              <c:strCache>
                <c:ptCount val="6"/>
                <c:pt idx="0">
                  <c:v>Indonesia</c:v>
                </c:pt>
                <c:pt idx="1">
                  <c:v>Singapore</c:v>
                </c:pt>
                <c:pt idx="2">
                  <c:v>Thailand</c:v>
                </c:pt>
                <c:pt idx="3">
                  <c:v>Vietnam</c:v>
                </c:pt>
                <c:pt idx="4">
                  <c:v>Philippines</c:v>
                </c:pt>
                <c:pt idx="5">
                  <c:v>Malaysia</c:v>
                </c:pt>
              </c:strCache>
            </c:strRef>
          </c:cat>
          <c:val>
            <c:numRef>
              <c:f>Лист1!$D$2:$D$7</c:f>
              <c:numCache>
                <c:formatCode>General</c:formatCode>
                <c:ptCount val="6"/>
                <c:pt idx="0" formatCode="#,##0">
                  <c:v>1319</c:v>
                </c:pt>
                <c:pt idx="1">
                  <c:v>509</c:v>
                </c:pt>
                <c:pt idx="2">
                  <c:v>495</c:v>
                </c:pt>
                <c:pt idx="3">
                  <c:v>413</c:v>
                </c:pt>
                <c:pt idx="4">
                  <c:v>404</c:v>
                </c:pt>
                <c:pt idx="5">
                  <c:v>408</c:v>
                </c:pt>
              </c:numCache>
            </c:numRef>
          </c:val>
          <c:extLst>
            <c:ext xmlns:c16="http://schemas.microsoft.com/office/drawing/2014/chart" uri="{C3380CC4-5D6E-409C-BE32-E72D297353CC}">
              <c16:uniqueId val="{00000002-C641-4079-8AAB-4F5BDB3D5EA7}"/>
            </c:ext>
          </c:extLst>
        </c:ser>
        <c:ser>
          <c:idx val="3"/>
          <c:order val="3"/>
          <c:tx>
            <c:strRef>
              <c:f>Лист1!$E$1</c:f>
              <c:strCache>
                <c:ptCount val="1"/>
                <c:pt idx="0">
                  <c:v>2023</c:v>
                </c:pt>
              </c:strCache>
            </c:strRef>
          </c:tx>
          <c:spPr>
            <a:solidFill>
              <a:schemeClr val="accent1">
                <a:lumMod val="40000"/>
                <a:lumOff val="60000"/>
              </a:schemeClr>
            </a:solidFill>
            <a:ln>
              <a:solidFill>
                <a:schemeClr val="accent1">
                  <a:lumMod val="40000"/>
                  <a:lumOff val="60000"/>
                </a:schemeClr>
              </a:solidFill>
            </a:ln>
            <a:effectLst/>
          </c:spPr>
          <c:invertIfNegative val="0"/>
          <c:cat>
            <c:strRef>
              <c:f>Лист1!$A$2:$A$7</c:f>
              <c:strCache>
                <c:ptCount val="6"/>
                <c:pt idx="0">
                  <c:v>Indonesia</c:v>
                </c:pt>
                <c:pt idx="1">
                  <c:v>Singapore</c:v>
                </c:pt>
                <c:pt idx="2">
                  <c:v>Thailand</c:v>
                </c:pt>
                <c:pt idx="3">
                  <c:v>Vietnam</c:v>
                </c:pt>
                <c:pt idx="4">
                  <c:v>Philippines</c:v>
                </c:pt>
                <c:pt idx="5">
                  <c:v>Malaysia</c:v>
                </c:pt>
              </c:strCache>
            </c:strRef>
          </c:cat>
          <c:val>
            <c:numRef>
              <c:f>Лист1!$E$2:$E$7</c:f>
              <c:numCache>
                <c:formatCode>General</c:formatCode>
                <c:ptCount val="6"/>
                <c:pt idx="0" formatCode="#,##0">
                  <c:v>1371</c:v>
                </c:pt>
                <c:pt idx="1">
                  <c:v>505</c:v>
                </c:pt>
                <c:pt idx="2">
                  <c:v>516</c:v>
                </c:pt>
                <c:pt idx="3">
                  <c:v>434</c:v>
                </c:pt>
                <c:pt idx="4">
                  <c:v>437</c:v>
                </c:pt>
                <c:pt idx="5">
                  <c:v>400</c:v>
                </c:pt>
              </c:numCache>
            </c:numRef>
          </c:val>
          <c:extLst>
            <c:ext xmlns:c16="http://schemas.microsoft.com/office/drawing/2014/chart" uri="{C3380CC4-5D6E-409C-BE32-E72D297353CC}">
              <c16:uniqueId val="{00000003-C641-4079-8AAB-4F5BDB3D5EA7}"/>
            </c:ext>
          </c:extLst>
        </c:ser>
        <c:ser>
          <c:idx val="4"/>
          <c:order val="4"/>
          <c:tx>
            <c:strRef>
              <c:f>Лист1!$F$1</c:f>
              <c:strCache>
                <c:ptCount val="1"/>
                <c:pt idx="0">
                  <c:v>2024</c:v>
                </c:pt>
              </c:strCache>
            </c:strRef>
          </c:tx>
          <c:spPr>
            <a:solidFill>
              <a:schemeClr val="accent1">
                <a:lumMod val="20000"/>
                <a:lumOff val="80000"/>
              </a:schemeClr>
            </a:solidFill>
            <a:ln>
              <a:solidFill>
                <a:schemeClr val="accent1">
                  <a:lumMod val="20000"/>
                  <a:lumOff val="80000"/>
                </a:schemeClr>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7</c:f>
              <c:strCache>
                <c:ptCount val="6"/>
                <c:pt idx="0">
                  <c:v>Indonesia</c:v>
                </c:pt>
                <c:pt idx="1">
                  <c:v>Singapore</c:v>
                </c:pt>
                <c:pt idx="2">
                  <c:v>Thailand</c:v>
                </c:pt>
                <c:pt idx="3">
                  <c:v>Vietnam</c:v>
                </c:pt>
                <c:pt idx="4">
                  <c:v>Philippines</c:v>
                </c:pt>
                <c:pt idx="5">
                  <c:v>Malaysia</c:v>
                </c:pt>
              </c:strCache>
            </c:strRef>
          </c:cat>
          <c:val>
            <c:numRef>
              <c:f>Лист1!$F$2:$F$7</c:f>
              <c:numCache>
                <c:formatCode>General</c:formatCode>
                <c:ptCount val="6"/>
                <c:pt idx="0" formatCode="#,##0">
                  <c:v>1396</c:v>
                </c:pt>
                <c:pt idx="1">
                  <c:v>547</c:v>
                </c:pt>
                <c:pt idx="2">
                  <c:v>526</c:v>
                </c:pt>
                <c:pt idx="3">
                  <c:v>476</c:v>
                </c:pt>
                <c:pt idx="4">
                  <c:v>462</c:v>
                </c:pt>
                <c:pt idx="5">
                  <c:v>422</c:v>
                </c:pt>
              </c:numCache>
            </c:numRef>
          </c:val>
          <c:extLst>
            <c:ext xmlns:c16="http://schemas.microsoft.com/office/drawing/2014/chart" uri="{C3380CC4-5D6E-409C-BE32-E72D297353CC}">
              <c16:uniqueId val="{00000004-C641-4079-8AAB-4F5BDB3D5EA7}"/>
            </c:ext>
          </c:extLst>
        </c:ser>
        <c:dLbls>
          <c:showLegendKey val="0"/>
          <c:showVal val="0"/>
          <c:showCatName val="0"/>
          <c:showSerName val="0"/>
          <c:showPercent val="0"/>
          <c:showBubbleSize val="0"/>
        </c:dLbls>
        <c:gapWidth val="219"/>
        <c:overlap val="-27"/>
        <c:axId val="1559549296"/>
        <c:axId val="1559547216"/>
      </c:barChart>
      <c:catAx>
        <c:axId val="15595492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1559547216"/>
        <c:crosses val="autoZero"/>
        <c:auto val="1"/>
        <c:lblAlgn val="ctr"/>
        <c:lblOffset val="100"/>
        <c:noMultiLvlLbl val="0"/>
      </c:catAx>
      <c:valAx>
        <c:axId val="1559547216"/>
        <c:scaling>
          <c:orientation val="minMax"/>
        </c:scaling>
        <c:delete val="1"/>
        <c:axPos val="l"/>
        <c:numFmt formatCode="#,##0" sourceLinked="1"/>
        <c:majorTickMark val="none"/>
        <c:minorTickMark val="none"/>
        <c:tickLblPos val="nextTo"/>
        <c:crossAx val="1559549296"/>
        <c:crosses val="autoZero"/>
        <c:crossBetween val="between"/>
      </c:valAx>
      <c:spPr>
        <a:noFill/>
        <a:ln w="25400">
          <a:noFill/>
        </a:ln>
        <a:effectLst/>
      </c:spPr>
    </c:plotArea>
    <c:legend>
      <c:legendPos val="b"/>
      <c:layout>
        <c:manualLayout>
          <c:xMode val="edge"/>
          <c:yMode val="edge"/>
          <c:x val="0.29165472639381029"/>
          <c:y val="0.86254870461781119"/>
          <c:w val="0.41669038089401111"/>
          <c:h val="8.7992133267128153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legend>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Лист1!$B$1</c:f>
              <c:strCache>
                <c:ptCount val="1"/>
                <c:pt idx="0">
                  <c:v>Ряд 1</c:v>
                </c:pt>
              </c:strCache>
            </c:strRef>
          </c:tx>
          <c:spPr>
            <a:solidFill>
              <a:schemeClr val="accent1"/>
            </a:solidFill>
            <a:ln>
              <a:noFill/>
            </a:ln>
            <a:effectLst/>
          </c:spPr>
          <c:invertIfNegative val="0"/>
          <c:dLbls>
            <c:dLbl>
              <c:idx val="0"/>
              <c:layout>
                <c:manualLayout>
                  <c:x val="7.0761965846001632E-18"/>
                  <c:y val="5.307907388857852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587-415A-93DC-DCDA760941E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1"/>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11</c:f>
              <c:numCache>
                <c:formatCode>General</c:formatCode>
                <c:ptCount val="10"/>
                <c:pt idx="0">
                  <c:v>2015</c:v>
                </c:pt>
                <c:pt idx="1">
                  <c:v>2016</c:v>
                </c:pt>
                <c:pt idx="2">
                  <c:v>2017</c:v>
                </c:pt>
                <c:pt idx="3">
                  <c:v>2018</c:v>
                </c:pt>
                <c:pt idx="4">
                  <c:v>2019</c:v>
                </c:pt>
                <c:pt idx="5">
                  <c:v>2020</c:v>
                </c:pt>
                <c:pt idx="6">
                  <c:v>2021</c:v>
                </c:pt>
                <c:pt idx="7">
                  <c:v>2022</c:v>
                </c:pt>
                <c:pt idx="8">
                  <c:v>2023</c:v>
                </c:pt>
                <c:pt idx="9">
                  <c:v>2024</c:v>
                </c:pt>
              </c:numCache>
            </c:numRef>
          </c:cat>
          <c:val>
            <c:numRef>
              <c:f>Лист1!$B$2:$B$11</c:f>
              <c:numCache>
                <c:formatCode>General</c:formatCode>
                <c:ptCount val="10"/>
                <c:pt idx="0">
                  <c:v>9.5</c:v>
                </c:pt>
                <c:pt idx="1">
                  <c:v>180.2</c:v>
                </c:pt>
                <c:pt idx="2">
                  <c:v>61.4</c:v>
                </c:pt>
                <c:pt idx="3">
                  <c:v>21.6</c:v>
                </c:pt>
                <c:pt idx="4">
                  <c:v>169.5</c:v>
                </c:pt>
                <c:pt idx="5">
                  <c:v>150.69999999999999</c:v>
                </c:pt>
                <c:pt idx="6">
                  <c:v>71</c:v>
                </c:pt>
                <c:pt idx="7">
                  <c:v>405.1</c:v>
                </c:pt>
                <c:pt idx="8">
                  <c:v>457.5</c:v>
                </c:pt>
                <c:pt idx="9">
                  <c:v>709.8</c:v>
                </c:pt>
              </c:numCache>
            </c:numRef>
          </c:val>
          <c:extLst>
            <c:ext xmlns:c16="http://schemas.microsoft.com/office/drawing/2014/chart" uri="{C3380CC4-5D6E-409C-BE32-E72D297353CC}">
              <c16:uniqueId val="{00000000-0587-415A-93DC-DCDA760941EA}"/>
            </c:ext>
          </c:extLst>
        </c:ser>
        <c:dLbls>
          <c:showLegendKey val="0"/>
          <c:showVal val="0"/>
          <c:showCatName val="0"/>
          <c:showSerName val="0"/>
          <c:showPercent val="0"/>
          <c:showBubbleSize val="0"/>
        </c:dLbls>
        <c:gapWidth val="219"/>
        <c:overlap val="-27"/>
        <c:axId val="1405463344"/>
        <c:axId val="1405465840"/>
      </c:barChart>
      <c:catAx>
        <c:axId val="1405463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1405465840"/>
        <c:crosses val="autoZero"/>
        <c:auto val="1"/>
        <c:lblAlgn val="ctr"/>
        <c:lblOffset val="100"/>
        <c:noMultiLvlLbl val="0"/>
      </c:catAx>
      <c:valAx>
        <c:axId val="1405465840"/>
        <c:scaling>
          <c:orientation val="minMax"/>
        </c:scaling>
        <c:delete val="1"/>
        <c:axPos val="l"/>
        <c:numFmt formatCode="General" sourceLinked="1"/>
        <c:majorTickMark val="none"/>
        <c:minorTickMark val="none"/>
        <c:tickLblPos val="nextTo"/>
        <c:crossAx val="140546334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doughnutChart>
        <c:varyColors val="1"/>
        <c:ser>
          <c:idx val="0"/>
          <c:order val="0"/>
          <c:tx>
            <c:strRef>
              <c:f>Лист1!$B$1</c:f>
              <c:strCache>
                <c:ptCount val="1"/>
                <c:pt idx="0">
                  <c:v>Продажи</c:v>
                </c:pt>
              </c:strCache>
            </c:strRef>
          </c:tx>
          <c:dPt>
            <c:idx val="0"/>
            <c:bubble3D val="0"/>
            <c:spPr>
              <a:solidFill>
                <a:schemeClr val="accent1">
                  <a:shade val="44000"/>
                </a:schemeClr>
              </a:solidFill>
              <a:ln w="19050">
                <a:solidFill>
                  <a:schemeClr val="lt1"/>
                </a:solidFill>
              </a:ln>
              <a:effectLst/>
            </c:spPr>
            <c:extLst>
              <c:ext xmlns:c16="http://schemas.microsoft.com/office/drawing/2014/chart" uri="{C3380CC4-5D6E-409C-BE32-E72D297353CC}">
                <c16:uniqueId val="{00000001-ECB1-4085-9FF2-CA0652B502CB}"/>
              </c:ext>
            </c:extLst>
          </c:dPt>
          <c:dPt>
            <c:idx val="1"/>
            <c:bubble3D val="0"/>
            <c:spPr>
              <a:solidFill>
                <a:schemeClr val="accent1">
                  <a:shade val="58000"/>
                </a:schemeClr>
              </a:solidFill>
              <a:ln w="19050">
                <a:solidFill>
                  <a:schemeClr val="lt1"/>
                </a:solidFill>
              </a:ln>
              <a:effectLst/>
            </c:spPr>
            <c:extLst>
              <c:ext xmlns:c16="http://schemas.microsoft.com/office/drawing/2014/chart" uri="{C3380CC4-5D6E-409C-BE32-E72D297353CC}">
                <c16:uniqueId val="{00000003-ECB1-4085-9FF2-CA0652B502CB}"/>
              </c:ext>
            </c:extLst>
          </c:dPt>
          <c:dPt>
            <c:idx val="2"/>
            <c:bubble3D val="0"/>
            <c:spPr>
              <a:solidFill>
                <a:schemeClr val="accent1">
                  <a:shade val="72000"/>
                </a:schemeClr>
              </a:solidFill>
              <a:ln w="19050">
                <a:solidFill>
                  <a:schemeClr val="lt1"/>
                </a:solidFill>
              </a:ln>
              <a:effectLst/>
            </c:spPr>
            <c:extLst>
              <c:ext xmlns:c16="http://schemas.microsoft.com/office/drawing/2014/chart" uri="{C3380CC4-5D6E-409C-BE32-E72D297353CC}">
                <c16:uniqueId val="{00000005-ECB1-4085-9FF2-CA0652B502CB}"/>
              </c:ext>
            </c:extLst>
          </c:dPt>
          <c:dPt>
            <c:idx val="3"/>
            <c:bubble3D val="0"/>
            <c:spPr>
              <a:solidFill>
                <a:schemeClr val="accent1">
                  <a:shade val="86000"/>
                </a:schemeClr>
              </a:solidFill>
              <a:ln w="19050">
                <a:solidFill>
                  <a:schemeClr val="lt1"/>
                </a:solidFill>
              </a:ln>
              <a:effectLst/>
            </c:spPr>
            <c:extLst>
              <c:ext xmlns:c16="http://schemas.microsoft.com/office/drawing/2014/chart" uri="{C3380CC4-5D6E-409C-BE32-E72D297353CC}">
                <c16:uniqueId val="{00000007-ECB1-4085-9FF2-CA0652B502CB}"/>
              </c:ext>
            </c:extLst>
          </c:dPt>
          <c:dPt>
            <c:idx val="4"/>
            <c:bubble3D val="0"/>
            <c:spPr>
              <a:solidFill>
                <a:schemeClr val="accent1"/>
              </a:solidFill>
              <a:ln w="19050">
                <a:solidFill>
                  <a:schemeClr val="lt1"/>
                </a:solidFill>
              </a:ln>
              <a:effectLst/>
            </c:spPr>
            <c:extLst>
              <c:ext xmlns:c16="http://schemas.microsoft.com/office/drawing/2014/chart" uri="{C3380CC4-5D6E-409C-BE32-E72D297353CC}">
                <c16:uniqueId val="{00000009-ECB1-4085-9FF2-CA0652B502CB}"/>
              </c:ext>
            </c:extLst>
          </c:dPt>
          <c:dPt>
            <c:idx val="5"/>
            <c:bubble3D val="0"/>
            <c:spPr>
              <a:solidFill>
                <a:schemeClr val="accent1">
                  <a:tint val="86000"/>
                </a:schemeClr>
              </a:solidFill>
              <a:ln w="19050">
                <a:solidFill>
                  <a:schemeClr val="lt1"/>
                </a:solidFill>
              </a:ln>
              <a:effectLst/>
            </c:spPr>
            <c:extLst>
              <c:ext xmlns:c16="http://schemas.microsoft.com/office/drawing/2014/chart" uri="{C3380CC4-5D6E-409C-BE32-E72D297353CC}">
                <c16:uniqueId val="{0000000B-ECB1-4085-9FF2-CA0652B502CB}"/>
              </c:ext>
            </c:extLst>
          </c:dPt>
          <c:dPt>
            <c:idx val="6"/>
            <c:bubble3D val="0"/>
            <c:spPr>
              <a:solidFill>
                <a:schemeClr val="accent1">
                  <a:tint val="72000"/>
                </a:schemeClr>
              </a:solidFill>
              <a:ln w="19050">
                <a:solidFill>
                  <a:schemeClr val="lt1"/>
                </a:solidFill>
              </a:ln>
              <a:effectLst/>
            </c:spPr>
            <c:extLst>
              <c:ext xmlns:c16="http://schemas.microsoft.com/office/drawing/2014/chart" uri="{C3380CC4-5D6E-409C-BE32-E72D297353CC}">
                <c16:uniqueId val="{0000000D-ECB1-4085-9FF2-CA0652B502CB}"/>
              </c:ext>
            </c:extLst>
          </c:dPt>
          <c:dPt>
            <c:idx val="7"/>
            <c:bubble3D val="0"/>
            <c:spPr>
              <a:solidFill>
                <a:schemeClr val="accent1">
                  <a:tint val="58000"/>
                </a:schemeClr>
              </a:solidFill>
              <a:ln w="19050">
                <a:solidFill>
                  <a:schemeClr val="lt1"/>
                </a:solidFill>
              </a:ln>
              <a:effectLst/>
            </c:spPr>
            <c:extLst>
              <c:ext xmlns:c16="http://schemas.microsoft.com/office/drawing/2014/chart" uri="{C3380CC4-5D6E-409C-BE32-E72D297353CC}">
                <c16:uniqueId val="{0000000F-ECB1-4085-9FF2-CA0652B502CB}"/>
              </c:ext>
            </c:extLst>
          </c:dPt>
          <c:dLbls>
            <c:dLbl>
              <c:idx val="0"/>
              <c:layout>
                <c:manualLayout>
                  <c:x val="0.15438395715778128"/>
                  <c:y val="-4.2510751506640292E-2"/>
                </c:manualLayout>
              </c:layout>
              <c:tx>
                <c:rich>
                  <a:bodyPr/>
                  <a:lstStyle/>
                  <a:p>
                    <a:fld id="{0D0C0D1C-61CD-4F9A-A467-6A7B473D0964}" type="CATEGORYNAME">
                      <a:rPr lang="en-US"/>
                      <a:pPr/>
                      <a:t>[NAZWA KATEGORII]</a:t>
                    </a:fld>
                    <a:endParaRPr lang="en-US"/>
                  </a:p>
                  <a:p>
                    <a:r>
                      <a:rPr lang="en-US" baseline="0"/>
                      <a:t> </a:t>
                    </a:r>
                    <a:fld id="{B6E6BBFD-4EAA-46D1-95CB-D909CE637160}" type="VALUE">
                      <a:rPr lang="en-US" baseline="0"/>
                      <a:pPr/>
                      <a:t>[WARTOŚĆ]</a:t>
                    </a:fld>
                    <a:endParaRPr lang="en-US" baseline="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ECB1-4085-9FF2-CA0652B502CB}"/>
                </c:ext>
              </c:extLst>
            </c:dLbl>
            <c:dLbl>
              <c:idx val="1"/>
              <c:layout>
                <c:manualLayout>
                  <c:x val="0.11574074074074074"/>
                  <c:y val="7.9365079365079361E-3"/>
                </c:manualLayout>
              </c:layout>
              <c:tx>
                <c:rich>
                  <a:bodyPr/>
                  <a:lstStyle/>
                  <a:p>
                    <a:fld id="{35311122-42C5-4EC0-AD77-4ADB88720E11}" type="CATEGORYNAME">
                      <a:rPr lang="en-US"/>
                      <a:pPr/>
                      <a:t>[NAZWA KATEGORII]</a:t>
                    </a:fld>
                    <a:endParaRPr lang="en-US" baseline="0"/>
                  </a:p>
                  <a:p>
                    <a:fld id="{59DB7156-B217-47EE-9A4F-05E5CDF70F15}" type="VALUE">
                      <a:rPr lang="en-US" baseline="0"/>
                      <a:pPr/>
                      <a:t>[WARTOŚĆ]</a:t>
                    </a:fld>
                    <a:endParaRPr lang="pl-PL"/>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ECB1-4085-9FF2-CA0652B502CB}"/>
                </c:ext>
              </c:extLst>
            </c:dLbl>
            <c:dLbl>
              <c:idx val="2"/>
              <c:layout>
                <c:manualLayout>
                  <c:x val="0.12731481481481466"/>
                  <c:y val="7.9365079365079361E-2"/>
                </c:manualLayout>
              </c:layout>
              <c:tx>
                <c:rich>
                  <a:bodyPr/>
                  <a:lstStyle/>
                  <a:p>
                    <a:fld id="{043F1AE3-7014-4CA9-ABF2-BF68EBC8BA77}" type="CATEGORYNAME">
                      <a:rPr lang="en-US"/>
                      <a:pPr/>
                      <a:t>[NAZWA KATEGORII]</a:t>
                    </a:fld>
                    <a:endParaRPr lang="en-US"/>
                  </a:p>
                  <a:p>
                    <a:fld id="{2C1F6B9B-6A57-47EB-9037-0E649008A8E4}" type="VALUE">
                      <a:rPr lang="en-US" baseline="0"/>
                      <a:pPr/>
                      <a:t>[WARTOŚĆ]</a:t>
                    </a:fld>
                    <a:endParaRPr lang="pl-PL"/>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ECB1-4085-9FF2-CA0652B502CB}"/>
                </c:ext>
              </c:extLst>
            </c:dLbl>
            <c:dLbl>
              <c:idx val="3"/>
              <c:layout>
                <c:manualLayout>
                  <c:x val="-1.6429274163829565E-3"/>
                  <c:y val="9.9776483011100814E-2"/>
                </c:manualLayout>
              </c:layout>
              <c:tx>
                <c:rich>
                  <a:bodyPr/>
                  <a:lstStyle/>
                  <a:p>
                    <a:fld id="{B2E869C2-6CCC-4185-86A3-EE8D0B3A3C86}" type="CATEGORYNAME">
                      <a:rPr lang="en-US"/>
                      <a:pPr/>
                      <a:t>[NAZWA KATEGORII]</a:t>
                    </a:fld>
                    <a:endParaRPr lang="en-US" baseline="0"/>
                  </a:p>
                  <a:p>
                    <a:fld id="{DF2DB6E7-1B29-4BC1-8560-49637C591CEC}" type="VALUE">
                      <a:rPr lang="en-US" baseline="0"/>
                      <a:pPr/>
                      <a:t>[WARTOŚĆ]</a:t>
                    </a:fld>
                    <a:endParaRPr lang="pl-PL"/>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ECB1-4085-9FF2-CA0652B502CB}"/>
                </c:ext>
              </c:extLst>
            </c:dLbl>
            <c:dLbl>
              <c:idx val="4"/>
              <c:layout>
                <c:manualLayout>
                  <c:x val="-0.10416666666666663"/>
                  <c:y val="8.333333333333319E-2"/>
                </c:manualLayout>
              </c:layout>
              <c:tx>
                <c:rich>
                  <a:bodyPr/>
                  <a:lstStyle/>
                  <a:p>
                    <a:fld id="{0C9E53EE-3058-4544-89EF-E907E263A908}" type="CATEGORYNAME">
                      <a:rPr lang="en-US"/>
                      <a:pPr/>
                      <a:t>[NAZWA KATEGORII]</a:t>
                    </a:fld>
                    <a:endParaRPr lang="en-US" baseline="0"/>
                  </a:p>
                  <a:p>
                    <a:fld id="{EA265DBA-B0AE-4146-807F-06023A42917B}" type="VALUE">
                      <a:rPr lang="en-US" baseline="0"/>
                      <a:pPr/>
                      <a:t>[WARTOŚĆ]</a:t>
                    </a:fld>
                    <a:endParaRPr lang="pl-PL"/>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ECB1-4085-9FF2-CA0652B502CB}"/>
                </c:ext>
              </c:extLst>
            </c:dLbl>
            <c:dLbl>
              <c:idx val="5"/>
              <c:layout>
                <c:manualLayout>
                  <c:x val="-0.13425925925925927"/>
                  <c:y val="5.9523809523809521E-2"/>
                </c:manualLayout>
              </c:layout>
              <c:tx>
                <c:rich>
                  <a:bodyPr/>
                  <a:lstStyle/>
                  <a:p>
                    <a:fld id="{2676EDCA-6C0B-489F-903B-A6AD9811D254}" type="CATEGORYNAME">
                      <a:rPr lang="en-US"/>
                      <a:pPr/>
                      <a:t>[NAZWA KATEGORII]</a:t>
                    </a:fld>
                    <a:endParaRPr lang="en-US" baseline="0"/>
                  </a:p>
                  <a:p>
                    <a:fld id="{C009400B-0DEA-4A5A-8F7E-D20F7F79B522}" type="VALUE">
                      <a:rPr lang="en-US" baseline="0"/>
                      <a:pPr/>
                      <a:t>[WARTOŚĆ]</a:t>
                    </a:fld>
                    <a:endParaRPr lang="pl-PL"/>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ECB1-4085-9FF2-CA0652B502CB}"/>
                </c:ext>
              </c:extLst>
            </c:dLbl>
            <c:dLbl>
              <c:idx val="6"/>
              <c:layout>
                <c:manualLayout>
                  <c:x val="-0.14583333333333334"/>
                  <c:y val="2.3809523809523808E-2"/>
                </c:manualLayout>
              </c:layout>
              <c:tx>
                <c:rich>
                  <a:bodyPr/>
                  <a:lstStyle/>
                  <a:p>
                    <a:fld id="{5CF23D5B-DFE4-4F74-8ACE-3C11250D4A76}" type="CATEGORYNAME">
                      <a:rPr lang="en-US"/>
                      <a:pPr/>
                      <a:t>[NAZWA KATEGORII]</a:t>
                    </a:fld>
                    <a:endParaRPr lang="en-US" baseline="0"/>
                  </a:p>
                  <a:p>
                    <a:fld id="{C71AF70F-F37F-4772-8126-E7038553AB6D}" type="VALUE">
                      <a:rPr lang="en-US" baseline="0"/>
                      <a:pPr/>
                      <a:t>[WARTOŚĆ]</a:t>
                    </a:fld>
                    <a:endParaRPr lang="pl-PL"/>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ECB1-4085-9FF2-CA0652B502CB}"/>
                </c:ext>
              </c:extLst>
            </c:dLbl>
            <c:dLbl>
              <c:idx val="7"/>
              <c:layout>
                <c:manualLayout>
                  <c:x val="-0.12962962962962968"/>
                  <c:y val="-9.1269841269841265E-2"/>
                </c:manualLayout>
              </c:layout>
              <c:tx>
                <c:rich>
                  <a:bodyPr/>
                  <a:lstStyle/>
                  <a:p>
                    <a:fld id="{295F53CF-E279-4248-AE85-B105E1C79B6B}" type="CATEGORYNAME">
                      <a:rPr lang="en-US"/>
                      <a:pPr/>
                      <a:t>[NAZWA KATEGORII]</a:t>
                    </a:fld>
                    <a:endParaRPr lang="en-US" baseline="0"/>
                  </a:p>
                  <a:p>
                    <a:fld id="{CA5F0748-2CB4-4BAA-951C-FBB013EAA434}" type="VALUE">
                      <a:rPr lang="en-US" baseline="0"/>
                      <a:pPr/>
                      <a:t>[WARTOŚĆ]</a:t>
                    </a:fld>
                    <a:endParaRPr lang="pl-PL"/>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F-ECB1-4085-9FF2-CA0652B502CB}"/>
                </c:ext>
              </c:extLst>
            </c:dLbl>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Лист1!$A$2:$A$9</c:f>
              <c:strCache>
                <c:ptCount val="8"/>
                <c:pt idx="0">
                  <c:v>Netherlands</c:v>
                </c:pt>
                <c:pt idx="1">
                  <c:v>USA</c:v>
                </c:pt>
                <c:pt idx="2">
                  <c:v>Switzerland</c:v>
                </c:pt>
                <c:pt idx="3">
                  <c:v>China</c:v>
                </c:pt>
                <c:pt idx="4">
                  <c:v>Russia</c:v>
                </c:pt>
                <c:pt idx="5">
                  <c:v>France</c:v>
                </c:pt>
                <c:pt idx="6">
                  <c:v>Other countries</c:v>
                </c:pt>
                <c:pt idx="7">
                  <c:v>Southeast Asian countries</c:v>
                </c:pt>
              </c:strCache>
            </c:strRef>
          </c:cat>
          <c:val>
            <c:numRef>
              <c:f>Лист1!$B$2:$B$9</c:f>
              <c:numCache>
                <c:formatCode>0%</c:formatCode>
                <c:ptCount val="8"/>
                <c:pt idx="0">
                  <c:v>0.28999999999999998</c:v>
                </c:pt>
                <c:pt idx="1">
                  <c:v>0.13</c:v>
                </c:pt>
                <c:pt idx="2">
                  <c:v>0.08</c:v>
                </c:pt>
                <c:pt idx="3">
                  <c:v>0.06</c:v>
                </c:pt>
                <c:pt idx="4">
                  <c:v>0.06</c:v>
                </c:pt>
                <c:pt idx="5">
                  <c:v>0.05</c:v>
                </c:pt>
                <c:pt idx="6">
                  <c:v>0.28899999999999998</c:v>
                </c:pt>
                <c:pt idx="7" formatCode="0.00%">
                  <c:v>4.1000000000000002E-2</c:v>
                </c:pt>
              </c:numCache>
            </c:numRef>
          </c:val>
          <c:extLst>
            <c:ext xmlns:c16="http://schemas.microsoft.com/office/drawing/2014/chart" uri="{C3380CC4-5D6E-409C-BE32-E72D297353CC}">
              <c16:uniqueId val="{00000010-ECB1-4085-9FF2-CA0652B502C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sz="800">
          <a:latin typeface="Century Gothic" panose="020B0502020202020204" pitchFamily="34" charset="0"/>
        </a:defRPr>
      </a:pPr>
      <a:endParaRPr lang="ru-RU"/>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Лист1!$B$1</c:f>
              <c:strCache>
                <c:ptCount val="1"/>
                <c:pt idx="0">
                  <c:v>Ряд 1</c:v>
                </c:pt>
              </c:strCache>
            </c:strRef>
          </c:tx>
          <c:spPr>
            <a:solidFill>
              <a:schemeClr val="accent1"/>
            </a:solidFill>
            <a:ln>
              <a:noFill/>
            </a:ln>
            <a:effectLst/>
          </c:spPr>
          <c:invertIfNegative val="0"/>
          <c:dLbls>
            <c:dLbl>
              <c:idx val="0"/>
              <c:layout>
                <c:manualLayout>
                  <c:x val="0"/>
                  <c:y val="0.3361688611125429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716-4264-A8C3-A86E208A4996}"/>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1"/>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11</c:f>
              <c:numCache>
                <c:formatCode>General</c:formatCode>
                <c:ptCount val="10"/>
                <c:pt idx="0">
                  <c:v>2015</c:v>
                </c:pt>
                <c:pt idx="1">
                  <c:v>2016</c:v>
                </c:pt>
                <c:pt idx="2">
                  <c:v>2017</c:v>
                </c:pt>
                <c:pt idx="3">
                  <c:v>2018</c:v>
                </c:pt>
                <c:pt idx="4">
                  <c:v>2019</c:v>
                </c:pt>
                <c:pt idx="5">
                  <c:v>2020</c:v>
                </c:pt>
                <c:pt idx="6">
                  <c:v>2021</c:v>
                </c:pt>
                <c:pt idx="7">
                  <c:v>2022</c:v>
                </c:pt>
                <c:pt idx="8">
                  <c:v>2023</c:v>
                </c:pt>
                <c:pt idx="9">
                  <c:v>2024</c:v>
                </c:pt>
              </c:numCache>
            </c:numRef>
          </c:cat>
          <c:val>
            <c:numRef>
              <c:f>Лист1!$B$2:$B$11</c:f>
              <c:numCache>
                <c:formatCode>General</c:formatCode>
                <c:ptCount val="10"/>
                <c:pt idx="0">
                  <c:v>-2.4</c:v>
                </c:pt>
                <c:pt idx="1">
                  <c:v>13</c:v>
                </c:pt>
                <c:pt idx="2">
                  <c:v>2.8</c:v>
                </c:pt>
                <c:pt idx="3">
                  <c:v>3.1</c:v>
                </c:pt>
                <c:pt idx="4">
                  <c:v>11.6</c:v>
                </c:pt>
                <c:pt idx="5">
                  <c:v>3.3</c:v>
                </c:pt>
                <c:pt idx="6">
                  <c:v>5.0999999999999996</c:v>
                </c:pt>
                <c:pt idx="7">
                  <c:v>3.8</c:v>
                </c:pt>
                <c:pt idx="8">
                  <c:v>0.9</c:v>
                </c:pt>
                <c:pt idx="9">
                  <c:v>1</c:v>
                </c:pt>
              </c:numCache>
            </c:numRef>
          </c:val>
          <c:extLst>
            <c:ext xmlns:c16="http://schemas.microsoft.com/office/drawing/2014/chart" uri="{C3380CC4-5D6E-409C-BE32-E72D297353CC}">
              <c16:uniqueId val="{00000001-1716-4264-A8C3-A86E208A4996}"/>
            </c:ext>
          </c:extLst>
        </c:ser>
        <c:dLbls>
          <c:showLegendKey val="0"/>
          <c:showVal val="0"/>
          <c:showCatName val="0"/>
          <c:showSerName val="0"/>
          <c:showPercent val="0"/>
          <c:showBubbleSize val="0"/>
        </c:dLbls>
        <c:gapWidth val="219"/>
        <c:overlap val="-27"/>
        <c:axId val="1405463344"/>
        <c:axId val="1405465840"/>
      </c:barChart>
      <c:catAx>
        <c:axId val="1405463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1405465840"/>
        <c:crosses val="autoZero"/>
        <c:auto val="1"/>
        <c:lblAlgn val="ctr"/>
        <c:lblOffset val="100"/>
        <c:noMultiLvlLbl val="0"/>
      </c:catAx>
      <c:valAx>
        <c:axId val="1405465840"/>
        <c:scaling>
          <c:orientation val="minMax"/>
        </c:scaling>
        <c:delete val="1"/>
        <c:axPos val="l"/>
        <c:numFmt formatCode="General" sourceLinked="1"/>
        <c:majorTickMark val="none"/>
        <c:minorTickMark val="none"/>
        <c:tickLblPos val="nextTo"/>
        <c:crossAx val="140546334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Лист1!$B$1</c:f>
              <c:strCache>
                <c:ptCount val="1"/>
                <c:pt idx="0">
                  <c:v>Ряд 1</c:v>
                </c:pt>
              </c:strCache>
            </c:strRef>
          </c:tx>
          <c:spPr>
            <a:solidFill>
              <a:schemeClr val="accent1"/>
            </a:solidFill>
            <a:ln>
              <a:noFill/>
            </a:ln>
            <a:effectLst/>
          </c:spPr>
          <c:invertIfNegative val="0"/>
          <c:dLbls>
            <c:dLbl>
              <c:idx val="0"/>
              <c:layout>
                <c:manualLayout>
                  <c:x val="3.087830543749925E-3"/>
                  <c:y val="1.3931515456319822E-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20-4068-B5F7-0CC4AF4A20EC}"/>
                </c:ext>
              </c:extLst>
            </c:dLbl>
            <c:dLbl>
              <c:idx val="6"/>
              <c:layout>
                <c:manualLayout>
                  <c:x val="0"/>
                  <c:y val="0.3361688611125430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D20-4068-B5F7-0CC4AF4A20EC}"/>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1"/>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11</c:f>
              <c:numCache>
                <c:formatCode>General</c:formatCode>
                <c:ptCount val="10"/>
                <c:pt idx="0">
                  <c:v>2015</c:v>
                </c:pt>
                <c:pt idx="1">
                  <c:v>2016</c:v>
                </c:pt>
                <c:pt idx="2">
                  <c:v>2017</c:v>
                </c:pt>
                <c:pt idx="3">
                  <c:v>2018</c:v>
                </c:pt>
                <c:pt idx="4">
                  <c:v>2019</c:v>
                </c:pt>
                <c:pt idx="5">
                  <c:v>2020</c:v>
                </c:pt>
                <c:pt idx="6">
                  <c:v>2021</c:v>
                </c:pt>
                <c:pt idx="7">
                  <c:v>2022</c:v>
                </c:pt>
                <c:pt idx="8">
                  <c:v>2023</c:v>
                </c:pt>
                <c:pt idx="9">
                  <c:v>2024</c:v>
                </c:pt>
              </c:numCache>
            </c:numRef>
          </c:cat>
          <c:val>
            <c:numRef>
              <c:f>Лист1!$B$2:$B$11</c:f>
              <c:numCache>
                <c:formatCode>General</c:formatCode>
                <c:ptCount val="10"/>
                <c:pt idx="0">
                  <c:v>0</c:v>
                </c:pt>
                <c:pt idx="1">
                  <c:v>0</c:v>
                </c:pt>
                <c:pt idx="2">
                  <c:v>0</c:v>
                </c:pt>
                <c:pt idx="3">
                  <c:v>0.1</c:v>
                </c:pt>
                <c:pt idx="4">
                  <c:v>0.6</c:v>
                </c:pt>
                <c:pt idx="5">
                  <c:v>0.3</c:v>
                </c:pt>
                <c:pt idx="6">
                  <c:v>-0.2</c:v>
                </c:pt>
                <c:pt idx="7">
                  <c:v>0.3</c:v>
                </c:pt>
                <c:pt idx="8">
                  <c:v>1.3</c:v>
                </c:pt>
                <c:pt idx="9">
                  <c:v>1</c:v>
                </c:pt>
              </c:numCache>
            </c:numRef>
          </c:val>
          <c:extLst>
            <c:ext xmlns:c16="http://schemas.microsoft.com/office/drawing/2014/chart" uri="{C3380CC4-5D6E-409C-BE32-E72D297353CC}">
              <c16:uniqueId val="{00000001-2D20-4068-B5F7-0CC4AF4A20EC}"/>
            </c:ext>
          </c:extLst>
        </c:ser>
        <c:dLbls>
          <c:showLegendKey val="0"/>
          <c:showVal val="0"/>
          <c:showCatName val="0"/>
          <c:showSerName val="0"/>
          <c:showPercent val="0"/>
          <c:showBubbleSize val="0"/>
        </c:dLbls>
        <c:gapWidth val="219"/>
        <c:overlap val="-27"/>
        <c:axId val="1405463344"/>
        <c:axId val="1405465840"/>
      </c:barChart>
      <c:catAx>
        <c:axId val="1405463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1405465840"/>
        <c:crosses val="autoZero"/>
        <c:auto val="1"/>
        <c:lblAlgn val="ctr"/>
        <c:lblOffset val="100"/>
        <c:noMultiLvlLbl val="0"/>
      </c:catAx>
      <c:valAx>
        <c:axId val="1405465840"/>
        <c:scaling>
          <c:orientation val="minMax"/>
        </c:scaling>
        <c:delete val="1"/>
        <c:axPos val="l"/>
        <c:numFmt formatCode="General" sourceLinked="1"/>
        <c:majorTickMark val="none"/>
        <c:minorTickMark val="none"/>
        <c:tickLblPos val="nextTo"/>
        <c:crossAx val="140546334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4"/>
          <c:order val="0"/>
          <c:tx>
            <c:strRef>
              <c:f>Лист1!$B$48</c:f>
              <c:strCache>
                <c:ptCount val="1"/>
                <c:pt idx="0">
                  <c:v>Сингапур</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C$46:$G$46</c:f>
              <c:numCache>
                <c:formatCode>General</c:formatCode>
                <c:ptCount val="5"/>
                <c:pt idx="0">
                  <c:v>2020</c:v>
                </c:pt>
                <c:pt idx="1">
                  <c:v>2021</c:v>
                </c:pt>
                <c:pt idx="2">
                  <c:v>2022</c:v>
                </c:pt>
                <c:pt idx="3">
                  <c:v>2023</c:v>
                </c:pt>
                <c:pt idx="4">
                  <c:v>2024</c:v>
                </c:pt>
              </c:numCache>
            </c:numRef>
          </c:cat>
          <c:val>
            <c:numRef>
              <c:f>Лист1!$C$48:$G$48</c:f>
              <c:numCache>
                <c:formatCode>#,##0</c:formatCode>
                <c:ptCount val="5"/>
                <c:pt idx="0">
                  <c:v>71550</c:v>
                </c:pt>
                <c:pt idx="1">
                  <c:v>130955</c:v>
                </c:pt>
                <c:pt idx="2">
                  <c:v>142128</c:v>
                </c:pt>
                <c:pt idx="3">
                  <c:v>135104</c:v>
                </c:pt>
                <c:pt idx="4">
                  <c:v>143352</c:v>
                </c:pt>
              </c:numCache>
            </c:numRef>
          </c:val>
          <c:extLst>
            <c:ext xmlns:c16="http://schemas.microsoft.com/office/drawing/2014/chart" uri="{C3380CC4-5D6E-409C-BE32-E72D297353CC}">
              <c16:uniqueId val="{00000000-7363-4A3D-B2E2-B463C32CA692}"/>
            </c:ext>
          </c:extLst>
        </c:ser>
        <c:dLbls>
          <c:showLegendKey val="0"/>
          <c:showVal val="0"/>
          <c:showCatName val="0"/>
          <c:showSerName val="0"/>
          <c:showPercent val="0"/>
          <c:showBubbleSize val="0"/>
        </c:dLbls>
        <c:gapWidth val="219"/>
        <c:overlap val="-27"/>
        <c:axId val="416843744"/>
        <c:axId val="416841784"/>
      </c:barChart>
      <c:catAx>
        <c:axId val="4168437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416841784"/>
        <c:crosses val="autoZero"/>
        <c:auto val="1"/>
        <c:lblAlgn val="ctr"/>
        <c:lblOffset val="100"/>
        <c:noMultiLvlLbl val="0"/>
      </c:catAx>
      <c:valAx>
        <c:axId val="416841784"/>
        <c:scaling>
          <c:orientation val="minMax"/>
        </c:scaling>
        <c:delete val="1"/>
        <c:axPos val="l"/>
        <c:numFmt formatCode="#,##0" sourceLinked="1"/>
        <c:majorTickMark val="none"/>
        <c:minorTickMark val="none"/>
        <c:tickLblPos val="nextTo"/>
        <c:crossAx val="41684374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ru-RU"/>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4"/>
          <c:order val="0"/>
          <c:tx>
            <c:strRef>
              <c:f>Лист1!$B$50</c:f>
              <c:strCache>
                <c:ptCount val="1"/>
                <c:pt idx="0">
                  <c:v>Саудовская Аравия</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C$46:$G$46</c:f>
              <c:numCache>
                <c:formatCode>General</c:formatCode>
                <c:ptCount val="5"/>
                <c:pt idx="0">
                  <c:v>2020</c:v>
                </c:pt>
                <c:pt idx="1">
                  <c:v>2021</c:v>
                </c:pt>
                <c:pt idx="2">
                  <c:v>2022</c:v>
                </c:pt>
                <c:pt idx="3">
                  <c:v>2023</c:v>
                </c:pt>
                <c:pt idx="4">
                  <c:v>2024</c:v>
                </c:pt>
              </c:numCache>
            </c:numRef>
          </c:cat>
          <c:val>
            <c:numRef>
              <c:f>Лист1!$C$50:$G$50</c:f>
              <c:numCache>
                <c:formatCode>#,##0</c:formatCode>
                <c:ptCount val="5"/>
                <c:pt idx="0">
                  <c:v>18591</c:v>
                </c:pt>
                <c:pt idx="1">
                  <c:v>21131</c:v>
                </c:pt>
                <c:pt idx="2">
                  <c:v>25390</c:v>
                </c:pt>
                <c:pt idx="3">
                  <c:v>21497</c:v>
                </c:pt>
                <c:pt idx="4">
                  <c:v>24212</c:v>
                </c:pt>
              </c:numCache>
            </c:numRef>
          </c:val>
          <c:extLst>
            <c:ext xmlns:c16="http://schemas.microsoft.com/office/drawing/2014/chart" uri="{C3380CC4-5D6E-409C-BE32-E72D297353CC}">
              <c16:uniqueId val="{00000000-FF92-4DFB-9544-10A841919B84}"/>
            </c:ext>
          </c:extLst>
        </c:ser>
        <c:dLbls>
          <c:showLegendKey val="0"/>
          <c:showVal val="0"/>
          <c:showCatName val="0"/>
          <c:showSerName val="0"/>
          <c:showPercent val="0"/>
          <c:showBubbleSize val="0"/>
        </c:dLbls>
        <c:gapWidth val="219"/>
        <c:overlap val="-27"/>
        <c:axId val="416846096"/>
        <c:axId val="416846488"/>
      </c:barChart>
      <c:catAx>
        <c:axId val="4168460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416846488"/>
        <c:crosses val="autoZero"/>
        <c:auto val="1"/>
        <c:lblAlgn val="ctr"/>
        <c:lblOffset val="100"/>
        <c:noMultiLvlLbl val="0"/>
      </c:catAx>
      <c:valAx>
        <c:axId val="416846488"/>
        <c:scaling>
          <c:orientation val="minMax"/>
        </c:scaling>
        <c:delete val="1"/>
        <c:axPos val="l"/>
        <c:numFmt formatCode="#,##0" sourceLinked="1"/>
        <c:majorTickMark val="none"/>
        <c:minorTickMark val="none"/>
        <c:tickLblPos val="nextTo"/>
        <c:crossAx val="41684609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ru-RU"/>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Лист1!$B$1</c:f>
              <c:strCache>
                <c:ptCount val="1"/>
                <c:pt idx="0">
                  <c:v>Столбец1</c:v>
                </c:pt>
              </c:strCache>
            </c:strRef>
          </c:tx>
          <c:dPt>
            <c:idx val="0"/>
            <c:bubble3D val="0"/>
            <c:spPr>
              <a:solidFill>
                <a:schemeClr val="tx2">
                  <a:lumMod val="75000"/>
                  <a:lumOff val="25000"/>
                </a:schemeClr>
              </a:solidFill>
              <a:ln w="19050">
                <a:solidFill>
                  <a:schemeClr val="lt1"/>
                </a:solidFill>
              </a:ln>
              <a:effectLst/>
            </c:spPr>
            <c:extLst>
              <c:ext xmlns:c16="http://schemas.microsoft.com/office/drawing/2014/chart" uri="{C3380CC4-5D6E-409C-BE32-E72D297353CC}">
                <c16:uniqueId val="{00000001-9E59-425F-8B38-66245B7198BA}"/>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9E59-425F-8B38-66245B7198BA}"/>
              </c:ext>
            </c:extLst>
          </c:dPt>
          <c:dLbls>
            <c:dLbl>
              <c:idx val="0"/>
              <c:layout>
                <c:manualLayout>
                  <c:x val="-0.14652821481015318"/>
                  <c:y val="-9.7121234831498478E-3"/>
                </c:manualLayout>
              </c:layout>
              <c:tx>
                <c:rich>
                  <a:bodyPr/>
                  <a:lstStyle/>
                  <a:p>
                    <a:fld id="{6F24067B-83FA-427F-8BB0-B3C5CE60492B}" type="VALUE">
                      <a:rPr lang="en-US">
                        <a:solidFill>
                          <a:schemeClr val="tx1">
                            <a:lumMod val="65000"/>
                            <a:lumOff val="35000"/>
                          </a:schemeClr>
                        </a:solidFill>
                      </a:rPr>
                      <a:pPr/>
                      <a:t>[WARTOŚĆ]</a:t>
                    </a:fld>
                    <a:endParaRPr lang="pl-PL"/>
                  </a:p>
                </c:rich>
              </c:tx>
              <c:showLegendKey val="0"/>
              <c:showVal val="1"/>
              <c:showCatName val="0"/>
              <c:showSerName val="0"/>
              <c:showPercent val="0"/>
              <c:showBubbleSize val="0"/>
              <c:extLst>
                <c:ext xmlns:c15="http://schemas.microsoft.com/office/drawing/2012/chart" uri="{CE6537A1-D6FC-4f65-9D91-7224C49458BB}">
                  <c15:layout>
                    <c:manualLayout>
                      <c:w val="0.3130375498216908"/>
                      <c:h val="0.320500074943945"/>
                    </c:manualLayout>
                  </c15:layout>
                  <c15:dlblFieldTable/>
                  <c15:showDataLabelsRange val="0"/>
                </c:ext>
                <c:ext xmlns:c16="http://schemas.microsoft.com/office/drawing/2014/chart" uri="{C3380CC4-5D6E-409C-BE32-E72D297353CC}">
                  <c16:uniqueId val="{00000001-9E59-425F-8B38-66245B7198BA}"/>
                </c:ext>
              </c:extLst>
            </c:dLbl>
            <c:dLbl>
              <c:idx val="1"/>
              <c:layout>
                <c:manualLayout>
                  <c:x val="5.0304174533249424E-2"/>
                  <c:y val="-1.8030901376827332E-2"/>
                </c:manualLayout>
              </c:layout>
              <c:tx>
                <c:rich>
                  <a:bodyPr/>
                  <a:lstStyle/>
                  <a:p>
                    <a:fld id="{1F935691-6118-4134-BFB4-8B78A73EB34A}" type="VALUE">
                      <a:rPr lang="en-US">
                        <a:solidFill>
                          <a:schemeClr val="tx1">
                            <a:lumMod val="65000"/>
                            <a:lumOff val="35000"/>
                          </a:schemeClr>
                        </a:solidFill>
                      </a:rPr>
                      <a:pPr/>
                      <a:t>[WARTOŚĆ]</a:t>
                    </a:fld>
                    <a:endParaRPr lang="pl-PL"/>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9E59-425F-8B38-66245B7198BA}"/>
                </c:ext>
              </c:extLst>
            </c:dLbl>
            <c:spPr>
              <a:noFill/>
              <a:ln>
                <a:noFill/>
              </a:ln>
              <a:effectLst/>
            </c:spPr>
            <c:txPr>
              <a:bodyPr rot="0" spcFirstLastPara="1" vertOverflow="ellipsis" vert="horz" wrap="square" anchor="ctr" anchorCtr="1"/>
              <a:lstStyle/>
              <a:p>
                <a:pPr>
                  <a:defRPr sz="700" b="1"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extLst>
          </c:dLbls>
          <c:cat>
            <c:strRef>
              <c:f>Лист1!$A$2:$A$3</c:f>
              <c:strCache>
                <c:ptCount val="2"/>
                <c:pt idx="0">
                  <c:v>потребность, тыс. тонн</c:v>
                </c:pt>
                <c:pt idx="1">
                  <c:v>внесение от потребности, %</c:v>
                </c:pt>
              </c:strCache>
            </c:strRef>
          </c:cat>
          <c:val>
            <c:numRef>
              <c:f>Лист1!$B$2:$B$3</c:f>
              <c:numCache>
                <c:formatCode>General</c:formatCode>
                <c:ptCount val="2"/>
                <c:pt idx="0">
                  <c:v>363</c:v>
                </c:pt>
                <c:pt idx="1">
                  <c:v>19</c:v>
                </c:pt>
              </c:numCache>
            </c:numRef>
          </c:val>
          <c:extLst>
            <c:ext xmlns:c16="http://schemas.microsoft.com/office/drawing/2014/chart" uri="{C3380CC4-5D6E-409C-BE32-E72D297353CC}">
              <c16:uniqueId val="{00000004-9E59-425F-8B38-66245B7198BA}"/>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chart>
  <c:spPr>
    <a:noFill/>
    <a:ln>
      <a:noFill/>
    </a:ln>
    <a:effectLst/>
  </c:spPr>
  <c:txPr>
    <a:bodyPr/>
    <a:lstStyle/>
    <a:p>
      <a:pPr>
        <a:defRPr sz="700" b="1">
          <a:latin typeface="Century Gothic" panose="020B0502020202020204" pitchFamily="34" charset="0"/>
        </a:defRPr>
      </a:pPr>
      <a:endParaRPr lang="ru-RU"/>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4"/>
          <c:order val="0"/>
          <c:tx>
            <c:strRef>
              <c:f>Лист1!$B$49</c:f>
              <c:strCache>
                <c:ptCount val="1"/>
                <c:pt idx="0">
                  <c:v>Кувейт</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C$46:$G$46</c:f>
              <c:numCache>
                <c:formatCode>General</c:formatCode>
                <c:ptCount val="5"/>
                <c:pt idx="0">
                  <c:v>2020</c:v>
                </c:pt>
                <c:pt idx="1">
                  <c:v>2021</c:v>
                </c:pt>
                <c:pt idx="2">
                  <c:v>2022</c:v>
                </c:pt>
                <c:pt idx="3">
                  <c:v>2023</c:v>
                </c:pt>
                <c:pt idx="4">
                  <c:v>2024</c:v>
                </c:pt>
              </c:numCache>
            </c:numRef>
          </c:cat>
          <c:val>
            <c:numRef>
              <c:f>Лист1!$C$49:$G$49</c:f>
              <c:numCache>
                <c:formatCode>#,##0</c:formatCode>
                <c:ptCount val="5"/>
                <c:pt idx="0">
                  <c:v>15800</c:v>
                </c:pt>
                <c:pt idx="1">
                  <c:v>15660</c:v>
                </c:pt>
                <c:pt idx="2">
                  <c:v>17900</c:v>
                </c:pt>
                <c:pt idx="3">
                  <c:v>18500</c:v>
                </c:pt>
                <c:pt idx="4">
                  <c:v>20170</c:v>
                </c:pt>
              </c:numCache>
            </c:numRef>
          </c:val>
          <c:extLst>
            <c:ext xmlns:c16="http://schemas.microsoft.com/office/drawing/2014/chart" uri="{C3380CC4-5D6E-409C-BE32-E72D297353CC}">
              <c16:uniqueId val="{00000000-101A-4ACA-9F3F-DF317A5FB4DA}"/>
            </c:ext>
          </c:extLst>
        </c:ser>
        <c:dLbls>
          <c:showLegendKey val="0"/>
          <c:showVal val="0"/>
          <c:showCatName val="0"/>
          <c:showSerName val="0"/>
          <c:showPercent val="0"/>
          <c:showBubbleSize val="0"/>
        </c:dLbls>
        <c:gapWidth val="219"/>
        <c:overlap val="-27"/>
        <c:axId val="417145392"/>
        <c:axId val="417142256"/>
      </c:barChart>
      <c:catAx>
        <c:axId val="4171453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417142256"/>
        <c:crosses val="autoZero"/>
        <c:auto val="1"/>
        <c:lblAlgn val="ctr"/>
        <c:lblOffset val="100"/>
        <c:noMultiLvlLbl val="0"/>
      </c:catAx>
      <c:valAx>
        <c:axId val="417142256"/>
        <c:scaling>
          <c:orientation val="minMax"/>
        </c:scaling>
        <c:delete val="1"/>
        <c:axPos val="l"/>
        <c:numFmt formatCode="#,##0" sourceLinked="1"/>
        <c:majorTickMark val="none"/>
        <c:minorTickMark val="none"/>
        <c:tickLblPos val="nextTo"/>
        <c:crossAx val="41714539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ru-RU"/>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980437428014545E-2"/>
          <c:y val="6.5558261209078289E-2"/>
          <c:w val="0.92603912514397091"/>
          <c:h val="0.81524490022896112"/>
        </c:manualLayout>
      </c:layout>
      <c:barChart>
        <c:barDir val="col"/>
        <c:grouping val="clustered"/>
        <c:varyColors val="0"/>
        <c:ser>
          <c:idx val="4"/>
          <c:order val="0"/>
          <c:tx>
            <c:strRef>
              <c:f>Лист1!$B$47</c:f>
              <c:strCache>
                <c:ptCount val="1"/>
                <c:pt idx="0">
                  <c:v>Катар</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C$46:$G$46</c:f>
              <c:numCache>
                <c:formatCode>General</c:formatCode>
                <c:ptCount val="5"/>
                <c:pt idx="0">
                  <c:v>2020</c:v>
                </c:pt>
                <c:pt idx="1">
                  <c:v>2021</c:v>
                </c:pt>
                <c:pt idx="2">
                  <c:v>2022</c:v>
                </c:pt>
                <c:pt idx="3">
                  <c:v>2023</c:v>
                </c:pt>
                <c:pt idx="4">
                  <c:v>2024</c:v>
                </c:pt>
              </c:numCache>
            </c:numRef>
          </c:cat>
          <c:val>
            <c:numRef>
              <c:f>Лист1!$C$47:$G$47</c:f>
              <c:numCache>
                <c:formatCode>#,##0</c:formatCode>
                <c:ptCount val="5"/>
                <c:pt idx="0">
                  <c:v>3160</c:v>
                </c:pt>
                <c:pt idx="1">
                  <c:v>12173</c:v>
                </c:pt>
                <c:pt idx="2">
                  <c:v>17136</c:v>
                </c:pt>
                <c:pt idx="3">
                  <c:v>8468</c:v>
                </c:pt>
                <c:pt idx="4">
                  <c:v>11259</c:v>
                </c:pt>
              </c:numCache>
            </c:numRef>
          </c:val>
          <c:extLst>
            <c:ext xmlns:c16="http://schemas.microsoft.com/office/drawing/2014/chart" uri="{C3380CC4-5D6E-409C-BE32-E72D297353CC}">
              <c16:uniqueId val="{00000000-F5C1-4384-951E-9DFA7177BD21}"/>
            </c:ext>
          </c:extLst>
        </c:ser>
        <c:dLbls>
          <c:showLegendKey val="0"/>
          <c:showVal val="0"/>
          <c:showCatName val="0"/>
          <c:showSerName val="0"/>
          <c:showPercent val="0"/>
          <c:showBubbleSize val="0"/>
        </c:dLbls>
        <c:gapWidth val="219"/>
        <c:overlap val="-27"/>
        <c:axId val="417143040"/>
        <c:axId val="417147352"/>
      </c:barChart>
      <c:catAx>
        <c:axId val="41714304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417147352"/>
        <c:crosses val="autoZero"/>
        <c:auto val="1"/>
        <c:lblAlgn val="ctr"/>
        <c:lblOffset val="100"/>
        <c:noMultiLvlLbl val="0"/>
      </c:catAx>
      <c:valAx>
        <c:axId val="417147352"/>
        <c:scaling>
          <c:orientation val="minMax"/>
        </c:scaling>
        <c:delete val="1"/>
        <c:axPos val="l"/>
        <c:numFmt formatCode="#,##0" sourceLinked="1"/>
        <c:majorTickMark val="none"/>
        <c:minorTickMark val="none"/>
        <c:tickLblPos val="nextTo"/>
        <c:crossAx val="41714304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ru-RU"/>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4"/>
          <c:order val="0"/>
          <c:tx>
            <c:strRef>
              <c:f>Лист1!$B$51</c:f>
              <c:strCache>
                <c:ptCount val="1"/>
                <c:pt idx="0">
                  <c:v>Бахрейн</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C$46:$G$46</c:f>
              <c:numCache>
                <c:formatCode>General</c:formatCode>
                <c:ptCount val="5"/>
                <c:pt idx="0">
                  <c:v>2020</c:v>
                </c:pt>
                <c:pt idx="1">
                  <c:v>2021</c:v>
                </c:pt>
                <c:pt idx="2">
                  <c:v>2022</c:v>
                </c:pt>
                <c:pt idx="3">
                  <c:v>2023</c:v>
                </c:pt>
                <c:pt idx="4">
                  <c:v>2024</c:v>
                </c:pt>
              </c:numCache>
            </c:numRef>
          </c:cat>
          <c:val>
            <c:numRef>
              <c:f>Лист1!$C$51:$G$51</c:f>
              <c:numCache>
                <c:formatCode>#,##0</c:formatCode>
                <c:ptCount val="5"/>
                <c:pt idx="0">
                  <c:v>-5630</c:v>
                </c:pt>
                <c:pt idx="1">
                  <c:v>14648</c:v>
                </c:pt>
                <c:pt idx="2">
                  <c:v>11705</c:v>
                </c:pt>
                <c:pt idx="3">
                  <c:v>8053</c:v>
                </c:pt>
                <c:pt idx="4">
                  <c:v>10580</c:v>
                </c:pt>
              </c:numCache>
            </c:numRef>
          </c:val>
          <c:extLst>
            <c:ext xmlns:c16="http://schemas.microsoft.com/office/drawing/2014/chart" uri="{C3380CC4-5D6E-409C-BE32-E72D297353CC}">
              <c16:uniqueId val="{00000000-E995-4DD0-93EE-2F8778A9F64B}"/>
            </c:ext>
          </c:extLst>
        </c:ser>
        <c:dLbls>
          <c:showLegendKey val="0"/>
          <c:showVal val="0"/>
          <c:showCatName val="0"/>
          <c:showSerName val="0"/>
          <c:showPercent val="0"/>
          <c:showBubbleSize val="0"/>
        </c:dLbls>
        <c:gapWidth val="219"/>
        <c:overlap val="-27"/>
        <c:axId val="417145784"/>
        <c:axId val="417146176"/>
      </c:barChart>
      <c:catAx>
        <c:axId val="417145784"/>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417146176"/>
        <c:crosses val="autoZero"/>
        <c:auto val="1"/>
        <c:lblAlgn val="ctr"/>
        <c:lblOffset val="100"/>
        <c:noMultiLvlLbl val="0"/>
      </c:catAx>
      <c:valAx>
        <c:axId val="417146176"/>
        <c:scaling>
          <c:orientation val="minMax"/>
        </c:scaling>
        <c:delete val="1"/>
        <c:axPos val="l"/>
        <c:numFmt formatCode="#,##0" sourceLinked="1"/>
        <c:majorTickMark val="none"/>
        <c:minorTickMark val="none"/>
        <c:tickLblPos val="nextTo"/>
        <c:crossAx val="41714578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ru-RU"/>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3921568627450983E-2"/>
          <c:y val="9.0081737567429931E-2"/>
          <c:w val="0.89215686274509809"/>
          <c:h val="0.75641347425332384"/>
        </c:manualLayout>
      </c:layout>
      <c:barChart>
        <c:barDir val="col"/>
        <c:grouping val="clustered"/>
        <c:varyColors val="0"/>
        <c:ser>
          <c:idx val="4"/>
          <c:order val="0"/>
          <c:tx>
            <c:strRef>
              <c:f>Лист1!$B$52</c:f>
              <c:strCache>
                <c:ptCount val="1"/>
                <c:pt idx="0">
                  <c:v>Оман</c:v>
                </c:pt>
              </c:strCache>
            </c:strRef>
          </c:tx>
          <c:spPr>
            <a:solidFill>
              <a:schemeClr val="accent1"/>
            </a:solidFill>
            <a:ln>
              <a:noFill/>
            </a:ln>
            <a:effectLst/>
          </c:spPr>
          <c:invertIfNegative val="0"/>
          <c:dLbls>
            <c:dLbl>
              <c:idx val="0"/>
              <c:layout>
                <c:manualLayout>
                  <c:x val="-1.4001905114341125E-2"/>
                  <c:y val="6.783125540804228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9B7-45C8-B1A3-D98ECB23E908}"/>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C$46:$G$46</c:f>
              <c:numCache>
                <c:formatCode>General</c:formatCode>
                <c:ptCount val="5"/>
                <c:pt idx="0">
                  <c:v>2020</c:v>
                </c:pt>
                <c:pt idx="1">
                  <c:v>2021</c:v>
                </c:pt>
                <c:pt idx="2">
                  <c:v>2022</c:v>
                </c:pt>
                <c:pt idx="3">
                  <c:v>2023</c:v>
                </c:pt>
                <c:pt idx="4">
                  <c:v>2024</c:v>
                </c:pt>
              </c:numCache>
            </c:numRef>
          </c:cat>
          <c:val>
            <c:numRef>
              <c:f>Лист1!$C$52:$G$52</c:f>
              <c:numCache>
                <c:formatCode>#,##0</c:formatCode>
                <c:ptCount val="5"/>
                <c:pt idx="0">
                  <c:v>3254</c:v>
                </c:pt>
                <c:pt idx="1">
                  <c:v>10225</c:v>
                </c:pt>
                <c:pt idx="2">
                  <c:v>5939</c:v>
                </c:pt>
                <c:pt idx="3">
                  <c:v>6452</c:v>
                </c:pt>
                <c:pt idx="4">
                  <c:v>8938</c:v>
                </c:pt>
              </c:numCache>
            </c:numRef>
          </c:val>
          <c:extLst>
            <c:ext xmlns:c16="http://schemas.microsoft.com/office/drawing/2014/chart" uri="{C3380CC4-5D6E-409C-BE32-E72D297353CC}">
              <c16:uniqueId val="{00000001-E9B7-45C8-B1A3-D98ECB23E908}"/>
            </c:ext>
          </c:extLst>
        </c:ser>
        <c:dLbls>
          <c:showLegendKey val="0"/>
          <c:showVal val="0"/>
          <c:showCatName val="0"/>
          <c:showSerName val="0"/>
          <c:showPercent val="0"/>
          <c:showBubbleSize val="0"/>
        </c:dLbls>
        <c:gapWidth val="219"/>
        <c:overlap val="-27"/>
        <c:axId val="417143824"/>
        <c:axId val="417146568"/>
      </c:barChart>
      <c:catAx>
        <c:axId val="417143824"/>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417146568"/>
        <c:crosses val="autoZero"/>
        <c:auto val="1"/>
        <c:lblAlgn val="ctr"/>
        <c:lblOffset val="100"/>
        <c:noMultiLvlLbl val="0"/>
      </c:catAx>
      <c:valAx>
        <c:axId val="417146568"/>
        <c:scaling>
          <c:orientation val="minMax"/>
        </c:scaling>
        <c:delete val="1"/>
        <c:axPos val="l"/>
        <c:numFmt formatCode="#,##0" sourceLinked="1"/>
        <c:majorTickMark val="none"/>
        <c:minorTickMark val="none"/>
        <c:tickLblPos val="nextTo"/>
        <c:crossAx val="41714382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ru-RU"/>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4"/>
          <c:order val="0"/>
          <c:tx>
            <c:strRef>
              <c:f>Лист1!$B$48</c:f>
              <c:strCache>
                <c:ptCount val="1"/>
                <c:pt idx="0">
                  <c:v>Сингапур</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C$46:$G$46</c:f>
              <c:numCache>
                <c:formatCode>General</c:formatCode>
                <c:ptCount val="5"/>
                <c:pt idx="0">
                  <c:v>2020</c:v>
                </c:pt>
                <c:pt idx="1">
                  <c:v>2021</c:v>
                </c:pt>
                <c:pt idx="2">
                  <c:v>2022</c:v>
                </c:pt>
                <c:pt idx="3">
                  <c:v>2023</c:v>
                </c:pt>
                <c:pt idx="4">
                  <c:v>2024</c:v>
                </c:pt>
              </c:numCache>
            </c:numRef>
          </c:cat>
          <c:val>
            <c:numRef>
              <c:f>Лист1!$C$48:$G$48</c:f>
              <c:numCache>
                <c:formatCode>#,##0</c:formatCode>
                <c:ptCount val="5"/>
                <c:pt idx="0">
                  <c:v>39793</c:v>
                </c:pt>
                <c:pt idx="1">
                  <c:v>61368</c:v>
                </c:pt>
                <c:pt idx="2">
                  <c:v>52230</c:v>
                </c:pt>
                <c:pt idx="3">
                  <c:v>62997</c:v>
                </c:pt>
                <c:pt idx="4">
                  <c:v>55257</c:v>
                </c:pt>
              </c:numCache>
            </c:numRef>
          </c:val>
          <c:extLst>
            <c:ext xmlns:c16="http://schemas.microsoft.com/office/drawing/2014/chart" uri="{C3380CC4-5D6E-409C-BE32-E72D297353CC}">
              <c16:uniqueId val="{00000000-7363-4A3D-B2E2-B463C32CA692}"/>
            </c:ext>
          </c:extLst>
        </c:ser>
        <c:dLbls>
          <c:showLegendKey val="0"/>
          <c:showVal val="0"/>
          <c:showCatName val="0"/>
          <c:showSerName val="0"/>
          <c:showPercent val="0"/>
          <c:showBubbleSize val="0"/>
        </c:dLbls>
        <c:gapWidth val="219"/>
        <c:overlap val="-27"/>
        <c:axId val="416843744"/>
        <c:axId val="416841784"/>
      </c:barChart>
      <c:catAx>
        <c:axId val="4168437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416841784"/>
        <c:crosses val="autoZero"/>
        <c:auto val="1"/>
        <c:lblAlgn val="ctr"/>
        <c:lblOffset val="100"/>
        <c:noMultiLvlLbl val="0"/>
      </c:catAx>
      <c:valAx>
        <c:axId val="416841784"/>
        <c:scaling>
          <c:orientation val="minMax"/>
        </c:scaling>
        <c:delete val="1"/>
        <c:axPos val="l"/>
        <c:numFmt formatCode="#,##0" sourceLinked="1"/>
        <c:majorTickMark val="none"/>
        <c:minorTickMark val="none"/>
        <c:tickLblPos val="nextTo"/>
        <c:crossAx val="41684374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ru-RU"/>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4"/>
          <c:order val="0"/>
          <c:tx>
            <c:strRef>
              <c:f>Лист1!$B$50</c:f>
              <c:strCache>
                <c:ptCount val="1"/>
                <c:pt idx="0">
                  <c:v>Саудовская Аравия</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C$46:$G$46</c:f>
              <c:numCache>
                <c:formatCode>General</c:formatCode>
                <c:ptCount val="5"/>
                <c:pt idx="0">
                  <c:v>2020</c:v>
                </c:pt>
                <c:pt idx="1">
                  <c:v>2021</c:v>
                </c:pt>
                <c:pt idx="2">
                  <c:v>2022</c:v>
                </c:pt>
                <c:pt idx="3">
                  <c:v>2023</c:v>
                </c:pt>
                <c:pt idx="4">
                  <c:v>2024</c:v>
                </c:pt>
              </c:numCache>
            </c:numRef>
          </c:cat>
          <c:val>
            <c:numRef>
              <c:f>Лист1!$C$50:$G$50</c:f>
              <c:numCache>
                <c:formatCode>#,##0</c:formatCode>
                <c:ptCount val="5"/>
                <c:pt idx="0">
                  <c:v>4448</c:v>
                </c:pt>
                <c:pt idx="1">
                  <c:v>3845</c:v>
                </c:pt>
                <c:pt idx="2">
                  <c:v>7323</c:v>
                </c:pt>
                <c:pt idx="3">
                  <c:v>7080</c:v>
                </c:pt>
                <c:pt idx="4">
                  <c:v>9703</c:v>
                </c:pt>
              </c:numCache>
            </c:numRef>
          </c:val>
          <c:extLst>
            <c:ext xmlns:c16="http://schemas.microsoft.com/office/drawing/2014/chart" uri="{C3380CC4-5D6E-409C-BE32-E72D297353CC}">
              <c16:uniqueId val="{00000000-FF92-4DFB-9544-10A841919B84}"/>
            </c:ext>
          </c:extLst>
        </c:ser>
        <c:dLbls>
          <c:showLegendKey val="0"/>
          <c:showVal val="0"/>
          <c:showCatName val="0"/>
          <c:showSerName val="0"/>
          <c:showPercent val="0"/>
          <c:showBubbleSize val="0"/>
        </c:dLbls>
        <c:gapWidth val="219"/>
        <c:overlap val="-27"/>
        <c:axId val="416846096"/>
        <c:axId val="416846488"/>
      </c:barChart>
      <c:catAx>
        <c:axId val="4168460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416846488"/>
        <c:crosses val="autoZero"/>
        <c:auto val="1"/>
        <c:lblAlgn val="ctr"/>
        <c:lblOffset val="100"/>
        <c:noMultiLvlLbl val="0"/>
      </c:catAx>
      <c:valAx>
        <c:axId val="416846488"/>
        <c:scaling>
          <c:orientation val="minMax"/>
        </c:scaling>
        <c:delete val="1"/>
        <c:axPos val="l"/>
        <c:numFmt formatCode="#,##0" sourceLinked="1"/>
        <c:majorTickMark val="none"/>
        <c:minorTickMark val="none"/>
        <c:tickLblPos val="nextTo"/>
        <c:crossAx val="41684609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ru-RU"/>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4"/>
          <c:order val="0"/>
          <c:tx>
            <c:strRef>
              <c:f>Лист1!$B$49</c:f>
              <c:strCache>
                <c:ptCount val="1"/>
                <c:pt idx="0">
                  <c:v>Кувейт</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C$46:$G$46</c:f>
              <c:numCache>
                <c:formatCode>General</c:formatCode>
                <c:ptCount val="5"/>
                <c:pt idx="0">
                  <c:v>2020</c:v>
                </c:pt>
                <c:pt idx="1">
                  <c:v>2021</c:v>
                </c:pt>
                <c:pt idx="2">
                  <c:v>2022</c:v>
                </c:pt>
                <c:pt idx="3">
                  <c:v>2023</c:v>
                </c:pt>
                <c:pt idx="4">
                  <c:v>2024</c:v>
                </c:pt>
              </c:numCache>
            </c:numRef>
          </c:cat>
          <c:val>
            <c:numRef>
              <c:f>Лист1!$C$49:$G$49</c:f>
              <c:numCache>
                <c:formatCode>#,##0</c:formatCode>
                <c:ptCount val="5"/>
                <c:pt idx="0">
                  <c:v>17270</c:v>
                </c:pt>
                <c:pt idx="1">
                  <c:v>18668</c:v>
                </c:pt>
                <c:pt idx="2">
                  <c:v>7656</c:v>
                </c:pt>
                <c:pt idx="3">
                  <c:v>15213</c:v>
                </c:pt>
                <c:pt idx="4">
                  <c:v>8151</c:v>
                </c:pt>
              </c:numCache>
            </c:numRef>
          </c:val>
          <c:extLst>
            <c:ext xmlns:c16="http://schemas.microsoft.com/office/drawing/2014/chart" uri="{C3380CC4-5D6E-409C-BE32-E72D297353CC}">
              <c16:uniqueId val="{00000000-101A-4ACA-9F3F-DF317A5FB4DA}"/>
            </c:ext>
          </c:extLst>
        </c:ser>
        <c:dLbls>
          <c:showLegendKey val="0"/>
          <c:showVal val="0"/>
          <c:showCatName val="0"/>
          <c:showSerName val="0"/>
          <c:showPercent val="0"/>
          <c:showBubbleSize val="0"/>
        </c:dLbls>
        <c:gapWidth val="219"/>
        <c:overlap val="-27"/>
        <c:axId val="417145392"/>
        <c:axId val="417142256"/>
      </c:barChart>
      <c:catAx>
        <c:axId val="4171453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417142256"/>
        <c:crosses val="autoZero"/>
        <c:auto val="1"/>
        <c:lblAlgn val="ctr"/>
        <c:lblOffset val="100"/>
        <c:noMultiLvlLbl val="0"/>
      </c:catAx>
      <c:valAx>
        <c:axId val="417142256"/>
        <c:scaling>
          <c:orientation val="minMax"/>
        </c:scaling>
        <c:delete val="1"/>
        <c:axPos val="l"/>
        <c:numFmt formatCode="#,##0" sourceLinked="1"/>
        <c:majorTickMark val="none"/>
        <c:minorTickMark val="none"/>
        <c:tickLblPos val="nextTo"/>
        <c:crossAx val="41714539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ru-RU"/>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980437428014545E-2"/>
          <c:y val="6.5558261209078289E-2"/>
          <c:w val="0.92603912514397091"/>
          <c:h val="0.81524490022896112"/>
        </c:manualLayout>
      </c:layout>
      <c:barChart>
        <c:barDir val="col"/>
        <c:grouping val="clustered"/>
        <c:varyColors val="0"/>
        <c:ser>
          <c:idx val="4"/>
          <c:order val="0"/>
          <c:tx>
            <c:strRef>
              <c:f>Лист1!$B$47</c:f>
              <c:strCache>
                <c:ptCount val="1"/>
                <c:pt idx="0">
                  <c:v>Катар</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C$46:$G$46</c:f>
              <c:numCache>
                <c:formatCode>General</c:formatCode>
                <c:ptCount val="5"/>
                <c:pt idx="0">
                  <c:v>2020</c:v>
                </c:pt>
                <c:pt idx="1">
                  <c:v>2021</c:v>
                </c:pt>
                <c:pt idx="2">
                  <c:v>2022</c:v>
                </c:pt>
                <c:pt idx="3">
                  <c:v>2023</c:v>
                </c:pt>
                <c:pt idx="4">
                  <c:v>2024</c:v>
                </c:pt>
              </c:numCache>
            </c:numRef>
          </c:cat>
          <c:val>
            <c:numRef>
              <c:f>Лист1!$C$47:$G$47</c:f>
              <c:numCache>
                <c:formatCode>#,##0</c:formatCode>
                <c:ptCount val="5"/>
                <c:pt idx="0">
                  <c:v>2419</c:v>
                </c:pt>
                <c:pt idx="1">
                  <c:v>4676</c:v>
                </c:pt>
                <c:pt idx="2">
                  <c:v>14275</c:v>
                </c:pt>
                <c:pt idx="3">
                  <c:v>6610</c:v>
                </c:pt>
                <c:pt idx="4">
                  <c:v>7399</c:v>
                </c:pt>
              </c:numCache>
            </c:numRef>
          </c:val>
          <c:extLst>
            <c:ext xmlns:c16="http://schemas.microsoft.com/office/drawing/2014/chart" uri="{C3380CC4-5D6E-409C-BE32-E72D297353CC}">
              <c16:uniqueId val="{00000000-F5C1-4384-951E-9DFA7177BD21}"/>
            </c:ext>
          </c:extLst>
        </c:ser>
        <c:dLbls>
          <c:showLegendKey val="0"/>
          <c:showVal val="0"/>
          <c:showCatName val="0"/>
          <c:showSerName val="0"/>
          <c:showPercent val="0"/>
          <c:showBubbleSize val="0"/>
        </c:dLbls>
        <c:gapWidth val="219"/>
        <c:overlap val="-27"/>
        <c:axId val="417143040"/>
        <c:axId val="417147352"/>
      </c:barChart>
      <c:catAx>
        <c:axId val="41714304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417147352"/>
        <c:crosses val="autoZero"/>
        <c:auto val="1"/>
        <c:lblAlgn val="ctr"/>
        <c:lblOffset val="100"/>
        <c:noMultiLvlLbl val="0"/>
      </c:catAx>
      <c:valAx>
        <c:axId val="417147352"/>
        <c:scaling>
          <c:orientation val="minMax"/>
        </c:scaling>
        <c:delete val="1"/>
        <c:axPos val="l"/>
        <c:numFmt formatCode="#,##0" sourceLinked="1"/>
        <c:majorTickMark val="none"/>
        <c:minorTickMark val="none"/>
        <c:tickLblPos val="nextTo"/>
        <c:crossAx val="41714304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ru-RU"/>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4"/>
          <c:order val="0"/>
          <c:tx>
            <c:strRef>
              <c:f>Лист1!$B$51</c:f>
              <c:strCache>
                <c:ptCount val="1"/>
                <c:pt idx="0">
                  <c:v>Бахрейн</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C$46:$G$46</c:f>
              <c:numCache>
                <c:formatCode>General</c:formatCode>
                <c:ptCount val="5"/>
                <c:pt idx="0">
                  <c:v>2020</c:v>
                </c:pt>
                <c:pt idx="1">
                  <c:v>2021</c:v>
                </c:pt>
                <c:pt idx="2">
                  <c:v>2022</c:v>
                </c:pt>
                <c:pt idx="3">
                  <c:v>2023</c:v>
                </c:pt>
                <c:pt idx="4">
                  <c:v>2024</c:v>
                </c:pt>
              </c:numCache>
            </c:numRef>
          </c:cat>
          <c:val>
            <c:numRef>
              <c:f>Лист1!$C$51:$G$51</c:f>
              <c:numCache>
                <c:formatCode>#,##0</c:formatCode>
                <c:ptCount val="5"/>
                <c:pt idx="0">
                  <c:v>-6</c:v>
                </c:pt>
                <c:pt idx="1">
                  <c:v>493</c:v>
                </c:pt>
                <c:pt idx="2">
                  <c:v>308</c:v>
                </c:pt>
                <c:pt idx="3">
                  <c:v>1052</c:v>
                </c:pt>
                <c:pt idx="4">
                  <c:v>2880</c:v>
                </c:pt>
              </c:numCache>
            </c:numRef>
          </c:val>
          <c:extLst>
            <c:ext xmlns:c16="http://schemas.microsoft.com/office/drawing/2014/chart" uri="{C3380CC4-5D6E-409C-BE32-E72D297353CC}">
              <c16:uniqueId val="{00000000-E995-4DD0-93EE-2F8778A9F64B}"/>
            </c:ext>
          </c:extLst>
        </c:ser>
        <c:dLbls>
          <c:showLegendKey val="0"/>
          <c:showVal val="0"/>
          <c:showCatName val="0"/>
          <c:showSerName val="0"/>
          <c:showPercent val="0"/>
          <c:showBubbleSize val="0"/>
        </c:dLbls>
        <c:gapWidth val="219"/>
        <c:overlap val="-27"/>
        <c:axId val="417145784"/>
        <c:axId val="417146176"/>
      </c:barChart>
      <c:catAx>
        <c:axId val="417145784"/>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417146176"/>
        <c:crosses val="autoZero"/>
        <c:auto val="1"/>
        <c:lblAlgn val="ctr"/>
        <c:lblOffset val="100"/>
        <c:noMultiLvlLbl val="0"/>
      </c:catAx>
      <c:valAx>
        <c:axId val="417146176"/>
        <c:scaling>
          <c:orientation val="minMax"/>
        </c:scaling>
        <c:delete val="1"/>
        <c:axPos val="l"/>
        <c:numFmt formatCode="#,##0" sourceLinked="1"/>
        <c:majorTickMark val="none"/>
        <c:minorTickMark val="none"/>
        <c:tickLblPos val="nextTo"/>
        <c:crossAx val="41714578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ru-RU"/>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3921568627450983E-2"/>
          <c:y val="9.0081737567429931E-2"/>
          <c:w val="0.89215686274509809"/>
          <c:h val="0.75641347425332384"/>
        </c:manualLayout>
      </c:layout>
      <c:barChart>
        <c:barDir val="col"/>
        <c:grouping val="clustered"/>
        <c:varyColors val="0"/>
        <c:ser>
          <c:idx val="4"/>
          <c:order val="0"/>
          <c:tx>
            <c:strRef>
              <c:f>Лист1!$B$52</c:f>
              <c:strCache>
                <c:ptCount val="1"/>
                <c:pt idx="0">
                  <c:v>Оман</c:v>
                </c:pt>
              </c:strCache>
            </c:strRef>
          </c:tx>
          <c:spPr>
            <a:solidFill>
              <a:schemeClr val="accent1"/>
            </a:solidFill>
            <a:ln>
              <a:noFill/>
            </a:ln>
            <a:effectLst/>
          </c:spPr>
          <c:invertIfNegative val="0"/>
          <c:dLbls>
            <c:dLbl>
              <c:idx val="0"/>
              <c:layout>
                <c:manualLayout>
                  <c:x val="-1.4001905114341125E-2"/>
                  <c:y val="6.783125540804228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9B7-45C8-B1A3-D98ECB23E908}"/>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C$46:$G$46</c:f>
              <c:numCache>
                <c:formatCode>General</c:formatCode>
                <c:ptCount val="5"/>
                <c:pt idx="0">
                  <c:v>2020</c:v>
                </c:pt>
                <c:pt idx="1">
                  <c:v>2021</c:v>
                </c:pt>
                <c:pt idx="2">
                  <c:v>2022</c:v>
                </c:pt>
                <c:pt idx="3">
                  <c:v>2023</c:v>
                </c:pt>
                <c:pt idx="4">
                  <c:v>2024</c:v>
                </c:pt>
              </c:numCache>
            </c:numRef>
          </c:cat>
          <c:val>
            <c:numRef>
              <c:f>Лист1!$C$52:$G$52</c:f>
              <c:numCache>
                <c:formatCode>#,##0</c:formatCode>
                <c:ptCount val="5"/>
                <c:pt idx="0">
                  <c:v>127</c:v>
                </c:pt>
                <c:pt idx="1">
                  <c:v>92</c:v>
                </c:pt>
                <c:pt idx="2">
                  <c:v>150</c:v>
                </c:pt>
                <c:pt idx="3">
                  <c:v>151</c:v>
                </c:pt>
                <c:pt idx="4">
                  <c:v>172</c:v>
                </c:pt>
              </c:numCache>
            </c:numRef>
          </c:val>
          <c:extLst>
            <c:ext xmlns:c16="http://schemas.microsoft.com/office/drawing/2014/chart" uri="{C3380CC4-5D6E-409C-BE32-E72D297353CC}">
              <c16:uniqueId val="{00000001-E9B7-45C8-B1A3-D98ECB23E908}"/>
            </c:ext>
          </c:extLst>
        </c:ser>
        <c:dLbls>
          <c:showLegendKey val="0"/>
          <c:showVal val="0"/>
          <c:showCatName val="0"/>
          <c:showSerName val="0"/>
          <c:showPercent val="0"/>
          <c:showBubbleSize val="0"/>
        </c:dLbls>
        <c:gapWidth val="219"/>
        <c:overlap val="-27"/>
        <c:axId val="417143824"/>
        <c:axId val="417146568"/>
      </c:barChart>
      <c:catAx>
        <c:axId val="417143824"/>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417146568"/>
        <c:crosses val="autoZero"/>
        <c:auto val="1"/>
        <c:lblAlgn val="ctr"/>
        <c:lblOffset val="100"/>
        <c:noMultiLvlLbl val="0"/>
      </c:catAx>
      <c:valAx>
        <c:axId val="417146568"/>
        <c:scaling>
          <c:orientation val="minMax"/>
        </c:scaling>
        <c:delete val="1"/>
        <c:axPos val="l"/>
        <c:numFmt formatCode="#,##0" sourceLinked="1"/>
        <c:majorTickMark val="none"/>
        <c:minorTickMark val="none"/>
        <c:tickLblPos val="nextTo"/>
        <c:crossAx val="41714382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ru-RU"/>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Лист1!$B$1</c:f>
              <c:strCache>
                <c:ptCount val="1"/>
                <c:pt idx="0">
                  <c:v>Столбец1</c:v>
                </c:pt>
              </c:strCache>
            </c:strRef>
          </c:tx>
          <c:dPt>
            <c:idx val="0"/>
            <c:bubble3D val="0"/>
            <c:spPr>
              <a:solidFill>
                <a:schemeClr val="tx2">
                  <a:lumMod val="75000"/>
                  <a:lumOff val="25000"/>
                </a:schemeClr>
              </a:solidFill>
              <a:ln w="19050">
                <a:solidFill>
                  <a:schemeClr val="lt1"/>
                </a:solidFill>
              </a:ln>
              <a:effectLst/>
            </c:spPr>
            <c:extLst>
              <c:ext xmlns:c16="http://schemas.microsoft.com/office/drawing/2014/chart" uri="{C3380CC4-5D6E-409C-BE32-E72D297353CC}">
                <c16:uniqueId val="{00000001-20A5-46B9-AC70-2423B49C065D}"/>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20A5-46B9-AC70-2423B49C065D}"/>
              </c:ext>
            </c:extLst>
          </c:dPt>
          <c:dLbls>
            <c:dLbl>
              <c:idx val="0"/>
              <c:layout>
                <c:manualLayout>
                  <c:x val="-0.14652821481015318"/>
                  <c:y val="-9.7121234831498478E-3"/>
                </c:manualLayout>
              </c:layout>
              <c:tx>
                <c:rich>
                  <a:bodyPr/>
                  <a:lstStyle/>
                  <a:p>
                    <a:fld id="{6F24067B-83FA-427F-8BB0-B3C5CE60492B}" type="VALUE">
                      <a:rPr lang="en-US">
                        <a:solidFill>
                          <a:schemeClr val="tx1">
                            <a:lumMod val="65000"/>
                            <a:lumOff val="35000"/>
                          </a:schemeClr>
                        </a:solidFill>
                      </a:rPr>
                      <a:pPr/>
                      <a:t>[WARTOŚĆ]</a:t>
                    </a:fld>
                    <a:endParaRPr lang="pl-PL"/>
                  </a:p>
                </c:rich>
              </c:tx>
              <c:showLegendKey val="0"/>
              <c:showVal val="1"/>
              <c:showCatName val="0"/>
              <c:showSerName val="0"/>
              <c:showPercent val="0"/>
              <c:showBubbleSize val="0"/>
              <c:extLst>
                <c:ext xmlns:c15="http://schemas.microsoft.com/office/drawing/2012/chart" uri="{CE6537A1-D6FC-4f65-9D91-7224C49458BB}">
                  <c15:layout>
                    <c:manualLayout>
                      <c:w val="0.3130375498216908"/>
                      <c:h val="0.320500074943945"/>
                    </c:manualLayout>
                  </c15:layout>
                  <c15:dlblFieldTable/>
                  <c15:showDataLabelsRange val="0"/>
                </c:ext>
                <c:ext xmlns:c16="http://schemas.microsoft.com/office/drawing/2014/chart" uri="{C3380CC4-5D6E-409C-BE32-E72D297353CC}">
                  <c16:uniqueId val="{00000001-20A5-46B9-AC70-2423B49C065D}"/>
                </c:ext>
              </c:extLst>
            </c:dLbl>
            <c:dLbl>
              <c:idx val="1"/>
              <c:layout>
                <c:manualLayout>
                  <c:x val="5.0304174533249424E-2"/>
                  <c:y val="-1.8030901376827332E-2"/>
                </c:manualLayout>
              </c:layout>
              <c:tx>
                <c:rich>
                  <a:bodyPr/>
                  <a:lstStyle/>
                  <a:p>
                    <a:fld id="{1F935691-6118-4134-BFB4-8B78A73EB34A}" type="VALUE">
                      <a:rPr lang="en-US">
                        <a:solidFill>
                          <a:schemeClr val="tx1">
                            <a:lumMod val="65000"/>
                            <a:lumOff val="35000"/>
                          </a:schemeClr>
                        </a:solidFill>
                      </a:rPr>
                      <a:pPr/>
                      <a:t>[WARTOŚĆ]</a:t>
                    </a:fld>
                    <a:endParaRPr lang="pl-PL"/>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20A5-46B9-AC70-2423B49C065D}"/>
                </c:ext>
              </c:extLst>
            </c:dLbl>
            <c:spPr>
              <a:noFill/>
              <a:ln>
                <a:noFill/>
              </a:ln>
              <a:effectLst/>
            </c:spPr>
            <c:txPr>
              <a:bodyPr rot="0" spcFirstLastPara="1" vertOverflow="ellipsis" vert="horz" wrap="square" anchor="ctr" anchorCtr="1"/>
              <a:lstStyle/>
              <a:p>
                <a:pPr>
                  <a:defRPr sz="700" b="1"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extLst>
          </c:dLbls>
          <c:cat>
            <c:strRef>
              <c:f>Лист1!$A$2:$A$3</c:f>
              <c:strCache>
                <c:ptCount val="2"/>
                <c:pt idx="0">
                  <c:v>потребность, тыс. тонн</c:v>
                </c:pt>
                <c:pt idx="1">
                  <c:v>внесение от потребности, %</c:v>
                </c:pt>
              </c:strCache>
            </c:strRef>
          </c:cat>
          <c:val>
            <c:numRef>
              <c:f>Лист1!$B$2:$B$3</c:f>
              <c:numCache>
                <c:formatCode>General</c:formatCode>
                <c:ptCount val="2"/>
                <c:pt idx="0">
                  <c:v>459</c:v>
                </c:pt>
                <c:pt idx="1">
                  <c:v>3</c:v>
                </c:pt>
              </c:numCache>
            </c:numRef>
          </c:val>
          <c:extLst>
            <c:ext xmlns:c16="http://schemas.microsoft.com/office/drawing/2014/chart" uri="{C3380CC4-5D6E-409C-BE32-E72D297353CC}">
              <c16:uniqueId val="{00000004-20A5-46B9-AC70-2423B49C065D}"/>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chart>
  <c:spPr>
    <a:noFill/>
    <a:ln>
      <a:noFill/>
    </a:ln>
    <a:effectLst/>
  </c:spPr>
  <c:txPr>
    <a:bodyPr/>
    <a:lstStyle/>
    <a:p>
      <a:pPr>
        <a:defRPr sz="700" b="1">
          <a:latin typeface="Century Gothic" panose="020B0502020202020204" pitchFamily="34" charset="0"/>
        </a:defRPr>
      </a:pPr>
      <a:endParaRPr lang="ru-RU"/>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Лист1!$B$1</c:f>
              <c:strCache>
                <c:ptCount val="1"/>
                <c:pt idx="0">
                  <c:v>Ряд 1</c:v>
                </c:pt>
              </c:strCache>
            </c:strRef>
          </c:tx>
          <c:spPr>
            <a:solidFill>
              <a:schemeClr val="accent1"/>
            </a:solidFill>
            <a:ln>
              <a:noFill/>
            </a:ln>
            <a:effectLst/>
          </c:spPr>
          <c:invertIfNegative val="0"/>
          <c:dLbls>
            <c:dLbl>
              <c:idx val="0"/>
              <c:layout>
                <c:manualLayout>
                  <c:x val="-4.3737820351552152E-3"/>
                  <c:y val="-4.912288844794327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198-4E9C-A8F4-47C4516E7927}"/>
                </c:ext>
              </c:extLst>
            </c:dLbl>
            <c:dLbl>
              <c:idx val="1"/>
              <c:layout>
                <c:manualLayout>
                  <c:x val="-4.3737820351552204E-3"/>
                  <c:y val="-7.017389723535941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198-4E9C-A8F4-47C4516E7927}"/>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1"/>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Лист1!$A$2:$A$11</c:f>
              <c:numCache>
                <c:formatCode>General</c:formatCode>
                <c:ptCount val="10"/>
                <c:pt idx="0">
                  <c:v>2015</c:v>
                </c:pt>
                <c:pt idx="1">
                  <c:v>2016</c:v>
                </c:pt>
                <c:pt idx="2">
                  <c:v>2017</c:v>
                </c:pt>
                <c:pt idx="3">
                  <c:v>2018</c:v>
                </c:pt>
                <c:pt idx="4">
                  <c:v>2019</c:v>
                </c:pt>
                <c:pt idx="5">
                  <c:v>2020</c:v>
                </c:pt>
                <c:pt idx="6">
                  <c:v>2021</c:v>
                </c:pt>
                <c:pt idx="7">
                  <c:v>2022</c:v>
                </c:pt>
                <c:pt idx="8">
                  <c:v>2023</c:v>
                </c:pt>
                <c:pt idx="9">
                  <c:v>2024</c:v>
                </c:pt>
              </c:numCache>
            </c:numRef>
          </c:cat>
          <c:val>
            <c:numRef>
              <c:f>Лист1!$B$2:$B$11</c:f>
              <c:numCache>
                <c:formatCode>General</c:formatCode>
                <c:ptCount val="10"/>
                <c:pt idx="0">
                  <c:v>7.1</c:v>
                </c:pt>
                <c:pt idx="1">
                  <c:v>193.2</c:v>
                </c:pt>
                <c:pt idx="2">
                  <c:v>64.2</c:v>
                </c:pt>
                <c:pt idx="3">
                  <c:v>24.8</c:v>
                </c:pt>
                <c:pt idx="4">
                  <c:v>181.7</c:v>
                </c:pt>
                <c:pt idx="5">
                  <c:v>154.5</c:v>
                </c:pt>
                <c:pt idx="6">
                  <c:v>75.900000000000006</c:v>
                </c:pt>
                <c:pt idx="7">
                  <c:v>409.2</c:v>
                </c:pt>
                <c:pt idx="8" formatCode="#,##0">
                  <c:v>459.7</c:v>
                </c:pt>
                <c:pt idx="9">
                  <c:v>711.8</c:v>
                </c:pt>
              </c:numCache>
            </c:numRef>
          </c:val>
          <c:extLst>
            <c:ext xmlns:c16="http://schemas.microsoft.com/office/drawing/2014/chart" uri="{C3380CC4-5D6E-409C-BE32-E72D297353CC}">
              <c16:uniqueId val="{00000000-A198-4E9C-A8F4-47C4516E7927}"/>
            </c:ext>
          </c:extLst>
        </c:ser>
        <c:dLbls>
          <c:showLegendKey val="0"/>
          <c:showVal val="0"/>
          <c:showCatName val="0"/>
          <c:showSerName val="0"/>
          <c:showPercent val="0"/>
          <c:showBubbleSize val="0"/>
        </c:dLbls>
        <c:gapWidth val="219"/>
        <c:overlap val="-27"/>
        <c:axId val="1405463344"/>
        <c:axId val="1405465840"/>
      </c:barChart>
      <c:catAx>
        <c:axId val="1405463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1405465840"/>
        <c:crosses val="autoZero"/>
        <c:auto val="1"/>
        <c:lblAlgn val="ctr"/>
        <c:lblOffset val="100"/>
        <c:noMultiLvlLbl val="0"/>
      </c:catAx>
      <c:valAx>
        <c:axId val="1405465840"/>
        <c:scaling>
          <c:orientation val="minMax"/>
        </c:scaling>
        <c:delete val="1"/>
        <c:axPos val="l"/>
        <c:numFmt formatCode="General" sourceLinked="1"/>
        <c:majorTickMark val="none"/>
        <c:minorTickMark val="none"/>
        <c:tickLblPos val="nextTo"/>
        <c:crossAx val="140546334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Лист1!$B$1</c:f>
              <c:strCache>
                <c:ptCount val="1"/>
                <c:pt idx="0">
                  <c:v>export from Kazakhstan to Singapore</c:v>
                </c:pt>
              </c:strCache>
            </c:strRef>
          </c:tx>
          <c:spPr>
            <a:solidFill>
              <a:srgbClr val="336699"/>
            </a:solidFill>
            <a:ln>
              <a:solidFill>
                <a:srgbClr val="336699"/>
              </a:solidFill>
            </a:ln>
            <a:effectLst/>
          </c:spPr>
          <c:invertIfNegative val="0"/>
          <c:dLbls>
            <c:dLbl>
              <c:idx val="0"/>
              <c:layout>
                <c:manualLayout>
                  <c:x val="5.6883595525593571E-2"/>
                  <c:y val="-9.513659102653687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2F7-4A21-B5F0-926D2804DCAC}"/>
                </c:ext>
              </c:extLst>
            </c:dLbl>
            <c:dLbl>
              <c:idx val="1"/>
              <c:layout>
                <c:manualLayout>
                  <c:x val="7.4386240302699247E-2"/>
                  <c:y val="0.1380650756061988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2F7-4A21-B5F0-926D2804DCAC}"/>
                </c:ext>
              </c:extLst>
            </c:dLbl>
            <c:dLbl>
              <c:idx val="2"/>
              <c:layout>
                <c:manualLayout>
                  <c:x val="6.7822748511284642E-2"/>
                  <c:y val="0.1595936423999407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2F7-4A21-B5F0-926D2804DCAC}"/>
                </c:ext>
              </c:extLst>
            </c:dLbl>
            <c:dLbl>
              <c:idx val="3"/>
              <c:layout>
                <c:manualLayout>
                  <c:x val="0.1006402074683577"/>
                  <c:y val="5.541956686434722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62F7-4A21-B5F0-926D2804DCAC}"/>
                </c:ext>
              </c:extLst>
            </c:dLbl>
            <c:dLbl>
              <c:idx val="4"/>
              <c:layout>
                <c:manualLayout>
                  <c:x val="7.6574070899837338E-2"/>
                  <c:y val="0.1448284614921465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62F7-4A21-B5F0-926D2804DCAC}"/>
                </c:ext>
              </c:extLst>
            </c:dLbl>
            <c:spPr>
              <a:solidFill>
                <a:schemeClr val="accent2"/>
              </a:solidFill>
              <a:ln>
                <a:solidFill>
                  <a:schemeClr val="accent2"/>
                </a:solid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Лист1!$A$2:$A$6</c:f>
              <c:numCache>
                <c:formatCode>General</c:formatCode>
                <c:ptCount val="5"/>
                <c:pt idx="0">
                  <c:v>2020</c:v>
                </c:pt>
                <c:pt idx="1">
                  <c:v>2021</c:v>
                </c:pt>
                <c:pt idx="2">
                  <c:v>2022</c:v>
                </c:pt>
                <c:pt idx="3">
                  <c:v>2023</c:v>
                </c:pt>
                <c:pt idx="4">
                  <c:v>2024</c:v>
                </c:pt>
              </c:numCache>
            </c:numRef>
          </c:cat>
          <c:val>
            <c:numRef>
              <c:f>Лист1!$B$2:$B$6</c:f>
              <c:numCache>
                <c:formatCode>General</c:formatCode>
                <c:ptCount val="5"/>
                <c:pt idx="0">
                  <c:v>112.2</c:v>
                </c:pt>
                <c:pt idx="1">
                  <c:v>1163.0999999999999</c:v>
                </c:pt>
                <c:pt idx="2">
                  <c:v>1920.4</c:v>
                </c:pt>
                <c:pt idx="3">
                  <c:v>1781.2</c:v>
                </c:pt>
                <c:pt idx="4">
                  <c:v>924.7</c:v>
                </c:pt>
              </c:numCache>
            </c:numRef>
          </c:val>
          <c:extLst>
            <c:ext xmlns:c16="http://schemas.microsoft.com/office/drawing/2014/chart" uri="{C3380CC4-5D6E-409C-BE32-E72D297353CC}">
              <c16:uniqueId val="{00000000-62F7-4A21-B5F0-926D2804DCAC}"/>
            </c:ext>
          </c:extLst>
        </c:ser>
        <c:ser>
          <c:idx val="1"/>
          <c:order val="1"/>
          <c:tx>
            <c:strRef>
              <c:f>Лист1!$C$1</c:f>
              <c:strCache>
                <c:ptCount val="1"/>
                <c:pt idx="0">
                  <c:v>import from Singapore to Kazakhstan</c:v>
                </c:pt>
              </c:strCache>
            </c:strRef>
          </c:tx>
          <c:spPr>
            <a:solidFill>
              <a:srgbClr val="6DA6D9"/>
            </a:solidFill>
            <a:ln>
              <a:solidFill>
                <a:srgbClr val="6DA6D9"/>
              </a:solidFill>
            </a:ln>
            <a:effectLst/>
          </c:spPr>
          <c:invertIfNegative val="0"/>
          <c:dLbls>
            <c:dLbl>
              <c:idx val="0"/>
              <c:layout>
                <c:manualLayout>
                  <c:x val="4.5944442539902479E-2"/>
                  <c:y val="5.501152859711405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62F7-4A21-B5F0-926D2804DCAC}"/>
                </c:ext>
              </c:extLst>
            </c:dLbl>
            <c:dLbl>
              <c:idx val="1"/>
              <c:layout>
                <c:manualLayout>
                  <c:x val="0"/>
                  <c:y val="5.153555669357607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62F7-4A21-B5F0-926D2804DCAC}"/>
                </c:ext>
              </c:extLst>
            </c:dLbl>
            <c:dLbl>
              <c:idx val="2"/>
              <c:layout>
                <c:manualLayout>
                  <c:x val="2.1878305971382143E-3"/>
                  <c:y val="1.030711133871521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62F7-4A21-B5F0-926D2804DCAC}"/>
                </c:ext>
              </c:extLst>
            </c:dLbl>
            <c:dLbl>
              <c:idx val="3"/>
              <c:layout>
                <c:manualLayout>
                  <c:x val="0"/>
                  <c:y val="1.100230571942291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62F7-4A21-B5F0-926D2804DCAC}"/>
                </c:ext>
              </c:extLst>
            </c:dLbl>
            <c:dLbl>
              <c:idx val="4"/>
              <c:layout>
                <c:manualLayout>
                  <c:x val="-1.6043905705112453E-16"/>
                  <c:y val="5.501152859711405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62F7-4A21-B5F0-926D2804DCAC}"/>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6DA6D9"/>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6</c:f>
              <c:numCache>
                <c:formatCode>General</c:formatCode>
                <c:ptCount val="5"/>
                <c:pt idx="0">
                  <c:v>2020</c:v>
                </c:pt>
                <c:pt idx="1">
                  <c:v>2021</c:v>
                </c:pt>
                <c:pt idx="2">
                  <c:v>2022</c:v>
                </c:pt>
                <c:pt idx="3">
                  <c:v>2023</c:v>
                </c:pt>
                <c:pt idx="4">
                  <c:v>2024</c:v>
                </c:pt>
              </c:numCache>
            </c:numRef>
          </c:cat>
          <c:val>
            <c:numRef>
              <c:f>Лист1!$C$2:$C$6</c:f>
              <c:numCache>
                <c:formatCode>General</c:formatCode>
                <c:ptCount val="5"/>
                <c:pt idx="0">
                  <c:v>35.299999999999997</c:v>
                </c:pt>
                <c:pt idx="1">
                  <c:v>46.8</c:v>
                </c:pt>
                <c:pt idx="2">
                  <c:v>47.1</c:v>
                </c:pt>
                <c:pt idx="3">
                  <c:v>80.900000000000006</c:v>
                </c:pt>
                <c:pt idx="4">
                  <c:v>70.099999999999994</c:v>
                </c:pt>
              </c:numCache>
            </c:numRef>
          </c:val>
          <c:extLst>
            <c:ext xmlns:c16="http://schemas.microsoft.com/office/drawing/2014/chart" uri="{C3380CC4-5D6E-409C-BE32-E72D297353CC}">
              <c16:uniqueId val="{00000001-62F7-4A21-B5F0-926D2804DCAC}"/>
            </c:ext>
          </c:extLst>
        </c:ser>
        <c:dLbls>
          <c:showLegendKey val="0"/>
          <c:showVal val="0"/>
          <c:showCatName val="0"/>
          <c:showSerName val="0"/>
          <c:showPercent val="0"/>
          <c:showBubbleSize val="0"/>
        </c:dLbls>
        <c:gapWidth val="219"/>
        <c:overlap val="-27"/>
        <c:axId val="1540958064"/>
        <c:axId val="1540963056"/>
      </c:barChart>
      <c:lineChart>
        <c:grouping val="standard"/>
        <c:varyColors val="0"/>
        <c:ser>
          <c:idx val="2"/>
          <c:order val="2"/>
          <c:tx>
            <c:strRef>
              <c:f>Лист1!$D$1</c:f>
              <c:strCache>
                <c:ptCount val="1"/>
                <c:pt idx="0">
                  <c:v>trade turnover</c:v>
                </c:pt>
              </c:strCache>
            </c:strRef>
          </c:tx>
          <c:spPr>
            <a:ln w="28575" cap="rnd">
              <a:solidFill>
                <a:schemeClr val="accent2"/>
              </a:solidFill>
              <a:round/>
            </a:ln>
            <a:effectLst/>
          </c:spPr>
          <c:marker>
            <c:symbol val="none"/>
          </c:marker>
          <c:dLbls>
            <c:dLbl>
              <c:idx val="0"/>
              <c:layout>
                <c:manualLayout>
                  <c:x val="-6.563491791414644E-2"/>
                  <c:y val="-8.153488229048956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2F7-4A21-B5F0-926D2804DCAC}"/>
                </c:ext>
              </c:extLst>
            </c:dLbl>
            <c:dLbl>
              <c:idx val="1"/>
              <c:layout>
                <c:manualLayout>
                  <c:x val="-7.438624030269933E-2"/>
                  <c:y val="-8.014443341807418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62F7-4A21-B5F0-926D2804DCAC}"/>
                </c:ext>
              </c:extLst>
            </c:dLbl>
            <c:dLbl>
              <c:idx val="2"/>
              <c:layout>
                <c:manualLayout>
                  <c:x val="-8.3137562691252137E-2"/>
                  <c:y val="-7.29054360486648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62F7-4A21-B5F0-926D2804DCAC}"/>
                </c:ext>
              </c:extLst>
            </c:dLbl>
            <c:dLbl>
              <c:idx val="3"/>
              <c:layout>
                <c:manualLayout>
                  <c:x val="-7.8761901496975789E-2"/>
                  <c:y val="-8.529819064050313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62F7-4A21-B5F0-926D2804DCAC}"/>
                </c:ext>
              </c:extLst>
            </c:dLbl>
            <c:dLbl>
              <c:idx val="4"/>
              <c:layout>
                <c:manualLayout>
                  <c:x val="-6.3447087317008377E-2"/>
                  <c:y val="-8.975629026508193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62F7-4A21-B5F0-926D2804DCAC}"/>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336699"/>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Лист1!$A$2:$A$6</c:f>
              <c:numCache>
                <c:formatCode>General</c:formatCode>
                <c:ptCount val="5"/>
                <c:pt idx="0">
                  <c:v>2020</c:v>
                </c:pt>
                <c:pt idx="1">
                  <c:v>2021</c:v>
                </c:pt>
                <c:pt idx="2">
                  <c:v>2022</c:v>
                </c:pt>
                <c:pt idx="3">
                  <c:v>2023</c:v>
                </c:pt>
                <c:pt idx="4">
                  <c:v>2024</c:v>
                </c:pt>
              </c:numCache>
            </c:numRef>
          </c:cat>
          <c:val>
            <c:numRef>
              <c:f>Лист1!$D$2:$D$6</c:f>
              <c:numCache>
                <c:formatCode>General</c:formatCode>
                <c:ptCount val="5"/>
                <c:pt idx="0">
                  <c:v>76.8</c:v>
                </c:pt>
                <c:pt idx="1">
                  <c:v>1116.2</c:v>
                </c:pt>
                <c:pt idx="2">
                  <c:v>1873.2</c:v>
                </c:pt>
                <c:pt idx="3">
                  <c:v>1700.3</c:v>
                </c:pt>
                <c:pt idx="4">
                  <c:v>854.6</c:v>
                </c:pt>
              </c:numCache>
            </c:numRef>
          </c:val>
          <c:smooth val="0"/>
          <c:extLst>
            <c:ext xmlns:c16="http://schemas.microsoft.com/office/drawing/2014/chart" uri="{C3380CC4-5D6E-409C-BE32-E72D297353CC}">
              <c16:uniqueId val="{00000002-62F7-4A21-B5F0-926D2804DCAC}"/>
            </c:ext>
          </c:extLst>
        </c:ser>
        <c:dLbls>
          <c:showLegendKey val="0"/>
          <c:showVal val="0"/>
          <c:showCatName val="0"/>
          <c:showSerName val="0"/>
          <c:showPercent val="0"/>
          <c:showBubbleSize val="0"/>
        </c:dLbls>
        <c:marker val="1"/>
        <c:smooth val="0"/>
        <c:axId val="1540958896"/>
        <c:axId val="1540957232"/>
      </c:lineChart>
      <c:catAx>
        <c:axId val="15409580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1540963056"/>
        <c:crosses val="autoZero"/>
        <c:auto val="1"/>
        <c:lblAlgn val="ctr"/>
        <c:lblOffset val="100"/>
        <c:noMultiLvlLbl val="0"/>
      </c:catAx>
      <c:valAx>
        <c:axId val="1540963056"/>
        <c:scaling>
          <c:orientation val="minMax"/>
        </c:scaling>
        <c:delete val="1"/>
        <c:axPos val="l"/>
        <c:numFmt formatCode="General" sourceLinked="1"/>
        <c:majorTickMark val="none"/>
        <c:minorTickMark val="none"/>
        <c:tickLblPos val="nextTo"/>
        <c:crossAx val="1540958064"/>
        <c:crosses val="autoZero"/>
        <c:crossBetween val="between"/>
      </c:valAx>
      <c:valAx>
        <c:axId val="1540957232"/>
        <c:scaling>
          <c:orientation val="minMax"/>
        </c:scaling>
        <c:delete val="1"/>
        <c:axPos val="r"/>
        <c:numFmt formatCode="General" sourceLinked="1"/>
        <c:majorTickMark val="out"/>
        <c:minorTickMark val="none"/>
        <c:tickLblPos val="nextTo"/>
        <c:crossAx val="1540958896"/>
        <c:crosses val="max"/>
        <c:crossBetween val="between"/>
      </c:valAx>
      <c:catAx>
        <c:axId val="1540958896"/>
        <c:scaling>
          <c:orientation val="minMax"/>
        </c:scaling>
        <c:delete val="1"/>
        <c:axPos val="b"/>
        <c:numFmt formatCode="General" sourceLinked="1"/>
        <c:majorTickMark val="out"/>
        <c:minorTickMark val="none"/>
        <c:tickLblPos val="nextTo"/>
        <c:crossAx val="1540957232"/>
        <c:crosses val="autoZero"/>
        <c:auto val="1"/>
        <c:lblAlgn val="ctr"/>
        <c:lblOffset val="100"/>
        <c:noMultiLvlLbl val="0"/>
      </c:catAx>
      <c:spPr>
        <a:noFill/>
        <a:ln w="25400">
          <a:noFill/>
        </a:ln>
        <a:effectLst/>
      </c:spPr>
    </c:plotArea>
    <c:legend>
      <c:legendPos val="b"/>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legend>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Лист1!$B$1</c:f>
              <c:strCache>
                <c:ptCount val="1"/>
                <c:pt idx="0">
                  <c:v>Ряд 1</c:v>
                </c:pt>
              </c:strCache>
            </c:strRef>
          </c:tx>
          <c:spPr>
            <a:solidFill>
              <a:schemeClr val="accent1"/>
            </a:solidFill>
            <a:ln>
              <a:noFill/>
            </a:ln>
            <a:effectLst/>
          </c:spPr>
          <c:invertIfNegative val="0"/>
          <c:dLbls>
            <c:dLbl>
              <c:idx val="0"/>
              <c:layout>
                <c:manualLayout>
                  <c:x val="-1.003679863322095E-17"/>
                  <c:y val="2.982457425290541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D8E-4695-AD75-E339056D3F9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1"/>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11</c:f>
              <c:numCache>
                <c:formatCode>General</c:formatCode>
                <c:ptCount val="10"/>
                <c:pt idx="0">
                  <c:v>2015</c:v>
                </c:pt>
                <c:pt idx="1">
                  <c:v>2016</c:v>
                </c:pt>
                <c:pt idx="2">
                  <c:v>2017</c:v>
                </c:pt>
                <c:pt idx="3">
                  <c:v>2018</c:v>
                </c:pt>
                <c:pt idx="4">
                  <c:v>2019</c:v>
                </c:pt>
                <c:pt idx="5">
                  <c:v>2020</c:v>
                </c:pt>
                <c:pt idx="6">
                  <c:v>2021</c:v>
                </c:pt>
                <c:pt idx="7">
                  <c:v>2022</c:v>
                </c:pt>
                <c:pt idx="8">
                  <c:v>2023</c:v>
                </c:pt>
                <c:pt idx="9">
                  <c:v>2024</c:v>
                </c:pt>
              </c:numCache>
            </c:numRef>
          </c:cat>
          <c:val>
            <c:numRef>
              <c:f>Лист1!$B$2:$B$11</c:f>
              <c:numCache>
                <c:formatCode>General</c:formatCode>
                <c:ptCount val="10"/>
                <c:pt idx="0">
                  <c:v>9.5</c:v>
                </c:pt>
                <c:pt idx="1">
                  <c:v>180.2</c:v>
                </c:pt>
                <c:pt idx="2">
                  <c:v>61.4</c:v>
                </c:pt>
                <c:pt idx="3">
                  <c:v>21.6</c:v>
                </c:pt>
                <c:pt idx="4">
                  <c:v>169.5</c:v>
                </c:pt>
                <c:pt idx="5">
                  <c:v>150.69999999999999</c:v>
                </c:pt>
                <c:pt idx="6">
                  <c:v>71</c:v>
                </c:pt>
                <c:pt idx="7">
                  <c:v>405.1</c:v>
                </c:pt>
                <c:pt idx="8">
                  <c:v>457.5</c:v>
                </c:pt>
                <c:pt idx="9">
                  <c:v>709.8</c:v>
                </c:pt>
              </c:numCache>
            </c:numRef>
          </c:val>
          <c:extLst>
            <c:ext xmlns:c16="http://schemas.microsoft.com/office/drawing/2014/chart" uri="{C3380CC4-5D6E-409C-BE32-E72D297353CC}">
              <c16:uniqueId val="{00000001-3D8E-4695-AD75-E339056D3F9A}"/>
            </c:ext>
          </c:extLst>
        </c:ser>
        <c:dLbls>
          <c:showLegendKey val="0"/>
          <c:showVal val="0"/>
          <c:showCatName val="0"/>
          <c:showSerName val="0"/>
          <c:showPercent val="0"/>
          <c:showBubbleSize val="0"/>
        </c:dLbls>
        <c:gapWidth val="219"/>
        <c:overlap val="-27"/>
        <c:axId val="1405463344"/>
        <c:axId val="1405465840"/>
      </c:barChart>
      <c:catAx>
        <c:axId val="1405463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1405465840"/>
        <c:crosses val="autoZero"/>
        <c:auto val="1"/>
        <c:lblAlgn val="ctr"/>
        <c:lblOffset val="100"/>
        <c:noMultiLvlLbl val="0"/>
      </c:catAx>
      <c:valAx>
        <c:axId val="1405465840"/>
        <c:scaling>
          <c:orientation val="minMax"/>
        </c:scaling>
        <c:delete val="1"/>
        <c:axPos val="l"/>
        <c:numFmt formatCode="General" sourceLinked="1"/>
        <c:majorTickMark val="none"/>
        <c:minorTickMark val="none"/>
        <c:tickLblPos val="nextTo"/>
        <c:crossAx val="140546334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col"/>
        <c:grouping val="clustered"/>
        <c:varyColors val="0"/>
        <c:ser>
          <c:idx val="0"/>
          <c:order val="0"/>
          <c:tx>
            <c:strRef>
              <c:f>Лист1!$B$1</c:f>
              <c:strCache>
                <c:ptCount val="1"/>
                <c:pt idx="0">
                  <c:v>Приток ПИИ, млрд. долларов</c:v>
                </c:pt>
              </c:strCache>
            </c:strRef>
          </c:tx>
          <c:spPr>
            <a:solidFill>
              <a:schemeClr val="accent1"/>
            </a:solidFill>
            <a:ln>
              <a:noFill/>
            </a:ln>
            <a:effectLst/>
          </c:spPr>
          <c:invertIfNegative val="0"/>
          <c:dLbls>
            <c:dLbl>
              <c:idx val="5"/>
              <c:spPr>
                <a:noFill/>
                <a:ln>
                  <a:noFill/>
                </a:ln>
                <a:effectLst/>
              </c:spPr>
              <c:txPr>
                <a:bodyPr rot="0" spcFirstLastPara="1" vertOverflow="ellipsis" vert="horz" wrap="square" anchor="ctr" anchorCtr="1"/>
                <a:lstStyle/>
                <a:p>
                  <a:pPr>
                    <a:defRPr sz="1000" b="1" i="0" u="none" strike="noStrike" kern="1200" baseline="0">
                      <a:solidFill>
                        <a:schemeClr val="accent2"/>
                      </a:solidFill>
                      <a:latin typeface="Century Gothic" panose="020B0502020202020204" pitchFamily="34" charset="0"/>
                      <a:ea typeface="+mn-ea"/>
                      <a:cs typeface="+mn-cs"/>
                    </a:defRPr>
                  </a:pPr>
                  <a:endParaRPr lang="ru-RU"/>
                </a:p>
              </c:txPr>
              <c:showLegendKey val="0"/>
              <c:showVal val="1"/>
              <c:showCatName val="0"/>
              <c:showSerName val="0"/>
              <c:showPercent val="0"/>
              <c:showBubbleSize val="0"/>
              <c:extLst>
                <c:ext xmlns:c16="http://schemas.microsoft.com/office/drawing/2014/chart" uri="{C3380CC4-5D6E-409C-BE32-E72D297353CC}">
                  <c16:uniqueId val="{00000001-84E7-4699-AC86-406220341E9F}"/>
                </c:ext>
              </c:extLst>
            </c:dLbl>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7</c:f>
              <c:numCache>
                <c:formatCode>General</c:formatCode>
                <c:ptCount val="6"/>
                <c:pt idx="0">
                  <c:v>2019</c:v>
                </c:pt>
                <c:pt idx="1">
                  <c:v>2020</c:v>
                </c:pt>
                <c:pt idx="2">
                  <c:v>2021</c:v>
                </c:pt>
                <c:pt idx="3">
                  <c:v>2022</c:v>
                </c:pt>
                <c:pt idx="4">
                  <c:v>2023</c:v>
                </c:pt>
                <c:pt idx="5">
                  <c:v>2024</c:v>
                </c:pt>
              </c:numCache>
            </c:numRef>
          </c:cat>
          <c:val>
            <c:numRef>
              <c:f>Лист1!$B$2:$B$7</c:f>
              <c:numCache>
                <c:formatCode>General</c:formatCode>
                <c:ptCount val="6"/>
                <c:pt idx="0">
                  <c:v>134</c:v>
                </c:pt>
                <c:pt idx="1">
                  <c:v>99</c:v>
                </c:pt>
                <c:pt idx="2">
                  <c:v>176</c:v>
                </c:pt>
                <c:pt idx="3">
                  <c:v>196</c:v>
                </c:pt>
                <c:pt idx="4">
                  <c:v>181</c:v>
                </c:pt>
                <c:pt idx="5">
                  <c:v>192</c:v>
                </c:pt>
              </c:numCache>
            </c:numRef>
          </c:val>
          <c:extLst>
            <c:ext xmlns:c16="http://schemas.microsoft.com/office/drawing/2014/chart" uri="{C3380CC4-5D6E-409C-BE32-E72D297353CC}">
              <c16:uniqueId val="{00000000-84E7-4699-AC86-406220341E9F}"/>
            </c:ext>
          </c:extLst>
        </c:ser>
        <c:dLbls>
          <c:showLegendKey val="0"/>
          <c:showVal val="0"/>
          <c:showCatName val="0"/>
          <c:showSerName val="0"/>
          <c:showPercent val="0"/>
          <c:showBubbleSize val="0"/>
        </c:dLbls>
        <c:gapWidth val="219"/>
        <c:overlap val="-27"/>
        <c:axId val="2118998847"/>
        <c:axId val="2118997599"/>
      </c:barChart>
      <c:catAx>
        <c:axId val="211899884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2118997599"/>
        <c:crosses val="autoZero"/>
        <c:auto val="1"/>
        <c:lblAlgn val="ctr"/>
        <c:lblOffset val="100"/>
        <c:noMultiLvlLbl val="0"/>
      </c:catAx>
      <c:valAx>
        <c:axId val="2118997599"/>
        <c:scaling>
          <c:orientation val="minMax"/>
        </c:scaling>
        <c:delete val="1"/>
        <c:axPos val="l"/>
        <c:numFmt formatCode="General" sourceLinked="1"/>
        <c:majorTickMark val="none"/>
        <c:minorTickMark val="none"/>
        <c:tickLblPos val="nextTo"/>
        <c:crossAx val="2118998847"/>
        <c:crosses val="autoZero"/>
        <c:crossBetween val="between"/>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sz="1000">
          <a:latin typeface="Century Gothic" panose="020B0502020202020204" pitchFamily="34" charset="0"/>
        </a:defRPr>
      </a:pPr>
      <a:endParaRPr lang="ru-RU"/>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Лист1!$B$1</c:f>
              <c:strCache>
                <c:ptCount val="1"/>
                <c:pt idx="0">
                  <c:v>Приток ПИИ по секторам, млрд. долларов</c:v>
                </c:pt>
              </c:strCache>
            </c:strRef>
          </c:tx>
          <c:spPr>
            <a:solidFill>
              <a:schemeClr val="accent1"/>
            </a:solidFill>
            <a:ln>
              <a:noFill/>
            </a:ln>
            <a:effectLst/>
          </c:spPr>
          <c:invertIfNegative val="0"/>
          <c:cat>
            <c:strRef>
              <c:f>Лист1!$A$2:$A$6</c:f>
              <c:strCache>
                <c:ptCount val="5"/>
                <c:pt idx="0">
                  <c:v>Information &amp; Communications</c:v>
                </c:pt>
                <c:pt idx="1">
                  <c:v>Manufacturing</c:v>
                </c:pt>
                <c:pt idx="2">
                  <c:v>Wholesale &amp; retail trade</c:v>
                </c:pt>
                <c:pt idx="3">
                  <c:v>Professional, administrative &amp; support services</c:v>
                </c:pt>
                <c:pt idx="4">
                  <c:v>Finance &amp; Insurance</c:v>
                </c:pt>
              </c:strCache>
            </c:strRef>
          </c:cat>
          <c:val>
            <c:numRef>
              <c:f>Лист1!$B$2:$B$6</c:f>
              <c:numCache>
                <c:formatCode>General</c:formatCode>
                <c:ptCount val="5"/>
                <c:pt idx="0">
                  <c:v>5</c:v>
                </c:pt>
                <c:pt idx="1">
                  <c:v>13</c:v>
                </c:pt>
                <c:pt idx="2">
                  <c:v>28</c:v>
                </c:pt>
                <c:pt idx="3">
                  <c:v>31</c:v>
                </c:pt>
                <c:pt idx="4">
                  <c:v>118</c:v>
                </c:pt>
              </c:numCache>
            </c:numRef>
          </c:val>
          <c:extLst>
            <c:ext xmlns:c16="http://schemas.microsoft.com/office/drawing/2014/chart" uri="{C3380CC4-5D6E-409C-BE32-E72D297353CC}">
              <c16:uniqueId val="{00000000-EA1B-48A1-9CFE-02F00185CBF3}"/>
            </c:ext>
          </c:extLst>
        </c:ser>
        <c:dLbls>
          <c:showLegendKey val="0"/>
          <c:showVal val="0"/>
          <c:showCatName val="0"/>
          <c:showSerName val="0"/>
          <c:showPercent val="0"/>
          <c:showBubbleSize val="0"/>
        </c:dLbls>
        <c:gapWidth val="182"/>
        <c:axId val="478265888"/>
        <c:axId val="478270048"/>
      </c:barChart>
      <c:catAx>
        <c:axId val="47826588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478270048"/>
        <c:crosses val="autoZero"/>
        <c:auto val="1"/>
        <c:lblAlgn val="ctr"/>
        <c:lblOffset val="100"/>
        <c:noMultiLvlLbl val="0"/>
      </c:catAx>
      <c:valAx>
        <c:axId val="478270048"/>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478265888"/>
        <c:crosses val="autoZero"/>
        <c:crossBetween val="between"/>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sz="1000">
          <a:latin typeface="Century Gothic" panose="020B0502020202020204" pitchFamily="34" charset="0"/>
        </a:defRPr>
      </a:pPr>
      <a:endParaRPr lang="ru-RU"/>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Лист1!$B$1</c:f>
              <c:strCache>
                <c:ptCount val="1"/>
                <c:pt idx="0">
                  <c:v>Столбец1</c:v>
                </c:pt>
              </c:strCache>
            </c:strRef>
          </c:tx>
          <c:dPt>
            <c:idx val="0"/>
            <c:bubble3D val="0"/>
            <c:spPr>
              <a:solidFill>
                <a:schemeClr val="tx2">
                  <a:lumMod val="75000"/>
                  <a:lumOff val="25000"/>
                </a:schemeClr>
              </a:solidFill>
              <a:ln w="19050">
                <a:solidFill>
                  <a:schemeClr val="lt1"/>
                </a:solidFill>
              </a:ln>
              <a:effectLst/>
            </c:spPr>
            <c:extLst>
              <c:ext xmlns:c16="http://schemas.microsoft.com/office/drawing/2014/chart" uri="{C3380CC4-5D6E-409C-BE32-E72D297353CC}">
                <c16:uniqueId val="{00000001-4AD4-4F99-B85D-042AFF17F97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AD4-4F99-B85D-042AFF17F97E}"/>
              </c:ext>
            </c:extLst>
          </c:dPt>
          <c:dLbls>
            <c:dLbl>
              <c:idx val="0"/>
              <c:layout>
                <c:manualLayout>
                  <c:x val="-0.14652821481015318"/>
                  <c:y val="-9.7121234831498478E-3"/>
                </c:manualLayout>
              </c:layout>
              <c:tx>
                <c:rich>
                  <a:bodyPr/>
                  <a:lstStyle/>
                  <a:p>
                    <a:fld id="{6F24067B-83FA-427F-8BB0-B3C5CE60492B}" type="VALUE">
                      <a:rPr lang="en-US">
                        <a:solidFill>
                          <a:schemeClr val="tx1">
                            <a:lumMod val="65000"/>
                            <a:lumOff val="35000"/>
                          </a:schemeClr>
                        </a:solidFill>
                      </a:rPr>
                      <a:pPr/>
                      <a:t>[WARTOŚĆ]</a:t>
                    </a:fld>
                    <a:endParaRPr lang="pl-PL"/>
                  </a:p>
                </c:rich>
              </c:tx>
              <c:showLegendKey val="0"/>
              <c:showVal val="1"/>
              <c:showCatName val="0"/>
              <c:showSerName val="0"/>
              <c:showPercent val="0"/>
              <c:showBubbleSize val="0"/>
              <c:extLst>
                <c:ext xmlns:c15="http://schemas.microsoft.com/office/drawing/2012/chart" uri="{CE6537A1-D6FC-4f65-9D91-7224C49458BB}">
                  <c15:layout>
                    <c:manualLayout>
                      <c:w val="0.3130375498216908"/>
                      <c:h val="0.320500074943945"/>
                    </c:manualLayout>
                  </c15:layout>
                  <c15:dlblFieldTable/>
                  <c15:showDataLabelsRange val="0"/>
                </c:ext>
                <c:ext xmlns:c16="http://schemas.microsoft.com/office/drawing/2014/chart" uri="{C3380CC4-5D6E-409C-BE32-E72D297353CC}">
                  <c16:uniqueId val="{00000001-4AD4-4F99-B85D-042AFF17F97E}"/>
                </c:ext>
              </c:extLst>
            </c:dLbl>
            <c:dLbl>
              <c:idx val="1"/>
              <c:layout>
                <c:manualLayout>
                  <c:x val="5.0304174533249424E-2"/>
                  <c:y val="-1.8030901376827332E-2"/>
                </c:manualLayout>
              </c:layout>
              <c:tx>
                <c:rich>
                  <a:bodyPr/>
                  <a:lstStyle/>
                  <a:p>
                    <a:fld id="{1F935691-6118-4134-BFB4-8B78A73EB34A}" type="VALUE">
                      <a:rPr lang="en-US">
                        <a:solidFill>
                          <a:schemeClr val="tx1">
                            <a:lumMod val="65000"/>
                            <a:lumOff val="35000"/>
                          </a:schemeClr>
                        </a:solidFill>
                      </a:rPr>
                      <a:pPr/>
                      <a:t>[WARTOŚĆ]</a:t>
                    </a:fld>
                    <a:endParaRPr lang="pl-PL"/>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4AD4-4F99-B85D-042AFF17F97E}"/>
                </c:ext>
              </c:extLst>
            </c:dLbl>
            <c:spPr>
              <a:noFill/>
              <a:ln>
                <a:noFill/>
              </a:ln>
              <a:effectLst/>
            </c:spPr>
            <c:txPr>
              <a:bodyPr rot="0" spcFirstLastPara="1" vertOverflow="ellipsis" vert="horz" wrap="square" anchor="ctr" anchorCtr="1"/>
              <a:lstStyle/>
              <a:p>
                <a:pPr>
                  <a:defRPr sz="700" b="1"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extLst>
          </c:dLbls>
          <c:cat>
            <c:strRef>
              <c:f>Лист1!$A$2:$A$3</c:f>
              <c:strCache>
                <c:ptCount val="2"/>
                <c:pt idx="0">
                  <c:v>потребность, тыс. тонн</c:v>
                </c:pt>
                <c:pt idx="1">
                  <c:v>внесение от потребности, %</c:v>
                </c:pt>
              </c:strCache>
            </c:strRef>
          </c:cat>
          <c:val>
            <c:numRef>
              <c:f>Лист1!$B$2:$B$3</c:f>
              <c:numCache>
                <c:formatCode>General</c:formatCode>
                <c:ptCount val="2"/>
                <c:pt idx="0">
                  <c:v>112</c:v>
                </c:pt>
                <c:pt idx="1">
                  <c:v>5</c:v>
                </c:pt>
              </c:numCache>
            </c:numRef>
          </c:val>
          <c:extLst>
            <c:ext xmlns:c16="http://schemas.microsoft.com/office/drawing/2014/chart" uri="{C3380CC4-5D6E-409C-BE32-E72D297353CC}">
              <c16:uniqueId val="{00000004-4AD4-4F99-B85D-042AFF17F97E}"/>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chart>
  <c:spPr>
    <a:noFill/>
    <a:ln>
      <a:noFill/>
    </a:ln>
    <a:effectLst/>
  </c:spPr>
  <c:txPr>
    <a:bodyPr/>
    <a:lstStyle/>
    <a:p>
      <a:pPr>
        <a:defRPr sz="700" b="1">
          <a:latin typeface="Century Gothic" panose="020B0502020202020204" pitchFamily="34" charset="0"/>
        </a:defRPr>
      </a:pPr>
      <a:endParaRPr lang="ru-RU"/>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Лист1!$B$1</c:f>
              <c:strCache>
                <c:ptCount val="1"/>
                <c:pt idx="0">
                  <c:v>Столбец1</c:v>
                </c:pt>
              </c:strCache>
            </c:strRef>
          </c:tx>
          <c:dPt>
            <c:idx val="0"/>
            <c:bubble3D val="0"/>
            <c:spPr>
              <a:solidFill>
                <a:schemeClr val="tx2">
                  <a:lumMod val="75000"/>
                  <a:lumOff val="25000"/>
                </a:schemeClr>
              </a:solidFill>
              <a:ln w="19050">
                <a:solidFill>
                  <a:schemeClr val="lt1"/>
                </a:solidFill>
              </a:ln>
              <a:effectLst/>
            </c:spPr>
            <c:extLst>
              <c:ext xmlns:c16="http://schemas.microsoft.com/office/drawing/2014/chart" uri="{C3380CC4-5D6E-409C-BE32-E72D297353CC}">
                <c16:uniqueId val="{00000001-B15A-48CD-AA02-E14772F55C41}"/>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B15A-48CD-AA02-E14772F55C41}"/>
              </c:ext>
            </c:extLst>
          </c:dPt>
          <c:dLbls>
            <c:dLbl>
              <c:idx val="0"/>
              <c:layout>
                <c:manualLayout>
                  <c:x val="-0.14652821481015318"/>
                  <c:y val="-9.7121234831498478E-3"/>
                </c:manualLayout>
              </c:layout>
              <c:tx>
                <c:rich>
                  <a:bodyPr/>
                  <a:lstStyle/>
                  <a:p>
                    <a:fld id="{6F24067B-83FA-427F-8BB0-B3C5CE60492B}" type="VALUE">
                      <a:rPr lang="en-US">
                        <a:solidFill>
                          <a:schemeClr val="tx1">
                            <a:lumMod val="65000"/>
                            <a:lumOff val="35000"/>
                          </a:schemeClr>
                        </a:solidFill>
                      </a:rPr>
                      <a:pPr/>
                      <a:t>[WARTOŚĆ]</a:t>
                    </a:fld>
                    <a:endParaRPr lang="pl-PL"/>
                  </a:p>
                </c:rich>
              </c:tx>
              <c:showLegendKey val="0"/>
              <c:showVal val="1"/>
              <c:showCatName val="0"/>
              <c:showSerName val="0"/>
              <c:showPercent val="0"/>
              <c:showBubbleSize val="0"/>
              <c:extLst>
                <c:ext xmlns:c15="http://schemas.microsoft.com/office/drawing/2012/chart" uri="{CE6537A1-D6FC-4f65-9D91-7224C49458BB}">
                  <c15:layout>
                    <c:manualLayout>
                      <c:w val="0.3130375498216908"/>
                      <c:h val="0.320500074943945"/>
                    </c:manualLayout>
                  </c15:layout>
                  <c15:dlblFieldTable/>
                  <c15:showDataLabelsRange val="0"/>
                </c:ext>
                <c:ext xmlns:c16="http://schemas.microsoft.com/office/drawing/2014/chart" uri="{C3380CC4-5D6E-409C-BE32-E72D297353CC}">
                  <c16:uniqueId val="{00000001-B15A-48CD-AA02-E14772F55C41}"/>
                </c:ext>
              </c:extLst>
            </c:dLbl>
            <c:dLbl>
              <c:idx val="1"/>
              <c:layout>
                <c:manualLayout>
                  <c:x val="5.0304174533249424E-2"/>
                  <c:y val="-1.8030901376827332E-2"/>
                </c:manualLayout>
              </c:layout>
              <c:tx>
                <c:rich>
                  <a:bodyPr/>
                  <a:lstStyle/>
                  <a:p>
                    <a:fld id="{1F935691-6118-4134-BFB4-8B78A73EB34A}" type="VALUE">
                      <a:rPr lang="en-US">
                        <a:solidFill>
                          <a:schemeClr val="tx1">
                            <a:lumMod val="65000"/>
                            <a:lumOff val="35000"/>
                          </a:schemeClr>
                        </a:solidFill>
                      </a:rPr>
                      <a:pPr/>
                      <a:t>[WARTOŚĆ]</a:t>
                    </a:fld>
                    <a:endParaRPr lang="pl-PL"/>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B15A-48CD-AA02-E14772F55C41}"/>
                </c:ext>
              </c:extLst>
            </c:dLbl>
            <c:spPr>
              <a:noFill/>
              <a:ln>
                <a:noFill/>
              </a:ln>
              <a:effectLst/>
            </c:spPr>
            <c:txPr>
              <a:bodyPr rot="0" spcFirstLastPara="1" vertOverflow="ellipsis" vert="horz" wrap="square" anchor="ctr" anchorCtr="1"/>
              <a:lstStyle/>
              <a:p>
                <a:pPr>
                  <a:defRPr sz="700" b="1"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extLst>
          </c:dLbls>
          <c:cat>
            <c:strRef>
              <c:f>Лист1!$A$2:$A$3</c:f>
              <c:strCache>
                <c:ptCount val="2"/>
                <c:pt idx="0">
                  <c:v>потребность, тыс. тонн</c:v>
                </c:pt>
                <c:pt idx="1">
                  <c:v>внесение от потребности, %</c:v>
                </c:pt>
              </c:strCache>
            </c:strRef>
          </c:cat>
          <c:val>
            <c:numRef>
              <c:f>Лист1!$B$2:$B$3</c:f>
              <c:numCache>
                <c:formatCode>General</c:formatCode>
                <c:ptCount val="2"/>
                <c:pt idx="0">
                  <c:v>275</c:v>
                </c:pt>
                <c:pt idx="1">
                  <c:v>11</c:v>
                </c:pt>
              </c:numCache>
            </c:numRef>
          </c:val>
          <c:extLst>
            <c:ext xmlns:c16="http://schemas.microsoft.com/office/drawing/2014/chart" uri="{C3380CC4-5D6E-409C-BE32-E72D297353CC}">
              <c16:uniqueId val="{00000004-B15A-48CD-AA02-E14772F55C41}"/>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chart>
  <c:spPr>
    <a:noFill/>
    <a:ln>
      <a:noFill/>
    </a:ln>
    <a:effectLst/>
  </c:spPr>
  <c:txPr>
    <a:bodyPr/>
    <a:lstStyle/>
    <a:p>
      <a:pPr>
        <a:defRPr sz="700" b="1">
          <a:latin typeface="Century Gothic" panose="020B0502020202020204" pitchFamily="34" charset="0"/>
        </a:defRPr>
      </a:pPr>
      <a:endParaRPr lang="ru-RU"/>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Лист1!$B$1</c:f>
              <c:strCache>
                <c:ptCount val="1"/>
                <c:pt idx="0">
                  <c:v>Столбец1</c:v>
                </c:pt>
              </c:strCache>
            </c:strRef>
          </c:tx>
          <c:dPt>
            <c:idx val="0"/>
            <c:bubble3D val="0"/>
            <c:spPr>
              <a:solidFill>
                <a:schemeClr val="tx2">
                  <a:lumMod val="75000"/>
                  <a:lumOff val="25000"/>
                </a:schemeClr>
              </a:solidFill>
              <a:ln w="19050">
                <a:solidFill>
                  <a:schemeClr val="lt1"/>
                </a:solidFill>
              </a:ln>
              <a:effectLst/>
            </c:spPr>
            <c:extLst>
              <c:ext xmlns:c16="http://schemas.microsoft.com/office/drawing/2014/chart" uri="{C3380CC4-5D6E-409C-BE32-E72D297353CC}">
                <c16:uniqueId val="{00000001-5D8F-47F4-A634-922689F07199}"/>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5D8F-47F4-A634-922689F07199}"/>
              </c:ext>
            </c:extLst>
          </c:dPt>
          <c:dLbls>
            <c:dLbl>
              <c:idx val="0"/>
              <c:layout>
                <c:manualLayout>
                  <c:x val="0.10656597440738422"/>
                  <c:y val="-4.8560617415749241E-2"/>
                </c:manualLayout>
              </c:layout>
              <c:tx>
                <c:rich>
                  <a:bodyPr/>
                  <a:lstStyle/>
                  <a:p>
                    <a:fld id="{6F24067B-83FA-427F-8BB0-B3C5CE60492B}" type="VALUE">
                      <a:rPr lang="en-US">
                        <a:solidFill>
                          <a:schemeClr val="tx1">
                            <a:lumMod val="65000"/>
                            <a:lumOff val="35000"/>
                          </a:schemeClr>
                        </a:solidFill>
                      </a:rPr>
                      <a:pPr/>
                      <a:t>[WARTOŚĆ]</a:t>
                    </a:fld>
                    <a:endParaRPr lang="pl-PL"/>
                  </a:p>
                </c:rich>
              </c:tx>
              <c:showLegendKey val="0"/>
              <c:showVal val="1"/>
              <c:showCatName val="0"/>
              <c:showSerName val="0"/>
              <c:showPercent val="0"/>
              <c:showBubbleSize val="0"/>
              <c:extLst>
                <c:ext xmlns:c15="http://schemas.microsoft.com/office/drawing/2012/chart" uri="{CE6537A1-D6FC-4f65-9D91-7224C49458BB}">
                  <c15:layout>
                    <c:manualLayout>
                      <c:w val="0.3130375498216908"/>
                      <c:h val="0.320500074943945"/>
                    </c:manualLayout>
                  </c15:layout>
                  <c15:dlblFieldTable/>
                  <c15:showDataLabelsRange val="0"/>
                </c:ext>
                <c:ext xmlns:c16="http://schemas.microsoft.com/office/drawing/2014/chart" uri="{C3380CC4-5D6E-409C-BE32-E72D297353CC}">
                  <c16:uniqueId val="{00000001-5D8F-47F4-A634-922689F07199}"/>
                </c:ext>
              </c:extLst>
            </c:dLbl>
            <c:dLbl>
              <c:idx val="1"/>
              <c:layout>
                <c:manualLayout>
                  <c:x val="5.0304174533249424E-2"/>
                  <c:y val="-1.8030901376827332E-2"/>
                </c:manualLayout>
              </c:layout>
              <c:tx>
                <c:rich>
                  <a:bodyPr/>
                  <a:lstStyle/>
                  <a:p>
                    <a:fld id="{1F935691-6118-4134-BFB4-8B78A73EB34A}" type="VALUE">
                      <a:rPr lang="en-US">
                        <a:solidFill>
                          <a:schemeClr val="tx1">
                            <a:lumMod val="65000"/>
                            <a:lumOff val="35000"/>
                          </a:schemeClr>
                        </a:solidFill>
                      </a:rPr>
                      <a:pPr/>
                      <a:t>[WARTOŚĆ]</a:t>
                    </a:fld>
                    <a:endParaRPr lang="pl-PL"/>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5D8F-47F4-A634-922689F07199}"/>
                </c:ext>
              </c:extLst>
            </c:dLbl>
            <c:spPr>
              <a:noFill/>
              <a:ln>
                <a:noFill/>
              </a:ln>
              <a:effectLst/>
            </c:spPr>
            <c:txPr>
              <a:bodyPr rot="0" spcFirstLastPara="1" vertOverflow="ellipsis" vert="horz" wrap="square" anchor="ctr" anchorCtr="1"/>
              <a:lstStyle/>
              <a:p>
                <a:pPr>
                  <a:defRPr sz="700" b="1"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extLst>
          </c:dLbls>
          <c:cat>
            <c:strRef>
              <c:f>Лист1!$A$2:$A$3</c:f>
              <c:strCache>
                <c:ptCount val="2"/>
                <c:pt idx="0">
                  <c:v>потребность, тыс. тонн</c:v>
                </c:pt>
                <c:pt idx="1">
                  <c:v>внесение от потребности, %</c:v>
                </c:pt>
              </c:strCache>
            </c:strRef>
          </c:cat>
          <c:val>
            <c:numRef>
              <c:f>Лист1!$B$2:$B$3</c:f>
              <c:numCache>
                <c:formatCode>General</c:formatCode>
                <c:ptCount val="2"/>
                <c:pt idx="0">
                  <c:v>166</c:v>
                </c:pt>
                <c:pt idx="1">
                  <c:v>11</c:v>
                </c:pt>
              </c:numCache>
            </c:numRef>
          </c:val>
          <c:extLst>
            <c:ext xmlns:c16="http://schemas.microsoft.com/office/drawing/2014/chart" uri="{C3380CC4-5D6E-409C-BE32-E72D297353CC}">
              <c16:uniqueId val="{00000004-5D8F-47F4-A634-922689F07199}"/>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chart>
  <c:spPr>
    <a:noFill/>
    <a:ln>
      <a:noFill/>
    </a:ln>
    <a:effectLst/>
  </c:spPr>
  <c:txPr>
    <a:bodyPr/>
    <a:lstStyle/>
    <a:p>
      <a:pPr>
        <a:defRPr sz="700" b="1">
          <a:latin typeface="Century Gothic" panose="020B0502020202020204" pitchFamily="34" charset="0"/>
        </a:defRPr>
      </a:pPr>
      <a:endParaRPr lang="ru-RU"/>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withinLinearReversed" id="21">
  <a:schemeClr val="accent1"/>
</cs:colorStyle>
</file>

<file path=ppt/charts/colors18.xml><?xml version="1.0" encoding="utf-8"?>
<cs:colorStyle xmlns:cs="http://schemas.microsoft.com/office/drawing/2012/chartStyle" xmlns:a="http://schemas.openxmlformats.org/drawingml/2006/main" meth="withinLinearReversed" id="22">
  <a:schemeClr val="accent2"/>
</cs:colorStyle>
</file>

<file path=ppt/charts/colors19.xml><?xml version="1.0" encoding="utf-8"?>
<cs:colorStyle xmlns:cs="http://schemas.microsoft.com/office/drawing/2012/chartStyle" xmlns:a="http://schemas.openxmlformats.org/drawingml/2006/main" meth="withinLinearReversed" id="22">
  <a:schemeClr val="accent2"/>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withinLinearReversed" id="22">
  <a:schemeClr val="accent2"/>
</cs:colorStyle>
</file>

<file path=ppt/charts/colors21.xml><?xml version="1.0" encoding="utf-8"?>
<cs:colorStyle xmlns:cs="http://schemas.microsoft.com/office/drawing/2012/chartStyle" xmlns:a="http://schemas.openxmlformats.org/drawingml/2006/main" meth="withinLinearReversed" id="22">
  <a:schemeClr val="accent2"/>
</cs:colorStyle>
</file>

<file path=ppt/charts/colors22.xml><?xml version="1.0" encoding="utf-8"?>
<cs:colorStyle xmlns:cs="http://schemas.microsoft.com/office/drawing/2012/chartStyle" xmlns:a="http://schemas.openxmlformats.org/drawingml/2006/main" meth="withinLinear" id="15">
  <a:schemeClr val="accent2"/>
</cs:colorStyle>
</file>

<file path=ppt/charts/colors23.xml><?xml version="1.0" encoding="utf-8"?>
<cs:colorStyle xmlns:cs="http://schemas.microsoft.com/office/drawing/2012/chartStyle" xmlns:a="http://schemas.openxmlformats.org/drawingml/2006/main" meth="withinLinearReversed" id="24">
  <a:schemeClr val="accent4"/>
</cs:colorStyle>
</file>

<file path=ppt/charts/colors24.xml><?xml version="1.0" encoding="utf-8"?>
<cs:colorStyle xmlns:cs="http://schemas.microsoft.com/office/drawing/2012/chartStyle" xmlns:a="http://schemas.openxmlformats.org/drawingml/2006/main" meth="withinLinear" id="14">
  <a:schemeClr val="accent1"/>
</cs:colorStyle>
</file>

<file path=ppt/charts/colors25.xml><?xml version="1.0" encoding="utf-8"?>
<cs:colorStyle xmlns:cs="http://schemas.microsoft.com/office/drawing/2012/chartStyle" xmlns:a="http://schemas.openxmlformats.org/drawingml/2006/main" meth="withinLinear" id="14">
  <a:schemeClr val="accent1"/>
</cs:colorStyle>
</file>

<file path=ppt/charts/colors26.xml><?xml version="1.0" encoding="utf-8"?>
<cs:colorStyle xmlns:cs="http://schemas.microsoft.com/office/drawing/2012/chartStyle" xmlns:a="http://schemas.openxmlformats.org/drawingml/2006/main" meth="withinLinear" id="14">
  <a:schemeClr val="accent1"/>
</cs:colorStyle>
</file>

<file path=ppt/charts/colors27.xml><?xml version="1.0" encoding="utf-8"?>
<cs:colorStyle xmlns:cs="http://schemas.microsoft.com/office/drawing/2012/chartStyle" xmlns:a="http://schemas.openxmlformats.org/drawingml/2006/main" meth="withinLinear" id="14">
  <a:schemeClr val="accent1"/>
</cs:colorStyle>
</file>

<file path=ppt/charts/colors28.xml><?xml version="1.0" encoding="utf-8"?>
<cs:colorStyle xmlns:cs="http://schemas.microsoft.com/office/drawing/2012/chartStyle" xmlns:a="http://schemas.openxmlformats.org/drawingml/2006/main" meth="withinLinear" id="14">
  <a:schemeClr val="accent1"/>
</cs:colorStyle>
</file>

<file path=ppt/charts/colors29.xml><?xml version="1.0" encoding="utf-8"?>
<cs:colorStyle xmlns:cs="http://schemas.microsoft.com/office/drawing/2012/chartStyle" xmlns:a="http://schemas.openxmlformats.org/drawingml/2006/main" meth="withinLinear" id="14">
  <a:schemeClr val="accent1"/>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withinLinear" id="14">
  <a:schemeClr val="accent1"/>
</cs:colorStyle>
</file>

<file path=ppt/charts/colors31.xml><?xml version="1.0" encoding="utf-8"?>
<cs:colorStyle xmlns:cs="http://schemas.microsoft.com/office/drawing/2012/chartStyle" xmlns:a="http://schemas.openxmlformats.org/drawingml/2006/main" meth="withinLinear" id="14">
  <a:schemeClr val="accent1"/>
</cs:colorStyle>
</file>

<file path=ppt/charts/colors32.xml><?xml version="1.0" encoding="utf-8"?>
<cs:colorStyle xmlns:cs="http://schemas.microsoft.com/office/drawing/2012/chartStyle" xmlns:a="http://schemas.openxmlformats.org/drawingml/2006/main" meth="withinLinear" id="14">
  <a:schemeClr val="accent1"/>
</cs:colorStyle>
</file>

<file path=ppt/charts/colors33.xml><?xml version="1.0" encoding="utf-8"?>
<cs:colorStyle xmlns:cs="http://schemas.microsoft.com/office/drawing/2012/chartStyle" xmlns:a="http://schemas.openxmlformats.org/drawingml/2006/main" meth="withinLinear" id="14">
  <a:schemeClr val="accent1"/>
</cs:colorStyle>
</file>

<file path=ppt/charts/colors34.xml><?xml version="1.0" encoding="utf-8"?>
<cs:colorStyle xmlns:cs="http://schemas.microsoft.com/office/drawing/2012/chartStyle" xmlns:a="http://schemas.openxmlformats.org/drawingml/2006/main" meth="withinLinear" id="14">
  <a:schemeClr val="accent1"/>
</cs:colorStyle>
</file>

<file path=ppt/charts/colors35.xml><?xml version="1.0" encoding="utf-8"?>
<cs:colorStyle xmlns:cs="http://schemas.microsoft.com/office/drawing/2012/chartStyle" xmlns:a="http://schemas.openxmlformats.org/drawingml/2006/main" meth="withinLinearReversed" id="26">
  <a:schemeClr val="accent6"/>
</cs:colorStyle>
</file>

<file path=ppt/charts/colors36.xml><?xml version="1.0" encoding="utf-8"?>
<cs:colorStyle xmlns:cs="http://schemas.microsoft.com/office/drawing/2012/chartStyle" xmlns:a="http://schemas.openxmlformats.org/drawingml/2006/main" meth="withinLinear" id="17">
  <a:schemeClr val="accent4"/>
</cs:colorStyle>
</file>

<file path=ppt/charts/colors37.xml><?xml version="1.0" encoding="utf-8"?>
<cs:colorStyle xmlns:cs="http://schemas.microsoft.com/office/drawing/2012/chartStyle" xmlns:a="http://schemas.openxmlformats.org/drawingml/2006/main" meth="withinLinearReversed" id="24">
  <a:schemeClr val="accent4"/>
</cs:colorStyle>
</file>

<file path=ppt/charts/colors38.xml><?xml version="1.0" encoding="utf-8"?>
<cs:colorStyle xmlns:cs="http://schemas.microsoft.com/office/drawing/2012/chartStyle" xmlns:a="http://schemas.openxmlformats.org/drawingml/2006/main" meth="withinLinearReversed" id="24">
  <a:schemeClr val="accent4"/>
</cs:colorStyle>
</file>

<file path=ppt/charts/colors39.xml><?xml version="1.0" encoding="utf-8"?>
<cs:colorStyle xmlns:cs="http://schemas.microsoft.com/office/drawing/2012/chartStyle" xmlns:a="http://schemas.openxmlformats.org/drawingml/2006/main" meth="withinLinearReversed" id="24">
  <a:schemeClr val="accent4"/>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withinLinearReversed" id="24">
  <a:schemeClr val="accent4"/>
</cs:colorStyle>
</file>

<file path=ppt/charts/colors41.xml><?xml version="1.0" encoding="utf-8"?>
<cs:colorStyle xmlns:cs="http://schemas.microsoft.com/office/drawing/2012/chartStyle" xmlns:a="http://schemas.openxmlformats.org/drawingml/2006/main" meth="withinLinearReversed" id="24">
  <a:schemeClr val="accent4"/>
</cs:colorStyle>
</file>

<file path=ppt/charts/colors42.xml><?xml version="1.0" encoding="utf-8"?>
<cs:colorStyle xmlns:cs="http://schemas.microsoft.com/office/drawing/2012/chartStyle" xmlns:a="http://schemas.openxmlformats.org/drawingml/2006/main" meth="withinLinear" id="18">
  <a:schemeClr val="accent5"/>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withinLinear" id="14">
  <a:schemeClr val="accent1"/>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withinLinear" id="14">
  <a:schemeClr val="accent1"/>
</cs:colorStyle>
</file>

<file path=ppt/charts/colors64.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52">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
  <cs:dataPoint3D>
    <cs:lnRef idx="0"/>
    <cs:fillRef idx="0">
      <cs:styleClr val="auto"/>
    </cs:fillRef>
    <cs:effectRef idx="0"/>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25.xml><?xml version="1.0" encoding="utf-8"?>
<cs:chartStyle xmlns:cs="http://schemas.microsoft.com/office/drawing/2012/chartStyle" xmlns:a="http://schemas.openxmlformats.org/drawingml/2006/main" id="252">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
  <cs:dataPoint3D>
    <cs:lnRef idx="0"/>
    <cs:fillRef idx="0">
      <cs:styleClr val="auto"/>
    </cs:fillRef>
    <cs:effectRef idx="0"/>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26.xml><?xml version="1.0" encoding="utf-8"?>
<cs:chartStyle xmlns:cs="http://schemas.microsoft.com/office/drawing/2012/chartStyle" xmlns:a="http://schemas.openxmlformats.org/drawingml/2006/main" id="252">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
  <cs:dataPoint3D>
    <cs:lnRef idx="0"/>
    <cs:fillRef idx="0">
      <cs:styleClr val="auto"/>
    </cs:fillRef>
    <cs:effectRef idx="0"/>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27.xml><?xml version="1.0" encoding="utf-8"?>
<cs:chartStyle xmlns:cs="http://schemas.microsoft.com/office/drawing/2012/chartStyle" xmlns:a="http://schemas.openxmlformats.org/drawingml/2006/main" id="252">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
  <cs:dataPoint3D>
    <cs:lnRef idx="0"/>
    <cs:fillRef idx="0">
      <cs:styleClr val="auto"/>
    </cs:fillRef>
    <cs:effectRef idx="0"/>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52">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
  <cs:dataPoint3D>
    <cs:lnRef idx="0"/>
    <cs:fillRef idx="0">
      <cs:styleClr val="auto"/>
    </cs:fillRef>
    <cs:effectRef idx="0"/>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52">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
  <cs:dataPoint3D>
    <cs:lnRef idx="0"/>
    <cs:fillRef idx="0">
      <cs:styleClr val="auto"/>
    </cs:fillRef>
    <cs:effectRef idx="0"/>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31.xml><?xml version="1.0" encoding="utf-8"?>
<cs:chartStyle xmlns:cs="http://schemas.microsoft.com/office/drawing/2012/chartStyle" xmlns:a="http://schemas.openxmlformats.org/drawingml/2006/main" id="252">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
  <cs:dataPoint3D>
    <cs:lnRef idx="0"/>
    <cs:fillRef idx="0">
      <cs:styleClr val="auto"/>
    </cs:fillRef>
    <cs:effectRef idx="0"/>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32.xml><?xml version="1.0" encoding="utf-8"?>
<cs:chartStyle xmlns:cs="http://schemas.microsoft.com/office/drawing/2012/chartStyle" xmlns:a="http://schemas.openxmlformats.org/drawingml/2006/main" id="252">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
  <cs:dataPoint3D>
    <cs:lnRef idx="0"/>
    <cs:fillRef idx="0">
      <cs:styleClr val="auto"/>
    </cs:fillRef>
    <cs:effectRef idx="0"/>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33.xml><?xml version="1.0" encoding="utf-8"?>
<cs:chartStyle xmlns:cs="http://schemas.microsoft.com/office/drawing/2012/chartStyle" xmlns:a="http://schemas.openxmlformats.org/drawingml/2006/main" id="252">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
  <cs:dataPoint3D>
    <cs:lnRef idx="0"/>
    <cs:fillRef idx="0">
      <cs:styleClr val="auto"/>
    </cs:fillRef>
    <cs:effectRef idx="0"/>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34.xml><?xml version="1.0" encoding="utf-8"?>
<cs:chartStyle xmlns:cs="http://schemas.microsoft.com/office/drawing/2012/chartStyle" xmlns:a="http://schemas.openxmlformats.org/drawingml/2006/main" id="252">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
  <cs:dataPoint3D>
    <cs:lnRef idx="0"/>
    <cs:fillRef idx="0">
      <cs:styleClr val="auto"/>
    </cs:fillRef>
    <cs:effectRef idx="0"/>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KZ"/>
          </a:p>
        </p:txBody>
      </p:sp>
      <p:sp>
        <p:nvSpPr>
          <p:cNvPr id="3" name="Дата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F9D625D-2472-1B46-8B2F-8461B8925435}" type="datetimeFigureOut">
              <a:rPr lang="ru-KZ" smtClean="0"/>
              <a:t>10/20/2025</a:t>
            </a:fld>
            <a:endParaRPr lang="ru-KZ"/>
          </a:p>
        </p:txBody>
      </p:sp>
      <p:sp>
        <p:nvSpPr>
          <p:cNvPr id="4" name="Образ слайда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KZ"/>
          </a:p>
        </p:txBody>
      </p:sp>
      <p:sp>
        <p:nvSpPr>
          <p:cNvPr id="5" name="Заметки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KZ"/>
          </a:p>
        </p:txBody>
      </p:sp>
      <p:sp>
        <p:nvSpPr>
          <p:cNvPr id="6" name="Нижний колонтитул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u-KZ"/>
          </a:p>
        </p:txBody>
      </p:sp>
      <p:sp>
        <p:nvSpPr>
          <p:cNvPr id="7" name="Номер слайда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F6B2CB2-D2FD-FE46-827E-FFCC36E63740}" type="slidenum">
              <a:rPr lang="ru-KZ" smtClean="0"/>
              <a:t>‹#›</a:t>
            </a:fld>
            <a:endParaRPr lang="ru-KZ"/>
          </a:p>
        </p:txBody>
      </p:sp>
    </p:spTree>
    <p:extLst>
      <p:ext uri="{BB962C8B-B14F-4D97-AF65-F5344CB8AC3E}">
        <p14:creationId xmlns:p14="http://schemas.microsoft.com/office/powerpoint/2010/main" val="13068541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b="1" i="1" dirty="0"/>
              <a:t>Слайд заставка. </a:t>
            </a:r>
            <a:endParaRPr lang="en-US" dirty="0"/>
          </a:p>
        </p:txBody>
      </p:sp>
      <p:sp>
        <p:nvSpPr>
          <p:cNvPr id="4" name="Номер слайда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F256805-EAF3-4EA0-9120-CA2682B19184}" type="slidenum">
              <a:rPr kumimoji="0" lang="ru-R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ru-RU"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800577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EF473-4352-4677-9AE9-94334D8C8C1D}" type="slidenum">
              <a:rPr kumimoji="0" lang="kk-KZ"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kk-KZ"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487236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7409BA-F963-B82D-75E0-B69495FF4C17}"/>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06085BFB-9B8B-5843-7842-DBD66AF99898}"/>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57916CC5-006E-BCC3-FB69-8EB0A6EEC98E}"/>
              </a:ext>
            </a:extLst>
          </p:cNvPr>
          <p:cNvSpPr>
            <a:spLocks noGrp="1"/>
          </p:cNvSpPr>
          <p:nvPr>
            <p:ph type="body" idx="1"/>
          </p:nvPr>
        </p:nvSpPr>
        <p:spPr/>
        <p:txBody>
          <a:bodyPr/>
          <a:lstStyle/>
          <a:p>
            <a:endParaRPr lang="ru-RU"/>
          </a:p>
        </p:txBody>
      </p:sp>
      <p:sp>
        <p:nvSpPr>
          <p:cNvPr id="4" name="Номер слайда 3">
            <a:extLst>
              <a:ext uri="{FF2B5EF4-FFF2-40B4-BE49-F238E27FC236}">
                <a16:creationId xmlns:a16="http://schemas.microsoft.com/office/drawing/2014/main" id="{39A8DEA5-3919-E170-1D53-41DEE6725006}"/>
              </a:ext>
            </a:extLst>
          </p:cNvPr>
          <p:cNvSpPr>
            <a:spLocks noGrp="1"/>
          </p:cNvSpPr>
          <p:nvPr>
            <p:ph type="sldNum" sz="quarter" idx="10"/>
          </p:nvPr>
        </p:nvSpPr>
        <p:spPr/>
        <p:txBody>
          <a:bodyPr/>
          <a:lstStyle/>
          <a:p>
            <a:pPr marL="0" marR="0" lvl="0" indent="0" algn="r" defTabSz="926759" rtl="0" eaLnBrk="1" fontAlgn="auto" latinLnBrk="0" hangingPunct="1">
              <a:lnSpc>
                <a:spcPct val="100000"/>
              </a:lnSpc>
              <a:spcBef>
                <a:spcPts val="0"/>
              </a:spcBef>
              <a:spcAft>
                <a:spcPts val="0"/>
              </a:spcAft>
              <a:buClrTx/>
              <a:buSzTx/>
              <a:buFontTx/>
              <a:buNone/>
              <a:tabLst/>
              <a:defRPr/>
            </a:pPr>
            <a:fld id="{0DDEF473-4352-4677-9AE9-94334D8C8C1D}" type="slidenum">
              <a:rPr kumimoji="0" lang="kk-KZ"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26759" rtl="0" eaLnBrk="1" fontAlgn="auto" latinLnBrk="0" hangingPunct="1">
                <a:lnSpc>
                  <a:spcPct val="100000"/>
                </a:lnSpc>
                <a:spcBef>
                  <a:spcPts val="0"/>
                </a:spcBef>
                <a:spcAft>
                  <a:spcPts val="0"/>
                </a:spcAft>
                <a:buClrTx/>
                <a:buSzTx/>
                <a:buFontTx/>
                <a:buNone/>
                <a:tabLst/>
                <a:defRPr/>
              </a:pPr>
              <a:t>12</a:t>
            </a:fld>
            <a:endParaRPr kumimoji="0" lang="kk-KZ"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55063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pPr marL="0" marR="0" lvl="0" indent="0" algn="r" defTabSz="926759" rtl="0" eaLnBrk="1" fontAlgn="auto" latinLnBrk="0" hangingPunct="1">
              <a:lnSpc>
                <a:spcPct val="100000"/>
              </a:lnSpc>
              <a:spcBef>
                <a:spcPts val="0"/>
              </a:spcBef>
              <a:spcAft>
                <a:spcPts val="0"/>
              </a:spcAft>
              <a:buClrTx/>
              <a:buSzTx/>
              <a:buFontTx/>
              <a:buNone/>
              <a:tabLst/>
              <a:defRPr/>
            </a:pPr>
            <a:fld id="{0DDEF473-4352-4677-9AE9-94334D8C8C1D}" type="slidenum">
              <a:rPr kumimoji="0" lang="kk-KZ"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26759" rtl="0" eaLnBrk="1" fontAlgn="auto" latinLnBrk="0" hangingPunct="1">
                <a:lnSpc>
                  <a:spcPct val="100000"/>
                </a:lnSpc>
                <a:spcBef>
                  <a:spcPts val="0"/>
                </a:spcBef>
                <a:spcAft>
                  <a:spcPts val="0"/>
                </a:spcAft>
                <a:buClrTx/>
                <a:buSzTx/>
                <a:buFontTx/>
                <a:buNone/>
                <a:tabLst/>
                <a:defRPr/>
              </a:pPr>
              <a:t>13</a:t>
            </a:fld>
            <a:endParaRPr kumimoji="0" lang="kk-KZ"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843219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b="1" i="1" dirty="0"/>
              <a:t>Слайд заставка. </a:t>
            </a:r>
            <a:endParaRPr lang="en-US" dirty="0"/>
          </a:p>
        </p:txBody>
      </p:sp>
      <p:sp>
        <p:nvSpPr>
          <p:cNvPr id="4" name="Номер слайда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F256805-EAF3-4EA0-9120-CA2682B19184}" type="slidenum">
              <a:rPr kumimoji="0" lang="ru-R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ru-RU"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42572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940C49-E3B1-AEA7-14B4-55B915CD4B9A}"/>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DBCD4665-2C0A-3A39-1052-C9A6D4D35D47}"/>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7B97D30F-F32A-4DD6-A4C9-C94E1AEC2F09}"/>
              </a:ext>
            </a:extLst>
          </p:cNvPr>
          <p:cNvSpPr>
            <a:spLocks noGrp="1"/>
          </p:cNvSpPr>
          <p:nvPr>
            <p:ph type="body" idx="1"/>
          </p:nvPr>
        </p:nvSpPr>
        <p:spPr/>
        <p:txBody>
          <a:bodyPr/>
          <a:lstStyle/>
          <a:p>
            <a:endParaRPr lang="ru-KZ" dirty="0"/>
          </a:p>
        </p:txBody>
      </p:sp>
      <p:sp>
        <p:nvSpPr>
          <p:cNvPr id="4" name="Номер слайда 3">
            <a:extLst>
              <a:ext uri="{FF2B5EF4-FFF2-40B4-BE49-F238E27FC236}">
                <a16:creationId xmlns:a16="http://schemas.microsoft.com/office/drawing/2014/main" id="{B425069F-C8A8-73D1-3031-46F1B354BE7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E71EB1F-301F-7241-8ADB-5306FAC941B4}" type="slidenum">
              <a:rPr kumimoji="0" lang="ru-KZ"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ru-KZ"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062704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CFA359-A4D4-1D6C-66D0-D9B250AA4C93}"/>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6FD0D5CE-0DED-7D6C-09A5-2F6E1CE3BBE5}"/>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20FE42C6-3A0D-E040-F258-BD9766A1379F}"/>
              </a:ext>
            </a:extLst>
          </p:cNvPr>
          <p:cNvSpPr>
            <a:spLocks noGrp="1"/>
          </p:cNvSpPr>
          <p:nvPr>
            <p:ph type="body" idx="1"/>
          </p:nvPr>
        </p:nvSpPr>
        <p:spPr/>
        <p:txBody>
          <a:bodyPr/>
          <a:lstStyle/>
          <a:p>
            <a:endParaRPr lang="ru-RU"/>
          </a:p>
        </p:txBody>
      </p:sp>
      <p:sp>
        <p:nvSpPr>
          <p:cNvPr id="4" name="Номер слайда 3">
            <a:extLst>
              <a:ext uri="{FF2B5EF4-FFF2-40B4-BE49-F238E27FC236}">
                <a16:creationId xmlns:a16="http://schemas.microsoft.com/office/drawing/2014/main" id="{7882058B-9FA9-71A8-C392-60EA7842A2D9}"/>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EF473-4352-4677-9AE9-94334D8C8C1D}" type="slidenum">
              <a:rPr kumimoji="0" lang="kk-KZ"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kk-KZ"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399757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05A598-1EAB-0C45-0BCB-5B0827A512A6}"/>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C7BE43A3-F2F8-D676-8AB2-004EAF90E97A}"/>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8DF614EC-87E1-99CF-793E-25304FB3AF60}"/>
              </a:ext>
            </a:extLst>
          </p:cNvPr>
          <p:cNvSpPr>
            <a:spLocks noGrp="1"/>
          </p:cNvSpPr>
          <p:nvPr>
            <p:ph type="body" idx="1"/>
          </p:nvPr>
        </p:nvSpPr>
        <p:spPr/>
        <p:txBody>
          <a:bodyPr/>
          <a:lstStyle/>
          <a:p>
            <a:endParaRPr lang="ru-RU"/>
          </a:p>
        </p:txBody>
      </p:sp>
      <p:sp>
        <p:nvSpPr>
          <p:cNvPr id="4" name="Номер слайда 3">
            <a:extLst>
              <a:ext uri="{FF2B5EF4-FFF2-40B4-BE49-F238E27FC236}">
                <a16:creationId xmlns:a16="http://schemas.microsoft.com/office/drawing/2014/main" id="{67769E1D-1A82-D620-0029-D508027357FB}"/>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C34818-9CC3-4811-996B-224E32E0174D}" type="slidenum">
              <a:rPr kumimoji="0" lang="ru-RU"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ru-RU"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19121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KZ"/>
          </a:p>
        </p:txBody>
      </p:sp>
      <p:sp>
        <p:nvSpPr>
          <p:cNvPr id="4" name="Номер слайда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66E3D3-F37B-D443-AD56-E14D4BFF86E8}" type="slidenum">
              <a:rPr kumimoji="0" lang="ru-KZ"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ru-KZ"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0456176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KZ"/>
          </a:p>
        </p:txBody>
      </p:sp>
      <p:sp>
        <p:nvSpPr>
          <p:cNvPr id="4" name="Номер слайда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66E3D3-F37B-D443-AD56-E14D4BFF86E8}" type="slidenum">
              <a:rPr kumimoji="0" lang="ru-KZ"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ru-KZ"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427910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EF473-4352-4677-9AE9-94334D8C8C1D}" type="slidenum">
              <a:rPr kumimoji="0" lang="kk-KZ"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kk-KZ"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993703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05A598-1EAB-0C45-0BCB-5B0827A512A6}"/>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C7BE43A3-F2F8-D676-8AB2-004EAF90E97A}"/>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8DF614EC-87E1-99CF-793E-25304FB3AF60}"/>
              </a:ext>
            </a:extLst>
          </p:cNvPr>
          <p:cNvSpPr>
            <a:spLocks noGrp="1"/>
          </p:cNvSpPr>
          <p:nvPr>
            <p:ph type="body" idx="1"/>
          </p:nvPr>
        </p:nvSpPr>
        <p:spPr/>
        <p:txBody>
          <a:bodyPr/>
          <a:lstStyle/>
          <a:p>
            <a:endParaRPr lang="ru-RU"/>
          </a:p>
        </p:txBody>
      </p:sp>
      <p:sp>
        <p:nvSpPr>
          <p:cNvPr id="4" name="Номер слайда 3">
            <a:extLst>
              <a:ext uri="{FF2B5EF4-FFF2-40B4-BE49-F238E27FC236}">
                <a16:creationId xmlns:a16="http://schemas.microsoft.com/office/drawing/2014/main" id="{67769E1D-1A82-D620-0029-D508027357FB}"/>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C34818-9CC3-4811-996B-224E32E0174D}" type="slidenum">
              <a:rPr kumimoji="0" lang="ru-RU"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ru-RU"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1146248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7409BA-F963-B82D-75E0-B69495FF4C17}"/>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06085BFB-9B8B-5843-7842-DBD66AF99898}"/>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57916CC5-006E-BCC3-FB69-8EB0A6EEC98E}"/>
              </a:ext>
            </a:extLst>
          </p:cNvPr>
          <p:cNvSpPr>
            <a:spLocks noGrp="1"/>
          </p:cNvSpPr>
          <p:nvPr>
            <p:ph type="body" idx="1"/>
          </p:nvPr>
        </p:nvSpPr>
        <p:spPr/>
        <p:txBody>
          <a:bodyPr/>
          <a:lstStyle/>
          <a:p>
            <a:endParaRPr lang="ru-RU"/>
          </a:p>
        </p:txBody>
      </p:sp>
      <p:sp>
        <p:nvSpPr>
          <p:cNvPr id="4" name="Номер слайда 3">
            <a:extLst>
              <a:ext uri="{FF2B5EF4-FFF2-40B4-BE49-F238E27FC236}">
                <a16:creationId xmlns:a16="http://schemas.microsoft.com/office/drawing/2014/main" id="{39A8DEA5-3919-E170-1D53-41DEE6725006}"/>
              </a:ext>
            </a:extLst>
          </p:cNvPr>
          <p:cNvSpPr>
            <a:spLocks noGrp="1"/>
          </p:cNvSpPr>
          <p:nvPr>
            <p:ph type="sldNum" sz="quarter" idx="10"/>
          </p:nvPr>
        </p:nvSpPr>
        <p:spPr/>
        <p:txBody>
          <a:bodyPr/>
          <a:lstStyle/>
          <a:p>
            <a:pPr marL="0" marR="0" lvl="0" indent="0" algn="r" defTabSz="926759" rtl="0" eaLnBrk="1" fontAlgn="auto" latinLnBrk="0" hangingPunct="1">
              <a:lnSpc>
                <a:spcPct val="100000"/>
              </a:lnSpc>
              <a:spcBef>
                <a:spcPts val="0"/>
              </a:spcBef>
              <a:spcAft>
                <a:spcPts val="0"/>
              </a:spcAft>
              <a:buClrTx/>
              <a:buSzTx/>
              <a:buFontTx/>
              <a:buNone/>
              <a:tabLst/>
              <a:defRPr/>
            </a:pPr>
            <a:fld id="{0DDEF473-4352-4677-9AE9-94334D8C8C1D}" type="slidenum">
              <a:rPr kumimoji="0" lang="kk-KZ"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26759" rtl="0" eaLnBrk="1" fontAlgn="auto" latinLnBrk="0" hangingPunct="1">
                <a:lnSpc>
                  <a:spcPct val="100000"/>
                </a:lnSpc>
                <a:spcBef>
                  <a:spcPts val="0"/>
                </a:spcBef>
                <a:spcAft>
                  <a:spcPts val="0"/>
                </a:spcAft>
                <a:buClrTx/>
                <a:buSzTx/>
                <a:buFontTx/>
                <a:buNone/>
                <a:tabLst/>
                <a:defRPr/>
              </a:pPr>
              <a:t>28</a:t>
            </a:fld>
            <a:endParaRPr kumimoji="0" lang="kk-KZ"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0952804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pPr marL="0" marR="0" lvl="0" indent="0" algn="r" defTabSz="926759" rtl="0" eaLnBrk="1" fontAlgn="auto" latinLnBrk="0" hangingPunct="1">
              <a:lnSpc>
                <a:spcPct val="100000"/>
              </a:lnSpc>
              <a:spcBef>
                <a:spcPts val="0"/>
              </a:spcBef>
              <a:spcAft>
                <a:spcPts val="0"/>
              </a:spcAft>
              <a:buClrTx/>
              <a:buSzTx/>
              <a:buFontTx/>
              <a:buNone/>
              <a:tabLst/>
              <a:defRPr/>
            </a:pPr>
            <a:fld id="{0DDEF473-4352-4677-9AE9-94334D8C8C1D}" type="slidenum">
              <a:rPr kumimoji="0" lang="kk-KZ"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26759" rtl="0" eaLnBrk="1" fontAlgn="auto" latinLnBrk="0" hangingPunct="1">
                <a:lnSpc>
                  <a:spcPct val="100000"/>
                </a:lnSpc>
                <a:spcBef>
                  <a:spcPts val="0"/>
                </a:spcBef>
                <a:spcAft>
                  <a:spcPts val="0"/>
                </a:spcAft>
                <a:buClrTx/>
                <a:buSzTx/>
                <a:buFontTx/>
                <a:buNone/>
                <a:tabLst/>
                <a:defRPr/>
              </a:pPr>
              <a:t>29</a:t>
            </a:fld>
            <a:endParaRPr kumimoji="0" lang="kk-KZ"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805432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b="1" i="1" dirty="0"/>
              <a:t>Слайд заставка. </a:t>
            </a:r>
            <a:endParaRPr lang="en-US" dirty="0"/>
          </a:p>
        </p:txBody>
      </p:sp>
      <p:sp>
        <p:nvSpPr>
          <p:cNvPr id="4" name="Номер слайда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256805-EAF3-4EA0-9120-CA2682B19184}"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ru-R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6768667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marL="0" marR="0" lvl="0" indent="0" algn="r" defTabSz="922957" rtl="0" eaLnBrk="1" fontAlgn="auto" latinLnBrk="0" hangingPunct="1">
              <a:lnSpc>
                <a:spcPct val="100000"/>
              </a:lnSpc>
              <a:spcBef>
                <a:spcPts val="0"/>
              </a:spcBef>
              <a:spcAft>
                <a:spcPts val="0"/>
              </a:spcAft>
              <a:buClrTx/>
              <a:buSzTx/>
              <a:buFontTx/>
              <a:buNone/>
              <a:tabLst/>
              <a:defRPr/>
            </a:pPr>
            <a:fld id="{0DDEF473-4352-4677-9AE9-94334D8C8C1D}" type="slidenum">
              <a:rPr kumimoji="0" lang="kk-KZ" sz="1200" b="0" i="0" u="none" strike="noStrike" kern="1200" cap="none" spc="0" normalizeH="0" baseline="0" noProof="0">
                <a:ln>
                  <a:noFill/>
                </a:ln>
                <a:solidFill>
                  <a:prstClr val="black"/>
                </a:solidFill>
                <a:effectLst/>
                <a:uLnTx/>
                <a:uFillTx/>
                <a:latin typeface="Calibri"/>
                <a:ea typeface="+mn-ea"/>
                <a:cs typeface="+mn-cs"/>
              </a:rPr>
              <a:pPr marL="0" marR="0" lvl="0" indent="0" algn="r" defTabSz="922957" rtl="0" eaLnBrk="1" fontAlgn="auto" latinLnBrk="0" hangingPunct="1">
                <a:lnSpc>
                  <a:spcPct val="100000"/>
                </a:lnSpc>
                <a:spcBef>
                  <a:spcPts val="0"/>
                </a:spcBef>
                <a:spcAft>
                  <a:spcPts val="0"/>
                </a:spcAft>
                <a:buClrTx/>
                <a:buSzTx/>
                <a:buFontTx/>
                <a:buNone/>
                <a:tabLst/>
                <a:defRPr/>
              </a:pPr>
              <a:t>31</a:t>
            </a:fld>
            <a:endParaRPr kumimoji="0" lang="kk-KZ"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6379361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marL="0" marR="0" lvl="0" indent="0" algn="r" defTabSz="922957" rtl="0" eaLnBrk="1" fontAlgn="auto" latinLnBrk="0" hangingPunct="1">
              <a:lnSpc>
                <a:spcPct val="100000"/>
              </a:lnSpc>
              <a:spcBef>
                <a:spcPts val="0"/>
              </a:spcBef>
              <a:spcAft>
                <a:spcPts val="0"/>
              </a:spcAft>
              <a:buClrTx/>
              <a:buSzTx/>
              <a:buFontTx/>
              <a:buNone/>
              <a:tabLst/>
              <a:defRPr/>
            </a:pPr>
            <a:fld id="{0DDEF473-4352-4677-9AE9-94334D8C8C1D}" type="slidenum">
              <a:rPr kumimoji="0" lang="kk-KZ" sz="1200" b="0" i="0" u="none" strike="noStrike" kern="1200" cap="none" spc="0" normalizeH="0" baseline="0" noProof="0">
                <a:ln>
                  <a:noFill/>
                </a:ln>
                <a:solidFill>
                  <a:prstClr val="black"/>
                </a:solidFill>
                <a:effectLst/>
                <a:uLnTx/>
                <a:uFillTx/>
                <a:latin typeface="Calibri"/>
                <a:ea typeface="+mn-ea"/>
                <a:cs typeface="+mn-cs"/>
              </a:rPr>
              <a:pPr marL="0" marR="0" lvl="0" indent="0" algn="r" defTabSz="922957" rtl="0" eaLnBrk="1" fontAlgn="auto" latinLnBrk="0" hangingPunct="1">
                <a:lnSpc>
                  <a:spcPct val="100000"/>
                </a:lnSpc>
                <a:spcBef>
                  <a:spcPts val="0"/>
                </a:spcBef>
                <a:spcAft>
                  <a:spcPts val="0"/>
                </a:spcAft>
                <a:buClrTx/>
                <a:buSzTx/>
                <a:buFontTx/>
                <a:buNone/>
                <a:tabLst/>
                <a:defRPr/>
              </a:pPr>
              <a:t>32</a:t>
            </a:fld>
            <a:endParaRPr kumimoji="0" lang="kk-KZ"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623138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marL="0" marR="0" lvl="0" indent="0" algn="r" defTabSz="922957" rtl="0" eaLnBrk="1" fontAlgn="auto" latinLnBrk="0" hangingPunct="1">
              <a:lnSpc>
                <a:spcPct val="100000"/>
              </a:lnSpc>
              <a:spcBef>
                <a:spcPts val="0"/>
              </a:spcBef>
              <a:spcAft>
                <a:spcPts val="0"/>
              </a:spcAft>
              <a:buClrTx/>
              <a:buSzTx/>
              <a:buFontTx/>
              <a:buNone/>
              <a:tabLst/>
              <a:defRPr/>
            </a:pPr>
            <a:fld id="{0DDEF473-4352-4677-9AE9-94334D8C8C1D}" type="slidenum">
              <a:rPr kumimoji="0" lang="kk-KZ" sz="1200" b="0" i="0" u="none" strike="noStrike" kern="1200" cap="none" spc="0" normalizeH="0" baseline="0" noProof="0">
                <a:ln>
                  <a:noFill/>
                </a:ln>
                <a:solidFill>
                  <a:prstClr val="black"/>
                </a:solidFill>
                <a:effectLst/>
                <a:uLnTx/>
                <a:uFillTx/>
                <a:latin typeface="Calibri"/>
                <a:ea typeface="+mn-ea"/>
                <a:cs typeface="+mn-cs"/>
              </a:rPr>
              <a:pPr marL="0" marR="0" lvl="0" indent="0" algn="r" defTabSz="922957" rtl="0" eaLnBrk="1" fontAlgn="auto" latinLnBrk="0" hangingPunct="1">
                <a:lnSpc>
                  <a:spcPct val="100000"/>
                </a:lnSpc>
                <a:spcBef>
                  <a:spcPts val="0"/>
                </a:spcBef>
                <a:spcAft>
                  <a:spcPts val="0"/>
                </a:spcAft>
                <a:buClrTx/>
                <a:buSzTx/>
                <a:buFontTx/>
                <a:buNone/>
                <a:tabLst/>
                <a:defRPr/>
              </a:pPr>
              <a:t>33</a:t>
            </a:fld>
            <a:endParaRPr kumimoji="0" lang="kk-KZ"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0852948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marL="0" marR="0" lvl="0" indent="0" algn="r" defTabSz="922957" rtl="0" eaLnBrk="1" fontAlgn="auto" latinLnBrk="0" hangingPunct="1">
              <a:lnSpc>
                <a:spcPct val="100000"/>
              </a:lnSpc>
              <a:spcBef>
                <a:spcPts val="0"/>
              </a:spcBef>
              <a:spcAft>
                <a:spcPts val="0"/>
              </a:spcAft>
              <a:buClrTx/>
              <a:buSzTx/>
              <a:buFontTx/>
              <a:buNone/>
              <a:tabLst/>
              <a:defRPr/>
            </a:pPr>
            <a:fld id="{0DDEF473-4352-4677-9AE9-94334D8C8C1D}" type="slidenum">
              <a:rPr kumimoji="0" lang="kk-KZ" sz="1200" b="0" i="0" u="none" strike="noStrike" kern="1200" cap="none" spc="0" normalizeH="0" baseline="0" noProof="0">
                <a:ln>
                  <a:noFill/>
                </a:ln>
                <a:solidFill>
                  <a:prstClr val="black"/>
                </a:solidFill>
                <a:effectLst/>
                <a:uLnTx/>
                <a:uFillTx/>
                <a:latin typeface="Calibri"/>
                <a:ea typeface="+mn-ea"/>
                <a:cs typeface="+mn-cs"/>
              </a:rPr>
              <a:pPr marL="0" marR="0" lvl="0" indent="0" algn="r" defTabSz="922957" rtl="0" eaLnBrk="1" fontAlgn="auto" latinLnBrk="0" hangingPunct="1">
                <a:lnSpc>
                  <a:spcPct val="100000"/>
                </a:lnSpc>
                <a:spcBef>
                  <a:spcPts val="0"/>
                </a:spcBef>
                <a:spcAft>
                  <a:spcPts val="0"/>
                </a:spcAft>
                <a:buClrTx/>
                <a:buSzTx/>
                <a:buFontTx/>
                <a:buNone/>
                <a:tabLst/>
                <a:defRPr/>
              </a:pPr>
              <a:t>34</a:t>
            </a:fld>
            <a:endParaRPr kumimoji="0" lang="kk-KZ"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8551141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marL="0" marR="0" lvl="0" indent="0" algn="r" defTabSz="922496" rtl="0" eaLnBrk="1" fontAlgn="auto" latinLnBrk="0" hangingPunct="1">
              <a:lnSpc>
                <a:spcPct val="100000"/>
              </a:lnSpc>
              <a:spcBef>
                <a:spcPts val="0"/>
              </a:spcBef>
              <a:spcAft>
                <a:spcPts val="0"/>
              </a:spcAft>
              <a:buClrTx/>
              <a:buSzTx/>
              <a:buFontTx/>
              <a:buNone/>
              <a:tabLst/>
              <a:defRPr/>
            </a:pPr>
            <a:fld id="{0DDEF473-4352-4677-9AE9-94334D8C8C1D}" type="slidenum">
              <a:rPr kumimoji="0" lang="kk-KZ" sz="1200" b="0" i="0" u="none" strike="noStrike" kern="1200" cap="none" spc="0" normalizeH="0" baseline="0" noProof="0">
                <a:ln>
                  <a:noFill/>
                </a:ln>
                <a:solidFill>
                  <a:prstClr val="black"/>
                </a:solidFill>
                <a:effectLst/>
                <a:uLnTx/>
                <a:uFillTx/>
                <a:latin typeface="Calibri"/>
                <a:ea typeface="+mn-ea"/>
                <a:cs typeface="+mn-cs"/>
              </a:rPr>
              <a:pPr marL="0" marR="0" lvl="0" indent="0" algn="r" defTabSz="922496" rtl="0" eaLnBrk="1" fontAlgn="auto" latinLnBrk="0" hangingPunct="1">
                <a:lnSpc>
                  <a:spcPct val="100000"/>
                </a:lnSpc>
                <a:spcBef>
                  <a:spcPts val="0"/>
                </a:spcBef>
                <a:spcAft>
                  <a:spcPts val="0"/>
                </a:spcAft>
                <a:buClrTx/>
                <a:buSzTx/>
                <a:buFontTx/>
                <a:buNone/>
                <a:tabLst/>
                <a:defRPr/>
              </a:pPr>
              <a:t>35</a:t>
            </a:fld>
            <a:endParaRPr kumimoji="0" lang="kk-KZ"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4382949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marL="0" marR="0" lvl="0" indent="0" algn="r" defTabSz="922496" rtl="0" eaLnBrk="1" fontAlgn="auto" latinLnBrk="0" hangingPunct="1">
              <a:lnSpc>
                <a:spcPct val="100000"/>
              </a:lnSpc>
              <a:spcBef>
                <a:spcPts val="0"/>
              </a:spcBef>
              <a:spcAft>
                <a:spcPts val="0"/>
              </a:spcAft>
              <a:buClrTx/>
              <a:buSzTx/>
              <a:buFontTx/>
              <a:buNone/>
              <a:tabLst/>
              <a:defRPr/>
            </a:pPr>
            <a:fld id="{0DDEF473-4352-4677-9AE9-94334D8C8C1D}" type="slidenum">
              <a:rPr kumimoji="0" lang="kk-KZ" sz="1200" b="0" i="0" u="none" strike="noStrike" kern="1200" cap="none" spc="0" normalizeH="0" baseline="0" noProof="0">
                <a:ln>
                  <a:noFill/>
                </a:ln>
                <a:solidFill>
                  <a:prstClr val="black"/>
                </a:solidFill>
                <a:effectLst/>
                <a:uLnTx/>
                <a:uFillTx/>
                <a:latin typeface="Calibri"/>
                <a:ea typeface="+mn-ea"/>
                <a:cs typeface="+mn-cs"/>
              </a:rPr>
              <a:pPr marL="0" marR="0" lvl="0" indent="0" algn="r" defTabSz="922496" rtl="0" eaLnBrk="1" fontAlgn="auto" latinLnBrk="0" hangingPunct="1">
                <a:lnSpc>
                  <a:spcPct val="100000"/>
                </a:lnSpc>
                <a:spcBef>
                  <a:spcPts val="0"/>
                </a:spcBef>
                <a:spcAft>
                  <a:spcPts val="0"/>
                </a:spcAft>
                <a:buClrTx/>
                <a:buSzTx/>
                <a:buFontTx/>
                <a:buNone/>
                <a:tabLst/>
                <a:defRPr/>
              </a:pPr>
              <a:t>36</a:t>
            </a:fld>
            <a:endParaRPr kumimoji="0" lang="kk-KZ"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7298920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marL="0" marR="0" lvl="0" indent="0" algn="r" defTabSz="922496" rtl="0" eaLnBrk="1" fontAlgn="auto" latinLnBrk="0" hangingPunct="1">
              <a:lnSpc>
                <a:spcPct val="100000"/>
              </a:lnSpc>
              <a:spcBef>
                <a:spcPts val="0"/>
              </a:spcBef>
              <a:spcAft>
                <a:spcPts val="0"/>
              </a:spcAft>
              <a:buClrTx/>
              <a:buSzTx/>
              <a:buFontTx/>
              <a:buNone/>
              <a:tabLst/>
              <a:defRPr/>
            </a:pPr>
            <a:fld id="{0DDEF473-4352-4677-9AE9-94334D8C8C1D}" type="slidenum">
              <a:rPr kumimoji="0" lang="kk-KZ" sz="1200" b="0" i="0" u="none" strike="noStrike" kern="1200" cap="none" spc="0" normalizeH="0" baseline="0" noProof="0">
                <a:ln>
                  <a:noFill/>
                </a:ln>
                <a:solidFill>
                  <a:prstClr val="black"/>
                </a:solidFill>
                <a:effectLst/>
                <a:uLnTx/>
                <a:uFillTx/>
                <a:latin typeface="Calibri"/>
                <a:ea typeface="+mn-ea"/>
                <a:cs typeface="+mn-cs"/>
              </a:rPr>
              <a:pPr marL="0" marR="0" lvl="0" indent="0" algn="r" defTabSz="922496" rtl="0" eaLnBrk="1" fontAlgn="auto" latinLnBrk="0" hangingPunct="1">
                <a:lnSpc>
                  <a:spcPct val="100000"/>
                </a:lnSpc>
                <a:spcBef>
                  <a:spcPts val="0"/>
                </a:spcBef>
                <a:spcAft>
                  <a:spcPts val="0"/>
                </a:spcAft>
                <a:buClrTx/>
                <a:buSzTx/>
                <a:buFontTx/>
                <a:buNone/>
                <a:tabLst/>
                <a:defRPr/>
              </a:pPr>
              <a:t>37</a:t>
            </a:fld>
            <a:endParaRPr kumimoji="0" lang="kk-KZ"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21879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940C49-E3B1-AEA7-14B4-55B915CD4B9A}"/>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DBCD4665-2C0A-3A39-1052-C9A6D4D35D47}"/>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7B97D30F-F32A-4DD6-A4C9-C94E1AEC2F09}"/>
              </a:ext>
            </a:extLst>
          </p:cNvPr>
          <p:cNvSpPr>
            <a:spLocks noGrp="1"/>
          </p:cNvSpPr>
          <p:nvPr>
            <p:ph type="body" idx="1"/>
          </p:nvPr>
        </p:nvSpPr>
        <p:spPr/>
        <p:txBody>
          <a:bodyPr/>
          <a:lstStyle/>
          <a:p>
            <a:endParaRPr lang="ru-KZ"/>
          </a:p>
        </p:txBody>
      </p:sp>
      <p:sp>
        <p:nvSpPr>
          <p:cNvPr id="4" name="Номер слайда 3">
            <a:extLst>
              <a:ext uri="{FF2B5EF4-FFF2-40B4-BE49-F238E27FC236}">
                <a16:creationId xmlns:a16="http://schemas.microsoft.com/office/drawing/2014/main" id="{B425069F-C8A8-73D1-3031-46F1B354BE7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E71EB1F-301F-7241-8ADB-5306FAC941B4}" type="slidenum">
              <a:rPr kumimoji="0" lang="ru-KZ"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ru-KZ"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037894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marL="0" marR="0" lvl="0" indent="0" algn="r" defTabSz="922496" rtl="0" eaLnBrk="1" fontAlgn="auto" latinLnBrk="0" hangingPunct="1">
              <a:lnSpc>
                <a:spcPct val="100000"/>
              </a:lnSpc>
              <a:spcBef>
                <a:spcPts val="0"/>
              </a:spcBef>
              <a:spcAft>
                <a:spcPts val="0"/>
              </a:spcAft>
              <a:buClrTx/>
              <a:buSzTx/>
              <a:buFontTx/>
              <a:buNone/>
              <a:tabLst/>
              <a:defRPr/>
            </a:pPr>
            <a:fld id="{0DDEF473-4352-4677-9AE9-94334D8C8C1D}" type="slidenum">
              <a:rPr kumimoji="0" lang="kk-KZ" sz="1200" b="0" i="0" u="none" strike="noStrike" kern="1200" cap="none" spc="0" normalizeH="0" baseline="0" noProof="0">
                <a:ln>
                  <a:noFill/>
                </a:ln>
                <a:solidFill>
                  <a:prstClr val="black"/>
                </a:solidFill>
                <a:effectLst/>
                <a:uLnTx/>
                <a:uFillTx/>
                <a:latin typeface="Calibri"/>
                <a:ea typeface="+mn-ea"/>
                <a:cs typeface="+mn-cs"/>
              </a:rPr>
              <a:pPr marL="0" marR="0" lvl="0" indent="0" algn="r" defTabSz="922496" rtl="0" eaLnBrk="1" fontAlgn="auto" latinLnBrk="0" hangingPunct="1">
                <a:lnSpc>
                  <a:spcPct val="100000"/>
                </a:lnSpc>
                <a:spcBef>
                  <a:spcPts val="0"/>
                </a:spcBef>
                <a:spcAft>
                  <a:spcPts val="0"/>
                </a:spcAft>
                <a:buClrTx/>
                <a:buSzTx/>
                <a:buFontTx/>
                <a:buNone/>
                <a:tabLst/>
                <a:defRPr/>
              </a:pPr>
              <a:t>38</a:t>
            </a:fld>
            <a:endParaRPr kumimoji="0" lang="kk-KZ"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1676995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marL="0" marR="0" lvl="0" indent="0" algn="r" defTabSz="922496" rtl="0" eaLnBrk="1" fontAlgn="auto" latinLnBrk="0" hangingPunct="1">
              <a:lnSpc>
                <a:spcPct val="100000"/>
              </a:lnSpc>
              <a:spcBef>
                <a:spcPts val="0"/>
              </a:spcBef>
              <a:spcAft>
                <a:spcPts val="0"/>
              </a:spcAft>
              <a:buClrTx/>
              <a:buSzTx/>
              <a:buFontTx/>
              <a:buNone/>
              <a:tabLst/>
              <a:defRPr/>
            </a:pPr>
            <a:fld id="{0DDEF473-4352-4677-9AE9-94334D8C8C1D}" type="slidenum">
              <a:rPr kumimoji="0" lang="kk-KZ" sz="1200" b="0" i="0" u="none" strike="noStrike" kern="1200" cap="none" spc="0" normalizeH="0" baseline="0" noProof="0">
                <a:ln>
                  <a:noFill/>
                </a:ln>
                <a:solidFill>
                  <a:prstClr val="black"/>
                </a:solidFill>
                <a:effectLst/>
                <a:uLnTx/>
                <a:uFillTx/>
                <a:latin typeface="Calibri"/>
                <a:ea typeface="+mn-ea"/>
                <a:cs typeface="+mn-cs"/>
              </a:rPr>
              <a:pPr marL="0" marR="0" lvl="0" indent="0" algn="r" defTabSz="922496" rtl="0" eaLnBrk="1" fontAlgn="auto" latinLnBrk="0" hangingPunct="1">
                <a:lnSpc>
                  <a:spcPct val="100000"/>
                </a:lnSpc>
                <a:spcBef>
                  <a:spcPts val="0"/>
                </a:spcBef>
                <a:spcAft>
                  <a:spcPts val="0"/>
                </a:spcAft>
                <a:buClrTx/>
                <a:buSzTx/>
                <a:buFontTx/>
                <a:buNone/>
                <a:tabLst/>
                <a:defRPr/>
              </a:pPr>
              <a:t>39</a:t>
            </a:fld>
            <a:endParaRPr kumimoji="0" lang="kk-KZ"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0622977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marL="0" marR="0" lvl="0" indent="0" algn="r" defTabSz="922957" rtl="0" eaLnBrk="1" fontAlgn="auto" latinLnBrk="0" hangingPunct="1">
              <a:lnSpc>
                <a:spcPct val="100000"/>
              </a:lnSpc>
              <a:spcBef>
                <a:spcPts val="0"/>
              </a:spcBef>
              <a:spcAft>
                <a:spcPts val="0"/>
              </a:spcAft>
              <a:buClrTx/>
              <a:buSzTx/>
              <a:buFontTx/>
              <a:buNone/>
              <a:tabLst/>
              <a:defRPr/>
            </a:pPr>
            <a:fld id="{0DDEF473-4352-4677-9AE9-94334D8C8C1D}" type="slidenum">
              <a:rPr kumimoji="0" lang="kk-KZ" sz="1200" b="0" i="0" u="none" strike="noStrike" kern="1200" cap="none" spc="0" normalizeH="0" baseline="0" noProof="0">
                <a:ln>
                  <a:noFill/>
                </a:ln>
                <a:solidFill>
                  <a:prstClr val="black"/>
                </a:solidFill>
                <a:effectLst/>
                <a:uLnTx/>
                <a:uFillTx/>
                <a:latin typeface="Calibri"/>
                <a:ea typeface="+mn-ea"/>
                <a:cs typeface="+mn-cs"/>
              </a:rPr>
              <a:pPr marL="0" marR="0" lvl="0" indent="0" algn="r" defTabSz="922957" rtl="0" eaLnBrk="1" fontAlgn="auto" latinLnBrk="0" hangingPunct="1">
                <a:lnSpc>
                  <a:spcPct val="100000"/>
                </a:lnSpc>
                <a:spcBef>
                  <a:spcPts val="0"/>
                </a:spcBef>
                <a:spcAft>
                  <a:spcPts val="0"/>
                </a:spcAft>
                <a:buClrTx/>
                <a:buSzTx/>
                <a:buFontTx/>
                <a:buNone/>
                <a:tabLst/>
                <a:defRPr/>
              </a:pPr>
              <a:t>40</a:t>
            </a:fld>
            <a:endParaRPr kumimoji="0" lang="kk-KZ"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202677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940C49-E3B1-AEA7-14B4-55B915CD4B9A}"/>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DBCD4665-2C0A-3A39-1052-C9A6D4D35D47}"/>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7B97D30F-F32A-4DD6-A4C9-C94E1AEC2F09}"/>
              </a:ext>
            </a:extLst>
          </p:cNvPr>
          <p:cNvSpPr>
            <a:spLocks noGrp="1"/>
          </p:cNvSpPr>
          <p:nvPr>
            <p:ph type="body" idx="1"/>
          </p:nvPr>
        </p:nvSpPr>
        <p:spPr/>
        <p:txBody>
          <a:bodyPr/>
          <a:lstStyle/>
          <a:p>
            <a:endParaRPr lang="ru-KZ"/>
          </a:p>
        </p:txBody>
      </p:sp>
      <p:sp>
        <p:nvSpPr>
          <p:cNvPr id="4" name="Номер слайда 3">
            <a:extLst>
              <a:ext uri="{FF2B5EF4-FFF2-40B4-BE49-F238E27FC236}">
                <a16:creationId xmlns:a16="http://schemas.microsoft.com/office/drawing/2014/main" id="{B425069F-C8A8-73D1-3031-46F1B354BE7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E71EB1F-301F-7241-8ADB-5306FAC941B4}" type="slidenum">
              <a:rPr kumimoji="0" lang="ru-KZ"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ru-KZ"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8983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05A598-1EAB-0C45-0BCB-5B0827A512A6}"/>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C7BE43A3-F2F8-D676-8AB2-004EAF90E97A}"/>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8DF614EC-87E1-99CF-793E-25304FB3AF60}"/>
              </a:ext>
            </a:extLst>
          </p:cNvPr>
          <p:cNvSpPr>
            <a:spLocks noGrp="1"/>
          </p:cNvSpPr>
          <p:nvPr>
            <p:ph type="body" idx="1"/>
          </p:nvPr>
        </p:nvSpPr>
        <p:spPr/>
        <p:txBody>
          <a:bodyPr/>
          <a:lstStyle/>
          <a:p>
            <a:endParaRPr lang="ru-RU"/>
          </a:p>
        </p:txBody>
      </p:sp>
      <p:sp>
        <p:nvSpPr>
          <p:cNvPr id="4" name="Номер слайда 3">
            <a:extLst>
              <a:ext uri="{FF2B5EF4-FFF2-40B4-BE49-F238E27FC236}">
                <a16:creationId xmlns:a16="http://schemas.microsoft.com/office/drawing/2014/main" id="{67769E1D-1A82-D620-0029-D508027357FB}"/>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C34818-9CC3-4811-996B-224E32E0174D}" type="slidenum">
              <a:rPr kumimoji="0" lang="ru-RU"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ru-RU"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168515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05A598-1EAB-0C45-0BCB-5B0827A512A6}"/>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C7BE43A3-F2F8-D676-8AB2-004EAF90E97A}"/>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8DF614EC-87E1-99CF-793E-25304FB3AF60}"/>
              </a:ext>
            </a:extLst>
          </p:cNvPr>
          <p:cNvSpPr>
            <a:spLocks noGrp="1"/>
          </p:cNvSpPr>
          <p:nvPr>
            <p:ph type="body" idx="1"/>
          </p:nvPr>
        </p:nvSpPr>
        <p:spPr/>
        <p:txBody>
          <a:bodyPr/>
          <a:lstStyle/>
          <a:p>
            <a:endParaRPr lang="ru-RU"/>
          </a:p>
        </p:txBody>
      </p:sp>
      <p:sp>
        <p:nvSpPr>
          <p:cNvPr id="4" name="Номер слайда 3">
            <a:extLst>
              <a:ext uri="{FF2B5EF4-FFF2-40B4-BE49-F238E27FC236}">
                <a16:creationId xmlns:a16="http://schemas.microsoft.com/office/drawing/2014/main" id="{67769E1D-1A82-D620-0029-D508027357FB}"/>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C34818-9CC3-4811-996B-224E32E0174D}" type="slidenum">
              <a:rPr kumimoji="0" lang="ru-RU"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ru-RU"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638508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5E527E-5943-3BC6-C7CB-19D8B24D30D4}"/>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75330FA5-61CD-5900-0062-898D45F7262A}"/>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3A4B5FCA-A271-0811-1B65-28AE10D6F54D}"/>
              </a:ext>
            </a:extLst>
          </p:cNvPr>
          <p:cNvSpPr>
            <a:spLocks noGrp="1"/>
          </p:cNvSpPr>
          <p:nvPr>
            <p:ph type="body" idx="1"/>
          </p:nvPr>
        </p:nvSpPr>
        <p:spPr/>
        <p:txBody>
          <a:bodyPr/>
          <a:lstStyle/>
          <a:p>
            <a:endParaRPr lang="ru-RU"/>
          </a:p>
        </p:txBody>
      </p:sp>
      <p:sp>
        <p:nvSpPr>
          <p:cNvPr id="4" name="Номер слайда 3">
            <a:extLst>
              <a:ext uri="{FF2B5EF4-FFF2-40B4-BE49-F238E27FC236}">
                <a16:creationId xmlns:a16="http://schemas.microsoft.com/office/drawing/2014/main" id="{059AE6B5-C207-1FC8-51BA-34AD9D2580EA}"/>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EF473-4352-4677-9AE9-94334D8C8C1D}" type="slidenum">
              <a:rPr kumimoji="0" lang="kk-KZ"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kk-KZ"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378192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CFA359-A4D4-1D6C-66D0-D9B250AA4C93}"/>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6FD0D5CE-0DED-7D6C-09A5-2F6E1CE3BBE5}"/>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20FE42C6-3A0D-E040-F258-BD9766A1379F}"/>
              </a:ext>
            </a:extLst>
          </p:cNvPr>
          <p:cNvSpPr>
            <a:spLocks noGrp="1"/>
          </p:cNvSpPr>
          <p:nvPr>
            <p:ph type="body" idx="1"/>
          </p:nvPr>
        </p:nvSpPr>
        <p:spPr/>
        <p:txBody>
          <a:bodyPr/>
          <a:lstStyle/>
          <a:p>
            <a:endParaRPr lang="ru-RU"/>
          </a:p>
        </p:txBody>
      </p:sp>
      <p:sp>
        <p:nvSpPr>
          <p:cNvPr id="4" name="Номер слайда 3">
            <a:extLst>
              <a:ext uri="{FF2B5EF4-FFF2-40B4-BE49-F238E27FC236}">
                <a16:creationId xmlns:a16="http://schemas.microsoft.com/office/drawing/2014/main" id="{7882058B-9FA9-71A8-C392-60EA7842A2D9}"/>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EF473-4352-4677-9AE9-94334D8C8C1D}" type="slidenum">
              <a:rPr kumimoji="0" lang="kk-KZ"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kk-KZ"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745409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CFA359-A4D4-1D6C-66D0-D9B250AA4C93}"/>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6FD0D5CE-0DED-7D6C-09A5-2F6E1CE3BBE5}"/>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20FE42C6-3A0D-E040-F258-BD9766A1379F}"/>
              </a:ext>
            </a:extLst>
          </p:cNvPr>
          <p:cNvSpPr>
            <a:spLocks noGrp="1"/>
          </p:cNvSpPr>
          <p:nvPr>
            <p:ph type="body" idx="1"/>
          </p:nvPr>
        </p:nvSpPr>
        <p:spPr/>
        <p:txBody>
          <a:bodyPr/>
          <a:lstStyle/>
          <a:p>
            <a:endParaRPr lang="ru-RU"/>
          </a:p>
        </p:txBody>
      </p:sp>
      <p:sp>
        <p:nvSpPr>
          <p:cNvPr id="4" name="Номер слайда 3">
            <a:extLst>
              <a:ext uri="{FF2B5EF4-FFF2-40B4-BE49-F238E27FC236}">
                <a16:creationId xmlns:a16="http://schemas.microsoft.com/office/drawing/2014/main" id="{7882058B-9FA9-71A8-C392-60EA7842A2D9}"/>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EF473-4352-4677-9AE9-94334D8C8C1D}" type="slidenum">
              <a:rPr kumimoji="0" lang="kk-KZ"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kk-KZ"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9122944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ru-RU"/>
              <a:t>Образец заголовка</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Образец подзаголовка</a:t>
            </a:r>
            <a:endParaRPr lang="en-US" dirty="0"/>
          </a:p>
        </p:txBody>
      </p:sp>
      <p:sp>
        <p:nvSpPr>
          <p:cNvPr id="4" name="Date Placeholder 3"/>
          <p:cNvSpPr>
            <a:spLocks noGrp="1"/>
          </p:cNvSpPr>
          <p:nvPr>
            <p:ph type="dt" sz="half" idx="10"/>
          </p:nvPr>
        </p:nvSpPr>
        <p:spPr/>
        <p:txBody>
          <a:bodyPr/>
          <a:lstStyle/>
          <a:p>
            <a:fld id="{CCBB7920-FBDB-422D-97CC-1E4B3765A1C6}" type="datetimeFigureOut">
              <a:rPr lang="ru-RU" smtClean="0"/>
              <a:t>20.10.2025</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622E570F-F89B-43E5-8ED6-095D7C5CF353}" type="slidenum">
              <a:rPr lang="ru-RU" smtClean="0"/>
              <a:t>‹#›</a:t>
            </a:fld>
            <a:endParaRPr lang="ru-RU"/>
          </a:p>
        </p:txBody>
      </p:sp>
    </p:spTree>
    <p:extLst>
      <p:ext uri="{BB962C8B-B14F-4D97-AF65-F5344CB8AC3E}">
        <p14:creationId xmlns:p14="http://schemas.microsoft.com/office/powerpoint/2010/main" val="20595841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Vertical Text Placeholder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10"/>
          </p:nvPr>
        </p:nvSpPr>
        <p:spPr/>
        <p:txBody>
          <a:bodyPr/>
          <a:lstStyle/>
          <a:p>
            <a:fld id="{CCBB7920-FBDB-422D-97CC-1E4B3765A1C6}" type="datetimeFigureOut">
              <a:rPr lang="ru-RU" smtClean="0"/>
              <a:t>20.10.2025</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622E570F-F89B-43E5-8ED6-095D7C5CF353}" type="slidenum">
              <a:rPr lang="ru-RU" smtClean="0"/>
              <a:t>‹#›</a:t>
            </a:fld>
            <a:endParaRPr lang="ru-RU"/>
          </a:p>
        </p:txBody>
      </p:sp>
    </p:spTree>
    <p:extLst>
      <p:ext uri="{BB962C8B-B14F-4D97-AF65-F5344CB8AC3E}">
        <p14:creationId xmlns:p14="http://schemas.microsoft.com/office/powerpoint/2010/main" val="36032445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ru-RU"/>
              <a:t>Образец заголовка</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10"/>
          </p:nvPr>
        </p:nvSpPr>
        <p:spPr/>
        <p:txBody>
          <a:bodyPr/>
          <a:lstStyle/>
          <a:p>
            <a:fld id="{CCBB7920-FBDB-422D-97CC-1E4B3765A1C6}" type="datetimeFigureOut">
              <a:rPr lang="ru-RU" smtClean="0"/>
              <a:t>20.10.2025</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622E570F-F89B-43E5-8ED6-095D7C5CF353}" type="slidenum">
              <a:rPr lang="ru-RU" smtClean="0"/>
              <a:t>‹#›</a:t>
            </a:fld>
            <a:endParaRPr lang="ru-RU"/>
          </a:p>
        </p:txBody>
      </p:sp>
    </p:spTree>
    <p:extLst>
      <p:ext uri="{BB962C8B-B14F-4D97-AF65-F5344CB8AC3E}">
        <p14:creationId xmlns:p14="http://schemas.microsoft.com/office/powerpoint/2010/main" val="7842313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B066625F-F29B-EC91-DD8A-0F1E400344F3}"/>
              </a:ext>
            </a:extLst>
          </p:cNvPr>
          <p:cNvSpPr>
            <a:spLocks noGrp="1"/>
          </p:cNvSpPr>
          <p:nvPr>
            <p:ph type="ctrTitle"/>
          </p:nvPr>
        </p:nvSpPr>
        <p:spPr>
          <a:xfrm>
            <a:off x="1524000" y="1122363"/>
            <a:ext cx="9144000" cy="2387600"/>
          </a:xfrm>
        </p:spPr>
        <p:txBody>
          <a:bodyPr anchor="b"/>
          <a:lstStyle>
            <a:lvl1pPr algn="ctr">
              <a:defRPr sz="6000"/>
            </a:lvl1pPr>
          </a:lstStyle>
          <a:p>
            <a:r>
              <a:rPr lang="ru-RU"/>
              <a:t>Образец заголовка</a:t>
            </a:r>
            <a:endParaRPr lang="ru-KZ"/>
          </a:p>
        </p:txBody>
      </p:sp>
      <p:sp>
        <p:nvSpPr>
          <p:cNvPr id="3" name="Подзаголовок 2">
            <a:extLst>
              <a:ext uri="{FF2B5EF4-FFF2-40B4-BE49-F238E27FC236}">
                <a16:creationId xmlns:a16="http://schemas.microsoft.com/office/drawing/2014/main" id="{D5EAA614-91EA-7036-BAFE-980E9A29B31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Образец подзаголовка</a:t>
            </a:r>
            <a:endParaRPr lang="ru-KZ"/>
          </a:p>
        </p:txBody>
      </p:sp>
      <p:sp>
        <p:nvSpPr>
          <p:cNvPr id="4" name="Дата 3">
            <a:extLst>
              <a:ext uri="{FF2B5EF4-FFF2-40B4-BE49-F238E27FC236}">
                <a16:creationId xmlns:a16="http://schemas.microsoft.com/office/drawing/2014/main" id="{B55E57C5-1C01-80B8-42C0-F2DA0AD3D787}"/>
              </a:ext>
            </a:extLst>
          </p:cNvPr>
          <p:cNvSpPr>
            <a:spLocks noGrp="1"/>
          </p:cNvSpPr>
          <p:nvPr>
            <p:ph type="dt" sz="half" idx="10"/>
          </p:nvPr>
        </p:nvSpPr>
        <p:spPr/>
        <p:txBody>
          <a:bodyPr/>
          <a:lstStyle/>
          <a:p>
            <a:fld id="{F8B8BF0F-4B13-9F45-8706-5E23AC8317D9}" type="datetimeFigureOut">
              <a:rPr lang="ru-KZ" smtClean="0"/>
              <a:t>10/20/2025</a:t>
            </a:fld>
            <a:endParaRPr lang="ru-KZ"/>
          </a:p>
        </p:txBody>
      </p:sp>
      <p:sp>
        <p:nvSpPr>
          <p:cNvPr id="5" name="Нижний колонтитул 4">
            <a:extLst>
              <a:ext uri="{FF2B5EF4-FFF2-40B4-BE49-F238E27FC236}">
                <a16:creationId xmlns:a16="http://schemas.microsoft.com/office/drawing/2014/main" id="{7139D0EF-4DBF-4312-6C2C-BA9536A04B2B}"/>
              </a:ext>
            </a:extLst>
          </p:cNvPr>
          <p:cNvSpPr>
            <a:spLocks noGrp="1"/>
          </p:cNvSpPr>
          <p:nvPr>
            <p:ph type="ftr" sz="quarter" idx="11"/>
          </p:nvPr>
        </p:nvSpPr>
        <p:spPr/>
        <p:txBody>
          <a:bodyPr/>
          <a:lstStyle/>
          <a:p>
            <a:endParaRPr lang="ru-KZ"/>
          </a:p>
        </p:txBody>
      </p:sp>
      <p:sp>
        <p:nvSpPr>
          <p:cNvPr id="6" name="Номер слайда 5">
            <a:extLst>
              <a:ext uri="{FF2B5EF4-FFF2-40B4-BE49-F238E27FC236}">
                <a16:creationId xmlns:a16="http://schemas.microsoft.com/office/drawing/2014/main" id="{0026A8A1-4E75-5D0F-4D67-094B7A5A34D9}"/>
              </a:ext>
            </a:extLst>
          </p:cNvPr>
          <p:cNvSpPr>
            <a:spLocks noGrp="1"/>
          </p:cNvSpPr>
          <p:nvPr>
            <p:ph type="sldNum" sz="quarter" idx="12"/>
          </p:nvPr>
        </p:nvSpPr>
        <p:spPr/>
        <p:txBody>
          <a:bodyPr/>
          <a:lstStyle/>
          <a:p>
            <a:fld id="{8A66A5ED-C926-D344-9DC0-5533F275D6AB}" type="slidenum">
              <a:rPr lang="ru-KZ" smtClean="0"/>
              <a:t>‹#›</a:t>
            </a:fld>
            <a:endParaRPr lang="ru-KZ"/>
          </a:p>
        </p:txBody>
      </p:sp>
    </p:spTree>
    <p:extLst>
      <p:ext uri="{BB962C8B-B14F-4D97-AF65-F5344CB8AC3E}">
        <p14:creationId xmlns:p14="http://schemas.microsoft.com/office/powerpoint/2010/main" val="142869023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750F4676-1C55-F5FB-13C2-5EAA18EC4498}"/>
              </a:ext>
            </a:extLst>
          </p:cNvPr>
          <p:cNvSpPr>
            <a:spLocks noGrp="1"/>
          </p:cNvSpPr>
          <p:nvPr>
            <p:ph type="title"/>
          </p:nvPr>
        </p:nvSpPr>
        <p:spPr/>
        <p:txBody>
          <a:bodyPr/>
          <a:lstStyle/>
          <a:p>
            <a:r>
              <a:rPr lang="ru-RU"/>
              <a:t>Образец заголовка</a:t>
            </a:r>
            <a:endParaRPr lang="ru-KZ"/>
          </a:p>
        </p:txBody>
      </p:sp>
      <p:sp>
        <p:nvSpPr>
          <p:cNvPr id="3" name="Объект 2">
            <a:extLst>
              <a:ext uri="{FF2B5EF4-FFF2-40B4-BE49-F238E27FC236}">
                <a16:creationId xmlns:a16="http://schemas.microsoft.com/office/drawing/2014/main" id="{86602745-F303-B63C-0C31-8A1DD550CA0D}"/>
              </a:ext>
            </a:extLst>
          </p:cNvPr>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KZ"/>
          </a:p>
        </p:txBody>
      </p:sp>
      <p:sp>
        <p:nvSpPr>
          <p:cNvPr id="4" name="Дата 3">
            <a:extLst>
              <a:ext uri="{FF2B5EF4-FFF2-40B4-BE49-F238E27FC236}">
                <a16:creationId xmlns:a16="http://schemas.microsoft.com/office/drawing/2014/main" id="{B2504344-8BEE-0D05-C870-7309D8FA07B5}"/>
              </a:ext>
            </a:extLst>
          </p:cNvPr>
          <p:cNvSpPr>
            <a:spLocks noGrp="1"/>
          </p:cNvSpPr>
          <p:nvPr>
            <p:ph type="dt" sz="half" idx="10"/>
          </p:nvPr>
        </p:nvSpPr>
        <p:spPr/>
        <p:txBody>
          <a:bodyPr/>
          <a:lstStyle/>
          <a:p>
            <a:fld id="{F8B8BF0F-4B13-9F45-8706-5E23AC8317D9}" type="datetimeFigureOut">
              <a:rPr lang="ru-KZ" smtClean="0"/>
              <a:t>10/20/2025</a:t>
            </a:fld>
            <a:endParaRPr lang="ru-KZ"/>
          </a:p>
        </p:txBody>
      </p:sp>
      <p:sp>
        <p:nvSpPr>
          <p:cNvPr id="5" name="Нижний колонтитул 4">
            <a:extLst>
              <a:ext uri="{FF2B5EF4-FFF2-40B4-BE49-F238E27FC236}">
                <a16:creationId xmlns:a16="http://schemas.microsoft.com/office/drawing/2014/main" id="{1F13C649-67FA-6BB9-D481-EB65EDE4AB94}"/>
              </a:ext>
            </a:extLst>
          </p:cNvPr>
          <p:cNvSpPr>
            <a:spLocks noGrp="1"/>
          </p:cNvSpPr>
          <p:nvPr>
            <p:ph type="ftr" sz="quarter" idx="11"/>
          </p:nvPr>
        </p:nvSpPr>
        <p:spPr/>
        <p:txBody>
          <a:bodyPr/>
          <a:lstStyle/>
          <a:p>
            <a:endParaRPr lang="ru-KZ"/>
          </a:p>
        </p:txBody>
      </p:sp>
      <p:sp>
        <p:nvSpPr>
          <p:cNvPr id="6" name="Номер слайда 5">
            <a:extLst>
              <a:ext uri="{FF2B5EF4-FFF2-40B4-BE49-F238E27FC236}">
                <a16:creationId xmlns:a16="http://schemas.microsoft.com/office/drawing/2014/main" id="{69B605B1-8361-1065-E36C-3AEC603245BF}"/>
              </a:ext>
            </a:extLst>
          </p:cNvPr>
          <p:cNvSpPr>
            <a:spLocks noGrp="1"/>
          </p:cNvSpPr>
          <p:nvPr>
            <p:ph type="sldNum" sz="quarter" idx="12"/>
          </p:nvPr>
        </p:nvSpPr>
        <p:spPr/>
        <p:txBody>
          <a:bodyPr/>
          <a:lstStyle/>
          <a:p>
            <a:fld id="{8A66A5ED-C926-D344-9DC0-5533F275D6AB}" type="slidenum">
              <a:rPr lang="ru-KZ" smtClean="0"/>
              <a:t>‹#›</a:t>
            </a:fld>
            <a:endParaRPr lang="ru-KZ"/>
          </a:p>
        </p:txBody>
      </p:sp>
    </p:spTree>
    <p:extLst>
      <p:ext uri="{BB962C8B-B14F-4D97-AF65-F5344CB8AC3E}">
        <p14:creationId xmlns:p14="http://schemas.microsoft.com/office/powerpoint/2010/main" val="298666555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D745D507-4447-B57C-4D0E-AF0ABB5AD7E3}"/>
              </a:ext>
            </a:extLst>
          </p:cNvPr>
          <p:cNvSpPr>
            <a:spLocks noGrp="1"/>
          </p:cNvSpPr>
          <p:nvPr>
            <p:ph type="title"/>
          </p:nvPr>
        </p:nvSpPr>
        <p:spPr>
          <a:xfrm>
            <a:off x="831850" y="1709738"/>
            <a:ext cx="10515600" cy="2852737"/>
          </a:xfrm>
        </p:spPr>
        <p:txBody>
          <a:bodyPr anchor="b"/>
          <a:lstStyle>
            <a:lvl1pPr>
              <a:defRPr sz="6000"/>
            </a:lvl1pPr>
          </a:lstStyle>
          <a:p>
            <a:r>
              <a:rPr lang="ru-RU"/>
              <a:t>Образец заголовка</a:t>
            </a:r>
            <a:endParaRPr lang="ru-KZ"/>
          </a:p>
        </p:txBody>
      </p:sp>
      <p:sp>
        <p:nvSpPr>
          <p:cNvPr id="3" name="Текст 2">
            <a:extLst>
              <a:ext uri="{FF2B5EF4-FFF2-40B4-BE49-F238E27FC236}">
                <a16:creationId xmlns:a16="http://schemas.microsoft.com/office/drawing/2014/main" id="{997DD37D-A587-5D0D-1E5F-8671F83922C6}"/>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ru-RU"/>
              <a:t>Образец текста</a:t>
            </a:r>
          </a:p>
        </p:txBody>
      </p:sp>
      <p:sp>
        <p:nvSpPr>
          <p:cNvPr id="4" name="Дата 3">
            <a:extLst>
              <a:ext uri="{FF2B5EF4-FFF2-40B4-BE49-F238E27FC236}">
                <a16:creationId xmlns:a16="http://schemas.microsoft.com/office/drawing/2014/main" id="{992F587C-5FAE-620E-A34A-B468292D0A11}"/>
              </a:ext>
            </a:extLst>
          </p:cNvPr>
          <p:cNvSpPr>
            <a:spLocks noGrp="1"/>
          </p:cNvSpPr>
          <p:nvPr>
            <p:ph type="dt" sz="half" idx="10"/>
          </p:nvPr>
        </p:nvSpPr>
        <p:spPr/>
        <p:txBody>
          <a:bodyPr/>
          <a:lstStyle/>
          <a:p>
            <a:fld id="{F8B8BF0F-4B13-9F45-8706-5E23AC8317D9}" type="datetimeFigureOut">
              <a:rPr lang="ru-KZ" smtClean="0"/>
              <a:t>10/20/2025</a:t>
            </a:fld>
            <a:endParaRPr lang="ru-KZ"/>
          </a:p>
        </p:txBody>
      </p:sp>
      <p:sp>
        <p:nvSpPr>
          <p:cNvPr id="5" name="Нижний колонтитул 4">
            <a:extLst>
              <a:ext uri="{FF2B5EF4-FFF2-40B4-BE49-F238E27FC236}">
                <a16:creationId xmlns:a16="http://schemas.microsoft.com/office/drawing/2014/main" id="{59695943-5D17-5B94-F72A-152AB3FD050A}"/>
              </a:ext>
            </a:extLst>
          </p:cNvPr>
          <p:cNvSpPr>
            <a:spLocks noGrp="1"/>
          </p:cNvSpPr>
          <p:nvPr>
            <p:ph type="ftr" sz="quarter" idx="11"/>
          </p:nvPr>
        </p:nvSpPr>
        <p:spPr/>
        <p:txBody>
          <a:bodyPr/>
          <a:lstStyle/>
          <a:p>
            <a:endParaRPr lang="ru-KZ"/>
          </a:p>
        </p:txBody>
      </p:sp>
      <p:sp>
        <p:nvSpPr>
          <p:cNvPr id="6" name="Номер слайда 5">
            <a:extLst>
              <a:ext uri="{FF2B5EF4-FFF2-40B4-BE49-F238E27FC236}">
                <a16:creationId xmlns:a16="http://schemas.microsoft.com/office/drawing/2014/main" id="{8D3F90B0-872A-E3B0-A7B7-98197F155649}"/>
              </a:ext>
            </a:extLst>
          </p:cNvPr>
          <p:cNvSpPr>
            <a:spLocks noGrp="1"/>
          </p:cNvSpPr>
          <p:nvPr>
            <p:ph type="sldNum" sz="quarter" idx="12"/>
          </p:nvPr>
        </p:nvSpPr>
        <p:spPr/>
        <p:txBody>
          <a:bodyPr/>
          <a:lstStyle/>
          <a:p>
            <a:fld id="{8A66A5ED-C926-D344-9DC0-5533F275D6AB}" type="slidenum">
              <a:rPr lang="ru-KZ" smtClean="0"/>
              <a:t>‹#›</a:t>
            </a:fld>
            <a:endParaRPr lang="ru-KZ"/>
          </a:p>
        </p:txBody>
      </p:sp>
    </p:spTree>
    <p:extLst>
      <p:ext uri="{BB962C8B-B14F-4D97-AF65-F5344CB8AC3E}">
        <p14:creationId xmlns:p14="http://schemas.microsoft.com/office/powerpoint/2010/main" val="413735863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30DE2A10-589F-14F1-7376-F3BE3F9E0366}"/>
              </a:ext>
            </a:extLst>
          </p:cNvPr>
          <p:cNvSpPr>
            <a:spLocks noGrp="1"/>
          </p:cNvSpPr>
          <p:nvPr>
            <p:ph type="title"/>
          </p:nvPr>
        </p:nvSpPr>
        <p:spPr/>
        <p:txBody>
          <a:bodyPr/>
          <a:lstStyle/>
          <a:p>
            <a:r>
              <a:rPr lang="ru-RU"/>
              <a:t>Образец заголовка</a:t>
            </a:r>
            <a:endParaRPr lang="ru-KZ"/>
          </a:p>
        </p:txBody>
      </p:sp>
      <p:sp>
        <p:nvSpPr>
          <p:cNvPr id="3" name="Объект 2">
            <a:extLst>
              <a:ext uri="{FF2B5EF4-FFF2-40B4-BE49-F238E27FC236}">
                <a16:creationId xmlns:a16="http://schemas.microsoft.com/office/drawing/2014/main" id="{A4DEBF1F-4AD9-5706-3ABD-CFFC315D9925}"/>
              </a:ext>
            </a:extLst>
          </p:cNvPr>
          <p:cNvSpPr>
            <a:spLocks noGrp="1"/>
          </p:cNvSpPr>
          <p:nvPr>
            <p:ph sz="half" idx="1"/>
          </p:nvPr>
        </p:nvSpPr>
        <p:spPr>
          <a:xfrm>
            <a:off x="838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KZ"/>
          </a:p>
        </p:txBody>
      </p:sp>
      <p:sp>
        <p:nvSpPr>
          <p:cNvPr id="4" name="Объект 3">
            <a:extLst>
              <a:ext uri="{FF2B5EF4-FFF2-40B4-BE49-F238E27FC236}">
                <a16:creationId xmlns:a16="http://schemas.microsoft.com/office/drawing/2014/main" id="{DB38A3FE-AEDA-F9CA-92BB-A5665786E5DB}"/>
              </a:ext>
            </a:extLst>
          </p:cNvPr>
          <p:cNvSpPr>
            <a:spLocks noGrp="1"/>
          </p:cNvSpPr>
          <p:nvPr>
            <p:ph sz="half" idx="2"/>
          </p:nvPr>
        </p:nvSpPr>
        <p:spPr>
          <a:xfrm>
            <a:off x="6172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KZ"/>
          </a:p>
        </p:txBody>
      </p:sp>
      <p:sp>
        <p:nvSpPr>
          <p:cNvPr id="5" name="Дата 4">
            <a:extLst>
              <a:ext uri="{FF2B5EF4-FFF2-40B4-BE49-F238E27FC236}">
                <a16:creationId xmlns:a16="http://schemas.microsoft.com/office/drawing/2014/main" id="{F4EEBC56-34C4-1B93-25D0-C1439B3EE37C}"/>
              </a:ext>
            </a:extLst>
          </p:cNvPr>
          <p:cNvSpPr>
            <a:spLocks noGrp="1"/>
          </p:cNvSpPr>
          <p:nvPr>
            <p:ph type="dt" sz="half" idx="10"/>
          </p:nvPr>
        </p:nvSpPr>
        <p:spPr/>
        <p:txBody>
          <a:bodyPr/>
          <a:lstStyle/>
          <a:p>
            <a:fld id="{F8B8BF0F-4B13-9F45-8706-5E23AC8317D9}" type="datetimeFigureOut">
              <a:rPr lang="ru-KZ" smtClean="0"/>
              <a:t>10/20/2025</a:t>
            </a:fld>
            <a:endParaRPr lang="ru-KZ"/>
          </a:p>
        </p:txBody>
      </p:sp>
      <p:sp>
        <p:nvSpPr>
          <p:cNvPr id="6" name="Нижний колонтитул 5">
            <a:extLst>
              <a:ext uri="{FF2B5EF4-FFF2-40B4-BE49-F238E27FC236}">
                <a16:creationId xmlns:a16="http://schemas.microsoft.com/office/drawing/2014/main" id="{57513BFA-40C0-AF32-30D8-CDBA4CF46218}"/>
              </a:ext>
            </a:extLst>
          </p:cNvPr>
          <p:cNvSpPr>
            <a:spLocks noGrp="1"/>
          </p:cNvSpPr>
          <p:nvPr>
            <p:ph type="ftr" sz="quarter" idx="11"/>
          </p:nvPr>
        </p:nvSpPr>
        <p:spPr/>
        <p:txBody>
          <a:bodyPr/>
          <a:lstStyle/>
          <a:p>
            <a:endParaRPr lang="ru-KZ"/>
          </a:p>
        </p:txBody>
      </p:sp>
      <p:sp>
        <p:nvSpPr>
          <p:cNvPr id="7" name="Номер слайда 6">
            <a:extLst>
              <a:ext uri="{FF2B5EF4-FFF2-40B4-BE49-F238E27FC236}">
                <a16:creationId xmlns:a16="http://schemas.microsoft.com/office/drawing/2014/main" id="{D2883312-BD96-71D6-1A2A-CB67675780D2}"/>
              </a:ext>
            </a:extLst>
          </p:cNvPr>
          <p:cNvSpPr>
            <a:spLocks noGrp="1"/>
          </p:cNvSpPr>
          <p:nvPr>
            <p:ph type="sldNum" sz="quarter" idx="12"/>
          </p:nvPr>
        </p:nvSpPr>
        <p:spPr/>
        <p:txBody>
          <a:bodyPr/>
          <a:lstStyle/>
          <a:p>
            <a:fld id="{8A66A5ED-C926-D344-9DC0-5533F275D6AB}" type="slidenum">
              <a:rPr lang="ru-KZ" smtClean="0"/>
              <a:t>‹#›</a:t>
            </a:fld>
            <a:endParaRPr lang="ru-KZ"/>
          </a:p>
        </p:txBody>
      </p:sp>
    </p:spTree>
    <p:extLst>
      <p:ext uri="{BB962C8B-B14F-4D97-AF65-F5344CB8AC3E}">
        <p14:creationId xmlns:p14="http://schemas.microsoft.com/office/powerpoint/2010/main" val="310042129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F06E5918-40B5-59F8-F8EF-CC5F55618E38}"/>
              </a:ext>
            </a:extLst>
          </p:cNvPr>
          <p:cNvSpPr>
            <a:spLocks noGrp="1"/>
          </p:cNvSpPr>
          <p:nvPr>
            <p:ph type="title"/>
          </p:nvPr>
        </p:nvSpPr>
        <p:spPr>
          <a:xfrm>
            <a:off x="839788" y="365125"/>
            <a:ext cx="10515600" cy="1325563"/>
          </a:xfrm>
        </p:spPr>
        <p:txBody>
          <a:bodyPr/>
          <a:lstStyle/>
          <a:p>
            <a:r>
              <a:rPr lang="ru-RU"/>
              <a:t>Образец заголовка</a:t>
            </a:r>
            <a:endParaRPr lang="ru-KZ"/>
          </a:p>
        </p:txBody>
      </p:sp>
      <p:sp>
        <p:nvSpPr>
          <p:cNvPr id="3" name="Текст 2">
            <a:extLst>
              <a:ext uri="{FF2B5EF4-FFF2-40B4-BE49-F238E27FC236}">
                <a16:creationId xmlns:a16="http://schemas.microsoft.com/office/drawing/2014/main" id="{2BA072E9-FD42-DFA3-DFB0-713F7CDC1C9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a:extLst>
              <a:ext uri="{FF2B5EF4-FFF2-40B4-BE49-F238E27FC236}">
                <a16:creationId xmlns:a16="http://schemas.microsoft.com/office/drawing/2014/main" id="{4EA719CC-576D-5D54-B098-C406D4D63C15}"/>
              </a:ext>
            </a:extLst>
          </p:cNvPr>
          <p:cNvSpPr>
            <a:spLocks noGrp="1"/>
          </p:cNvSpPr>
          <p:nvPr>
            <p:ph sz="half" idx="2"/>
          </p:nvPr>
        </p:nvSpPr>
        <p:spPr>
          <a:xfrm>
            <a:off x="839788" y="2505075"/>
            <a:ext cx="5157787"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KZ"/>
          </a:p>
        </p:txBody>
      </p:sp>
      <p:sp>
        <p:nvSpPr>
          <p:cNvPr id="5" name="Текст 4">
            <a:extLst>
              <a:ext uri="{FF2B5EF4-FFF2-40B4-BE49-F238E27FC236}">
                <a16:creationId xmlns:a16="http://schemas.microsoft.com/office/drawing/2014/main" id="{BDF186ED-636B-63DC-D488-64C11B9868D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a:extLst>
              <a:ext uri="{FF2B5EF4-FFF2-40B4-BE49-F238E27FC236}">
                <a16:creationId xmlns:a16="http://schemas.microsoft.com/office/drawing/2014/main" id="{F556E1FA-58E0-845C-729D-7B3775C015F6}"/>
              </a:ext>
            </a:extLst>
          </p:cNvPr>
          <p:cNvSpPr>
            <a:spLocks noGrp="1"/>
          </p:cNvSpPr>
          <p:nvPr>
            <p:ph sz="quarter" idx="4"/>
          </p:nvPr>
        </p:nvSpPr>
        <p:spPr>
          <a:xfrm>
            <a:off x="6172200" y="2505075"/>
            <a:ext cx="5183188"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KZ"/>
          </a:p>
        </p:txBody>
      </p:sp>
      <p:sp>
        <p:nvSpPr>
          <p:cNvPr id="7" name="Дата 6">
            <a:extLst>
              <a:ext uri="{FF2B5EF4-FFF2-40B4-BE49-F238E27FC236}">
                <a16:creationId xmlns:a16="http://schemas.microsoft.com/office/drawing/2014/main" id="{03DCC7C8-1E3F-2527-D44B-F02A91D93600}"/>
              </a:ext>
            </a:extLst>
          </p:cNvPr>
          <p:cNvSpPr>
            <a:spLocks noGrp="1"/>
          </p:cNvSpPr>
          <p:nvPr>
            <p:ph type="dt" sz="half" idx="10"/>
          </p:nvPr>
        </p:nvSpPr>
        <p:spPr/>
        <p:txBody>
          <a:bodyPr/>
          <a:lstStyle/>
          <a:p>
            <a:fld id="{F8B8BF0F-4B13-9F45-8706-5E23AC8317D9}" type="datetimeFigureOut">
              <a:rPr lang="ru-KZ" smtClean="0"/>
              <a:t>10/20/2025</a:t>
            </a:fld>
            <a:endParaRPr lang="ru-KZ"/>
          </a:p>
        </p:txBody>
      </p:sp>
      <p:sp>
        <p:nvSpPr>
          <p:cNvPr id="8" name="Нижний колонтитул 7">
            <a:extLst>
              <a:ext uri="{FF2B5EF4-FFF2-40B4-BE49-F238E27FC236}">
                <a16:creationId xmlns:a16="http://schemas.microsoft.com/office/drawing/2014/main" id="{C087BE7A-C68D-2061-895E-A8D20642A050}"/>
              </a:ext>
            </a:extLst>
          </p:cNvPr>
          <p:cNvSpPr>
            <a:spLocks noGrp="1"/>
          </p:cNvSpPr>
          <p:nvPr>
            <p:ph type="ftr" sz="quarter" idx="11"/>
          </p:nvPr>
        </p:nvSpPr>
        <p:spPr/>
        <p:txBody>
          <a:bodyPr/>
          <a:lstStyle/>
          <a:p>
            <a:endParaRPr lang="ru-KZ"/>
          </a:p>
        </p:txBody>
      </p:sp>
      <p:sp>
        <p:nvSpPr>
          <p:cNvPr id="9" name="Номер слайда 8">
            <a:extLst>
              <a:ext uri="{FF2B5EF4-FFF2-40B4-BE49-F238E27FC236}">
                <a16:creationId xmlns:a16="http://schemas.microsoft.com/office/drawing/2014/main" id="{8A092E1B-1EE2-9C35-AA32-209CFBFA8DB8}"/>
              </a:ext>
            </a:extLst>
          </p:cNvPr>
          <p:cNvSpPr>
            <a:spLocks noGrp="1"/>
          </p:cNvSpPr>
          <p:nvPr>
            <p:ph type="sldNum" sz="quarter" idx="12"/>
          </p:nvPr>
        </p:nvSpPr>
        <p:spPr/>
        <p:txBody>
          <a:bodyPr/>
          <a:lstStyle/>
          <a:p>
            <a:fld id="{8A66A5ED-C926-D344-9DC0-5533F275D6AB}" type="slidenum">
              <a:rPr lang="ru-KZ" smtClean="0"/>
              <a:t>‹#›</a:t>
            </a:fld>
            <a:endParaRPr lang="ru-KZ"/>
          </a:p>
        </p:txBody>
      </p:sp>
    </p:spTree>
    <p:extLst>
      <p:ext uri="{BB962C8B-B14F-4D97-AF65-F5344CB8AC3E}">
        <p14:creationId xmlns:p14="http://schemas.microsoft.com/office/powerpoint/2010/main" val="18019856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850B38B9-2ED7-D7EF-F52E-F5EF21D7740C}"/>
              </a:ext>
            </a:extLst>
          </p:cNvPr>
          <p:cNvSpPr>
            <a:spLocks noGrp="1"/>
          </p:cNvSpPr>
          <p:nvPr>
            <p:ph type="title"/>
          </p:nvPr>
        </p:nvSpPr>
        <p:spPr/>
        <p:txBody>
          <a:bodyPr/>
          <a:lstStyle/>
          <a:p>
            <a:r>
              <a:rPr lang="ru-RU"/>
              <a:t>Образец заголовка</a:t>
            </a:r>
            <a:endParaRPr lang="ru-KZ"/>
          </a:p>
        </p:txBody>
      </p:sp>
      <p:sp>
        <p:nvSpPr>
          <p:cNvPr id="3" name="Дата 2">
            <a:extLst>
              <a:ext uri="{FF2B5EF4-FFF2-40B4-BE49-F238E27FC236}">
                <a16:creationId xmlns:a16="http://schemas.microsoft.com/office/drawing/2014/main" id="{E204ABAB-4203-7F88-D67A-3607C643F8C8}"/>
              </a:ext>
            </a:extLst>
          </p:cNvPr>
          <p:cNvSpPr>
            <a:spLocks noGrp="1"/>
          </p:cNvSpPr>
          <p:nvPr>
            <p:ph type="dt" sz="half" idx="10"/>
          </p:nvPr>
        </p:nvSpPr>
        <p:spPr/>
        <p:txBody>
          <a:bodyPr/>
          <a:lstStyle/>
          <a:p>
            <a:fld id="{F8B8BF0F-4B13-9F45-8706-5E23AC8317D9}" type="datetimeFigureOut">
              <a:rPr lang="ru-KZ" smtClean="0"/>
              <a:t>10/20/2025</a:t>
            </a:fld>
            <a:endParaRPr lang="ru-KZ"/>
          </a:p>
        </p:txBody>
      </p:sp>
      <p:sp>
        <p:nvSpPr>
          <p:cNvPr id="4" name="Нижний колонтитул 3">
            <a:extLst>
              <a:ext uri="{FF2B5EF4-FFF2-40B4-BE49-F238E27FC236}">
                <a16:creationId xmlns:a16="http://schemas.microsoft.com/office/drawing/2014/main" id="{A75FA5AC-1B17-CF5D-6778-AB428F26574D}"/>
              </a:ext>
            </a:extLst>
          </p:cNvPr>
          <p:cNvSpPr>
            <a:spLocks noGrp="1"/>
          </p:cNvSpPr>
          <p:nvPr>
            <p:ph type="ftr" sz="quarter" idx="11"/>
          </p:nvPr>
        </p:nvSpPr>
        <p:spPr/>
        <p:txBody>
          <a:bodyPr/>
          <a:lstStyle/>
          <a:p>
            <a:endParaRPr lang="ru-KZ"/>
          </a:p>
        </p:txBody>
      </p:sp>
      <p:sp>
        <p:nvSpPr>
          <p:cNvPr id="5" name="Номер слайда 4">
            <a:extLst>
              <a:ext uri="{FF2B5EF4-FFF2-40B4-BE49-F238E27FC236}">
                <a16:creationId xmlns:a16="http://schemas.microsoft.com/office/drawing/2014/main" id="{D05EEAF1-867B-A4C3-BF05-79ECE0FFCC02}"/>
              </a:ext>
            </a:extLst>
          </p:cNvPr>
          <p:cNvSpPr>
            <a:spLocks noGrp="1"/>
          </p:cNvSpPr>
          <p:nvPr>
            <p:ph type="sldNum" sz="quarter" idx="12"/>
          </p:nvPr>
        </p:nvSpPr>
        <p:spPr/>
        <p:txBody>
          <a:bodyPr/>
          <a:lstStyle/>
          <a:p>
            <a:fld id="{8A66A5ED-C926-D344-9DC0-5533F275D6AB}" type="slidenum">
              <a:rPr lang="ru-KZ" smtClean="0"/>
              <a:t>‹#›</a:t>
            </a:fld>
            <a:endParaRPr lang="ru-KZ"/>
          </a:p>
        </p:txBody>
      </p:sp>
    </p:spTree>
    <p:extLst>
      <p:ext uri="{BB962C8B-B14F-4D97-AF65-F5344CB8AC3E}">
        <p14:creationId xmlns:p14="http://schemas.microsoft.com/office/powerpoint/2010/main" val="30157785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a:extLst>
              <a:ext uri="{FF2B5EF4-FFF2-40B4-BE49-F238E27FC236}">
                <a16:creationId xmlns:a16="http://schemas.microsoft.com/office/drawing/2014/main" id="{44F8A6C6-19D2-F46A-C8E8-26DC9AC66A6A}"/>
              </a:ext>
            </a:extLst>
          </p:cNvPr>
          <p:cNvSpPr>
            <a:spLocks noGrp="1"/>
          </p:cNvSpPr>
          <p:nvPr>
            <p:ph type="dt" sz="half" idx="10"/>
          </p:nvPr>
        </p:nvSpPr>
        <p:spPr/>
        <p:txBody>
          <a:bodyPr/>
          <a:lstStyle/>
          <a:p>
            <a:fld id="{F8B8BF0F-4B13-9F45-8706-5E23AC8317D9}" type="datetimeFigureOut">
              <a:rPr lang="ru-KZ" smtClean="0"/>
              <a:t>10/20/2025</a:t>
            </a:fld>
            <a:endParaRPr lang="ru-KZ"/>
          </a:p>
        </p:txBody>
      </p:sp>
      <p:sp>
        <p:nvSpPr>
          <p:cNvPr id="3" name="Нижний колонтитул 2">
            <a:extLst>
              <a:ext uri="{FF2B5EF4-FFF2-40B4-BE49-F238E27FC236}">
                <a16:creationId xmlns:a16="http://schemas.microsoft.com/office/drawing/2014/main" id="{5D29B1CB-4875-22B9-AF39-23638ACAE5F8}"/>
              </a:ext>
            </a:extLst>
          </p:cNvPr>
          <p:cNvSpPr>
            <a:spLocks noGrp="1"/>
          </p:cNvSpPr>
          <p:nvPr>
            <p:ph type="ftr" sz="quarter" idx="11"/>
          </p:nvPr>
        </p:nvSpPr>
        <p:spPr/>
        <p:txBody>
          <a:bodyPr/>
          <a:lstStyle/>
          <a:p>
            <a:endParaRPr lang="ru-KZ"/>
          </a:p>
        </p:txBody>
      </p:sp>
      <p:sp>
        <p:nvSpPr>
          <p:cNvPr id="4" name="Номер слайда 3">
            <a:extLst>
              <a:ext uri="{FF2B5EF4-FFF2-40B4-BE49-F238E27FC236}">
                <a16:creationId xmlns:a16="http://schemas.microsoft.com/office/drawing/2014/main" id="{7EE19787-DAC2-A5DA-86F1-12A2D9A9625A}"/>
              </a:ext>
            </a:extLst>
          </p:cNvPr>
          <p:cNvSpPr>
            <a:spLocks noGrp="1"/>
          </p:cNvSpPr>
          <p:nvPr>
            <p:ph type="sldNum" sz="quarter" idx="12"/>
          </p:nvPr>
        </p:nvSpPr>
        <p:spPr/>
        <p:txBody>
          <a:bodyPr/>
          <a:lstStyle/>
          <a:p>
            <a:fld id="{8A66A5ED-C926-D344-9DC0-5533F275D6AB}" type="slidenum">
              <a:rPr lang="ru-KZ" smtClean="0"/>
              <a:t>‹#›</a:t>
            </a:fld>
            <a:endParaRPr lang="ru-KZ"/>
          </a:p>
        </p:txBody>
      </p:sp>
    </p:spTree>
    <p:extLst>
      <p:ext uri="{BB962C8B-B14F-4D97-AF65-F5344CB8AC3E}">
        <p14:creationId xmlns:p14="http://schemas.microsoft.com/office/powerpoint/2010/main" val="50454634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2E2270AD-9C19-5C25-D5D4-D36E3C99F6E2}"/>
              </a:ext>
            </a:extLst>
          </p:cNvPr>
          <p:cNvSpPr>
            <a:spLocks noGrp="1"/>
          </p:cNvSpPr>
          <p:nvPr>
            <p:ph type="title"/>
          </p:nvPr>
        </p:nvSpPr>
        <p:spPr>
          <a:xfrm>
            <a:off x="839788" y="457200"/>
            <a:ext cx="3932237" cy="1600200"/>
          </a:xfrm>
        </p:spPr>
        <p:txBody>
          <a:bodyPr anchor="b"/>
          <a:lstStyle>
            <a:lvl1pPr>
              <a:defRPr sz="3200"/>
            </a:lvl1pPr>
          </a:lstStyle>
          <a:p>
            <a:r>
              <a:rPr lang="ru-RU"/>
              <a:t>Образец заголовка</a:t>
            </a:r>
            <a:endParaRPr lang="ru-KZ"/>
          </a:p>
        </p:txBody>
      </p:sp>
      <p:sp>
        <p:nvSpPr>
          <p:cNvPr id="3" name="Объект 2">
            <a:extLst>
              <a:ext uri="{FF2B5EF4-FFF2-40B4-BE49-F238E27FC236}">
                <a16:creationId xmlns:a16="http://schemas.microsoft.com/office/drawing/2014/main" id="{20354DEB-F966-75CF-746E-FE7FE8ED722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KZ"/>
          </a:p>
        </p:txBody>
      </p:sp>
      <p:sp>
        <p:nvSpPr>
          <p:cNvPr id="4" name="Текст 3">
            <a:extLst>
              <a:ext uri="{FF2B5EF4-FFF2-40B4-BE49-F238E27FC236}">
                <a16:creationId xmlns:a16="http://schemas.microsoft.com/office/drawing/2014/main" id="{8D882FCD-E571-9C94-795D-62839B37596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4">
            <a:extLst>
              <a:ext uri="{FF2B5EF4-FFF2-40B4-BE49-F238E27FC236}">
                <a16:creationId xmlns:a16="http://schemas.microsoft.com/office/drawing/2014/main" id="{842851E9-801B-088B-F107-CDB6EF2D568F}"/>
              </a:ext>
            </a:extLst>
          </p:cNvPr>
          <p:cNvSpPr>
            <a:spLocks noGrp="1"/>
          </p:cNvSpPr>
          <p:nvPr>
            <p:ph type="dt" sz="half" idx="10"/>
          </p:nvPr>
        </p:nvSpPr>
        <p:spPr/>
        <p:txBody>
          <a:bodyPr/>
          <a:lstStyle/>
          <a:p>
            <a:fld id="{F8B8BF0F-4B13-9F45-8706-5E23AC8317D9}" type="datetimeFigureOut">
              <a:rPr lang="ru-KZ" smtClean="0"/>
              <a:t>10/20/2025</a:t>
            </a:fld>
            <a:endParaRPr lang="ru-KZ"/>
          </a:p>
        </p:txBody>
      </p:sp>
      <p:sp>
        <p:nvSpPr>
          <p:cNvPr id="6" name="Нижний колонтитул 5">
            <a:extLst>
              <a:ext uri="{FF2B5EF4-FFF2-40B4-BE49-F238E27FC236}">
                <a16:creationId xmlns:a16="http://schemas.microsoft.com/office/drawing/2014/main" id="{8E71872C-EC60-E8B3-01AB-EB31FD6BA450}"/>
              </a:ext>
            </a:extLst>
          </p:cNvPr>
          <p:cNvSpPr>
            <a:spLocks noGrp="1"/>
          </p:cNvSpPr>
          <p:nvPr>
            <p:ph type="ftr" sz="quarter" idx="11"/>
          </p:nvPr>
        </p:nvSpPr>
        <p:spPr/>
        <p:txBody>
          <a:bodyPr/>
          <a:lstStyle/>
          <a:p>
            <a:endParaRPr lang="ru-KZ"/>
          </a:p>
        </p:txBody>
      </p:sp>
      <p:sp>
        <p:nvSpPr>
          <p:cNvPr id="7" name="Номер слайда 6">
            <a:extLst>
              <a:ext uri="{FF2B5EF4-FFF2-40B4-BE49-F238E27FC236}">
                <a16:creationId xmlns:a16="http://schemas.microsoft.com/office/drawing/2014/main" id="{0D32EA67-9FD7-7154-238F-678BB294B230}"/>
              </a:ext>
            </a:extLst>
          </p:cNvPr>
          <p:cNvSpPr>
            <a:spLocks noGrp="1"/>
          </p:cNvSpPr>
          <p:nvPr>
            <p:ph type="sldNum" sz="quarter" idx="12"/>
          </p:nvPr>
        </p:nvSpPr>
        <p:spPr/>
        <p:txBody>
          <a:bodyPr/>
          <a:lstStyle/>
          <a:p>
            <a:fld id="{8A66A5ED-C926-D344-9DC0-5533F275D6AB}" type="slidenum">
              <a:rPr lang="ru-KZ" smtClean="0"/>
              <a:t>‹#›</a:t>
            </a:fld>
            <a:endParaRPr lang="ru-KZ"/>
          </a:p>
        </p:txBody>
      </p:sp>
    </p:spTree>
    <p:extLst>
      <p:ext uri="{BB962C8B-B14F-4D97-AF65-F5344CB8AC3E}">
        <p14:creationId xmlns:p14="http://schemas.microsoft.com/office/powerpoint/2010/main" val="33011399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Content Placeholder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10"/>
          </p:nvPr>
        </p:nvSpPr>
        <p:spPr/>
        <p:txBody>
          <a:bodyPr/>
          <a:lstStyle/>
          <a:p>
            <a:fld id="{CCBB7920-FBDB-422D-97CC-1E4B3765A1C6}" type="datetimeFigureOut">
              <a:rPr lang="ru-RU" smtClean="0"/>
              <a:t>20.10.2025</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622E570F-F89B-43E5-8ED6-095D7C5CF353}" type="slidenum">
              <a:rPr lang="ru-RU" smtClean="0"/>
              <a:t>‹#›</a:t>
            </a:fld>
            <a:endParaRPr lang="ru-RU"/>
          </a:p>
        </p:txBody>
      </p:sp>
    </p:spTree>
    <p:extLst>
      <p:ext uri="{BB962C8B-B14F-4D97-AF65-F5344CB8AC3E}">
        <p14:creationId xmlns:p14="http://schemas.microsoft.com/office/powerpoint/2010/main" val="6918402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024587F1-30E2-B82E-C43B-831EA65373DA}"/>
              </a:ext>
            </a:extLst>
          </p:cNvPr>
          <p:cNvSpPr>
            <a:spLocks noGrp="1"/>
          </p:cNvSpPr>
          <p:nvPr>
            <p:ph type="title"/>
          </p:nvPr>
        </p:nvSpPr>
        <p:spPr>
          <a:xfrm>
            <a:off x="839788" y="457200"/>
            <a:ext cx="3932237" cy="1600200"/>
          </a:xfrm>
        </p:spPr>
        <p:txBody>
          <a:bodyPr anchor="b"/>
          <a:lstStyle>
            <a:lvl1pPr>
              <a:defRPr sz="3200"/>
            </a:lvl1pPr>
          </a:lstStyle>
          <a:p>
            <a:r>
              <a:rPr lang="ru-RU"/>
              <a:t>Образец заголовка</a:t>
            </a:r>
            <a:endParaRPr lang="ru-KZ"/>
          </a:p>
        </p:txBody>
      </p:sp>
      <p:sp>
        <p:nvSpPr>
          <p:cNvPr id="3" name="Рисунок 2">
            <a:extLst>
              <a:ext uri="{FF2B5EF4-FFF2-40B4-BE49-F238E27FC236}">
                <a16:creationId xmlns:a16="http://schemas.microsoft.com/office/drawing/2014/main" id="{9CBE1560-96F9-1CA2-27E9-34002A7FAE6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KZ"/>
          </a:p>
        </p:txBody>
      </p:sp>
      <p:sp>
        <p:nvSpPr>
          <p:cNvPr id="4" name="Текст 3">
            <a:extLst>
              <a:ext uri="{FF2B5EF4-FFF2-40B4-BE49-F238E27FC236}">
                <a16:creationId xmlns:a16="http://schemas.microsoft.com/office/drawing/2014/main" id="{A8FB6DA5-8112-847A-D853-F45FD406893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4">
            <a:extLst>
              <a:ext uri="{FF2B5EF4-FFF2-40B4-BE49-F238E27FC236}">
                <a16:creationId xmlns:a16="http://schemas.microsoft.com/office/drawing/2014/main" id="{275AE3E3-4280-D693-48CC-CFF80756CA13}"/>
              </a:ext>
            </a:extLst>
          </p:cNvPr>
          <p:cNvSpPr>
            <a:spLocks noGrp="1"/>
          </p:cNvSpPr>
          <p:nvPr>
            <p:ph type="dt" sz="half" idx="10"/>
          </p:nvPr>
        </p:nvSpPr>
        <p:spPr/>
        <p:txBody>
          <a:bodyPr/>
          <a:lstStyle/>
          <a:p>
            <a:fld id="{F8B8BF0F-4B13-9F45-8706-5E23AC8317D9}" type="datetimeFigureOut">
              <a:rPr lang="ru-KZ" smtClean="0"/>
              <a:t>10/20/2025</a:t>
            </a:fld>
            <a:endParaRPr lang="ru-KZ"/>
          </a:p>
        </p:txBody>
      </p:sp>
      <p:sp>
        <p:nvSpPr>
          <p:cNvPr id="6" name="Нижний колонтитул 5">
            <a:extLst>
              <a:ext uri="{FF2B5EF4-FFF2-40B4-BE49-F238E27FC236}">
                <a16:creationId xmlns:a16="http://schemas.microsoft.com/office/drawing/2014/main" id="{8B8EF266-6171-3904-5966-4FD6AC2B5562}"/>
              </a:ext>
            </a:extLst>
          </p:cNvPr>
          <p:cNvSpPr>
            <a:spLocks noGrp="1"/>
          </p:cNvSpPr>
          <p:nvPr>
            <p:ph type="ftr" sz="quarter" idx="11"/>
          </p:nvPr>
        </p:nvSpPr>
        <p:spPr/>
        <p:txBody>
          <a:bodyPr/>
          <a:lstStyle/>
          <a:p>
            <a:endParaRPr lang="ru-KZ"/>
          </a:p>
        </p:txBody>
      </p:sp>
      <p:sp>
        <p:nvSpPr>
          <p:cNvPr id="7" name="Номер слайда 6">
            <a:extLst>
              <a:ext uri="{FF2B5EF4-FFF2-40B4-BE49-F238E27FC236}">
                <a16:creationId xmlns:a16="http://schemas.microsoft.com/office/drawing/2014/main" id="{A50E7D2B-65F0-65CA-13DF-30B562F3C777}"/>
              </a:ext>
            </a:extLst>
          </p:cNvPr>
          <p:cNvSpPr>
            <a:spLocks noGrp="1"/>
          </p:cNvSpPr>
          <p:nvPr>
            <p:ph type="sldNum" sz="quarter" idx="12"/>
          </p:nvPr>
        </p:nvSpPr>
        <p:spPr/>
        <p:txBody>
          <a:bodyPr/>
          <a:lstStyle/>
          <a:p>
            <a:fld id="{8A66A5ED-C926-D344-9DC0-5533F275D6AB}" type="slidenum">
              <a:rPr lang="ru-KZ" smtClean="0"/>
              <a:t>‹#›</a:t>
            </a:fld>
            <a:endParaRPr lang="ru-KZ"/>
          </a:p>
        </p:txBody>
      </p:sp>
    </p:spTree>
    <p:extLst>
      <p:ext uri="{BB962C8B-B14F-4D97-AF65-F5344CB8AC3E}">
        <p14:creationId xmlns:p14="http://schemas.microsoft.com/office/powerpoint/2010/main" val="38356968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CD9441BB-736C-FD9E-3FA2-E3BFE4C638CA}"/>
              </a:ext>
            </a:extLst>
          </p:cNvPr>
          <p:cNvSpPr>
            <a:spLocks noGrp="1"/>
          </p:cNvSpPr>
          <p:nvPr>
            <p:ph type="title"/>
          </p:nvPr>
        </p:nvSpPr>
        <p:spPr/>
        <p:txBody>
          <a:bodyPr/>
          <a:lstStyle/>
          <a:p>
            <a:r>
              <a:rPr lang="ru-RU"/>
              <a:t>Образец заголовка</a:t>
            </a:r>
            <a:endParaRPr lang="ru-KZ"/>
          </a:p>
        </p:txBody>
      </p:sp>
      <p:sp>
        <p:nvSpPr>
          <p:cNvPr id="3" name="Вертикальный текст 2">
            <a:extLst>
              <a:ext uri="{FF2B5EF4-FFF2-40B4-BE49-F238E27FC236}">
                <a16:creationId xmlns:a16="http://schemas.microsoft.com/office/drawing/2014/main" id="{619A19C5-27BA-344C-0C2A-EDA9B2D25B44}"/>
              </a:ext>
            </a:extLst>
          </p:cNvPr>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KZ"/>
          </a:p>
        </p:txBody>
      </p:sp>
      <p:sp>
        <p:nvSpPr>
          <p:cNvPr id="4" name="Дата 3">
            <a:extLst>
              <a:ext uri="{FF2B5EF4-FFF2-40B4-BE49-F238E27FC236}">
                <a16:creationId xmlns:a16="http://schemas.microsoft.com/office/drawing/2014/main" id="{AA4763A2-6BC6-0350-6B38-6AD182C560F7}"/>
              </a:ext>
            </a:extLst>
          </p:cNvPr>
          <p:cNvSpPr>
            <a:spLocks noGrp="1"/>
          </p:cNvSpPr>
          <p:nvPr>
            <p:ph type="dt" sz="half" idx="10"/>
          </p:nvPr>
        </p:nvSpPr>
        <p:spPr/>
        <p:txBody>
          <a:bodyPr/>
          <a:lstStyle/>
          <a:p>
            <a:fld id="{F8B8BF0F-4B13-9F45-8706-5E23AC8317D9}" type="datetimeFigureOut">
              <a:rPr lang="ru-KZ" smtClean="0"/>
              <a:t>10/20/2025</a:t>
            </a:fld>
            <a:endParaRPr lang="ru-KZ"/>
          </a:p>
        </p:txBody>
      </p:sp>
      <p:sp>
        <p:nvSpPr>
          <p:cNvPr id="5" name="Нижний колонтитул 4">
            <a:extLst>
              <a:ext uri="{FF2B5EF4-FFF2-40B4-BE49-F238E27FC236}">
                <a16:creationId xmlns:a16="http://schemas.microsoft.com/office/drawing/2014/main" id="{6A286495-E2C9-643A-B193-615F03D89F74}"/>
              </a:ext>
            </a:extLst>
          </p:cNvPr>
          <p:cNvSpPr>
            <a:spLocks noGrp="1"/>
          </p:cNvSpPr>
          <p:nvPr>
            <p:ph type="ftr" sz="quarter" idx="11"/>
          </p:nvPr>
        </p:nvSpPr>
        <p:spPr/>
        <p:txBody>
          <a:bodyPr/>
          <a:lstStyle/>
          <a:p>
            <a:endParaRPr lang="ru-KZ"/>
          </a:p>
        </p:txBody>
      </p:sp>
      <p:sp>
        <p:nvSpPr>
          <p:cNvPr id="6" name="Номер слайда 5">
            <a:extLst>
              <a:ext uri="{FF2B5EF4-FFF2-40B4-BE49-F238E27FC236}">
                <a16:creationId xmlns:a16="http://schemas.microsoft.com/office/drawing/2014/main" id="{BB3AC222-7B93-A94F-2BE4-3BDA9F400E6F}"/>
              </a:ext>
            </a:extLst>
          </p:cNvPr>
          <p:cNvSpPr>
            <a:spLocks noGrp="1"/>
          </p:cNvSpPr>
          <p:nvPr>
            <p:ph type="sldNum" sz="quarter" idx="12"/>
          </p:nvPr>
        </p:nvSpPr>
        <p:spPr/>
        <p:txBody>
          <a:bodyPr/>
          <a:lstStyle/>
          <a:p>
            <a:fld id="{8A66A5ED-C926-D344-9DC0-5533F275D6AB}" type="slidenum">
              <a:rPr lang="ru-KZ" smtClean="0"/>
              <a:t>‹#›</a:t>
            </a:fld>
            <a:endParaRPr lang="ru-KZ"/>
          </a:p>
        </p:txBody>
      </p:sp>
    </p:spTree>
    <p:extLst>
      <p:ext uri="{BB962C8B-B14F-4D97-AF65-F5344CB8AC3E}">
        <p14:creationId xmlns:p14="http://schemas.microsoft.com/office/powerpoint/2010/main" val="332299023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a:extLst>
              <a:ext uri="{FF2B5EF4-FFF2-40B4-BE49-F238E27FC236}">
                <a16:creationId xmlns:a16="http://schemas.microsoft.com/office/drawing/2014/main" id="{891C26EA-1BBB-D6B7-2829-B3A393F278F0}"/>
              </a:ext>
            </a:extLst>
          </p:cNvPr>
          <p:cNvSpPr>
            <a:spLocks noGrp="1"/>
          </p:cNvSpPr>
          <p:nvPr>
            <p:ph type="title" orient="vert"/>
          </p:nvPr>
        </p:nvSpPr>
        <p:spPr>
          <a:xfrm>
            <a:off x="8724900" y="365125"/>
            <a:ext cx="2628900" cy="5811838"/>
          </a:xfrm>
        </p:spPr>
        <p:txBody>
          <a:bodyPr vert="eaVert"/>
          <a:lstStyle/>
          <a:p>
            <a:r>
              <a:rPr lang="ru-RU"/>
              <a:t>Образец заголовка</a:t>
            </a:r>
            <a:endParaRPr lang="ru-KZ"/>
          </a:p>
        </p:txBody>
      </p:sp>
      <p:sp>
        <p:nvSpPr>
          <p:cNvPr id="3" name="Вертикальный текст 2">
            <a:extLst>
              <a:ext uri="{FF2B5EF4-FFF2-40B4-BE49-F238E27FC236}">
                <a16:creationId xmlns:a16="http://schemas.microsoft.com/office/drawing/2014/main" id="{12173F1E-F9BD-5C12-7099-BBF81AC310BA}"/>
              </a:ext>
            </a:extLst>
          </p:cNvPr>
          <p:cNvSpPr>
            <a:spLocks noGrp="1"/>
          </p:cNvSpPr>
          <p:nvPr>
            <p:ph type="body" orient="vert" idx="1"/>
          </p:nvPr>
        </p:nvSpPr>
        <p:spPr>
          <a:xfrm>
            <a:off x="838200" y="365125"/>
            <a:ext cx="7734300" cy="5811838"/>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KZ"/>
          </a:p>
        </p:txBody>
      </p:sp>
      <p:sp>
        <p:nvSpPr>
          <p:cNvPr id="4" name="Дата 3">
            <a:extLst>
              <a:ext uri="{FF2B5EF4-FFF2-40B4-BE49-F238E27FC236}">
                <a16:creationId xmlns:a16="http://schemas.microsoft.com/office/drawing/2014/main" id="{AC1062A0-E333-57DD-C027-8AB5CA9BB82D}"/>
              </a:ext>
            </a:extLst>
          </p:cNvPr>
          <p:cNvSpPr>
            <a:spLocks noGrp="1"/>
          </p:cNvSpPr>
          <p:nvPr>
            <p:ph type="dt" sz="half" idx="10"/>
          </p:nvPr>
        </p:nvSpPr>
        <p:spPr/>
        <p:txBody>
          <a:bodyPr/>
          <a:lstStyle/>
          <a:p>
            <a:fld id="{F8B8BF0F-4B13-9F45-8706-5E23AC8317D9}" type="datetimeFigureOut">
              <a:rPr lang="ru-KZ" smtClean="0"/>
              <a:t>10/20/2025</a:t>
            </a:fld>
            <a:endParaRPr lang="ru-KZ"/>
          </a:p>
        </p:txBody>
      </p:sp>
      <p:sp>
        <p:nvSpPr>
          <p:cNvPr id="5" name="Нижний колонтитул 4">
            <a:extLst>
              <a:ext uri="{FF2B5EF4-FFF2-40B4-BE49-F238E27FC236}">
                <a16:creationId xmlns:a16="http://schemas.microsoft.com/office/drawing/2014/main" id="{A7E6F846-5EFA-7A55-467D-B3803F19D63D}"/>
              </a:ext>
            </a:extLst>
          </p:cNvPr>
          <p:cNvSpPr>
            <a:spLocks noGrp="1"/>
          </p:cNvSpPr>
          <p:nvPr>
            <p:ph type="ftr" sz="quarter" idx="11"/>
          </p:nvPr>
        </p:nvSpPr>
        <p:spPr/>
        <p:txBody>
          <a:bodyPr/>
          <a:lstStyle/>
          <a:p>
            <a:endParaRPr lang="ru-KZ"/>
          </a:p>
        </p:txBody>
      </p:sp>
      <p:sp>
        <p:nvSpPr>
          <p:cNvPr id="6" name="Номер слайда 5">
            <a:extLst>
              <a:ext uri="{FF2B5EF4-FFF2-40B4-BE49-F238E27FC236}">
                <a16:creationId xmlns:a16="http://schemas.microsoft.com/office/drawing/2014/main" id="{22D2DD35-15AC-A3DA-4988-7A07941D6FB3}"/>
              </a:ext>
            </a:extLst>
          </p:cNvPr>
          <p:cNvSpPr>
            <a:spLocks noGrp="1"/>
          </p:cNvSpPr>
          <p:nvPr>
            <p:ph type="sldNum" sz="quarter" idx="12"/>
          </p:nvPr>
        </p:nvSpPr>
        <p:spPr/>
        <p:txBody>
          <a:bodyPr/>
          <a:lstStyle/>
          <a:p>
            <a:fld id="{8A66A5ED-C926-D344-9DC0-5533F275D6AB}" type="slidenum">
              <a:rPr lang="ru-KZ" smtClean="0"/>
              <a:t>‹#›</a:t>
            </a:fld>
            <a:endParaRPr lang="ru-KZ"/>
          </a:p>
        </p:txBody>
      </p:sp>
    </p:spTree>
    <p:extLst>
      <p:ext uri="{BB962C8B-B14F-4D97-AF65-F5344CB8AC3E}">
        <p14:creationId xmlns:p14="http://schemas.microsoft.com/office/powerpoint/2010/main" val="24722206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ru-RU"/>
              <a:t>Образец заголовка</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Образец подзаголовка</a:t>
            </a:r>
            <a:endParaRPr lang="en-US" dirty="0"/>
          </a:p>
        </p:txBody>
      </p:sp>
      <p:sp>
        <p:nvSpPr>
          <p:cNvPr id="4" name="Date Placeholder 3"/>
          <p:cNvSpPr>
            <a:spLocks noGrp="1"/>
          </p:cNvSpPr>
          <p:nvPr>
            <p:ph type="dt" sz="half" idx="10"/>
          </p:nvPr>
        </p:nvSpPr>
        <p:spPr/>
        <p:txBody>
          <a:bodyPr/>
          <a:lstStyle/>
          <a:p>
            <a:fld id="{F15436B0-5EFE-4523-89A5-E92C51912D40}" type="datetime1">
              <a:rPr lang="en-US" smtClean="0"/>
              <a:pPr/>
              <a:t>10/20/2025</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30E1CF8A-2E89-4626-8C9F-5031D3527499}" type="slidenum">
              <a:rPr lang="ru-RU" smtClean="0"/>
              <a:pPr/>
              <a:t>‹#›</a:t>
            </a:fld>
            <a:endParaRPr lang="ru-RU"/>
          </a:p>
        </p:txBody>
      </p:sp>
    </p:spTree>
    <p:extLst>
      <p:ext uri="{BB962C8B-B14F-4D97-AF65-F5344CB8AC3E}">
        <p14:creationId xmlns:p14="http://schemas.microsoft.com/office/powerpoint/2010/main" val="61422312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Content Placeholder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10"/>
          </p:nvPr>
        </p:nvSpPr>
        <p:spPr/>
        <p:txBody>
          <a:bodyPr/>
          <a:lstStyle/>
          <a:p>
            <a:fld id="{FB95D9CD-B909-431E-AAD6-3D81E8940EC5}" type="datetime1">
              <a:rPr lang="en-US" smtClean="0"/>
              <a:pPr/>
              <a:t>10/20/2025</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30E1CF8A-2E89-4626-8C9F-5031D3527499}" type="slidenum">
              <a:rPr lang="ru-RU" smtClean="0"/>
              <a:pPr/>
              <a:t>‹#›</a:t>
            </a:fld>
            <a:endParaRPr lang="ru-RU"/>
          </a:p>
        </p:txBody>
      </p:sp>
    </p:spTree>
    <p:extLst>
      <p:ext uri="{BB962C8B-B14F-4D97-AF65-F5344CB8AC3E}">
        <p14:creationId xmlns:p14="http://schemas.microsoft.com/office/powerpoint/2010/main" val="2376276057"/>
      </p:ext>
    </p:extLst>
  </p:cSld>
  <p:clrMapOvr>
    <a:masterClrMapping/>
  </p:clrMapOvr>
  <p:hf hdr="0" dt="0"/>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ru-RU"/>
              <a:t>Образец заголовка</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a:t>Образец текста</a:t>
            </a:r>
          </a:p>
        </p:txBody>
      </p:sp>
      <p:sp>
        <p:nvSpPr>
          <p:cNvPr id="4" name="Date Placeholder 3"/>
          <p:cNvSpPr>
            <a:spLocks noGrp="1"/>
          </p:cNvSpPr>
          <p:nvPr>
            <p:ph type="dt" sz="half" idx="10"/>
          </p:nvPr>
        </p:nvSpPr>
        <p:spPr/>
        <p:txBody>
          <a:bodyPr/>
          <a:lstStyle/>
          <a:p>
            <a:fld id="{D4FBB8DE-95D9-45D1-8439-9F33C447D9C8}" type="datetime1">
              <a:rPr lang="en-US" smtClean="0"/>
              <a:pPr/>
              <a:t>10/20/2025</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30E1CF8A-2E89-4626-8C9F-5031D3527499}" type="slidenum">
              <a:rPr lang="ru-RU" smtClean="0"/>
              <a:pPr/>
              <a:t>‹#›</a:t>
            </a:fld>
            <a:endParaRPr lang="ru-RU"/>
          </a:p>
        </p:txBody>
      </p:sp>
    </p:spTree>
    <p:extLst>
      <p:ext uri="{BB962C8B-B14F-4D97-AF65-F5344CB8AC3E}">
        <p14:creationId xmlns:p14="http://schemas.microsoft.com/office/powerpoint/2010/main" val="63043178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5" name="Date Placeholder 4"/>
          <p:cNvSpPr>
            <a:spLocks noGrp="1"/>
          </p:cNvSpPr>
          <p:nvPr>
            <p:ph type="dt" sz="half" idx="10"/>
          </p:nvPr>
        </p:nvSpPr>
        <p:spPr/>
        <p:txBody>
          <a:bodyPr/>
          <a:lstStyle/>
          <a:p>
            <a:fld id="{D00991C8-5DD7-4B3A-9A8B-1703B17494BB}" type="datetime1">
              <a:rPr lang="en-US" smtClean="0"/>
              <a:pPr/>
              <a:t>10/20/2025</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30E1CF8A-2E89-4626-8C9F-5031D3527499}" type="slidenum">
              <a:rPr lang="ru-RU" smtClean="0"/>
              <a:pPr/>
              <a:t>‹#›</a:t>
            </a:fld>
            <a:endParaRPr lang="ru-RU"/>
          </a:p>
        </p:txBody>
      </p:sp>
    </p:spTree>
    <p:extLst>
      <p:ext uri="{BB962C8B-B14F-4D97-AF65-F5344CB8AC3E}">
        <p14:creationId xmlns:p14="http://schemas.microsoft.com/office/powerpoint/2010/main" val="334929830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ru-RU"/>
              <a:t>Образец заголовка</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Content Placeholder 3"/>
          <p:cNvSpPr>
            <a:spLocks noGrp="1"/>
          </p:cNvSpPr>
          <p:nvPr>
            <p:ph sz="half" idx="2"/>
          </p:nvPr>
        </p:nvSpPr>
        <p:spPr>
          <a:xfrm>
            <a:off x="839788" y="2505075"/>
            <a:ext cx="5157787"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Content Placeholder 5"/>
          <p:cNvSpPr>
            <a:spLocks noGrp="1"/>
          </p:cNvSpPr>
          <p:nvPr>
            <p:ph sz="quarter" idx="4"/>
          </p:nvPr>
        </p:nvSpPr>
        <p:spPr>
          <a:xfrm>
            <a:off x="6172200" y="2505075"/>
            <a:ext cx="5183188"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7" name="Date Placeholder 6"/>
          <p:cNvSpPr>
            <a:spLocks noGrp="1"/>
          </p:cNvSpPr>
          <p:nvPr>
            <p:ph type="dt" sz="half" idx="10"/>
          </p:nvPr>
        </p:nvSpPr>
        <p:spPr/>
        <p:txBody>
          <a:bodyPr/>
          <a:lstStyle/>
          <a:p>
            <a:fld id="{29F5A4BB-8DBF-4F85-A26E-0919B3F62784}" type="datetime1">
              <a:rPr lang="en-US" smtClean="0"/>
              <a:pPr/>
              <a:t>10/20/2025</a:t>
            </a:fld>
            <a:endParaRPr lang="ru-RU"/>
          </a:p>
        </p:txBody>
      </p:sp>
      <p:sp>
        <p:nvSpPr>
          <p:cNvPr id="8" name="Footer Placeholder 7"/>
          <p:cNvSpPr>
            <a:spLocks noGrp="1"/>
          </p:cNvSpPr>
          <p:nvPr>
            <p:ph type="ftr" sz="quarter" idx="11"/>
          </p:nvPr>
        </p:nvSpPr>
        <p:spPr/>
        <p:txBody>
          <a:bodyPr/>
          <a:lstStyle/>
          <a:p>
            <a:endParaRPr lang="ru-RU"/>
          </a:p>
        </p:txBody>
      </p:sp>
      <p:sp>
        <p:nvSpPr>
          <p:cNvPr id="9" name="Slide Number Placeholder 8"/>
          <p:cNvSpPr>
            <a:spLocks noGrp="1"/>
          </p:cNvSpPr>
          <p:nvPr>
            <p:ph type="sldNum" sz="quarter" idx="12"/>
          </p:nvPr>
        </p:nvSpPr>
        <p:spPr/>
        <p:txBody>
          <a:bodyPr/>
          <a:lstStyle/>
          <a:p>
            <a:fld id="{30E1CF8A-2E89-4626-8C9F-5031D3527499}" type="slidenum">
              <a:rPr lang="ru-RU" smtClean="0"/>
              <a:pPr/>
              <a:t>‹#›</a:t>
            </a:fld>
            <a:endParaRPr lang="ru-RU"/>
          </a:p>
        </p:txBody>
      </p:sp>
    </p:spTree>
    <p:extLst>
      <p:ext uri="{BB962C8B-B14F-4D97-AF65-F5344CB8AC3E}">
        <p14:creationId xmlns:p14="http://schemas.microsoft.com/office/powerpoint/2010/main" val="317914513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Date Placeholder 2"/>
          <p:cNvSpPr>
            <a:spLocks noGrp="1"/>
          </p:cNvSpPr>
          <p:nvPr>
            <p:ph type="dt" sz="half" idx="10"/>
          </p:nvPr>
        </p:nvSpPr>
        <p:spPr/>
        <p:txBody>
          <a:bodyPr/>
          <a:lstStyle/>
          <a:p>
            <a:fld id="{69F752F7-321F-4AEE-995F-ED8C1EEB994C}" type="datetime1">
              <a:rPr lang="en-US" smtClean="0"/>
              <a:pPr/>
              <a:t>10/20/2025</a:t>
            </a:fld>
            <a:endParaRPr lang="ru-RU"/>
          </a:p>
        </p:txBody>
      </p:sp>
      <p:sp>
        <p:nvSpPr>
          <p:cNvPr id="4" name="Footer Placeholder 3"/>
          <p:cNvSpPr>
            <a:spLocks noGrp="1"/>
          </p:cNvSpPr>
          <p:nvPr>
            <p:ph type="ftr" sz="quarter" idx="11"/>
          </p:nvPr>
        </p:nvSpPr>
        <p:spPr/>
        <p:txBody>
          <a:bodyPr/>
          <a:lstStyle/>
          <a:p>
            <a:endParaRPr lang="ru-RU"/>
          </a:p>
        </p:txBody>
      </p:sp>
      <p:sp>
        <p:nvSpPr>
          <p:cNvPr id="5" name="Slide Number Placeholder 4"/>
          <p:cNvSpPr>
            <a:spLocks noGrp="1"/>
          </p:cNvSpPr>
          <p:nvPr>
            <p:ph type="sldNum" sz="quarter" idx="12"/>
          </p:nvPr>
        </p:nvSpPr>
        <p:spPr/>
        <p:txBody>
          <a:bodyPr/>
          <a:lstStyle/>
          <a:p>
            <a:fld id="{30E1CF8A-2E89-4626-8C9F-5031D3527499}" type="slidenum">
              <a:rPr lang="ru-RU" smtClean="0"/>
              <a:pPr/>
              <a:t>‹#›</a:t>
            </a:fld>
            <a:endParaRPr lang="ru-RU"/>
          </a:p>
        </p:txBody>
      </p:sp>
    </p:spTree>
    <p:extLst>
      <p:ext uri="{BB962C8B-B14F-4D97-AF65-F5344CB8AC3E}">
        <p14:creationId xmlns:p14="http://schemas.microsoft.com/office/powerpoint/2010/main" val="245662164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ABD4CF5-5AB7-4A16-9090-954F88670620}" type="datetime1">
              <a:rPr lang="en-US" smtClean="0"/>
              <a:pPr/>
              <a:t>10/20/2025</a:t>
            </a:fld>
            <a:endParaRPr lang="ru-RU"/>
          </a:p>
        </p:txBody>
      </p:sp>
      <p:sp>
        <p:nvSpPr>
          <p:cNvPr id="3" name="Footer Placeholder 2"/>
          <p:cNvSpPr>
            <a:spLocks noGrp="1"/>
          </p:cNvSpPr>
          <p:nvPr>
            <p:ph type="ftr" sz="quarter" idx="11"/>
          </p:nvPr>
        </p:nvSpPr>
        <p:spPr/>
        <p:txBody>
          <a:bodyPr/>
          <a:lstStyle/>
          <a:p>
            <a:endParaRPr lang="ru-RU"/>
          </a:p>
        </p:txBody>
      </p:sp>
      <p:sp>
        <p:nvSpPr>
          <p:cNvPr id="4" name="Slide Number Placeholder 3"/>
          <p:cNvSpPr>
            <a:spLocks noGrp="1"/>
          </p:cNvSpPr>
          <p:nvPr>
            <p:ph type="sldNum" sz="quarter" idx="12"/>
          </p:nvPr>
        </p:nvSpPr>
        <p:spPr/>
        <p:txBody>
          <a:bodyPr/>
          <a:lstStyle/>
          <a:p>
            <a:fld id="{30E1CF8A-2E89-4626-8C9F-5031D3527499}" type="slidenum">
              <a:rPr lang="ru-RU" smtClean="0"/>
              <a:pPr/>
              <a:t>‹#›</a:t>
            </a:fld>
            <a:endParaRPr lang="ru-RU"/>
          </a:p>
        </p:txBody>
      </p:sp>
    </p:spTree>
    <p:extLst>
      <p:ext uri="{BB962C8B-B14F-4D97-AF65-F5344CB8AC3E}">
        <p14:creationId xmlns:p14="http://schemas.microsoft.com/office/powerpoint/2010/main" val="41198421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ru-RU"/>
              <a:t>Образец заголовка</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a:t>Образец текста</a:t>
            </a:r>
          </a:p>
        </p:txBody>
      </p:sp>
      <p:sp>
        <p:nvSpPr>
          <p:cNvPr id="4" name="Date Placeholder 3"/>
          <p:cNvSpPr>
            <a:spLocks noGrp="1"/>
          </p:cNvSpPr>
          <p:nvPr>
            <p:ph type="dt" sz="half" idx="10"/>
          </p:nvPr>
        </p:nvSpPr>
        <p:spPr/>
        <p:txBody>
          <a:bodyPr/>
          <a:lstStyle/>
          <a:p>
            <a:fld id="{CCBB7920-FBDB-422D-97CC-1E4B3765A1C6}" type="datetimeFigureOut">
              <a:rPr lang="ru-RU" smtClean="0"/>
              <a:t>20.10.2025</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622E570F-F89B-43E5-8ED6-095D7C5CF353}" type="slidenum">
              <a:rPr lang="ru-RU" smtClean="0"/>
              <a:t>‹#›</a:t>
            </a:fld>
            <a:endParaRPr lang="ru-RU"/>
          </a:p>
        </p:txBody>
      </p:sp>
    </p:spTree>
    <p:extLst>
      <p:ext uri="{BB962C8B-B14F-4D97-AF65-F5344CB8AC3E}">
        <p14:creationId xmlns:p14="http://schemas.microsoft.com/office/powerpoint/2010/main" val="308578657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ru-RU"/>
              <a:t>Образец заголовка</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Date Placeholder 4"/>
          <p:cNvSpPr>
            <a:spLocks noGrp="1"/>
          </p:cNvSpPr>
          <p:nvPr>
            <p:ph type="dt" sz="half" idx="10"/>
          </p:nvPr>
        </p:nvSpPr>
        <p:spPr/>
        <p:txBody>
          <a:bodyPr/>
          <a:lstStyle/>
          <a:p>
            <a:fld id="{C43E6462-91CD-4C4E-9AFB-871DAA1147A8}" type="datetime1">
              <a:rPr lang="en-US" smtClean="0"/>
              <a:pPr/>
              <a:t>10/20/2025</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30E1CF8A-2E89-4626-8C9F-5031D3527499}" type="slidenum">
              <a:rPr lang="ru-RU" smtClean="0"/>
              <a:pPr/>
              <a:t>‹#›</a:t>
            </a:fld>
            <a:endParaRPr lang="ru-RU"/>
          </a:p>
        </p:txBody>
      </p:sp>
    </p:spTree>
    <p:extLst>
      <p:ext uri="{BB962C8B-B14F-4D97-AF65-F5344CB8AC3E}">
        <p14:creationId xmlns:p14="http://schemas.microsoft.com/office/powerpoint/2010/main" val="286065256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ru-RU"/>
              <a:t>Образец заголовка</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a:t>Вставка рисунка</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Date Placeholder 4"/>
          <p:cNvSpPr>
            <a:spLocks noGrp="1"/>
          </p:cNvSpPr>
          <p:nvPr>
            <p:ph type="dt" sz="half" idx="10"/>
          </p:nvPr>
        </p:nvSpPr>
        <p:spPr/>
        <p:txBody>
          <a:bodyPr/>
          <a:lstStyle/>
          <a:p>
            <a:fld id="{66915DB7-CFF4-49F9-9B33-2F3DB8629A99}" type="datetime1">
              <a:rPr lang="en-US" smtClean="0"/>
              <a:pPr/>
              <a:t>10/20/2025</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30E1CF8A-2E89-4626-8C9F-5031D3527499}" type="slidenum">
              <a:rPr lang="ru-RU" smtClean="0"/>
              <a:pPr/>
              <a:t>‹#›</a:t>
            </a:fld>
            <a:endParaRPr lang="ru-RU"/>
          </a:p>
        </p:txBody>
      </p:sp>
    </p:spTree>
    <p:extLst>
      <p:ext uri="{BB962C8B-B14F-4D97-AF65-F5344CB8AC3E}">
        <p14:creationId xmlns:p14="http://schemas.microsoft.com/office/powerpoint/2010/main" val="402807212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Vertical Text Placeholder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10"/>
          </p:nvPr>
        </p:nvSpPr>
        <p:spPr/>
        <p:txBody>
          <a:bodyPr/>
          <a:lstStyle/>
          <a:p>
            <a:fld id="{6301BE4C-3BF5-42A5-8DF3-4C8E190BD230}" type="datetime1">
              <a:rPr lang="en-US" smtClean="0"/>
              <a:pPr/>
              <a:t>10/20/2025</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30E1CF8A-2E89-4626-8C9F-5031D3527499}" type="slidenum">
              <a:rPr lang="ru-RU" smtClean="0"/>
              <a:pPr/>
              <a:t>‹#›</a:t>
            </a:fld>
            <a:endParaRPr lang="ru-RU"/>
          </a:p>
        </p:txBody>
      </p:sp>
    </p:spTree>
    <p:extLst>
      <p:ext uri="{BB962C8B-B14F-4D97-AF65-F5344CB8AC3E}">
        <p14:creationId xmlns:p14="http://schemas.microsoft.com/office/powerpoint/2010/main" val="45630874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ru-RU"/>
              <a:t>Образец заголовка</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10"/>
          </p:nvPr>
        </p:nvSpPr>
        <p:spPr/>
        <p:txBody>
          <a:bodyPr/>
          <a:lstStyle/>
          <a:p>
            <a:fld id="{CF61F1F3-4DB4-4228-9068-D14AC57D8143}" type="datetime1">
              <a:rPr lang="en-US" smtClean="0"/>
              <a:pPr/>
              <a:t>10/20/2025</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30E1CF8A-2E89-4626-8C9F-5031D3527499}" type="slidenum">
              <a:rPr lang="ru-RU" smtClean="0"/>
              <a:pPr/>
              <a:t>‹#›</a:t>
            </a:fld>
            <a:endParaRPr lang="ru-RU"/>
          </a:p>
        </p:txBody>
      </p:sp>
    </p:spTree>
    <p:extLst>
      <p:ext uri="{BB962C8B-B14F-4D97-AF65-F5344CB8AC3E}">
        <p14:creationId xmlns:p14="http://schemas.microsoft.com/office/powerpoint/2010/main" val="81345709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590676" y="6"/>
            <a:ext cx="10601326" cy="847725"/>
          </a:xfrm>
        </p:spPr>
        <p:txBody>
          <a:bodyPr>
            <a:normAutofit/>
          </a:bodyPr>
          <a:lstStyle>
            <a:lvl1pPr>
              <a:defRPr sz="2400" b="1">
                <a:latin typeface="Arial Narrow" pitchFamily="34" charset="0"/>
                <a:cs typeface="Arial" pitchFamily="34" charset="0"/>
              </a:defRPr>
            </a:lvl1pPr>
          </a:lstStyle>
          <a:p>
            <a:r>
              <a:rPr lang="ru-RU"/>
              <a:t>Образец заголовка</a:t>
            </a:r>
          </a:p>
        </p:txBody>
      </p:sp>
      <p:sp>
        <p:nvSpPr>
          <p:cNvPr id="4" name="Дата 3"/>
          <p:cNvSpPr>
            <a:spLocks noGrp="1"/>
          </p:cNvSpPr>
          <p:nvPr>
            <p:ph type="dt" sz="half" idx="10"/>
          </p:nvPr>
        </p:nvSpPr>
        <p:spPr/>
        <p:txBody>
          <a:bodyPr/>
          <a:lstStyle/>
          <a:p>
            <a:fld id="{F7359B3B-CD98-4DFC-9BA8-CF699EDC6F2C}" type="datetime1">
              <a:rPr lang="en-US" smtClean="0"/>
              <a:pPr/>
              <a:t>10/20/2025</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a:xfrm>
            <a:off x="11620502" y="222256"/>
            <a:ext cx="533401" cy="365125"/>
          </a:xfrm>
          <a:solidFill>
            <a:schemeClr val="accent1"/>
          </a:solidFill>
          <a:ln>
            <a:noFill/>
          </a:ln>
        </p:spPr>
        <p:txBody>
          <a:bodyPr/>
          <a:lstStyle>
            <a:lvl1pPr algn="ctr">
              <a:defRPr b="1">
                <a:solidFill>
                  <a:schemeClr val="bg1"/>
                </a:solidFill>
                <a:latin typeface="Arial" pitchFamily="34" charset="0"/>
                <a:cs typeface="Arial" pitchFamily="34" charset="0"/>
              </a:defRPr>
            </a:lvl1pPr>
          </a:lstStyle>
          <a:p>
            <a:fld id="{30E1CF8A-2E89-4626-8C9F-5031D3527499}" type="slidenum">
              <a:rPr lang="ru-RU" smtClean="0"/>
              <a:pPr/>
              <a:t>‹#›</a:t>
            </a:fld>
            <a:endParaRPr lang="ru-RU"/>
          </a:p>
        </p:txBody>
      </p:sp>
      <p:cxnSp>
        <p:nvCxnSpPr>
          <p:cNvPr id="8" name="Прямая соединительная линия 7"/>
          <p:cNvCxnSpPr/>
          <p:nvPr userDrawn="1"/>
        </p:nvCxnSpPr>
        <p:spPr>
          <a:xfrm>
            <a:off x="1590676" y="847725"/>
            <a:ext cx="10601326" cy="9526"/>
          </a:xfrm>
          <a:prstGeom prst="line">
            <a:avLst/>
          </a:prstGeom>
          <a:ln w="381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Прямая соединительная линия 8"/>
          <p:cNvCxnSpPr/>
          <p:nvPr userDrawn="1"/>
        </p:nvCxnSpPr>
        <p:spPr>
          <a:xfrm>
            <a:off x="209550" y="6356352"/>
            <a:ext cx="10610850" cy="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pic>
        <p:nvPicPr>
          <p:cNvPr id="12" name="Рисунок 11" descr="лого.png"/>
          <p:cNvPicPr>
            <a:picLocks noChangeAspect="1"/>
          </p:cNvPicPr>
          <p:nvPr userDrawn="1"/>
        </p:nvPicPr>
        <p:blipFill>
          <a:blip r:embed="rId2" cstate="print"/>
          <a:stretch>
            <a:fillRect/>
          </a:stretch>
        </p:blipFill>
        <p:spPr>
          <a:xfrm>
            <a:off x="0" y="6"/>
            <a:ext cx="1514055" cy="771311"/>
          </a:xfrm>
          <a:prstGeom prst="rect">
            <a:avLst/>
          </a:prstGeom>
        </p:spPr>
      </p:pic>
    </p:spTree>
    <p:extLst>
      <p:ext uri="{BB962C8B-B14F-4D97-AF65-F5344CB8AC3E}">
        <p14:creationId xmlns:p14="http://schemas.microsoft.com/office/powerpoint/2010/main" val="34864548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5" name="Date Placeholder 4"/>
          <p:cNvSpPr>
            <a:spLocks noGrp="1"/>
          </p:cNvSpPr>
          <p:nvPr>
            <p:ph type="dt" sz="half" idx="10"/>
          </p:nvPr>
        </p:nvSpPr>
        <p:spPr/>
        <p:txBody>
          <a:bodyPr/>
          <a:lstStyle/>
          <a:p>
            <a:fld id="{CCBB7920-FBDB-422D-97CC-1E4B3765A1C6}" type="datetimeFigureOut">
              <a:rPr lang="ru-RU" smtClean="0"/>
              <a:t>20.10.2025</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622E570F-F89B-43E5-8ED6-095D7C5CF353}" type="slidenum">
              <a:rPr lang="ru-RU" smtClean="0"/>
              <a:t>‹#›</a:t>
            </a:fld>
            <a:endParaRPr lang="ru-RU"/>
          </a:p>
        </p:txBody>
      </p:sp>
    </p:spTree>
    <p:extLst>
      <p:ext uri="{BB962C8B-B14F-4D97-AF65-F5344CB8AC3E}">
        <p14:creationId xmlns:p14="http://schemas.microsoft.com/office/powerpoint/2010/main" val="10408763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ru-RU"/>
              <a:t>Образец заголовка</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Content Placeholder 3"/>
          <p:cNvSpPr>
            <a:spLocks noGrp="1"/>
          </p:cNvSpPr>
          <p:nvPr>
            <p:ph sz="half" idx="2"/>
          </p:nvPr>
        </p:nvSpPr>
        <p:spPr>
          <a:xfrm>
            <a:off x="839788" y="2505075"/>
            <a:ext cx="5157787"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Content Placeholder 5"/>
          <p:cNvSpPr>
            <a:spLocks noGrp="1"/>
          </p:cNvSpPr>
          <p:nvPr>
            <p:ph sz="quarter" idx="4"/>
          </p:nvPr>
        </p:nvSpPr>
        <p:spPr>
          <a:xfrm>
            <a:off x="6172200" y="2505075"/>
            <a:ext cx="5183188"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7" name="Date Placeholder 6"/>
          <p:cNvSpPr>
            <a:spLocks noGrp="1"/>
          </p:cNvSpPr>
          <p:nvPr>
            <p:ph type="dt" sz="half" idx="10"/>
          </p:nvPr>
        </p:nvSpPr>
        <p:spPr/>
        <p:txBody>
          <a:bodyPr/>
          <a:lstStyle/>
          <a:p>
            <a:fld id="{CCBB7920-FBDB-422D-97CC-1E4B3765A1C6}" type="datetimeFigureOut">
              <a:rPr lang="ru-RU" smtClean="0"/>
              <a:t>20.10.2025</a:t>
            </a:fld>
            <a:endParaRPr lang="ru-RU"/>
          </a:p>
        </p:txBody>
      </p:sp>
      <p:sp>
        <p:nvSpPr>
          <p:cNvPr id="8" name="Footer Placeholder 7"/>
          <p:cNvSpPr>
            <a:spLocks noGrp="1"/>
          </p:cNvSpPr>
          <p:nvPr>
            <p:ph type="ftr" sz="quarter" idx="11"/>
          </p:nvPr>
        </p:nvSpPr>
        <p:spPr/>
        <p:txBody>
          <a:bodyPr/>
          <a:lstStyle/>
          <a:p>
            <a:endParaRPr lang="ru-RU"/>
          </a:p>
        </p:txBody>
      </p:sp>
      <p:sp>
        <p:nvSpPr>
          <p:cNvPr id="9" name="Slide Number Placeholder 8"/>
          <p:cNvSpPr>
            <a:spLocks noGrp="1"/>
          </p:cNvSpPr>
          <p:nvPr>
            <p:ph type="sldNum" sz="quarter" idx="12"/>
          </p:nvPr>
        </p:nvSpPr>
        <p:spPr/>
        <p:txBody>
          <a:bodyPr/>
          <a:lstStyle/>
          <a:p>
            <a:fld id="{622E570F-F89B-43E5-8ED6-095D7C5CF353}" type="slidenum">
              <a:rPr lang="ru-RU" smtClean="0"/>
              <a:t>‹#›</a:t>
            </a:fld>
            <a:endParaRPr lang="ru-RU"/>
          </a:p>
        </p:txBody>
      </p:sp>
    </p:spTree>
    <p:extLst>
      <p:ext uri="{BB962C8B-B14F-4D97-AF65-F5344CB8AC3E}">
        <p14:creationId xmlns:p14="http://schemas.microsoft.com/office/powerpoint/2010/main" val="39666269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Date Placeholder 2"/>
          <p:cNvSpPr>
            <a:spLocks noGrp="1"/>
          </p:cNvSpPr>
          <p:nvPr>
            <p:ph type="dt" sz="half" idx="10"/>
          </p:nvPr>
        </p:nvSpPr>
        <p:spPr/>
        <p:txBody>
          <a:bodyPr/>
          <a:lstStyle/>
          <a:p>
            <a:fld id="{CCBB7920-FBDB-422D-97CC-1E4B3765A1C6}" type="datetimeFigureOut">
              <a:rPr lang="ru-RU" smtClean="0"/>
              <a:t>20.10.2025</a:t>
            </a:fld>
            <a:endParaRPr lang="ru-RU"/>
          </a:p>
        </p:txBody>
      </p:sp>
      <p:sp>
        <p:nvSpPr>
          <p:cNvPr id="4" name="Footer Placeholder 3"/>
          <p:cNvSpPr>
            <a:spLocks noGrp="1"/>
          </p:cNvSpPr>
          <p:nvPr>
            <p:ph type="ftr" sz="quarter" idx="11"/>
          </p:nvPr>
        </p:nvSpPr>
        <p:spPr/>
        <p:txBody>
          <a:bodyPr/>
          <a:lstStyle/>
          <a:p>
            <a:endParaRPr lang="ru-RU"/>
          </a:p>
        </p:txBody>
      </p:sp>
      <p:sp>
        <p:nvSpPr>
          <p:cNvPr id="5" name="Slide Number Placeholder 4"/>
          <p:cNvSpPr>
            <a:spLocks noGrp="1"/>
          </p:cNvSpPr>
          <p:nvPr>
            <p:ph type="sldNum" sz="quarter" idx="12"/>
          </p:nvPr>
        </p:nvSpPr>
        <p:spPr/>
        <p:txBody>
          <a:bodyPr/>
          <a:lstStyle/>
          <a:p>
            <a:fld id="{622E570F-F89B-43E5-8ED6-095D7C5CF353}" type="slidenum">
              <a:rPr lang="ru-RU" smtClean="0"/>
              <a:t>‹#›</a:t>
            </a:fld>
            <a:endParaRPr lang="ru-RU"/>
          </a:p>
        </p:txBody>
      </p:sp>
    </p:spTree>
    <p:extLst>
      <p:ext uri="{BB962C8B-B14F-4D97-AF65-F5344CB8AC3E}">
        <p14:creationId xmlns:p14="http://schemas.microsoft.com/office/powerpoint/2010/main" val="10448991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CBB7920-FBDB-422D-97CC-1E4B3765A1C6}" type="datetimeFigureOut">
              <a:rPr lang="ru-RU" smtClean="0"/>
              <a:t>20.10.2025</a:t>
            </a:fld>
            <a:endParaRPr lang="ru-RU"/>
          </a:p>
        </p:txBody>
      </p:sp>
      <p:sp>
        <p:nvSpPr>
          <p:cNvPr id="3" name="Footer Placeholder 2"/>
          <p:cNvSpPr>
            <a:spLocks noGrp="1"/>
          </p:cNvSpPr>
          <p:nvPr>
            <p:ph type="ftr" sz="quarter" idx="11"/>
          </p:nvPr>
        </p:nvSpPr>
        <p:spPr/>
        <p:txBody>
          <a:bodyPr/>
          <a:lstStyle/>
          <a:p>
            <a:endParaRPr lang="ru-RU"/>
          </a:p>
        </p:txBody>
      </p:sp>
      <p:sp>
        <p:nvSpPr>
          <p:cNvPr id="4" name="Slide Number Placeholder 3"/>
          <p:cNvSpPr>
            <a:spLocks noGrp="1"/>
          </p:cNvSpPr>
          <p:nvPr>
            <p:ph type="sldNum" sz="quarter" idx="12"/>
          </p:nvPr>
        </p:nvSpPr>
        <p:spPr/>
        <p:txBody>
          <a:bodyPr/>
          <a:lstStyle/>
          <a:p>
            <a:fld id="{622E570F-F89B-43E5-8ED6-095D7C5CF353}" type="slidenum">
              <a:rPr lang="ru-RU" smtClean="0"/>
              <a:t>‹#›</a:t>
            </a:fld>
            <a:endParaRPr lang="ru-RU"/>
          </a:p>
        </p:txBody>
      </p:sp>
    </p:spTree>
    <p:extLst>
      <p:ext uri="{BB962C8B-B14F-4D97-AF65-F5344CB8AC3E}">
        <p14:creationId xmlns:p14="http://schemas.microsoft.com/office/powerpoint/2010/main" val="244470894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ru-RU"/>
              <a:t>Образец заголовка</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Date Placeholder 4"/>
          <p:cNvSpPr>
            <a:spLocks noGrp="1"/>
          </p:cNvSpPr>
          <p:nvPr>
            <p:ph type="dt" sz="half" idx="10"/>
          </p:nvPr>
        </p:nvSpPr>
        <p:spPr/>
        <p:txBody>
          <a:bodyPr/>
          <a:lstStyle/>
          <a:p>
            <a:fld id="{CCBB7920-FBDB-422D-97CC-1E4B3765A1C6}" type="datetimeFigureOut">
              <a:rPr lang="ru-RU" smtClean="0"/>
              <a:t>20.10.2025</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622E570F-F89B-43E5-8ED6-095D7C5CF353}" type="slidenum">
              <a:rPr lang="ru-RU" smtClean="0"/>
              <a:t>‹#›</a:t>
            </a:fld>
            <a:endParaRPr lang="ru-RU"/>
          </a:p>
        </p:txBody>
      </p:sp>
    </p:spTree>
    <p:extLst>
      <p:ext uri="{BB962C8B-B14F-4D97-AF65-F5344CB8AC3E}">
        <p14:creationId xmlns:p14="http://schemas.microsoft.com/office/powerpoint/2010/main" val="23986964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ru-RU"/>
              <a:t>Образец заголовка</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a:t>Вставка рисунка</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Date Placeholder 4"/>
          <p:cNvSpPr>
            <a:spLocks noGrp="1"/>
          </p:cNvSpPr>
          <p:nvPr>
            <p:ph type="dt" sz="half" idx="10"/>
          </p:nvPr>
        </p:nvSpPr>
        <p:spPr/>
        <p:txBody>
          <a:bodyPr/>
          <a:lstStyle/>
          <a:p>
            <a:fld id="{CCBB7920-FBDB-422D-97CC-1E4B3765A1C6}" type="datetimeFigureOut">
              <a:rPr lang="ru-RU" smtClean="0"/>
              <a:t>20.10.2025</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622E570F-F89B-43E5-8ED6-095D7C5CF353}" type="slidenum">
              <a:rPr lang="ru-RU" smtClean="0"/>
              <a:t>‹#›</a:t>
            </a:fld>
            <a:endParaRPr lang="ru-RU"/>
          </a:p>
        </p:txBody>
      </p:sp>
    </p:spTree>
    <p:extLst>
      <p:ext uri="{BB962C8B-B14F-4D97-AF65-F5344CB8AC3E}">
        <p14:creationId xmlns:p14="http://schemas.microsoft.com/office/powerpoint/2010/main" val="6839071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1.emf"/><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heme" Target="../theme/theme3.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u-RU"/>
              <a:t>Образец заголовка</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CBB7920-FBDB-422D-97CC-1E4B3765A1C6}" type="datetimeFigureOut">
              <a:rPr lang="ru-RU" smtClean="0"/>
              <a:t>20.10.2025</a:t>
            </a:fld>
            <a:endParaRPr lang="ru-RU"/>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22E570F-F89B-43E5-8ED6-095D7C5CF353}" type="slidenum">
              <a:rPr lang="ru-RU" smtClean="0"/>
              <a:t>‹#›</a:t>
            </a:fld>
            <a:endParaRPr lang="ru-RU"/>
          </a:p>
        </p:txBody>
      </p:sp>
    </p:spTree>
    <p:extLst>
      <p:ext uri="{BB962C8B-B14F-4D97-AF65-F5344CB8AC3E}">
        <p14:creationId xmlns:p14="http://schemas.microsoft.com/office/powerpoint/2010/main" val="380539564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30137A5-7A87-CB9F-B83D-AD2D927DA19B}"/>
              </a:ext>
            </a:extLst>
          </p:cNvPr>
          <p:cNvGraphicFramePr>
            <a:graphicFrameLocks noChangeAspect="1"/>
          </p:cNvGraphicFramePr>
          <p:nvPr userDrawn="1">
            <p:custDataLst>
              <p:tags r:id="rId1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Слайд think-cell" r:id="rId14" imgW="7772400" imgH="10058400" progId="TCLayout.ActiveDocument.1">
                  <p:embed/>
                </p:oleObj>
              </mc:Choice>
              <mc:Fallback>
                <p:oleObj name="Слайд think-cell" r:id="rId14" imgW="7772400" imgH="10058400" progId="TCLayout.ActiveDocument.1">
                  <p:embed/>
                  <p:pic>
                    <p:nvPicPr>
                      <p:cNvPr id="8" name="think-cell data - do not delete" hidden="1">
                        <a:extLst>
                          <a:ext uri="{FF2B5EF4-FFF2-40B4-BE49-F238E27FC236}">
                            <a16:creationId xmlns:a16="http://schemas.microsoft.com/office/drawing/2014/main" id="{730137A5-7A87-CB9F-B83D-AD2D927DA19B}"/>
                          </a:ext>
                        </a:extLst>
                      </p:cNvPr>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2" name="Заголовок 1">
            <a:extLst>
              <a:ext uri="{FF2B5EF4-FFF2-40B4-BE49-F238E27FC236}">
                <a16:creationId xmlns:a16="http://schemas.microsoft.com/office/drawing/2014/main" id="{13F516BE-8EA3-2AAA-DB1C-1B223108A2C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u-RU"/>
              <a:t>Образец заголовка</a:t>
            </a:r>
            <a:endParaRPr lang="ru-KZ"/>
          </a:p>
        </p:txBody>
      </p:sp>
      <p:sp>
        <p:nvSpPr>
          <p:cNvPr id="3" name="Текст 2">
            <a:extLst>
              <a:ext uri="{FF2B5EF4-FFF2-40B4-BE49-F238E27FC236}">
                <a16:creationId xmlns:a16="http://schemas.microsoft.com/office/drawing/2014/main" id="{8D1044A9-9A90-56C5-417C-ED594B367AB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KZ"/>
          </a:p>
        </p:txBody>
      </p:sp>
      <p:sp>
        <p:nvSpPr>
          <p:cNvPr id="4" name="Дата 3">
            <a:extLst>
              <a:ext uri="{FF2B5EF4-FFF2-40B4-BE49-F238E27FC236}">
                <a16:creationId xmlns:a16="http://schemas.microsoft.com/office/drawing/2014/main" id="{DCAC193B-4DB9-5A52-ABD0-26BF7D4ACE0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F8B8BF0F-4B13-9F45-8706-5E23AC8317D9}" type="datetimeFigureOut">
              <a:rPr lang="ru-KZ" smtClean="0"/>
              <a:t>10/20/2025</a:t>
            </a:fld>
            <a:endParaRPr lang="ru-KZ"/>
          </a:p>
        </p:txBody>
      </p:sp>
      <p:sp>
        <p:nvSpPr>
          <p:cNvPr id="5" name="Нижний колонтитул 4">
            <a:extLst>
              <a:ext uri="{FF2B5EF4-FFF2-40B4-BE49-F238E27FC236}">
                <a16:creationId xmlns:a16="http://schemas.microsoft.com/office/drawing/2014/main" id="{7F0FD010-A354-CB6E-A5ED-5000ECB1737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ru-KZ"/>
          </a:p>
        </p:txBody>
      </p:sp>
      <p:sp>
        <p:nvSpPr>
          <p:cNvPr id="6" name="Номер слайда 5">
            <a:extLst>
              <a:ext uri="{FF2B5EF4-FFF2-40B4-BE49-F238E27FC236}">
                <a16:creationId xmlns:a16="http://schemas.microsoft.com/office/drawing/2014/main" id="{C17B3EB5-F4F2-DC47-A21F-3DD922625DC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8A66A5ED-C926-D344-9DC0-5533F275D6AB}" type="slidenum">
              <a:rPr lang="ru-KZ" smtClean="0"/>
              <a:t>‹#›</a:t>
            </a:fld>
            <a:endParaRPr lang="ru-KZ"/>
          </a:p>
        </p:txBody>
      </p:sp>
    </p:spTree>
    <p:extLst>
      <p:ext uri="{BB962C8B-B14F-4D97-AF65-F5344CB8AC3E}">
        <p14:creationId xmlns:p14="http://schemas.microsoft.com/office/powerpoint/2010/main" val="3734177508"/>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K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u-RU"/>
              <a:t>Образец заголовка</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B95D9CD-B909-431E-AAD6-3D81E8940EC5}" type="datetime1">
              <a:rPr lang="en-US" smtClean="0"/>
              <a:pPr/>
              <a:t>10/20/2025</a:t>
            </a:fld>
            <a:endParaRPr lang="ru-RU"/>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0E1CF8A-2E89-4626-8C9F-5031D3527499}" type="slidenum">
              <a:rPr lang="ru-RU" smtClean="0"/>
              <a:pPr/>
              <a:t>‹#›</a:t>
            </a:fld>
            <a:endParaRPr lang="ru-RU"/>
          </a:p>
        </p:txBody>
      </p:sp>
    </p:spTree>
    <p:extLst>
      <p:ext uri="{BB962C8B-B14F-4D97-AF65-F5344CB8AC3E}">
        <p14:creationId xmlns:p14="http://schemas.microsoft.com/office/powerpoint/2010/main" val="3377828172"/>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notesSlide" Target="../notesSlides/notesSlide9.xml"/><Relationship Id="rId1" Type="http://schemas.openxmlformats.org/officeDocument/2006/relationships/slideLayout" Target="../slideLayouts/slideLayout13.xml"/><Relationship Id="rId4" Type="http://schemas.openxmlformats.org/officeDocument/2006/relationships/chart" Target="../charts/chart27.xml"/></Relationships>
</file>

<file path=ppt/slides/_rels/slide11.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notesSlide" Target="../notesSlides/notesSlide10.xml"/><Relationship Id="rId7" Type="http://schemas.openxmlformats.org/officeDocument/2006/relationships/image" Target="../media/image28.png"/><Relationship Id="rId2" Type="http://schemas.openxmlformats.org/officeDocument/2006/relationships/slideLayout" Target="../slideLayouts/slideLayout13.xml"/><Relationship Id="rId1" Type="http://schemas.openxmlformats.org/officeDocument/2006/relationships/tags" Target="../tags/tag16.xml"/><Relationship Id="rId6" Type="http://schemas.openxmlformats.org/officeDocument/2006/relationships/image" Target="../media/image15.png"/><Relationship Id="rId5" Type="http://schemas.openxmlformats.org/officeDocument/2006/relationships/image" Target="../media/image27.emf"/><Relationship Id="rId4" Type="http://schemas.openxmlformats.org/officeDocument/2006/relationships/oleObject" Target="../embeddings/oleObject4.bin"/><Relationship Id="rId9" Type="http://schemas.openxmlformats.org/officeDocument/2006/relationships/image" Target="../media/image29.png"/></Relationships>
</file>

<file path=ppt/slides/_rels/slide12.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40.png"/><Relationship Id="rId3" Type="http://schemas.openxmlformats.org/officeDocument/2006/relationships/image" Target="../media/image30.png"/><Relationship Id="rId7" Type="http://schemas.openxmlformats.org/officeDocument/2006/relationships/image" Target="../media/image34.png"/><Relationship Id="rId12" Type="http://schemas.openxmlformats.org/officeDocument/2006/relationships/image" Target="../media/image39.png"/><Relationship Id="rId2" Type="http://schemas.openxmlformats.org/officeDocument/2006/relationships/notesSlide" Target="../notesSlides/notesSlide11.xml"/><Relationship Id="rId1" Type="http://schemas.openxmlformats.org/officeDocument/2006/relationships/slideLayout" Target="../slideLayouts/slideLayout13.xml"/><Relationship Id="rId6" Type="http://schemas.openxmlformats.org/officeDocument/2006/relationships/image" Target="../media/image33.png"/><Relationship Id="rId11" Type="http://schemas.openxmlformats.org/officeDocument/2006/relationships/image" Target="../media/image38.png"/><Relationship Id="rId5" Type="http://schemas.openxmlformats.org/officeDocument/2006/relationships/image" Target="../media/image32.png"/><Relationship Id="rId10" Type="http://schemas.openxmlformats.org/officeDocument/2006/relationships/image" Target="../media/image37.png"/><Relationship Id="rId4" Type="http://schemas.openxmlformats.org/officeDocument/2006/relationships/image" Target="../media/image31.png"/><Relationship Id="rId9" Type="http://schemas.openxmlformats.org/officeDocument/2006/relationships/image" Target="../media/image36.png"/><Relationship Id="rId14" Type="http://schemas.openxmlformats.org/officeDocument/2006/relationships/image" Target="../media/image41.png"/></Relationships>
</file>

<file path=ppt/slides/_rels/slide13.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2.png"/><Relationship Id="rId3" Type="http://schemas.openxmlformats.org/officeDocument/2006/relationships/image" Target="../media/image42.png"/><Relationship Id="rId7" Type="http://schemas.openxmlformats.org/officeDocument/2006/relationships/image" Target="../media/image46.png"/><Relationship Id="rId12" Type="http://schemas.openxmlformats.org/officeDocument/2006/relationships/image" Target="../media/image51.png"/><Relationship Id="rId2" Type="http://schemas.openxmlformats.org/officeDocument/2006/relationships/notesSlide" Target="../notesSlides/notesSlide12.xml"/><Relationship Id="rId1" Type="http://schemas.openxmlformats.org/officeDocument/2006/relationships/slideLayout" Target="../slideLayouts/slideLayout13.xml"/><Relationship Id="rId6" Type="http://schemas.openxmlformats.org/officeDocument/2006/relationships/image" Target="../media/image45.jpg"/><Relationship Id="rId11" Type="http://schemas.openxmlformats.org/officeDocument/2006/relationships/image" Target="../media/image50.png"/><Relationship Id="rId5" Type="http://schemas.openxmlformats.org/officeDocument/2006/relationships/image" Target="../media/image44.png"/><Relationship Id="rId10" Type="http://schemas.openxmlformats.org/officeDocument/2006/relationships/image" Target="../media/image49.png"/><Relationship Id="rId4" Type="http://schemas.openxmlformats.org/officeDocument/2006/relationships/image" Target="../media/image43.png"/><Relationship Id="rId9" Type="http://schemas.openxmlformats.org/officeDocument/2006/relationships/image" Target="../media/image48.jpg"/></Relationships>
</file>

<file path=ppt/slides/_rels/slide1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image" Target="../media/image4.png"/></Relationships>
</file>

<file path=ppt/slides/_rels/slide15.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slideLayout" Target="../slideLayouts/slideLayout18.xml"/><Relationship Id="rId7" Type="http://schemas.openxmlformats.org/officeDocument/2006/relationships/image" Target="../media/image54.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1.png"/><Relationship Id="rId11" Type="http://schemas.openxmlformats.org/officeDocument/2006/relationships/image" Target="../media/image58.png"/><Relationship Id="rId5" Type="http://schemas.openxmlformats.org/officeDocument/2006/relationships/image" Target="../media/image8.png"/><Relationship Id="rId10" Type="http://schemas.openxmlformats.org/officeDocument/2006/relationships/image" Target="../media/image57.png"/><Relationship Id="rId4" Type="http://schemas.openxmlformats.org/officeDocument/2006/relationships/image" Target="../media/image53.png"/><Relationship Id="rId9" Type="http://schemas.openxmlformats.org/officeDocument/2006/relationships/image" Target="../media/image56.png"/></Relationships>
</file>

<file path=ppt/slides/_rels/slide16.xml.rels><?xml version="1.0" encoding="UTF-8" standalone="yes"?>
<Relationships xmlns="http://schemas.openxmlformats.org/package/2006/relationships"><Relationship Id="rId8" Type="http://schemas.openxmlformats.org/officeDocument/2006/relationships/oleObject" Target="../embeddings/oleObject2.bin"/><Relationship Id="rId13" Type="http://schemas.openxmlformats.org/officeDocument/2006/relationships/image" Target="../media/image61.png"/><Relationship Id="rId3" Type="http://schemas.openxmlformats.org/officeDocument/2006/relationships/tags" Target="../tags/tag21.xml"/><Relationship Id="rId7" Type="http://schemas.openxmlformats.org/officeDocument/2006/relationships/notesSlide" Target="../notesSlides/notesSlide14.xml"/><Relationship Id="rId12" Type="http://schemas.openxmlformats.org/officeDocument/2006/relationships/chart" Target="../charts/chart28.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slideLayout" Target="../slideLayouts/slideLayout18.xml"/><Relationship Id="rId11" Type="http://schemas.openxmlformats.org/officeDocument/2006/relationships/image" Target="../media/image60.png"/><Relationship Id="rId5" Type="http://schemas.openxmlformats.org/officeDocument/2006/relationships/tags" Target="../tags/tag23.xml"/><Relationship Id="rId10" Type="http://schemas.openxmlformats.org/officeDocument/2006/relationships/image" Target="../media/image59.png"/><Relationship Id="rId4" Type="http://schemas.openxmlformats.org/officeDocument/2006/relationships/tags" Target="../tags/tag22.xml"/><Relationship Id="rId9" Type="http://schemas.openxmlformats.org/officeDocument/2006/relationships/image" Target="../media/image14.emf"/><Relationship Id="rId14" Type="http://schemas.openxmlformats.org/officeDocument/2006/relationships/image" Target="../media/image62.png"/></Relationships>
</file>

<file path=ppt/slides/_rels/slide17.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notesSlide" Target="../notesSlides/notesSlide15.xml"/><Relationship Id="rId1" Type="http://schemas.openxmlformats.org/officeDocument/2006/relationships/slideLayout" Target="../slideLayouts/slideLayout13.xml"/><Relationship Id="rId4" Type="http://schemas.openxmlformats.org/officeDocument/2006/relationships/chart" Target="../charts/chart30.xml"/></Relationships>
</file>

<file path=ppt/slides/_rels/slide18.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chart" Target="../charts/chart31.xml"/><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chart" Target="../charts/chart33.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18.xml"/><Relationship Id="rId7" Type="http://schemas.openxmlformats.org/officeDocument/2006/relationships/image" Target="../media/image9.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8.png"/><Relationship Id="rId11" Type="http://schemas.openxmlformats.org/officeDocument/2006/relationships/image" Target="../media/image13.png"/><Relationship Id="rId5" Type="http://schemas.openxmlformats.org/officeDocument/2006/relationships/image" Target="../media/image7.pn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8.xml"/><Relationship Id="rId1" Type="http://schemas.openxmlformats.org/officeDocument/2006/relationships/tags" Target="../tags/tag24.xml"/><Relationship Id="rId4" Type="http://schemas.openxmlformats.org/officeDocument/2006/relationships/image" Target="../media/image63.emf"/></Relationships>
</file>

<file path=ppt/slides/_rels/slide22.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3" Type="http://schemas.openxmlformats.org/officeDocument/2006/relationships/chart" Target="../charts/chart36.xml"/><Relationship Id="rId2" Type="http://schemas.openxmlformats.org/officeDocument/2006/relationships/chart" Target="../charts/chart35.xml"/><Relationship Id="rId1" Type="http://schemas.openxmlformats.org/officeDocument/2006/relationships/slideLayout" Target="../slideLayouts/slideLayout18.xml"/><Relationship Id="rId4" Type="http://schemas.openxmlformats.org/officeDocument/2006/relationships/chart" Target="../charts/chart37.xml"/></Relationships>
</file>

<file path=ppt/slides/_rels/slide2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7.xml"/><Relationship Id="rId1" Type="http://schemas.openxmlformats.org/officeDocument/2006/relationships/slideLayout" Target="../slideLayouts/slideLayout18.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s>
</file>

<file path=ppt/slides/_rels/slide25.xml.rels><?xml version="1.0" encoding="UTF-8" standalone="yes"?>
<Relationships xmlns="http://schemas.openxmlformats.org/package/2006/relationships"><Relationship Id="rId3" Type="http://schemas.openxmlformats.org/officeDocument/2006/relationships/chart" Target="../charts/chart38.xml"/><Relationship Id="rId2" Type="http://schemas.openxmlformats.org/officeDocument/2006/relationships/notesSlide" Target="../notesSlides/notesSlide18.xml"/><Relationship Id="rId1" Type="http://schemas.openxmlformats.org/officeDocument/2006/relationships/slideLayout" Target="../slideLayouts/slideLayout18.xml"/><Relationship Id="rId4" Type="http://schemas.openxmlformats.org/officeDocument/2006/relationships/chart" Target="../charts/chart39.xml"/></Relationships>
</file>

<file path=ppt/slides/_rels/slide26.xml.rels><?xml version="1.0" encoding="UTF-8" standalone="yes"?>
<Relationships xmlns="http://schemas.openxmlformats.org/package/2006/relationships"><Relationship Id="rId3" Type="http://schemas.openxmlformats.org/officeDocument/2006/relationships/chart" Target="../charts/chart41.xml"/><Relationship Id="rId2" Type="http://schemas.openxmlformats.org/officeDocument/2006/relationships/chart" Target="../charts/chart40.xml"/><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notesSlide" Target="../notesSlides/notesSlide19.xml"/><Relationship Id="rId7" Type="http://schemas.openxmlformats.org/officeDocument/2006/relationships/image" Target="../media/image8.png"/><Relationship Id="rId2" Type="http://schemas.openxmlformats.org/officeDocument/2006/relationships/slideLayout" Target="../slideLayouts/slideLayout13.xml"/><Relationship Id="rId1" Type="http://schemas.openxmlformats.org/officeDocument/2006/relationships/tags" Target="../tags/tag25.xml"/><Relationship Id="rId6" Type="http://schemas.openxmlformats.org/officeDocument/2006/relationships/image" Target="../media/image69.png"/><Relationship Id="rId5" Type="http://schemas.openxmlformats.org/officeDocument/2006/relationships/image" Target="../media/image27.emf"/><Relationship Id="rId4" Type="http://schemas.openxmlformats.org/officeDocument/2006/relationships/oleObject" Target="../embeddings/oleObject4.bin"/><Relationship Id="rId9" Type="http://schemas.openxmlformats.org/officeDocument/2006/relationships/image" Target="../media/image65.png"/></Relationships>
</file>

<file path=ppt/slides/_rels/slide28.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image" Target="../media/image40.png"/><Relationship Id="rId7" Type="http://schemas.openxmlformats.org/officeDocument/2006/relationships/image" Target="../media/image73.png"/><Relationship Id="rId12" Type="http://schemas.openxmlformats.org/officeDocument/2006/relationships/image" Target="../media/image78.png"/><Relationship Id="rId2" Type="http://schemas.openxmlformats.org/officeDocument/2006/relationships/notesSlide" Target="../notesSlides/notesSlide20.xml"/><Relationship Id="rId1" Type="http://schemas.openxmlformats.org/officeDocument/2006/relationships/slideLayout" Target="../slideLayouts/slideLayout13.xml"/><Relationship Id="rId6" Type="http://schemas.openxmlformats.org/officeDocument/2006/relationships/image" Target="../media/image72.png"/><Relationship Id="rId11" Type="http://schemas.openxmlformats.org/officeDocument/2006/relationships/image" Target="../media/image77.png"/><Relationship Id="rId5" Type="http://schemas.openxmlformats.org/officeDocument/2006/relationships/image" Target="../media/image71.png"/><Relationship Id="rId10" Type="http://schemas.openxmlformats.org/officeDocument/2006/relationships/image" Target="../media/image76.jpg"/><Relationship Id="rId4" Type="http://schemas.openxmlformats.org/officeDocument/2006/relationships/image" Target="../media/image70.png"/><Relationship Id="rId9" Type="http://schemas.openxmlformats.org/officeDocument/2006/relationships/image" Target="../media/image75.png"/></Relationships>
</file>

<file path=ppt/slides/_rels/slide29.xml.rels><?xml version="1.0" encoding="UTF-8" standalone="yes"?>
<Relationships xmlns="http://schemas.openxmlformats.org/package/2006/relationships"><Relationship Id="rId8" Type="http://schemas.openxmlformats.org/officeDocument/2006/relationships/image" Target="../media/image81.jpg"/><Relationship Id="rId13" Type="http://schemas.openxmlformats.org/officeDocument/2006/relationships/image" Target="../media/image86.png"/><Relationship Id="rId3" Type="http://schemas.openxmlformats.org/officeDocument/2006/relationships/image" Target="../media/image42.png"/><Relationship Id="rId7" Type="http://schemas.openxmlformats.org/officeDocument/2006/relationships/image" Target="../media/image80.png"/><Relationship Id="rId12" Type="http://schemas.openxmlformats.org/officeDocument/2006/relationships/image" Target="../media/image85.png"/><Relationship Id="rId2" Type="http://schemas.openxmlformats.org/officeDocument/2006/relationships/notesSlide" Target="../notesSlides/notesSlide21.xml"/><Relationship Id="rId1" Type="http://schemas.openxmlformats.org/officeDocument/2006/relationships/slideLayout" Target="../slideLayouts/slideLayout13.xml"/><Relationship Id="rId6" Type="http://schemas.openxmlformats.org/officeDocument/2006/relationships/image" Target="../media/image79.png"/><Relationship Id="rId11" Type="http://schemas.openxmlformats.org/officeDocument/2006/relationships/image" Target="../media/image84.png"/><Relationship Id="rId5" Type="http://schemas.openxmlformats.org/officeDocument/2006/relationships/image" Target="../media/image44.png"/><Relationship Id="rId10" Type="http://schemas.openxmlformats.org/officeDocument/2006/relationships/image" Target="../media/image83.png"/><Relationship Id="rId4" Type="http://schemas.openxmlformats.org/officeDocument/2006/relationships/image" Target="../media/image47.png"/><Relationship Id="rId9" Type="http://schemas.openxmlformats.org/officeDocument/2006/relationships/image" Target="../media/image82.jpg"/></Relationships>
</file>

<file path=ppt/slides/_rels/slide3.xml.rels><?xml version="1.0" encoding="UTF-8" standalone="yes"?>
<Relationships xmlns="http://schemas.openxmlformats.org/package/2006/relationships"><Relationship Id="rId8" Type="http://schemas.openxmlformats.org/officeDocument/2006/relationships/chart" Target="../charts/chart6.xml"/><Relationship Id="rId13" Type="http://schemas.openxmlformats.org/officeDocument/2006/relationships/chart" Target="../charts/chart11.xml"/><Relationship Id="rId3" Type="http://schemas.openxmlformats.org/officeDocument/2006/relationships/chart" Target="../charts/chart1.xml"/><Relationship Id="rId7" Type="http://schemas.openxmlformats.org/officeDocument/2006/relationships/chart" Target="../charts/chart5.xml"/><Relationship Id="rId12" Type="http://schemas.openxmlformats.org/officeDocument/2006/relationships/chart" Target="../charts/chart10.xml"/><Relationship Id="rId17" Type="http://schemas.openxmlformats.org/officeDocument/2006/relationships/chart" Target="../charts/chart15.xml"/><Relationship Id="rId2" Type="http://schemas.openxmlformats.org/officeDocument/2006/relationships/notesSlide" Target="../notesSlides/notesSlide2.xml"/><Relationship Id="rId16" Type="http://schemas.openxmlformats.org/officeDocument/2006/relationships/chart" Target="../charts/chart14.xml"/><Relationship Id="rId1" Type="http://schemas.openxmlformats.org/officeDocument/2006/relationships/slideLayout" Target="../slideLayouts/slideLayout18.xml"/><Relationship Id="rId6" Type="http://schemas.openxmlformats.org/officeDocument/2006/relationships/chart" Target="../charts/chart4.xml"/><Relationship Id="rId11" Type="http://schemas.openxmlformats.org/officeDocument/2006/relationships/chart" Target="../charts/chart9.xml"/><Relationship Id="rId5" Type="http://schemas.openxmlformats.org/officeDocument/2006/relationships/chart" Target="../charts/chart3.xml"/><Relationship Id="rId15" Type="http://schemas.openxmlformats.org/officeDocument/2006/relationships/chart" Target="../charts/chart13.xml"/><Relationship Id="rId10" Type="http://schemas.openxmlformats.org/officeDocument/2006/relationships/chart" Target="../charts/chart8.xml"/><Relationship Id="rId4" Type="http://schemas.openxmlformats.org/officeDocument/2006/relationships/chart" Target="../charts/chart2.xml"/><Relationship Id="rId9" Type="http://schemas.openxmlformats.org/officeDocument/2006/relationships/chart" Target="../charts/chart7.xml"/><Relationship Id="rId14" Type="http://schemas.openxmlformats.org/officeDocument/2006/relationships/chart" Target="../charts/chart12.xml"/></Relationships>
</file>

<file path=ppt/slides/_rels/slide30.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2.xml"/><Relationship Id="rId1" Type="http://schemas.openxmlformats.org/officeDocument/2006/relationships/slideLayout" Target="../slideLayouts/slideLayout29.xml"/><Relationship Id="rId5" Type="http://schemas.openxmlformats.org/officeDocument/2006/relationships/image" Target="../media/image5.png"/><Relationship Id="rId4" Type="http://schemas.openxmlformats.org/officeDocument/2006/relationships/image" Target="../media/image4.png"/></Relationships>
</file>

<file path=ppt/slides/_rels/slide31.xml.rels><?xml version="1.0" encoding="UTF-8" standalone="yes"?>
<Relationships xmlns="http://schemas.openxmlformats.org/package/2006/relationships"><Relationship Id="rId8" Type="http://schemas.openxmlformats.org/officeDocument/2006/relationships/chart" Target="../charts/chart43.xml"/><Relationship Id="rId13" Type="http://schemas.openxmlformats.org/officeDocument/2006/relationships/image" Target="../media/image95.jpeg"/><Relationship Id="rId3" Type="http://schemas.openxmlformats.org/officeDocument/2006/relationships/chart" Target="../charts/chart42.xml"/><Relationship Id="rId7" Type="http://schemas.openxmlformats.org/officeDocument/2006/relationships/image" Target="../media/image90.png"/><Relationship Id="rId12" Type="http://schemas.openxmlformats.org/officeDocument/2006/relationships/image" Target="../media/image94.png"/><Relationship Id="rId2" Type="http://schemas.openxmlformats.org/officeDocument/2006/relationships/notesSlide" Target="../notesSlides/notesSlide23.xml"/><Relationship Id="rId1" Type="http://schemas.openxmlformats.org/officeDocument/2006/relationships/slideLayout" Target="../slideLayouts/slideLayout24.xml"/><Relationship Id="rId6" Type="http://schemas.openxmlformats.org/officeDocument/2006/relationships/image" Target="../media/image89.png"/><Relationship Id="rId11" Type="http://schemas.openxmlformats.org/officeDocument/2006/relationships/image" Target="../media/image93.png"/><Relationship Id="rId5" Type="http://schemas.openxmlformats.org/officeDocument/2006/relationships/image" Target="../media/image88.png"/><Relationship Id="rId10" Type="http://schemas.openxmlformats.org/officeDocument/2006/relationships/image" Target="../media/image92.jpeg"/><Relationship Id="rId4" Type="http://schemas.openxmlformats.org/officeDocument/2006/relationships/image" Target="../media/image87.png"/><Relationship Id="rId9" Type="http://schemas.openxmlformats.org/officeDocument/2006/relationships/image" Target="../media/image91.jpeg"/><Relationship Id="rId14" Type="http://schemas.openxmlformats.org/officeDocument/2006/relationships/image" Target="../media/image96.jpeg"/></Relationships>
</file>

<file path=ppt/slides/_rels/slide32.xml.rels><?xml version="1.0" encoding="UTF-8" standalone="yes"?>
<Relationships xmlns="http://schemas.openxmlformats.org/package/2006/relationships"><Relationship Id="rId8" Type="http://schemas.openxmlformats.org/officeDocument/2006/relationships/image" Target="../media/image99.jpeg"/><Relationship Id="rId3" Type="http://schemas.openxmlformats.org/officeDocument/2006/relationships/image" Target="../media/image89.png"/><Relationship Id="rId7" Type="http://schemas.openxmlformats.org/officeDocument/2006/relationships/image" Target="../media/image98.png"/><Relationship Id="rId2" Type="http://schemas.openxmlformats.org/officeDocument/2006/relationships/notesSlide" Target="../notesSlides/notesSlide24.xml"/><Relationship Id="rId1" Type="http://schemas.openxmlformats.org/officeDocument/2006/relationships/slideLayout" Target="../slideLayouts/slideLayout24.xml"/><Relationship Id="rId6" Type="http://schemas.openxmlformats.org/officeDocument/2006/relationships/image" Target="../media/image97.png"/><Relationship Id="rId5" Type="http://schemas.openxmlformats.org/officeDocument/2006/relationships/chart" Target="../charts/chart45.xml"/><Relationship Id="rId10" Type="http://schemas.openxmlformats.org/officeDocument/2006/relationships/chart" Target="../charts/chart47.xml"/><Relationship Id="rId4" Type="http://schemas.openxmlformats.org/officeDocument/2006/relationships/chart" Target="../charts/chart44.xml"/><Relationship Id="rId9" Type="http://schemas.openxmlformats.org/officeDocument/2006/relationships/chart" Target="../charts/chart46.xml"/></Relationships>
</file>

<file path=ppt/slides/_rels/slide33.xml.rels><?xml version="1.0" encoding="UTF-8" standalone="yes"?>
<Relationships xmlns="http://schemas.openxmlformats.org/package/2006/relationships"><Relationship Id="rId8" Type="http://schemas.openxmlformats.org/officeDocument/2006/relationships/chart" Target="../charts/chart53.xml"/><Relationship Id="rId13" Type="http://schemas.openxmlformats.org/officeDocument/2006/relationships/image" Target="../media/image99.jpeg"/><Relationship Id="rId3" Type="http://schemas.openxmlformats.org/officeDocument/2006/relationships/chart" Target="../charts/chart48.xml"/><Relationship Id="rId7" Type="http://schemas.openxmlformats.org/officeDocument/2006/relationships/chart" Target="../charts/chart52.xml"/><Relationship Id="rId12" Type="http://schemas.openxmlformats.org/officeDocument/2006/relationships/image" Target="../media/image98.png"/><Relationship Id="rId2" Type="http://schemas.openxmlformats.org/officeDocument/2006/relationships/notesSlide" Target="../notesSlides/notesSlide25.xml"/><Relationship Id="rId1" Type="http://schemas.openxmlformats.org/officeDocument/2006/relationships/slideLayout" Target="../slideLayouts/slideLayout24.xml"/><Relationship Id="rId6" Type="http://schemas.openxmlformats.org/officeDocument/2006/relationships/chart" Target="../charts/chart51.xml"/><Relationship Id="rId11" Type="http://schemas.openxmlformats.org/officeDocument/2006/relationships/image" Target="../media/image101.png"/><Relationship Id="rId5" Type="http://schemas.openxmlformats.org/officeDocument/2006/relationships/chart" Target="../charts/chart50.xml"/><Relationship Id="rId10" Type="http://schemas.openxmlformats.org/officeDocument/2006/relationships/image" Target="../media/image100.png"/><Relationship Id="rId4" Type="http://schemas.openxmlformats.org/officeDocument/2006/relationships/chart" Target="../charts/chart49.xml"/><Relationship Id="rId9" Type="http://schemas.openxmlformats.org/officeDocument/2006/relationships/image" Target="../media/image97.png"/><Relationship Id="rId14" Type="http://schemas.openxmlformats.org/officeDocument/2006/relationships/image" Target="../media/image102.png"/></Relationships>
</file>

<file path=ppt/slides/_rels/slide34.xml.rels><?xml version="1.0" encoding="UTF-8" standalone="yes"?>
<Relationships xmlns="http://schemas.openxmlformats.org/package/2006/relationships"><Relationship Id="rId8" Type="http://schemas.openxmlformats.org/officeDocument/2006/relationships/chart" Target="../charts/chart59.xml"/><Relationship Id="rId13" Type="http://schemas.openxmlformats.org/officeDocument/2006/relationships/image" Target="../media/image99.jpeg"/><Relationship Id="rId3" Type="http://schemas.openxmlformats.org/officeDocument/2006/relationships/chart" Target="../charts/chart54.xml"/><Relationship Id="rId7" Type="http://schemas.openxmlformats.org/officeDocument/2006/relationships/chart" Target="../charts/chart58.xml"/><Relationship Id="rId12" Type="http://schemas.openxmlformats.org/officeDocument/2006/relationships/image" Target="../media/image102.png"/><Relationship Id="rId2" Type="http://schemas.openxmlformats.org/officeDocument/2006/relationships/notesSlide" Target="../notesSlides/notesSlide26.xml"/><Relationship Id="rId1" Type="http://schemas.openxmlformats.org/officeDocument/2006/relationships/slideLayout" Target="../slideLayouts/slideLayout24.xml"/><Relationship Id="rId6" Type="http://schemas.openxmlformats.org/officeDocument/2006/relationships/chart" Target="../charts/chart57.xml"/><Relationship Id="rId11" Type="http://schemas.openxmlformats.org/officeDocument/2006/relationships/image" Target="../media/image98.png"/><Relationship Id="rId5" Type="http://schemas.openxmlformats.org/officeDocument/2006/relationships/chart" Target="../charts/chart56.xml"/><Relationship Id="rId10" Type="http://schemas.openxmlformats.org/officeDocument/2006/relationships/image" Target="../media/image100.png"/><Relationship Id="rId4" Type="http://schemas.openxmlformats.org/officeDocument/2006/relationships/chart" Target="../charts/chart55.xml"/><Relationship Id="rId9" Type="http://schemas.openxmlformats.org/officeDocument/2006/relationships/image" Target="../media/image97.png"/><Relationship Id="rId14" Type="http://schemas.openxmlformats.org/officeDocument/2006/relationships/image" Target="../media/image103.png"/></Relationships>
</file>

<file path=ppt/slides/_rels/slide35.xml.rels><?xml version="1.0" encoding="UTF-8" standalone="yes"?>
<Relationships xmlns="http://schemas.openxmlformats.org/package/2006/relationships"><Relationship Id="rId8" Type="http://schemas.openxmlformats.org/officeDocument/2006/relationships/image" Target="../media/image89.png"/><Relationship Id="rId13" Type="http://schemas.openxmlformats.org/officeDocument/2006/relationships/image" Target="../media/image113.png"/><Relationship Id="rId18" Type="http://schemas.openxmlformats.org/officeDocument/2006/relationships/image" Target="../media/image118.png"/><Relationship Id="rId3" Type="http://schemas.openxmlformats.org/officeDocument/2006/relationships/image" Target="../media/image104.png"/><Relationship Id="rId7" Type="http://schemas.openxmlformats.org/officeDocument/2006/relationships/image" Target="../media/image108.png"/><Relationship Id="rId12" Type="http://schemas.openxmlformats.org/officeDocument/2006/relationships/image" Target="../media/image112.png"/><Relationship Id="rId17" Type="http://schemas.openxmlformats.org/officeDocument/2006/relationships/image" Target="../media/image117.png"/><Relationship Id="rId2" Type="http://schemas.openxmlformats.org/officeDocument/2006/relationships/notesSlide" Target="../notesSlides/notesSlide27.xml"/><Relationship Id="rId16" Type="http://schemas.openxmlformats.org/officeDocument/2006/relationships/image" Target="../media/image116.png"/><Relationship Id="rId1" Type="http://schemas.openxmlformats.org/officeDocument/2006/relationships/slideLayout" Target="../slideLayouts/slideLayout24.xml"/><Relationship Id="rId6" Type="http://schemas.openxmlformats.org/officeDocument/2006/relationships/image" Target="../media/image107.png"/><Relationship Id="rId11" Type="http://schemas.openxmlformats.org/officeDocument/2006/relationships/image" Target="../media/image111.png"/><Relationship Id="rId5" Type="http://schemas.openxmlformats.org/officeDocument/2006/relationships/image" Target="../media/image106.png"/><Relationship Id="rId15" Type="http://schemas.openxmlformats.org/officeDocument/2006/relationships/image" Target="../media/image115.png"/><Relationship Id="rId10" Type="http://schemas.openxmlformats.org/officeDocument/2006/relationships/image" Target="../media/image110.png"/><Relationship Id="rId19" Type="http://schemas.openxmlformats.org/officeDocument/2006/relationships/image" Target="../media/image119.png"/><Relationship Id="rId4" Type="http://schemas.openxmlformats.org/officeDocument/2006/relationships/image" Target="../media/image105.png"/><Relationship Id="rId9" Type="http://schemas.openxmlformats.org/officeDocument/2006/relationships/image" Target="../media/image109.png"/><Relationship Id="rId14" Type="http://schemas.openxmlformats.org/officeDocument/2006/relationships/image" Target="../media/image114.png"/></Relationships>
</file>

<file path=ppt/slides/_rels/slide36.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28.xml"/><Relationship Id="rId1" Type="http://schemas.openxmlformats.org/officeDocument/2006/relationships/slideLayout" Target="../slideLayouts/slideLayout24.xml"/><Relationship Id="rId5" Type="http://schemas.openxmlformats.org/officeDocument/2006/relationships/chart" Target="../charts/chart60.xml"/><Relationship Id="rId4" Type="http://schemas.openxmlformats.org/officeDocument/2006/relationships/image" Target="../media/image89.png"/></Relationships>
</file>

<file path=ppt/slides/_rels/slide37.xml.rels><?xml version="1.0" encoding="UTF-8" standalone="yes"?>
<Relationships xmlns="http://schemas.openxmlformats.org/package/2006/relationships"><Relationship Id="rId8" Type="http://schemas.openxmlformats.org/officeDocument/2006/relationships/image" Target="../media/image122.png"/><Relationship Id="rId3" Type="http://schemas.openxmlformats.org/officeDocument/2006/relationships/image" Target="../media/image104.png"/><Relationship Id="rId7" Type="http://schemas.openxmlformats.org/officeDocument/2006/relationships/chart" Target="../charts/chart62.xml"/><Relationship Id="rId2" Type="http://schemas.openxmlformats.org/officeDocument/2006/relationships/notesSlide" Target="../notesSlides/notesSlide29.xml"/><Relationship Id="rId1" Type="http://schemas.openxmlformats.org/officeDocument/2006/relationships/slideLayout" Target="../slideLayouts/slideLayout24.xml"/><Relationship Id="rId6" Type="http://schemas.openxmlformats.org/officeDocument/2006/relationships/image" Target="../media/image121.png"/><Relationship Id="rId5" Type="http://schemas.openxmlformats.org/officeDocument/2006/relationships/chart" Target="../charts/chart61.xml"/><Relationship Id="rId10" Type="http://schemas.openxmlformats.org/officeDocument/2006/relationships/image" Target="../media/image124.png"/><Relationship Id="rId4" Type="http://schemas.openxmlformats.org/officeDocument/2006/relationships/image" Target="../media/image89.png"/><Relationship Id="rId9" Type="http://schemas.openxmlformats.org/officeDocument/2006/relationships/image" Target="../media/image123.png"/></Relationships>
</file>

<file path=ppt/slides/_rels/slide38.xml.rels><?xml version="1.0" encoding="UTF-8" standalone="yes"?>
<Relationships xmlns="http://schemas.openxmlformats.org/package/2006/relationships"><Relationship Id="rId8" Type="http://schemas.openxmlformats.org/officeDocument/2006/relationships/image" Target="../media/image130.png"/><Relationship Id="rId3" Type="http://schemas.openxmlformats.org/officeDocument/2006/relationships/image" Target="../media/image125.png"/><Relationship Id="rId7" Type="http://schemas.openxmlformats.org/officeDocument/2006/relationships/image" Target="../media/image129.png"/><Relationship Id="rId12" Type="http://schemas.openxmlformats.org/officeDocument/2006/relationships/image" Target="../media/image134.png"/><Relationship Id="rId2" Type="http://schemas.openxmlformats.org/officeDocument/2006/relationships/notesSlide" Target="../notesSlides/notesSlide30.xml"/><Relationship Id="rId1" Type="http://schemas.openxmlformats.org/officeDocument/2006/relationships/slideLayout" Target="../slideLayouts/slideLayout24.xml"/><Relationship Id="rId6" Type="http://schemas.openxmlformats.org/officeDocument/2006/relationships/image" Target="../media/image128.png"/><Relationship Id="rId11" Type="http://schemas.openxmlformats.org/officeDocument/2006/relationships/image" Target="../media/image133.png"/><Relationship Id="rId5" Type="http://schemas.openxmlformats.org/officeDocument/2006/relationships/image" Target="../media/image127.png"/><Relationship Id="rId10" Type="http://schemas.openxmlformats.org/officeDocument/2006/relationships/image" Target="../media/image132.png"/><Relationship Id="rId4" Type="http://schemas.openxmlformats.org/officeDocument/2006/relationships/image" Target="../media/image126.png"/><Relationship Id="rId9" Type="http://schemas.openxmlformats.org/officeDocument/2006/relationships/image" Target="../media/image131.png"/></Relationships>
</file>

<file path=ppt/slides/_rels/slide39.xml.rels><?xml version="1.0" encoding="UTF-8" standalone="yes"?>
<Relationships xmlns="http://schemas.openxmlformats.org/package/2006/relationships"><Relationship Id="rId3" Type="http://schemas.openxmlformats.org/officeDocument/2006/relationships/chart" Target="../charts/chart63.xml"/><Relationship Id="rId2" Type="http://schemas.openxmlformats.org/officeDocument/2006/relationships/notesSlide" Target="../notesSlides/notesSlide31.xml"/><Relationship Id="rId1" Type="http://schemas.openxmlformats.org/officeDocument/2006/relationships/slideLayout" Target="../slideLayouts/slideLayout24.xml"/><Relationship Id="rId6" Type="http://schemas.openxmlformats.org/officeDocument/2006/relationships/image" Target="../media/image89.png"/><Relationship Id="rId5" Type="http://schemas.openxmlformats.org/officeDocument/2006/relationships/chart" Target="../charts/chart64.xml"/><Relationship Id="rId4" Type="http://schemas.openxmlformats.org/officeDocument/2006/relationships/image" Target="../media/image135.png"/></Relationships>
</file>

<file path=ppt/slides/_rels/slide4.xml.rels><?xml version="1.0" encoding="UTF-8" standalone="yes"?>
<Relationships xmlns="http://schemas.openxmlformats.org/package/2006/relationships"><Relationship Id="rId8" Type="http://schemas.openxmlformats.org/officeDocument/2006/relationships/oleObject" Target="../embeddings/oleObject2.bin"/><Relationship Id="rId13" Type="http://schemas.openxmlformats.org/officeDocument/2006/relationships/image" Target="../media/image18.png"/><Relationship Id="rId3" Type="http://schemas.openxmlformats.org/officeDocument/2006/relationships/tags" Target="../tags/tag7.xml"/><Relationship Id="rId7" Type="http://schemas.openxmlformats.org/officeDocument/2006/relationships/notesSlide" Target="../notesSlides/notesSlide3.xml"/><Relationship Id="rId12" Type="http://schemas.openxmlformats.org/officeDocument/2006/relationships/image" Target="../media/image17.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Layout" Target="../slideLayouts/slideLayout18.xml"/><Relationship Id="rId11" Type="http://schemas.openxmlformats.org/officeDocument/2006/relationships/image" Target="../media/image16.png"/><Relationship Id="rId5" Type="http://schemas.openxmlformats.org/officeDocument/2006/relationships/tags" Target="../tags/tag9.xml"/><Relationship Id="rId10" Type="http://schemas.openxmlformats.org/officeDocument/2006/relationships/image" Target="../media/image15.png"/><Relationship Id="rId4" Type="http://schemas.openxmlformats.org/officeDocument/2006/relationships/tags" Target="../tags/tag8.xml"/><Relationship Id="rId9" Type="http://schemas.openxmlformats.org/officeDocument/2006/relationships/image" Target="../media/image14.emf"/></Relationships>
</file>

<file path=ppt/slides/_rels/slide40.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image" Target="../media/image97.png"/><Relationship Id="rId7" Type="http://schemas.openxmlformats.org/officeDocument/2006/relationships/image" Target="../media/image99.jpeg"/><Relationship Id="rId2" Type="http://schemas.openxmlformats.org/officeDocument/2006/relationships/notesSlide" Target="../notesSlides/notesSlide32.xml"/><Relationship Id="rId1" Type="http://schemas.openxmlformats.org/officeDocument/2006/relationships/slideLayout" Target="../slideLayouts/slideLayout24.xml"/><Relationship Id="rId6" Type="http://schemas.openxmlformats.org/officeDocument/2006/relationships/image" Target="../media/image98.png"/><Relationship Id="rId5" Type="http://schemas.openxmlformats.org/officeDocument/2006/relationships/image" Target="../media/image101.png"/><Relationship Id="rId4" Type="http://schemas.openxmlformats.org/officeDocument/2006/relationships/image" Target="../media/image100.png"/></Relationships>
</file>

<file path=ppt/slides/_rels/slide5.xml.rels><?xml version="1.0" encoding="UTF-8" standalone="yes"?>
<Relationships xmlns="http://schemas.openxmlformats.org/package/2006/relationships"><Relationship Id="rId8" Type="http://schemas.openxmlformats.org/officeDocument/2006/relationships/oleObject" Target="../embeddings/oleObject2.bin"/><Relationship Id="rId13" Type="http://schemas.openxmlformats.org/officeDocument/2006/relationships/image" Target="../media/image18.png"/><Relationship Id="rId3" Type="http://schemas.openxmlformats.org/officeDocument/2006/relationships/tags" Target="../tags/tag12.xml"/><Relationship Id="rId7" Type="http://schemas.openxmlformats.org/officeDocument/2006/relationships/notesSlide" Target="../notesSlides/notesSlide4.xml"/><Relationship Id="rId12" Type="http://schemas.openxmlformats.org/officeDocument/2006/relationships/image" Target="../media/image17.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slideLayout" Target="../slideLayouts/slideLayout18.xml"/><Relationship Id="rId11" Type="http://schemas.openxmlformats.org/officeDocument/2006/relationships/image" Target="../media/image16.png"/><Relationship Id="rId5" Type="http://schemas.openxmlformats.org/officeDocument/2006/relationships/tags" Target="../tags/tag14.xml"/><Relationship Id="rId15" Type="http://schemas.openxmlformats.org/officeDocument/2006/relationships/chart" Target="../charts/chart16.xml"/><Relationship Id="rId10" Type="http://schemas.openxmlformats.org/officeDocument/2006/relationships/image" Target="../media/image15.png"/><Relationship Id="rId4" Type="http://schemas.openxmlformats.org/officeDocument/2006/relationships/tags" Target="../tags/tag13.xml"/><Relationship Id="rId9" Type="http://schemas.openxmlformats.org/officeDocument/2006/relationships/image" Target="../media/image14.emf"/><Relationship Id="rId14" Type="http://schemas.openxmlformats.org/officeDocument/2006/relationships/image" Target="../media/image19.png"/></Relationships>
</file>

<file path=ppt/slides/_rels/slide6.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chart" Target="../charts/chart17.xml"/><Relationship Id="rId7"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18.xml"/><Relationship Id="rId6" Type="http://schemas.openxmlformats.org/officeDocument/2006/relationships/image" Target="../media/image21.png"/><Relationship Id="rId5" Type="http://schemas.openxmlformats.org/officeDocument/2006/relationships/image" Target="../media/image20.png"/><Relationship Id="rId10" Type="http://schemas.openxmlformats.org/officeDocument/2006/relationships/image" Target="../media/image25.png"/><Relationship Id="rId4" Type="http://schemas.openxmlformats.org/officeDocument/2006/relationships/chart" Target="../charts/chart18.xml"/><Relationship Id="rId9" Type="http://schemas.openxmlformats.org/officeDocument/2006/relationships/image" Target="../media/image24.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8" Type="http://schemas.openxmlformats.org/officeDocument/2006/relationships/chart" Target="../charts/chart21.xml"/><Relationship Id="rId3" Type="http://schemas.openxmlformats.org/officeDocument/2006/relationships/notesSlide" Target="../notesSlides/notesSlide7.xml"/><Relationship Id="rId7" Type="http://schemas.openxmlformats.org/officeDocument/2006/relationships/chart" Target="../charts/chart20.xml"/><Relationship Id="rId2" Type="http://schemas.openxmlformats.org/officeDocument/2006/relationships/slideLayout" Target="../slideLayouts/slideLayout13.xml"/><Relationship Id="rId1" Type="http://schemas.openxmlformats.org/officeDocument/2006/relationships/tags" Target="../tags/tag15.xml"/><Relationship Id="rId6" Type="http://schemas.openxmlformats.org/officeDocument/2006/relationships/image" Target="../media/image26.emf"/><Relationship Id="rId5" Type="http://schemas.openxmlformats.org/officeDocument/2006/relationships/oleObject" Target="../embeddings/oleObject3.bin"/><Relationship Id="rId10" Type="http://schemas.openxmlformats.org/officeDocument/2006/relationships/chart" Target="../charts/chart23.xml"/><Relationship Id="rId4" Type="http://schemas.openxmlformats.org/officeDocument/2006/relationships/chart" Target="../charts/chart19.xml"/><Relationship Id="rId9" Type="http://schemas.openxmlformats.org/officeDocument/2006/relationships/chart" Target="../charts/chart22.xml"/></Relationships>
</file>

<file path=ppt/slides/_rels/slide9.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notesSlide" Target="../notesSlides/notesSlide8.xml"/><Relationship Id="rId1" Type="http://schemas.openxmlformats.org/officeDocument/2006/relationships/slideLayout" Target="../slideLayouts/slideLayout13.xml"/><Relationship Id="rId4" Type="http://schemas.openxmlformats.org/officeDocument/2006/relationships/chart" Target="../charts/char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0" y="0"/>
            <a:ext cx="12192000"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3"/>
            <a:stretch>
              <a:fillRect t="-18518"/>
            </a:stretch>
          </a:blipFill>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reeform 5"/>
          <p:cNvSpPr/>
          <p:nvPr/>
        </p:nvSpPr>
        <p:spPr>
          <a:xfrm flipH="1">
            <a:off x="9980296" y="4114800"/>
            <a:ext cx="2211705" cy="2743200"/>
          </a:xfrm>
          <a:custGeom>
            <a:avLst/>
            <a:gdLst/>
            <a:ahLst/>
            <a:cxnLst/>
            <a:rect l="l" t="t" r="r" b="b"/>
            <a:pathLst>
              <a:path w="3317557" h="4114800">
                <a:moveTo>
                  <a:pt x="3317557" y="0"/>
                </a:moveTo>
                <a:lnTo>
                  <a:pt x="0" y="0"/>
                </a:lnTo>
                <a:lnTo>
                  <a:pt x="0" y="4114800"/>
                </a:lnTo>
                <a:lnTo>
                  <a:pt x="3317557" y="4114800"/>
                </a:lnTo>
                <a:lnTo>
                  <a:pt x="3317557" y="0"/>
                </a:lnTo>
                <a:close/>
              </a:path>
            </a:pathLst>
          </a:custGeom>
          <a:blipFill>
            <a:blip r:embed="rId4"/>
            <a:stretch>
              <a:fillRect/>
            </a:stretch>
          </a:blipFill>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TextBox 7"/>
          <p:cNvSpPr txBox="1"/>
          <p:nvPr/>
        </p:nvSpPr>
        <p:spPr>
          <a:xfrm>
            <a:off x="659396" y="2924944"/>
            <a:ext cx="10873208" cy="1508105"/>
          </a:xfrm>
          <a:prstGeom prst="rect">
            <a:avLst/>
          </a:prstGeom>
          <a:noFill/>
        </p:spPr>
        <p:txBody>
          <a:bodyPr wrap="square" rtlCol="0">
            <a:spAutoFit/>
          </a:bodyPr>
          <a:lstStyle/>
          <a:p>
            <a:pPr marL="0" marR="0" lvl="0" indent="0" algn="ctr" defTabSz="1100639" rtl="0" eaLnBrk="1" fontAlgn="auto" latinLnBrk="0" hangingPunct="0">
              <a:lnSpc>
                <a:spcPct val="100000"/>
              </a:lnSpc>
              <a:spcBef>
                <a:spcPts val="0"/>
              </a:spcBef>
              <a:spcAft>
                <a:spcPts val="0"/>
              </a:spcAft>
              <a:buClrTx/>
              <a:buSzTx/>
              <a:buFontTx/>
              <a:buNone/>
              <a:tabLst/>
              <a:defRPr/>
            </a:pPr>
            <a:r>
              <a:rPr kumimoji="0" lang="en-US" sz="3600" b="1" i="0" u="none" strike="noStrike" kern="0" cap="none" spc="0" normalizeH="0" baseline="0" noProof="0" dirty="0">
                <a:ln>
                  <a:noFill/>
                </a:ln>
                <a:solidFill>
                  <a:srgbClr val="5B9BD5"/>
                </a:solidFill>
                <a:effectLst/>
                <a:uLnTx/>
                <a:uFillTx/>
                <a:latin typeface="Century Gothic" panose="020B0502020202020204" pitchFamily="34" charset="0"/>
                <a:ea typeface="Tahoma" panose="020B0604030504040204" pitchFamily="34" charset="0"/>
                <a:cs typeface="Arial" pitchFamily="34" charset="0"/>
                <a:sym typeface="Helvetica Neue Medium"/>
              </a:rPr>
              <a:t>Investment Opportunities </a:t>
            </a:r>
          </a:p>
          <a:p>
            <a:pPr marL="0" marR="0" lvl="0" indent="0" algn="ctr" defTabSz="1100639" rtl="0" eaLnBrk="1" fontAlgn="auto" latinLnBrk="0" hangingPunct="0">
              <a:lnSpc>
                <a:spcPct val="100000"/>
              </a:lnSpc>
              <a:spcBef>
                <a:spcPts val="0"/>
              </a:spcBef>
              <a:spcAft>
                <a:spcPts val="0"/>
              </a:spcAft>
              <a:buClrTx/>
              <a:buSzTx/>
              <a:buFontTx/>
              <a:buNone/>
              <a:tabLst/>
              <a:defRPr/>
            </a:pPr>
            <a:r>
              <a:rPr kumimoji="0" lang="en-US" sz="3600" b="1" i="0" u="none" strike="noStrike" kern="0" cap="none" spc="0" normalizeH="0" baseline="0" noProof="0" dirty="0">
                <a:ln>
                  <a:noFill/>
                </a:ln>
                <a:solidFill>
                  <a:srgbClr val="5B9BD5"/>
                </a:solidFill>
                <a:effectLst/>
                <a:uLnTx/>
                <a:uFillTx/>
                <a:latin typeface="Century Gothic" panose="020B0502020202020204" pitchFamily="34" charset="0"/>
                <a:ea typeface="Tahoma" panose="020B0604030504040204" pitchFamily="34" charset="0"/>
                <a:cs typeface="Arial" pitchFamily="34" charset="0"/>
                <a:sym typeface="Helvetica Neue Medium"/>
              </a:rPr>
              <a:t>at the Heart of Eurasia</a:t>
            </a:r>
            <a:endParaRPr kumimoji="0" lang="ru-RU" sz="3600" b="1" i="0" u="none" strike="noStrike" kern="0" cap="none" spc="0" normalizeH="0" baseline="0" noProof="0" dirty="0">
              <a:ln>
                <a:noFill/>
              </a:ln>
              <a:solidFill>
                <a:srgbClr val="5B9BD5"/>
              </a:solidFill>
              <a:effectLst/>
              <a:uLnTx/>
              <a:uFillTx/>
              <a:latin typeface="Century Gothic" panose="020B0502020202020204" pitchFamily="34" charset="0"/>
              <a:ea typeface="Tahoma" panose="020B0604030504040204" pitchFamily="34" charset="0"/>
              <a:cs typeface="Arial" pitchFamily="34" charset="0"/>
              <a:sym typeface="Helvetica Neue Medium"/>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ru-RU" sz="2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Arial" pitchFamily="34" charset="0"/>
            </a:endParaRPr>
          </a:p>
        </p:txBody>
      </p:sp>
      <p:pic>
        <p:nvPicPr>
          <p:cNvPr id="9" name="Picture 2" descr="Комитет по инвестициям - Kazakh Invest"/>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58836" y="548680"/>
            <a:ext cx="2874328" cy="1644879"/>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A6816036-C2BB-A7C6-8827-3993F77F749C}"/>
              </a:ext>
            </a:extLst>
          </p:cNvPr>
          <p:cNvSpPr txBox="1"/>
          <p:nvPr/>
        </p:nvSpPr>
        <p:spPr>
          <a:xfrm>
            <a:off x="526704" y="5486400"/>
            <a:ext cx="10823168" cy="1171924"/>
          </a:xfrm>
          <a:prstGeom prst="rect">
            <a:avLst/>
          </a:prstGeom>
          <a:noFill/>
        </p:spPr>
        <p:txBody>
          <a:bodyPr wrap="square">
            <a:spAutoFit/>
          </a:bodyPr>
          <a:lstStyle/>
          <a:p>
            <a:pPr marL="0" marR="0" lvl="0" indent="0" algn="l" defTabSz="457200" rtl="0" eaLnBrk="1" fontAlgn="auto" latinLnBrk="0" hangingPunct="1">
              <a:lnSpc>
                <a:spcPts val="2946"/>
              </a:lnSpc>
              <a:spcBef>
                <a:spcPts val="0"/>
              </a:spcBef>
              <a:spcAft>
                <a:spcPts val="0"/>
              </a:spcAft>
              <a:buClrTx/>
              <a:buSzTx/>
              <a:buFontTx/>
              <a:buNone/>
              <a:tabLst/>
              <a:defRPr/>
            </a:pPr>
            <a:r>
              <a:rPr kumimoji="0" lang="en-US" sz="2800" b="0" i="0"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Tahoma" panose="020B0604030504040204" pitchFamily="34" charset="0"/>
                <a:cs typeface="Rubik Bold" panose="020B0604020202020204"/>
                <a:sym typeface="Helvetica Neue Medium"/>
              </a:rPr>
              <a:t>PROSPECTS FOR THE PRODUCTION OF BIOFEED AND BIOFERTILIZERS IN KAZAKHSTAN</a:t>
            </a:r>
            <a:endParaRPr kumimoji="0" lang="ru-RU" sz="2800" b="0" i="0"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Tahoma" panose="020B0604030504040204" pitchFamily="34" charset="0"/>
              <a:cs typeface="Rubik Bold" panose="020B0604020202020204"/>
              <a:sym typeface="Helvetica Neue Medium"/>
            </a:endParaRPr>
          </a:p>
          <a:p>
            <a:pPr marL="0" marR="0" lvl="0" indent="0" algn="l" defTabSz="457200" rtl="0" eaLnBrk="1" fontAlgn="auto" latinLnBrk="0" hangingPunct="1">
              <a:lnSpc>
                <a:spcPts val="2946"/>
              </a:lnSpc>
              <a:spcBef>
                <a:spcPts val="0"/>
              </a:spcBef>
              <a:spcAft>
                <a:spcPts val="0"/>
              </a:spcAft>
              <a:buClrTx/>
              <a:buSzTx/>
              <a:buFontTx/>
              <a:buNone/>
              <a:tabLst/>
              <a:defRPr/>
            </a:pPr>
            <a:r>
              <a:rPr kumimoji="0" lang="en-US" sz="2000" b="0" i="0"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Tahoma" panose="020B0604030504040204" pitchFamily="34" charset="0"/>
                <a:cs typeface="Rubik Bold" panose="020B0604020202020204"/>
                <a:sym typeface="Helvetica Neue Medium"/>
              </a:rPr>
              <a:t>October</a:t>
            </a:r>
            <a:r>
              <a:rPr kumimoji="0" lang="ru-RU" sz="2000" b="0" i="0"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Tahoma" panose="020B0604030504040204" pitchFamily="34" charset="0"/>
                <a:cs typeface="Rubik Bold" panose="020B0604020202020204"/>
                <a:sym typeface="Helvetica Neue Medium"/>
              </a:rPr>
              <a:t> 2025 </a:t>
            </a:r>
            <a:r>
              <a:rPr kumimoji="0" lang="en-US" sz="2000" b="0" i="0"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Tahoma" panose="020B0604030504040204" pitchFamily="34" charset="0"/>
                <a:cs typeface="Rubik Bold" panose="020B0604020202020204"/>
                <a:sym typeface="Helvetica Neue Medium"/>
              </a:rPr>
              <a:t> </a:t>
            </a:r>
          </a:p>
        </p:txBody>
      </p:sp>
    </p:spTree>
    <p:extLst>
      <p:ext uri="{BB962C8B-B14F-4D97-AF65-F5344CB8AC3E}">
        <p14:creationId xmlns:p14="http://schemas.microsoft.com/office/powerpoint/2010/main" val="40924707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8F4CD4-036E-8D21-C1CB-7F72609633E0}"/>
            </a:ext>
          </a:extLst>
        </p:cNvPr>
        <p:cNvGrpSpPr/>
        <p:nvPr/>
      </p:nvGrpSpPr>
      <p:grpSpPr>
        <a:xfrm>
          <a:off x="0" y="0"/>
          <a:ext cx="0" cy="0"/>
          <a:chOff x="0" y="0"/>
          <a:chExt cx="0" cy="0"/>
        </a:xfrm>
      </p:grpSpPr>
      <p:sp>
        <p:nvSpPr>
          <p:cNvPr id="27" name="object 3">
            <a:extLst>
              <a:ext uri="{FF2B5EF4-FFF2-40B4-BE49-F238E27FC236}">
                <a16:creationId xmlns:a16="http://schemas.microsoft.com/office/drawing/2014/main" id="{92A8156A-2B42-2168-6196-95902B8BAABE}"/>
              </a:ext>
            </a:extLst>
          </p:cNvPr>
          <p:cNvSpPr txBox="1">
            <a:spLocks noGrp="1"/>
          </p:cNvSpPr>
          <p:nvPr>
            <p:ph type="title"/>
          </p:nvPr>
        </p:nvSpPr>
        <p:spPr>
          <a:xfrm>
            <a:off x="366964" y="206329"/>
            <a:ext cx="11537822" cy="474489"/>
          </a:xfrm>
          <a:prstGeom prst="rect">
            <a:avLst/>
          </a:prstGeom>
        </p:spPr>
        <p:txBody>
          <a:bodyPr vert="horz" wrap="square" lIns="0" tIns="12700" rIns="0" bIns="0" rtlCol="0">
            <a:spAutoFit/>
          </a:bodyPr>
          <a:lstStyle/>
          <a:p>
            <a:pPr marL="12700">
              <a:lnSpc>
                <a:spcPct val="100000"/>
              </a:lnSpc>
              <a:spcBef>
                <a:spcPts val="100"/>
              </a:spcBef>
            </a:pPr>
            <a:r>
              <a:rPr lang="en-US" sz="3000" b="1" dirty="0">
                <a:solidFill>
                  <a:schemeClr val="accent4"/>
                </a:solidFill>
                <a:latin typeface="Century Gothic" panose="020B0502020202020204" pitchFamily="34" charset="0"/>
                <a:ea typeface="+mn-ea"/>
                <a:cs typeface="+mn-cs"/>
              </a:rPr>
              <a:t>WORLD EXPORT AND IMPORT OF BIOFERTILIZERS</a:t>
            </a:r>
          </a:p>
        </p:txBody>
      </p:sp>
      <p:sp>
        <p:nvSpPr>
          <p:cNvPr id="19" name="TextBox 18">
            <a:extLst>
              <a:ext uri="{FF2B5EF4-FFF2-40B4-BE49-F238E27FC236}">
                <a16:creationId xmlns:a16="http://schemas.microsoft.com/office/drawing/2014/main" id="{BBBFC575-720A-0AFD-0E60-10A7FAD8B8DC}"/>
              </a:ext>
            </a:extLst>
          </p:cNvPr>
          <p:cNvSpPr txBox="1"/>
          <p:nvPr/>
        </p:nvSpPr>
        <p:spPr>
          <a:xfrm>
            <a:off x="86833" y="4754498"/>
            <a:ext cx="5781860" cy="1867178"/>
          </a:xfrm>
          <a:prstGeom prst="rect">
            <a:avLst/>
          </a:prstGeom>
          <a:noFill/>
          <a:ln w="19050">
            <a:solidFill>
              <a:schemeClr val="accent1"/>
            </a:solidFill>
            <a:prstDash val="sysDot"/>
          </a:ln>
        </p:spPr>
        <p:txBody>
          <a:bodyPr wrap="square" rtlCol="0">
            <a:spAutoFit/>
          </a:bodyPr>
          <a:lstStyle/>
          <a:p>
            <a:pPr marL="285750" marR="0" lvl="0" indent="-285750" algn="just"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In 2024, the leading global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exporter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of </a:t>
            </a:r>
            <a:r>
              <a:rPr kumimoji="0" lang="en-US" sz="14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biofertilizer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were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the Netherlands, Italy and Belgium</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accounting for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18.05%, 14.66%, and 12.89%</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of total exports, respectively. The combined share of these three countries is 45.6%.</a:t>
            </a:r>
          </a:p>
          <a:p>
            <a:pPr marL="285750" marR="0" lvl="0" indent="-285750" algn="just"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Kazakhstan</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with an export volume of $103 thousand, contributed approximately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0.008%</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of global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export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and is included in the </a:t>
            </a:r>
            <a:r>
              <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other</a:t>
            </a:r>
            <a:r>
              <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countries category, which collectively accounts for 28.69%.</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2" name="Прямоугольник 1">
            <a:extLst>
              <a:ext uri="{FF2B5EF4-FFF2-40B4-BE49-F238E27FC236}">
                <a16:creationId xmlns:a16="http://schemas.microsoft.com/office/drawing/2014/main" id="{5523F916-C16F-2FC8-263F-2AF89B683D41}"/>
              </a:ext>
            </a:extLst>
          </p:cNvPr>
          <p:cNvSpPr/>
          <p:nvPr/>
        </p:nvSpPr>
        <p:spPr>
          <a:xfrm>
            <a:off x="5976435" y="4897479"/>
            <a:ext cx="6102284" cy="1423467"/>
          </a:xfrm>
          <a:prstGeom prst="rect">
            <a:avLst/>
          </a:prstGeom>
          <a:noFill/>
          <a:ln w="19050">
            <a:solidFill>
              <a:schemeClr val="accent1"/>
            </a:solidFill>
            <a:prstDash val="sysDot"/>
          </a:ln>
        </p:spPr>
        <p:txBody>
          <a:bodyPr wrap="square" rtlCol="0">
            <a:spAutoFit/>
          </a:bodyPr>
          <a:lstStyle/>
          <a:p>
            <a:pPr marL="285750" marR="0" lvl="0" indent="-285750" algn="just"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Vietnam, France and Spain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are the top consumers of </a:t>
            </a:r>
            <a:r>
              <a:rPr kumimoji="0" lang="en-US" sz="14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biofertilizer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accounting for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8.54%, 7.95%, and 6.17%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of total global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import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respectively.</a:t>
            </a: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a:p>
            <a:pPr marL="285750" marR="0" lvl="0" indent="-285750" algn="just"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Against this backdrop,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Kazakhstan</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held a modest share: its </a:t>
            </a:r>
            <a:r>
              <a:rPr kumimoji="0" lang="en-US" sz="14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biofertilizer</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import volume amounted to $597 thousand, representing less than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0.04%</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of total global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import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a:t>
            </a: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5" name="TextBox 4">
            <a:extLst>
              <a:ext uri="{FF2B5EF4-FFF2-40B4-BE49-F238E27FC236}">
                <a16:creationId xmlns:a16="http://schemas.microsoft.com/office/drawing/2014/main" id="{817C3E91-567B-DB55-D84F-72AA4A161EDD}"/>
              </a:ext>
            </a:extLst>
          </p:cNvPr>
          <p:cNvSpPr txBox="1"/>
          <p:nvPr/>
        </p:nvSpPr>
        <p:spPr>
          <a:xfrm>
            <a:off x="140176" y="1029743"/>
            <a:ext cx="564168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Structure of world exports of </a:t>
            </a:r>
            <a:r>
              <a:rPr kumimoji="0" lang="en-US" sz="1400" b="1"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biofertilizers</a:t>
            </a: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2024</a:t>
            </a:r>
          </a:p>
        </p:txBody>
      </p:sp>
      <p:sp>
        <p:nvSpPr>
          <p:cNvPr id="17" name="TextBox 16">
            <a:extLst>
              <a:ext uri="{FF2B5EF4-FFF2-40B4-BE49-F238E27FC236}">
                <a16:creationId xmlns:a16="http://schemas.microsoft.com/office/drawing/2014/main" id="{A27B00BE-9BA2-A846-BAE7-8EBFCFE1265C}"/>
              </a:ext>
            </a:extLst>
          </p:cNvPr>
          <p:cNvSpPr txBox="1"/>
          <p:nvPr/>
        </p:nvSpPr>
        <p:spPr>
          <a:xfrm>
            <a:off x="6363600" y="1029743"/>
            <a:ext cx="568822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Structure of world imports of </a:t>
            </a:r>
            <a:r>
              <a:rPr kumimoji="0" lang="en-US" sz="1400" b="1"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biofertilizers</a:t>
            </a: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2024</a:t>
            </a:r>
            <a:endParaRPr kumimoji="0" lang="ru-RU"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0E0C4527-24C3-AB3E-53C9-7CD6C23C6C03}"/>
              </a:ext>
            </a:extLst>
          </p:cNvPr>
          <p:cNvSpPr txBox="1"/>
          <p:nvPr/>
        </p:nvSpPr>
        <p:spPr>
          <a:xfrm>
            <a:off x="2245367" y="2610684"/>
            <a:ext cx="1626054"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2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1,3 </a:t>
            </a:r>
            <a:r>
              <a:rPr kumimoji="0" lang="en-US" sz="2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bill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US dollars</a:t>
            </a:r>
            <a:endParaRPr kumimoji="0" lang="ru-RU" sz="2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6" name="TextBox 15">
            <a:extLst>
              <a:ext uri="{FF2B5EF4-FFF2-40B4-BE49-F238E27FC236}">
                <a16:creationId xmlns:a16="http://schemas.microsoft.com/office/drawing/2014/main" id="{5C1BFC30-A0BA-3DAE-A445-A6559A9D149F}"/>
              </a:ext>
            </a:extLst>
          </p:cNvPr>
          <p:cNvSpPr txBox="1"/>
          <p:nvPr/>
        </p:nvSpPr>
        <p:spPr>
          <a:xfrm>
            <a:off x="7975280" y="2733783"/>
            <a:ext cx="1939201"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2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1,2 </a:t>
            </a:r>
            <a:r>
              <a:rPr kumimoji="0" lang="en-US" sz="2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bill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US dollars</a:t>
            </a:r>
            <a:endParaRPr kumimoji="0" lang="ru-KZ" sz="2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graphicFrame>
        <p:nvGraphicFramePr>
          <p:cNvPr id="10" name="Диаграмма 9"/>
          <p:cNvGraphicFramePr/>
          <p:nvPr/>
        </p:nvGraphicFramePr>
        <p:xfrm>
          <a:off x="6135875" y="1431569"/>
          <a:ext cx="5620870" cy="338025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8" name="Диаграмма 17"/>
          <p:cNvGraphicFramePr/>
          <p:nvPr/>
        </p:nvGraphicFramePr>
        <p:xfrm>
          <a:off x="247823" y="1289940"/>
          <a:ext cx="5620870" cy="3380256"/>
        </p:xfrm>
        <a:graphic>
          <a:graphicData uri="http://schemas.openxmlformats.org/drawingml/2006/chart">
            <c:chart xmlns:c="http://schemas.openxmlformats.org/drawingml/2006/chart" xmlns:r="http://schemas.openxmlformats.org/officeDocument/2006/relationships" r:id="rId4"/>
          </a:graphicData>
        </a:graphic>
      </p:graphicFrame>
      <p:sp>
        <p:nvSpPr>
          <p:cNvPr id="12" name="TextBox 11">
            <a:extLst>
              <a:ext uri="{FF2B5EF4-FFF2-40B4-BE49-F238E27FC236}">
                <a16:creationId xmlns:a16="http://schemas.microsoft.com/office/drawing/2014/main" id="{7CD4ADEB-FF27-B4A0-07CC-9381D09304D0}"/>
              </a:ext>
            </a:extLst>
          </p:cNvPr>
          <p:cNvSpPr txBox="1"/>
          <p:nvPr/>
        </p:nvSpPr>
        <p:spPr>
          <a:xfrm>
            <a:off x="71719" y="6638674"/>
            <a:ext cx="7599405"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Source: International Trade Centre</a:t>
            </a:r>
            <a:endParaRPr kumimoji="0" lang="ru-RU"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6028615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8F864A3-590B-14ED-0129-CBFE7676492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Слайд think-cell" r:id="rId4" imgW="7772400" imgH="10058400" progId="TCLayout.ActiveDocument.1">
                  <p:embed/>
                </p:oleObj>
              </mc:Choice>
              <mc:Fallback>
                <p:oleObj name="Слайд think-cell" r:id="rId4" imgW="7772400" imgH="10058400" progId="TCLayout.ActiveDocument.1">
                  <p:embed/>
                  <p:pic>
                    <p:nvPicPr>
                      <p:cNvPr id="2" name="think-cell data - do not delete" hidden="1">
                        <a:extLst>
                          <a:ext uri="{FF2B5EF4-FFF2-40B4-BE49-F238E27FC236}">
                            <a16:creationId xmlns:a16="http://schemas.microsoft.com/office/drawing/2014/main" id="{E8F864A3-590B-14ED-0129-CBFE7676492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7" name="object 3">
            <a:extLst>
              <a:ext uri="{FF2B5EF4-FFF2-40B4-BE49-F238E27FC236}">
                <a16:creationId xmlns:a16="http://schemas.microsoft.com/office/drawing/2014/main" id="{EE223A01-1423-47A2-AD72-ABA0198958A5}"/>
              </a:ext>
            </a:extLst>
          </p:cNvPr>
          <p:cNvSpPr txBox="1">
            <a:spLocks noGrp="1"/>
          </p:cNvSpPr>
          <p:nvPr>
            <p:ph type="title"/>
          </p:nvPr>
        </p:nvSpPr>
        <p:spPr>
          <a:xfrm>
            <a:off x="396209" y="206132"/>
            <a:ext cx="11993273" cy="474489"/>
          </a:xfrm>
          <a:prstGeom prst="rect">
            <a:avLst/>
          </a:prstGeom>
        </p:spPr>
        <p:txBody>
          <a:bodyPr vert="horz" wrap="square" lIns="0" tIns="12700" rIns="0" bIns="0" rtlCol="0">
            <a:spAutoFit/>
          </a:bodyPr>
          <a:lstStyle/>
          <a:p>
            <a:pPr marL="12700">
              <a:lnSpc>
                <a:spcPct val="100000"/>
              </a:lnSpc>
              <a:spcBef>
                <a:spcPts val="100"/>
              </a:spcBef>
            </a:pPr>
            <a:r>
              <a:rPr lang="en-US" sz="3000" b="1" dirty="0">
                <a:solidFill>
                  <a:schemeClr val="accent4"/>
                </a:solidFill>
                <a:latin typeface="Century Gothic" panose="020B0502020202020204" pitchFamily="34" charset="0"/>
                <a:ea typeface="+mn-ea"/>
                <a:cs typeface="+mn-cs"/>
              </a:rPr>
              <a:t>CONCLUSIONS</a:t>
            </a:r>
            <a:endParaRPr lang="ru-RU" sz="2000" i="1" dirty="0">
              <a:solidFill>
                <a:schemeClr val="accent4"/>
              </a:solidFill>
              <a:latin typeface="Century Gothic" panose="020B0502020202020204" pitchFamily="34" charset="0"/>
              <a:ea typeface="Malgun Gothic Semilight" panose="020B0502040204020203" pitchFamily="34" charset="-128"/>
              <a:cs typeface="Arial" panose="020B0604020202020204" pitchFamily="34" charset="0"/>
            </a:endParaRPr>
          </a:p>
        </p:txBody>
      </p:sp>
      <p:sp>
        <p:nvSpPr>
          <p:cNvPr id="8" name="TextBox 7">
            <a:extLst>
              <a:ext uri="{FF2B5EF4-FFF2-40B4-BE49-F238E27FC236}">
                <a16:creationId xmlns:a16="http://schemas.microsoft.com/office/drawing/2014/main" id="{2A32D3D1-6310-A246-22D5-EFAC404D4B2A}"/>
              </a:ext>
            </a:extLst>
          </p:cNvPr>
          <p:cNvSpPr txBox="1"/>
          <p:nvPr/>
        </p:nvSpPr>
        <p:spPr>
          <a:xfrm>
            <a:off x="7092253" y="3791683"/>
            <a:ext cx="4707994" cy="2062103"/>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Potential for an integrated </a:t>
            </a:r>
            <a:r>
              <a:rPr kumimoji="0" lang="en-US" sz="1600" b="1" i="0" u="none" strike="noStrike" kern="1200" cap="none" spc="0" normalizeH="0" baseline="0" noProof="0" dirty="0" err="1">
                <a:ln>
                  <a:noFill/>
                </a:ln>
                <a:solidFill>
                  <a:srgbClr val="0E2841">
                    <a:lumMod val="75000"/>
                    <a:lumOff val="25000"/>
                  </a:srgbClr>
                </a:solidFill>
                <a:effectLst/>
                <a:uLnTx/>
                <a:uFillTx/>
                <a:latin typeface="Century Gothic" panose="020B0502020202020204" pitchFamily="34" charset="0"/>
                <a:ea typeface="+mn-ea"/>
                <a:cs typeface="+mn-cs"/>
              </a:rPr>
              <a:t>bioeconomy</a:t>
            </a:r>
            <a:r>
              <a:rPr kumimoji="0" lang="en-US" sz="16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 and zero-waste solutions</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Up to 70% of by-products from the </a:t>
            </a:r>
            <a:r>
              <a:rPr kumimoji="0" lang="en-US" sz="16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agri</a:t>
            </a:r>
            <a:r>
              <a:rPr kumimoji="0" lang="en-US" sz="1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food and livestock sectors – such as </a:t>
            </a:r>
            <a:r>
              <a:rPr kumimoji="0" lang="en-US" sz="16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digestate</a:t>
            </a:r>
            <a:r>
              <a:rPr kumimoji="0" lang="en-US" sz="1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sludge, and microbial biomass – remain underutilized. Their reuse in fertilizers and feed creates a foundation for closed-loop systems and regional </a:t>
            </a:r>
            <a:r>
              <a:rPr kumimoji="0" lang="en-US" sz="16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bioeconomic</a:t>
            </a:r>
            <a:r>
              <a:rPr kumimoji="0" lang="en-US" sz="1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clusters.</a:t>
            </a:r>
            <a:endParaRPr kumimoji="0" lang="ru-RU" sz="1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4" name="Овал 3">
            <a:extLst>
              <a:ext uri="{FF2B5EF4-FFF2-40B4-BE49-F238E27FC236}">
                <a16:creationId xmlns:a16="http://schemas.microsoft.com/office/drawing/2014/main" id="{18BCC58E-9DA9-8053-FC9B-11C2C298251E}"/>
              </a:ext>
            </a:extLst>
          </p:cNvPr>
          <p:cNvSpPr/>
          <p:nvPr/>
        </p:nvSpPr>
        <p:spPr>
          <a:xfrm>
            <a:off x="514118" y="1170279"/>
            <a:ext cx="610932" cy="558162"/>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5" name="Овал 4">
            <a:extLst>
              <a:ext uri="{FF2B5EF4-FFF2-40B4-BE49-F238E27FC236}">
                <a16:creationId xmlns:a16="http://schemas.microsoft.com/office/drawing/2014/main" id="{C461805B-CAA7-76CB-3E07-7C6B5236F18C}"/>
              </a:ext>
            </a:extLst>
          </p:cNvPr>
          <p:cNvSpPr/>
          <p:nvPr/>
        </p:nvSpPr>
        <p:spPr>
          <a:xfrm>
            <a:off x="578464" y="1221070"/>
            <a:ext cx="482240" cy="45657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6" name="TextBox 5">
            <a:extLst>
              <a:ext uri="{FF2B5EF4-FFF2-40B4-BE49-F238E27FC236}">
                <a16:creationId xmlns:a16="http://schemas.microsoft.com/office/drawing/2014/main" id="{0DB46011-5D20-4DE4-EE36-277A191E731C}"/>
              </a:ext>
            </a:extLst>
          </p:cNvPr>
          <p:cNvSpPr txBox="1"/>
          <p:nvPr/>
        </p:nvSpPr>
        <p:spPr>
          <a:xfrm>
            <a:off x="1274975" y="1142798"/>
            <a:ext cx="4671100" cy="2308324"/>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Kazakhstan has a broad resource base for </a:t>
            </a:r>
            <a:r>
              <a:rPr kumimoji="0" lang="en-US" sz="1600" b="1" i="0" u="none" strike="noStrike" kern="1200" cap="none" spc="0" normalizeH="0" baseline="0" noProof="0" dirty="0" err="1">
                <a:ln>
                  <a:noFill/>
                </a:ln>
                <a:solidFill>
                  <a:srgbClr val="0E2841">
                    <a:lumMod val="75000"/>
                    <a:lumOff val="25000"/>
                  </a:srgbClr>
                </a:solidFill>
                <a:effectLst/>
                <a:uLnTx/>
                <a:uFillTx/>
                <a:latin typeface="Century Gothic" panose="020B0502020202020204" pitchFamily="34" charset="0"/>
                <a:ea typeface="+mn-ea"/>
                <a:cs typeface="+mn-cs"/>
              </a:rPr>
              <a:t>bioproducts</a:t>
            </a:r>
            <a:endParaRPr kumimoji="0" lang="ru-RU" sz="16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In 2024 alone, the harvest of grain and leguminous crops reached 25.2 million tons, oilseeds – 1.26 million tons, and sugar beet – 3.33 million tons, ensuring large volumes of plant residues. The livestock and poultry population exceeded 69 million head in the same year.</a:t>
            </a: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9" name="Овал 8">
            <a:extLst>
              <a:ext uri="{FF2B5EF4-FFF2-40B4-BE49-F238E27FC236}">
                <a16:creationId xmlns:a16="http://schemas.microsoft.com/office/drawing/2014/main" id="{DFE3DB7D-F8BA-C586-340E-47BDECB2CAA0}"/>
              </a:ext>
            </a:extLst>
          </p:cNvPr>
          <p:cNvSpPr/>
          <p:nvPr/>
        </p:nvSpPr>
        <p:spPr>
          <a:xfrm>
            <a:off x="6416975" y="1167392"/>
            <a:ext cx="610932" cy="558162"/>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10" name="TextBox 9">
            <a:extLst>
              <a:ext uri="{FF2B5EF4-FFF2-40B4-BE49-F238E27FC236}">
                <a16:creationId xmlns:a16="http://schemas.microsoft.com/office/drawing/2014/main" id="{6933433F-2166-8E68-BE48-EA1246B4C1A7}"/>
              </a:ext>
            </a:extLst>
          </p:cNvPr>
          <p:cNvSpPr txBox="1"/>
          <p:nvPr/>
        </p:nvSpPr>
        <p:spPr>
          <a:xfrm>
            <a:off x="7056399" y="1146238"/>
            <a:ext cx="4743848" cy="1815882"/>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Biotechnological processing of raw materials generates high added value</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One ton of plant residues or manure can be converted into 300–500 kg of finished </a:t>
            </a:r>
            <a:r>
              <a:rPr kumimoji="0" lang="en-US" sz="16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biofertilizers</a:t>
            </a:r>
            <a:r>
              <a:rPr kumimoji="0" lang="en-US" sz="1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or feed additives. The economic efficiency of organic waste processing reaches a profitability level of 20–30%.</a:t>
            </a:r>
          </a:p>
        </p:txBody>
      </p:sp>
      <p:sp>
        <p:nvSpPr>
          <p:cNvPr id="11" name="Овал 10">
            <a:extLst>
              <a:ext uri="{FF2B5EF4-FFF2-40B4-BE49-F238E27FC236}">
                <a16:creationId xmlns:a16="http://schemas.microsoft.com/office/drawing/2014/main" id="{649A1675-3802-2589-23E3-37B200E5DD96}"/>
              </a:ext>
            </a:extLst>
          </p:cNvPr>
          <p:cNvSpPr/>
          <p:nvPr/>
        </p:nvSpPr>
        <p:spPr>
          <a:xfrm>
            <a:off x="6481321" y="1218183"/>
            <a:ext cx="482240" cy="45657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12" name="TextBox 11">
            <a:extLst>
              <a:ext uri="{FF2B5EF4-FFF2-40B4-BE49-F238E27FC236}">
                <a16:creationId xmlns:a16="http://schemas.microsoft.com/office/drawing/2014/main" id="{8F542C49-6479-4BE2-7967-C6DE5D0B39C5}"/>
              </a:ext>
            </a:extLst>
          </p:cNvPr>
          <p:cNvSpPr txBox="1"/>
          <p:nvPr/>
        </p:nvSpPr>
        <p:spPr>
          <a:xfrm>
            <a:off x="1274975" y="3791683"/>
            <a:ext cx="4509835" cy="2308324"/>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Microbiological components play a strategic role</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he use of locally available carbohydrate-rich substrates, such as molasses (with a potential of up to 60,000 tons per year from full sugar beet processing), creates conditions for large-scale development of the domestic biotechnology sector and reduces dependence on imports.</a:t>
            </a:r>
          </a:p>
        </p:txBody>
      </p:sp>
      <p:sp>
        <p:nvSpPr>
          <p:cNvPr id="13" name="Овал 12">
            <a:extLst>
              <a:ext uri="{FF2B5EF4-FFF2-40B4-BE49-F238E27FC236}">
                <a16:creationId xmlns:a16="http://schemas.microsoft.com/office/drawing/2014/main" id="{95E37756-8DCC-8380-24EF-4C2F232B89F5}"/>
              </a:ext>
            </a:extLst>
          </p:cNvPr>
          <p:cNvSpPr/>
          <p:nvPr/>
        </p:nvSpPr>
        <p:spPr>
          <a:xfrm>
            <a:off x="514118" y="3837905"/>
            <a:ext cx="610932" cy="558162"/>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14" name="Овал 13">
            <a:extLst>
              <a:ext uri="{FF2B5EF4-FFF2-40B4-BE49-F238E27FC236}">
                <a16:creationId xmlns:a16="http://schemas.microsoft.com/office/drawing/2014/main" id="{570EDF77-7A7D-980E-D450-5095DDE0BD07}"/>
              </a:ext>
            </a:extLst>
          </p:cNvPr>
          <p:cNvSpPr/>
          <p:nvPr/>
        </p:nvSpPr>
        <p:spPr>
          <a:xfrm>
            <a:off x="6416975" y="3837905"/>
            <a:ext cx="610932" cy="558162"/>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15" name="Овал 14">
            <a:extLst>
              <a:ext uri="{FF2B5EF4-FFF2-40B4-BE49-F238E27FC236}">
                <a16:creationId xmlns:a16="http://schemas.microsoft.com/office/drawing/2014/main" id="{FA559D3C-F16E-B1C8-7F66-0F5F672DE2B7}"/>
              </a:ext>
            </a:extLst>
          </p:cNvPr>
          <p:cNvSpPr/>
          <p:nvPr/>
        </p:nvSpPr>
        <p:spPr>
          <a:xfrm>
            <a:off x="578464" y="3888696"/>
            <a:ext cx="482240" cy="45657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16" name="Овал 15">
            <a:extLst>
              <a:ext uri="{FF2B5EF4-FFF2-40B4-BE49-F238E27FC236}">
                <a16:creationId xmlns:a16="http://schemas.microsoft.com/office/drawing/2014/main" id="{56220809-AEC1-886F-C156-398478554848}"/>
              </a:ext>
            </a:extLst>
          </p:cNvPr>
          <p:cNvSpPr/>
          <p:nvPr/>
        </p:nvSpPr>
        <p:spPr>
          <a:xfrm>
            <a:off x="6481321" y="3888696"/>
            <a:ext cx="482240" cy="45657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cxnSp>
        <p:nvCxnSpPr>
          <p:cNvPr id="17" name="Прямая соединительная линия 16">
            <a:extLst>
              <a:ext uri="{FF2B5EF4-FFF2-40B4-BE49-F238E27FC236}">
                <a16:creationId xmlns:a16="http://schemas.microsoft.com/office/drawing/2014/main" id="{D06D2203-D8C3-D088-A40A-5D792EC650BF}"/>
              </a:ext>
            </a:extLst>
          </p:cNvPr>
          <p:cNvCxnSpPr>
            <a:cxnSpLocks/>
          </p:cNvCxnSpPr>
          <p:nvPr/>
        </p:nvCxnSpPr>
        <p:spPr>
          <a:xfrm>
            <a:off x="6096000" y="1564227"/>
            <a:ext cx="0" cy="4546225"/>
          </a:xfrm>
          <a:prstGeom prst="line">
            <a:avLst/>
          </a:prstGeom>
          <a:ln w="12700">
            <a:solidFill>
              <a:srgbClr val="FBDD76"/>
            </a:solidFill>
          </a:ln>
        </p:spPr>
        <p:style>
          <a:lnRef idx="1">
            <a:schemeClr val="accent1"/>
          </a:lnRef>
          <a:fillRef idx="0">
            <a:schemeClr val="accent1"/>
          </a:fillRef>
          <a:effectRef idx="0">
            <a:schemeClr val="accent1"/>
          </a:effectRef>
          <a:fontRef idx="minor">
            <a:schemeClr val="tx1"/>
          </a:fontRef>
        </p:style>
      </p:cxnSp>
      <p:cxnSp>
        <p:nvCxnSpPr>
          <p:cNvPr id="19" name="Прямая соединительная линия 18">
            <a:extLst>
              <a:ext uri="{FF2B5EF4-FFF2-40B4-BE49-F238E27FC236}">
                <a16:creationId xmlns:a16="http://schemas.microsoft.com/office/drawing/2014/main" id="{E090ED62-4AE7-0DDC-973A-596D72361605}"/>
              </a:ext>
            </a:extLst>
          </p:cNvPr>
          <p:cNvCxnSpPr>
            <a:cxnSpLocks/>
          </p:cNvCxnSpPr>
          <p:nvPr/>
        </p:nvCxnSpPr>
        <p:spPr>
          <a:xfrm flipH="1">
            <a:off x="1274975" y="3584188"/>
            <a:ext cx="10262767" cy="0"/>
          </a:xfrm>
          <a:prstGeom prst="line">
            <a:avLst/>
          </a:prstGeom>
          <a:ln w="12700">
            <a:solidFill>
              <a:srgbClr val="FBDD76"/>
            </a:solidFill>
          </a:ln>
        </p:spPr>
        <p:style>
          <a:lnRef idx="1">
            <a:schemeClr val="accent1"/>
          </a:lnRef>
          <a:fillRef idx="0">
            <a:schemeClr val="accent1"/>
          </a:fillRef>
          <a:effectRef idx="0">
            <a:schemeClr val="accent1"/>
          </a:effectRef>
          <a:fontRef idx="minor">
            <a:schemeClr val="tx1"/>
          </a:fontRef>
        </p:style>
      </p:cxnSp>
      <p:pic>
        <p:nvPicPr>
          <p:cNvPr id="24" name="Рисунок 23"/>
          <p:cNvPicPr>
            <a:picLocks noChangeAspect="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663363" y="1291924"/>
            <a:ext cx="314869" cy="314869"/>
          </a:xfrm>
          <a:prstGeom prst="rect">
            <a:avLst/>
          </a:prstGeom>
        </p:spPr>
      </p:pic>
      <p:pic>
        <p:nvPicPr>
          <p:cNvPr id="26" name="Рисунок 25"/>
          <p:cNvPicPr>
            <a:picLocks noChangeAspect="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643806" y="3956995"/>
            <a:ext cx="319979" cy="319979"/>
          </a:xfrm>
          <a:prstGeom prst="rect">
            <a:avLst/>
          </a:prstGeom>
        </p:spPr>
      </p:pic>
      <p:pic>
        <p:nvPicPr>
          <p:cNvPr id="18" name="Рисунок 17"/>
          <p:cNvPicPr>
            <a:picLocks noChangeAspect="1"/>
          </p:cNvPicPr>
          <p:nvPr/>
        </p:nvPicPr>
        <p:blipFill>
          <a:blip r:embed="rId8">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6570193" y="3953698"/>
            <a:ext cx="304495" cy="304495"/>
          </a:xfrm>
          <a:prstGeom prst="rect">
            <a:avLst/>
          </a:prstGeom>
        </p:spPr>
      </p:pic>
      <p:pic>
        <p:nvPicPr>
          <p:cNvPr id="20" name="Рисунок 19"/>
          <p:cNvPicPr>
            <a:picLocks noChangeAspect="1"/>
          </p:cNvPicPr>
          <p:nvPr/>
        </p:nvPicPr>
        <p:blipFill>
          <a:blip r:embed="rId9">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6559550" y="1307903"/>
            <a:ext cx="304495" cy="304495"/>
          </a:xfrm>
          <a:prstGeom prst="rect">
            <a:avLst/>
          </a:prstGeom>
        </p:spPr>
      </p:pic>
      <p:sp>
        <p:nvSpPr>
          <p:cNvPr id="25" name="TextBox 24">
            <a:extLst>
              <a:ext uri="{FF2B5EF4-FFF2-40B4-BE49-F238E27FC236}">
                <a16:creationId xmlns:a16="http://schemas.microsoft.com/office/drawing/2014/main" id="{A196E4F8-8A51-4AE5-BF7E-4772E11CAEF3}"/>
              </a:ext>
            </a:extLst>
          </p:cNvPr>
          <p:cNvSpPr txBox="1"/>
          <p:nvPr/>
        </p:nvSpPr>
        <p:spPr>
          <a:xfrm>
            <a:off x="16218" y="6641124"/>
            <a:ext cx="11393321"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Times New Roman" panose="02020603050405020304" pitchFamily="18" charset="0"/>
              </a:rPr>
              <a:t>Source: The Bureau of National Statistics of the Agency for Strategic Planning and Reforms of the Republic of Kazakhstan</a:t>
            </a:r>
            <a:endParaRPr kumimoji="0" lang="en"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Times New Roman" panose="02020603050405020304" pitchFamily="18" charset="0"/>
            </a:endParaRPr>
          </a:p>
        </p:txBody>
      </p:sp>
    </p:spTree>
    <p:extLst>
      <p:ext uri="{BB962C8B-B14F-4D97-AF65-F5344CB8AC3E}">
        <p14:creationId xmlns:p14="http://schemas.microsoft.com/office/powerpoint/2010/main" val="15582072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83B17C-B526-5446-B04B-7CC3A404A7C2}"/>
            </a:ext>
          </a:extLst>
        </p:cNvPr>
        <p:cNvGrpSpPr/>
        <p:nvPr/>
      </p:nvGrpSpPr>
      <p:grpSpPr>
        <a:xfrm>
          <a:off x="0" y="0"/>
          <a:ext cx="0" cy="0"/>
          <a:chOff x="0" y="0"/>
          <a:chExt cx="0" cy="0"/>
        </a:xfrm>
      </p:grpSpPr>
      <p:sp>
        <p:nvSpPr>
          <p:cNvPr id="59" name="Прямоугольник: скругленные углы 3">
            <a:extLst>
              <a:ext uri="{FF2B5EF4-FFF2-40B4-BE49-F238E27FC236}">
                <a16:creationId xmlns:a16="http://schemas.microsoft.com/office/drawing/2014/main" id="{DE08868B-A3F6-4A38-946F-59F44F53E005}"/>
              </a:ext>
            </a:extLst>
          </p:cNvPr>
          <p:cNvSpPr/>
          <p:nvPr/>
        </p:nvSpPr>
        <p:spPr>
          <a:xfrm>
            <a:off x="267776" y="624646"/>
            <a:ext cx="3672039" cy="2872698"/>
          </a:xfrm>
          <a:prstGeom prst="roundRect">
            <a:avLst/>
          </a:prstGeom>
          <a:noFill/>
          <a:ln w="1905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60" name="Прямоугольник с двумя скругленными соседними углами 59">
            <a:extLst>
              <a:ext uri="{FF2B5EF4-FFF2-40B4-BE49-F238E27FC236}">
                <a16:creationId xmlns:a16="http://schemas.microsoft.com/office/drawing/2014/main" id="{EB023612-B434-4E9C-375F-A4380A009083}"/>
              </a:ext>
            </a:extLst>
          </p:cNvPr>
          <p:cNvSpPr/>
          <p:nvPr/>
        </p:nvSpPr>
        <p:spPr>
          <a:xfrm rot="10800000">
            <a:off x="632593" y="637067"/>
            <a:ext cx="2931207" cy="312753"/>
          </a:xfrm>
          <a:prstGeom prst="round2SameRect">
            <a:avLst>
              <a:gd name="adj1" fmla="val 50000"/>
              <a:gd name="adj2" fmla="val 0"/>
            </a:avLst>
          </a:prstGeom>
          <a:solidFill>
            <a:schemeClr val="tx2">
              <a:lumMod val="10000"/>
              <a:lumOff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61" name="Прямоугольник 3">
            <a:extLst>
              <a:ext uri="{FF2B5EF4-FFF2-40B4-BE49-F238E27FC236}">
                <a16:creationId xmlns:a16="http://schemas.microsoft.com/office/drawing/2014/main" id="{3E37B891-76E0-F179-931F-F08050174530}"/>
              </a:ext>
            </a:extLst>
          </p:cNvPr>
          <p:cNvSpPr>
            <a:spLocks noChangeArrowheads="1"/>
          </p:cNvSpPr>
          <p:nvPr/>
        </p:nvSpPr>
        <p:spPr bwMode="auto">
          <a:xfrm>
            <a:off x="517342" y="621636"/>
            <a:ext cx="3082722" cy="311591"/>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123" tIns="44561" rIns="89123" bIns="44561">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Novonesis</a:t>
            </a:r>
            <a:endPar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5" name="TextBox 4">
            <a:extLst>
              <a:ext uri="{FF2B5EF4-FFF2-40B4-BE49-F238E27FC236}">
                <a16:creationId xmlns:a16="http://schemas.microsoft.com/office/drawing/2014/main" id="{A306CA96-21DE-C704-99EC-22497F039704}"/>
              </a:ext>
            </a:extLst>
          </p:cNvPr>
          <p:cNvSpPr txBox="1"/>
          <p:nvPr/>
        </p:nvSpPr>
        <p:spPr>
          <a:xfrm>
            <a:off x="1045204" y="955477"/>
            <a:ext cx="217165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eadquarter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Bagsvær</a:t>
            </a: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Denmark</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63" name="Прямоугольник: скругленные углы 3">
            <a:extLst>
              <a:ext uri="{FF2B5EF4-FFF2-40B4-BE49-F238E27FC236}">
                <a16:creationId xmlns:a16="http://schemas.microsoft.com/office/drawing/2014/main" id="{6D1CDC4D-5852-505E-FB09-194E9B05B513}"/>
              </a:ext>
            </a:extLst>
          </p:cNvPr>
          <p:cNvSpPr/>
          <p:nvPr/>
        </p:nvSpPr>
        <p:spPr>
          <a:xfrm>
            <a:off x="4304632" y="645298"/>
            <a:ext cx="3672039" cy="2833193"/>
          </a:xfrm>
          <a:prstGeom prst="roundRect">
            <a:avLst/>
          </a:prstGeom>
          <a:noFill/>
          <a:ln w="1905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64" name="Прямоугольник с двумя скругленными соседними углами 63">
            <a:extLst>
              <a:ext uri="{FF2B5EF4-FFF2-40B4-BE49-F238E27FC236}">
                <a16:creationId xmlns:a16="http://schemas.microsoft.com/office/drawing/2014/main" id="{65241A0F-DD16-6E91-6D2C-3D93E6F8435E}"/>
              </a:ext>
            </a:extLst>
          </p:cNvPr>
          <p:cNvSpPr/>
          <p:nvPr/>
        </p:nvSpPr>
        <p:spPr>
          <a:xfrm rot="10800000">
            <a:off x="4707724" y="655114"/>
            <a:ext cx="2931207" cy="275660"/>
          </a:xfrm>
          <a:prstGeom prst="round2SameRect">
            <a:avLst>
              <a:gd name="adj1" fmla="val 50000"/>
              <a:gd name="adj2" fmla="val 0"/>
            </a:avLst>
          </a:prstGeom>
          <a:solidFill>
            <a:schemeClr val="tx2">
              <a:lumMod val="10000"/>
              <a:lumOff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65" name="Прямоугольник 3">
            <a:extLst>
              <a:ext uri="{FF2B5EF4-FFF2-40B4-BE49-F238E27FC236}">
                <a16:creationId xmlns:a16="http://schemas.microsoft.com/office/drawing/2014/main" id="{5482FF6E-0F8B-C1C7-4236-0B7B543B9382}"/>
              </a:ext>
            </a:extLst>
          </p:cNvPr>
          <p:cNvSpPr>
            <a:spLocks noChangeArrowheads="1"/>
          </p:cNvSpPr>
          <p:nvPr/>
        </p:nvSpPr>
        <p:spPr bwMode="auto">
          <a:xfrm>
            <a:off x="4669449" y="624646"/>
            <a:ext cx="3082722" cy="311591"/>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123" tIns="44561" rIns="89123" bIns="44561">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Symborg</a:t>
            </a:r>
            <a:endPar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69" name="Прямоугольник: скругленные углы 3">
            <a:extLst>
              <a:ext uri="{FF2B5EF4-FFF2-40B4-BE49-F238E27FC236}">
                <a16:creationId xmlns:a16="http://schemas.microsoft.com/office/drawing/2014/main" id="{2EB2A5D5-D22E-0A8A-BA1D-73C9E1372061}"/>
              </a:ext>
            </a:extLst>
          </p:cNvPr>
          <p:cNvSpPr/>
          <p:nvPr/>
        </p:nvSpPr>
        <p:spPr>
          <a:xfrm>
            <a:off x="8249795" y="645298"/>
            <a:ext cx="3672039" cy="2861473"/>
          </a:xfrm>
          <a:prstGeom prst="roundRect">
            <a:avLst/>
          </a:prstGeom>
          <a:noFill/>
          <a:ln w="1905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70" name="Прямоугольник с двумя скругленными соседними углами 69">
            <a:extLst>
              <a:ext uri="{FF2B5EF4-FFF2-40B4-BE49-F238E27FC236}">
                <a16:creationId xmlns:a16="http://schemas.microsoft.com/office/drawing/2014/main" id="{119723F0-0AAA-F99E-37CC-CC1C7527544C}"/>
              </a:ext>
            </a:extLst>
          </p:cNvPr>
          <p:cNvSpPr/>
          <p:nvPr/>
        </p:nvSpPr>
        <p:spPr>
          <a:xfrm rot="10800000">
            <a:off x="8628199" y="666307"/>
            <a:ext cx="2931207" cy="257520"/>
          </a:xfrm>
          <a:prstGeom prst="round2SameRect">
            <a:avLst>
              <a:gd name="adj1" fmla="val 50000"/>
              <a:gd name="adj2" fmla="val 0"/>
            </a:avLst>
          </a:prstGeom>
          <a:solidFill>
            <a:schemeClr val="tx2">
              <a:lumMod val="10000"/>
              <a:lumOff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72" name="Прямоугольник 3">
            <a:extLst>
              <a:ext uri="{FF2B5EF4-FFF2-40B4-BE49-F238E27FC236}">
                <a16:creationId xmlns:a16="http://schemas.microsoft.com/office/drawing/2014/main" id="{ED5A56CA-E41E-1F46-C71D-54FD942C8C45}"/>
              </a:ext>
            </a:extLst>
          </p:cNvPr>
          <p:cNvSpPr>
            <a:spLocks noChangeArrowheads="1"/>
          </p:cNvSpPr>
          <p:nvPr/>
        </p:nvSpPr>
        <p:spPr bwMode="auto">
          <a:xfrm>
            <a:off x="8494650" y="626717"/>
            <a:ext cx="3348757" cy="311591"/>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123" tIns="44561" rIns="89123" bIns="44561">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Valagro</a:t>
            </a:r>
            <a:endParaRPr kumimoji="0" lang="en-US" sz="1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77" name="TextBox 76">
            <a:extLst>
              <a:ext uri="{FF2B5EF4-FFF2-40B4-BE49-F238E27FC236}">
                <a16:creationId xmlns:a16="http://schemas.microsoft.com/office/drawing/2014/main" id="{3DEA5B45-91D5-3C66-F972-85A9308FDA4F}"/>
              </a:ext>
            </a:extLst>
          </p:cNvPr>
          <p:cNvSpPr txBox="1"/>
          <p:nvPr/>
        </p:nvSpPr>
        <p:spPr>
          <a:xfrm>
            <a:off x="9229261" y="970086"/>
            <a:ext cx="1942536"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eadquarter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Atica</a:t>
            </a: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Italy</a:t>
            </a:r>
          </a:p>
        </p:txBody>
      </p:sp>
      <p:sp>
        <p:nvSpPr>
          <p:cNvPr id="126" name="TextBox 125">
            <a:extLst>
              <a:ext uri="{FF2B5EF4-FFF2-40B4-BE49-F238E27FC236}">
                <a16:creationId xmlns:a16="http://schemas.microsoft.com/office/drawing/2014/main" id="{8D7E7FFC-F832-75A6-19AA-986178EE6A9C}"/>
              </a:ext>
            </a:extLst>
          </p:cNvPr>
          <p:cNvSpPr txBox="1"/>
          <p:nvPr/>
        </p:nvSpPr>
        <p:spPr>
          <a:xfrm>
            <a:off x="343280" y="1471102"/>
            <a:ext cx="3524049" cy="1538883"/>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duction of enzyme and microbial culture</a:t>
            </a: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 global leader in enzyme and microbial solutions, actively developing biotechnology for agriculture. The company operates in more than 30 countries and has production sites in Brazil, China, India and the USA.</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31" name="TextBox 130">
            <a:extLst>
              <a:ext uri="{FF2B5EF4-FFF2-40B4-BE49-F238E27FC236}">
                <a16:creationId xmlns:a16="http://schemas.microsoft.com/office/drawing/2014/main" id="{0358B745-AF6F-1900-9A69-8392D7A7E6FF}"/>
              </a:ext>
            </a:extLst>
          </p:cNvPr>
          <p:cNvSpPr txBox="1"/>
          <p:nvPr/>
        </p:nvSpPr>
        <p:spPr>
          <a:xfrm>
            <a:off x="8287844" y="1507253"/>
            <a:ext cx="3672038" cy="1169551"/>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duction of </a:t>
            </a:r>
            <a:r>
              <a:rPr kumimoji="0" lang="en-US" sz="12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biostimulants</a:t>
            </a: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r>
              <a:rPr kumimoji="0" lang="en-US" sz="12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microfertilizers</a:t>
            </a:r>
            <a:endPar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as production and R&amp;D centers in Norway, the USA and India. Uses sustainable farming technologies, including </a:t>
            </a:r>
            <a:r>
              <a:rPr kumimoji="0" lang="en-US" sz="12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biofermentation</a:t>
            </a: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nd extraction of plant active components.</a:t>
            </a:r>
          </a:p>
        </p:txBody>
      </p:sp>
      <p:sp>
        <p:nvSpPr>
          <p:cNvPr id="31" name="TextBox 30">
            <a:extLst>
              <a:ext uri="{FF2B5EF4-FFF2-40B4-BE49-F238E27FC236}">
                <a16:creationId xmlns:a16="http://schemas.microsoft.com/office/drawing/2014/main" id="{4362852D-BA5C-C86A-E3D2-211610E14695}"/>
              </a:ext>
            </a:extLst>
          </p:cNvPr>
          <p:cNvSpPr txBox="1"/>
          <p:nvPr/>
        </p:nvSpPr>
        <p:spPr>
          <a:xfrm>
            <a:off x="131886" y="109572"/>
            <a:ext cx="11427520" cy="464230"/>
          </a:xfrm>
          <a:prstGeom prst="rect">
            <a:avLst/>
          </a:prstGeom>
          <a:noFill/>
        </p:spPr>
        <p:txBody>
          <a:bodyPr wrap="square">
            <a:spAutoFit/>
          </a:bodyPr>
          <a:lstStyle/>
          <a:p>
            <a:pPr marL="0" marR="0" lvl="0" indent="0" algn="l" defTabSz="914400" rtl="0" eaLnBrk="1" fontAlgn="auto" latinLnBrk="0" hangingPunct="1">
              <a:lnSpc>
                <a:spcPts val="2946"/>
              </a:lnSpc>
              <a:spcBef>
                <a:spcPts val="100"/>
              </a:spcBef>
              <a:spcAft>
                <a:spcPts val="0"/>
              </a:spcAft>
              <a:buClrTx/>
              <a:buSzTx/>
              <a:buFontTx/>
              <a:buNone/>
              <a:tabLst/>
              <a:defRPr/>
            </a:pPr>
            <a:r>
              <a:rPr kumimoji="0" lang="en-US" sz="24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mn-cs"/>
              </a:rPr>
              <a:t>TARGET LIST OF COMPANIES PRODUCING BIOFEED AND BIOFERTILIZERS</a:t>
            </a:r>
          </a:p>
        </p:txBody>
      </p:sp>
      <p:sp>
        <p:nvSpPr>
          <p:cNvPr id="14" name="TextBox 13">
            <a:extLst>
              <a:ext uri="{FF2B5EF4-FFF2-40B4-BE49-F238E27FC236}">
                <a16:creationId xmlns:a16="http://schemas.microsoft.com/office/drawing/2014/main" id="{D47CD8FD-3E8B-FDC2-3B18-089239FDEF40}"/>
              </a:ext>
            </a:extLst>
          </p:cNvPr>
          <p:cNvSpPr txBox="1"/>
          <p:nvPr/>
        </p:nvSpPr>
        <p:spPr>
          <a:xfrm>
            <a:off x="5156401" y="946052"/>
            <a:ext cx="217165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eadquarter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Murcia, Spain</a:t>
            </a:r>
          </a:p>
        </p:txBody>
      </p:sp>
      <p:sp>
        <p:nvSpPr>
          <p:cNvPr id="16" name="TextBox 15">
            <a:extLst>
              <a:ext uri="{FF2B5EF4-FFF2-40B4-BE49-F238E27FC236}">
                <a16:creationId xmlns:a16="http://schemas.microsoft.com/office/drawing/2014/main" id="{7501FEFD-6F3D-FE15-0BD3-4B0258B97E64}"/>
              </a:ext>
            </a:extLst>
          </p:cNvPr>
          <p:cNvSpPr txBox="1"/>
          <p:nvPr/>
        </p:nvSpPr>
        <p:spPr>
          <a:xfrm>
            <a:off x="4333559" y="1467031"/>
            <a:ext cx="3643112" cy="1538883"/>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duction of microbiological preparations, </a:t>
            </a:r>
            <a:r>
              <a:rPr kumimoji="0" lang="en-US" sz="12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biostimulants</a:t>
            </a:r>
            <a:endPar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Develops preparations based on beneficial microorganisms to improve the absorption of nutrients, stimulate plant growth and increase resistance to stress. Part of the agrochemical giant </a:t>
            </a:r>
            <a:r>
              <a:rPr kumimoji="0" lang="en-US" sz="12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Corteva</a:t>
            </a: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r>
              <a:rPr kumimoji="0" lang="en-US" sz="12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Agriscience</a:t>
            </a: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t>
            </a:r>
          </a:p>
        </p:txBody>
      </p:sp>
      <p:sp>
        <p:nvSpPr>
          <p:cNvPr id="21" name="Прямоугольник: скругленные углы 3">
            <a:extLst>
              <a:ext uri="{FF2B5EF4-FFF2-40B4-BE49-F238E27FC236}">
                <a16:creationId xmlns:a16="http://schemas.microsoft.com/office/drawing/2014/main" id="{6D4D1563-6E1A-EE29-A7DD-08CC289DB406}"/>
              </a:ext>
            </a:extLst>
          </p:cNvPr>
          <p:cNvSpPr/>
          <p:nvPr/>
        </p:nvSpPr>
        <p:spPr>
          <a:xfrm>
            <a:off x="267776" y="3830160"/>
            <a:ext cx="3672039" cy="2764153"/>
          </a:xfrm>
          <a:prstGeom prst="roundRect">
            <a:avLst/>
          </a:prstGeom>
          <a:noFill/>
          <a:ln w="1905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22" name="Прямоугольник с двумя скругленными соседними углами 59">
            <a:extLst>
              <a:ext uri="{FF2B5EF4-FFF2-40B4-BE49-F238E27FC236}">
                <a16:creationId xmlns:a16="http://schemas.microsoft.com/office/drawing/2014/main" id="{CDB15894-13AB-F217-3A7E-C69D411EDF07}"/>
              </a:ext>
            </a:extLst>
          </p:cNvPr>
          <p:cNvSpPr/>
          <p:nvPr/>
        </p:nvSpPr>
        <p:spPr>
          <a:xfrm rot="10800000">
            <a:off x="624488" y="3841818"/>
            <a:ext cx="2931207" cy="312753"/>
          </a:xfrm>
          <a:prstGeom prst="round2SameRect">
            <a:avLst>
              <a:gd name="adj1" fmla="val 50000"/>
              <a:gd name="adj2" fmla="val 0"/>
            </a:avLst>
          </a:prstGeom>
          <a:solidFill>
            <a:schemeClr val="tx2">
              <a:lumMod val="10000"/>
              <a:lumOff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23" name="Прямоугольник 3">
            <a:extLst>
              <a:ext uri="{FF2B5EF4-FFF2-40B4-BE49-F238E27FC236}">
                <a16:creationId xmlns:a16="http://schemas.microsoft.com/office/drawing/2014/main" id="{BA2DF968-34A4-034D-12BF-CA9B73C3FD3F}"/>
              </a:ext>
            </a:extLst>
          </p:cNvPr>
          <p:cNvSpPr>
            <a:spLocks noChangeArrowheads="1"/>
          </p:cNvSpPr>
          <p:nvPr/>
        </p:nvSpPr>
        <p:spPr bwMode="auto">
          <a:xfrm>
            <a:off x="563943" y="3819191"/>
            <a:ext cx="3082722" cy="336214"/>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123" tIns="44561" rIns="89123" bIns="44561">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ICL Group</a:t>
            </a:r>
            <a:endParaRPr kumimoji="0" lang="de-DE" alt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28" name="TextBox 27">
            <a:extLst>
              <a:ext uri="{FF2B5EF4-FFF2-40B4-BE49-F238E27FC236}">
                <a16:creationId xmlns:a16="http://schemas.microsoft.com/office/drawing/2014/main" id="{1542C0F3-D9FD-A51D-EF6C-DD9A8C8A43B7}"/>
              </a:ext>
            </a:extLst>
          </p:cNvPr>
          <p:cNvSpPr txBox="1"/>
          <p:nvPr/>
        </p:nvSpPr>
        <p:spPr>
          <a:xfrm>
            <a:off x="999554" y="4197824"/>
            <a:ext cx="217165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eadquarter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el Aviv, Israel</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35" name="TextBox 34">
            <a:extLst>
              <a:ext uri="{FF2B5EF4-FFF2-40B4-BE49-F238E27FC236}">
                <a16:creationId xmlns:a16="http://schemas.microsoft.com/office/drawing/2014/main" id="{898A91D1-DC74-983B-DD6A-6C268AFB13E6}"/>
              </a:ext>
            </a:extLst>
          </p:cNvPr>
          <p:cNvSpPr txBox="1"/>
          <p:nvPr/>
        </p:nvSpPr>
        <p:spPr>
          <a:xfrm>
            <a:off x="331480" y="4659489"/>
            <a:ext cx="3547651" cy="1538883"/>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duction of mineral and </a:t>
            </a:r>
            <a:r>
              <a:rPr kumimoji="0" lang="en-US" sz="12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organomineral</a:t>
            </a: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fertilizers</a:t>
            </a: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n international company producing a wide range of fertilizers, including </a:t>
            </a:r>
            <a:r>
              <a:rPr kumimoji="0" lang="en-US" sz="12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organomineral</a:t>
            </a: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nd special bioactive compounds. Production sites are located in Europe, China, India, South America and the USA.</a:t>
            </a:r>
          </a:p>
        </p:txBody>
      </p:sp>
      <p:sp>
        <p:nvSpPr>
          <p:cNvPr id="37" name="Прямоугольник: скругленные углы 3">
            <a:extLst>
              <a:ext uri="{FF2B5EF4-FFF2-40B4-BE49-F238E27FC236}">
                <a16:creationId xmlns:a16="http://schemas.microsoft.com/office/drawing/2014/main" id="{377CC2F9-B3CB-E780-5EE9-1B92C1868AD3}"/>
              </a:ext>
            </a:extLst>
          </p:cNvPr>
          <p:cNvSpPr/>
          <p:nvPr/>
        </p:nvSpPr>
        <p:spPr>
          <a:xfrm>
            <a:off x="4337307" y="3838166"/>
            <a:ext cx="3672039" cy="2721027"/>
          </a:xfrm>
          <a:prstGeom prst="roundRect">
            <a:avLst/>
          </a:prstGeom>
          <a:noFill/>
          <a:ln w="1905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39" name="Прямоугольник с двумя скругленными соседними углами 63">
            <a:extLst>
              <a:ext uri="{FF2B5EF4-FFF2-40B4-BE49-F238E27FC236}">
                <a16:creationId xmlns:a16="http://schemas.microsoft.com/office/drawing/2014/main" id="{267F3B57-69D1-3A94-627A-133F443D7508}"/>
              </a:ext>
            </a:extLst>
          </p:cNvPr>
          <p:cNvSpPr/>
          <p:nvPr/>
        </p:nvSpPr>
        <p:spPr>
          <a:xfrm rot="10800000">
            <a:off x="4699083" y="3848635"/>
            <a:ext cx="2931207" cy="275660"/>
          </a:xfrm>
          <a:prstGeom prst="round2SameRect">
            <a:avLst>
              <a:gd name="adj1" fmla="val 50000"/>
              <a:gd name="adj2" fmla="val 0"/>
            </a:avLst>
          </a:prstGeom>
          <a:solidFill>
            <a:schemeClr val="tx2">
              <a:lumMod val="10000"/>
              <a:lumOff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41" name="TextBox 40">
            <a:extLst>
              <a:ext uri="{FF2B5EF4-FFF2-40B4-BE49-F238E27FC236}">
                <a16:creationId xmlns:a16="http://schemas.microsoft.com/office/drawing/2014/main" id="{A719E799-FD7E-5396-3B79-A938C2522E4D}"/>
              </a:ext>
            </a:extLst>
          </p:cNvPr>
          <p:cNvSpPr txBox="1"/>
          <p:nvPr/>
        </p:nvSpPr>
        <p:spPr>
          <a:xfrm>
            <a:off x="5096978" y="4199257"/>
            <a:ext cx="217165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eadquarter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Essen, Germany</a:t>
            </a:r>
          </a:p>
        </p:txBody>
      </p:sp>
      <p:sp>
        <p:nvSpPr>
          <p:cNvPr id="43" name="Прямоугольник 3">
            <a:extLst>
              <a:ext uri="{FF2B5EF4-FFF2-40B4-BE49-F238E27FC236}">
                <a16:creationId xmlns:a16="http://schemas.microsoft.com/office/drawing/2014/main" id="{EE974196-0816-2FF1-066D-948C37CCB14E}"/>
              </a:ext>
            </a:extLst>
          </p:cNvPr>
          <p:cNvSpPr>
            <a:spLocks noChangeArrowheads="1"/>
          </p:cNvSpPr>
          <p:nvPr/>
        </p:nvSpPr>
        <p:spPr bwMode="auto">
          <a:xfrm>
            <a:off x="4631965" y="3837115"/>
            <a:ext cx="3082722" cy="311591"/>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123" tIns="44561" rIns="89123" bIns="44561">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Evonik</a:t>
            </a:r>
            <a:r>
              <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Industries</a:t>
            </a:r>
            <a:endPar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55" name="TextBox 54">
            <a:extLst>
              <a:ext uri="{FF2B5EF4-FFF2-40B4-BE49-F238E27FC236}">
                <a16:creationId xmlns:a16="http://schemas.microsoft.com/office/drawing/2014/main" id="{4F0A0400-9CF1-0803-B33D-EDB8FB90C2B2}"/>
              </a:ext>
            </a:extLst>
          </p:cNvPr>
          <p:cNvSpPr txBox="1"/>
          <p:nvPr/>
        </p:nvSpPr>
        <p:spPr>
          <a:xfrm>
            <a:off x="4423882" y="4716388"/>
            <a:ext cx="3572712" cy="1354217"/>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duction of feed amino acids, probiotic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One of the largest producers of feed amino acids (DL-methionine, lysine, threonine), probiotics and enzymes. Has factories and logistics infrastructure in Asia, South America, the USA and Europe.</a:t>
            </a:r>
          </a:p>
        </p:txBody>
      </p:sp>
      <p:sp>
        <p:nvSpPr>
          <p:cNvPr id="76" name="Прямоугольник: скругленные углы 3">
            <a:extLst>
              <a:ext uri="{FF2B5EF4-FFF2-40B4-BE49-F238E27FC236}">
                <a16:creationId xmlns:a16="http://schemas.microsoft.com/office/drawing/2014/main" id="{143B99EB-5D44-A719-57CD-B070B86F5F9E}"/>
              </a:ext>
            </a:extLst>
          </p:cNvPr>
          <p:cNvSpPr/>
          <p:nvPr/>
        </p:nvSpPr>
        <p:spPr>
          <a:xfrm>
            <a:off x="8306410" y="3851722"/>
            <a:ext cx="3672039" cy="2721027"/>
          </a:xfrm>
          <a:prstGeom prst="roundRect">
            <a:avLst/>
          </a:prstGeom>
          <a:noFill/>
          <a:ln w="1905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79" name="TextBox 78">
            <a:extLst>
              <a:ext uri="{FF2B5EF4-FFF2-40B4-BE49-F238E27FC236}">
                <a16:creationId xmlns:a16="http://schemas.microsoft.com/office/drawing/2014/main" id="{D5E5D38E-DCDA-3AB0-464B-7A383A8C9744}"/>
              </a:ext>
            </a:extLst>
          </p:cNvPr>
          <p:cNvSpPr txBox="1"/>
          <p:nvPr/>
        </p:nvSpPr>
        <p:spPr>
          <a:xfrm>
            <a:off x="9112823" y="4184549"/>
            <a:ext cx="217541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eadquarters: Amsterdam, Netherlands</a:t>
            </a:r>
          </a:p>
        </p:txBody>
      </p:sp>
      <p:sp>
        <p:nvSpPr>
          <p:cNvPr id="81" name="Прямоугольник с двумя скругленными соседними углами 69">
            <a:extLst>
              <a:ext uri="{FF2B5EF4-FFF2-40B4-BE49-F238E27FC236}">
                <a16:creationId xmlns:a16="http://schemas.microsoft.com/office/drawing/2014/main" id="{B7B58B78-3302-735E-99CD-1CFE4C57C642}"/>
              </a:ext>
            </a:extLst>
          </p:cNvPr>
          <p:cNvSpPr/>
          <p:nvPr/>
        </p:nvSpPr>
        <p:spPr>
          <a:xfrm rot="10800000">
            <a:off x="8637971" y="3877591"/>
            <a:ext cx="2931207" cy="253201"/>
          </a:xfrm>
          <a:prstGeom prst="round2SameRect">
            <a:avLst>
              <a:gd name="adj1" fmla="val 50000"/>
              <a:gd name="adj2" fmla="val 0"/>
            </a:avLst>
          </a:prstGeom>
          <a:solidFill>
            <a:schemeClr val="tx2">
              <a:lumMod val="10000"/>
              <a:lumOff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82" name="Прямоугольник 3">
            <a:extLst>
              <a:ext uri="{FF2B5EF4-FFF2-40B4-BE49-F238E27FC236}">
                <a16:creationId xmlns:a16="http://schemas.microsoft.com/office/drawing/2014/main" id="{E96CBEC1-47CD-C7E8-3540-40CC43C6204A}"/>
              </a:ext>
            </a:extLst>
          </p:cNvPr>
          <p:cNvSpPr>
            <a:spLocks noChangeArrowheads="1"/>
          </p:cNvSpPr>
          <p:nvPr/>
        </p:nvSpPr>
        <p:spPr bwMode="auto">
          <a:xfrm>
            <a:off x="8496933" y="3838166"/>
            <a:ext cx="3424901" cy="311591"/>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123" tIns="44561" rIns="89123" bIns="44561">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Nutreco</a:t>
            </a:r>
            <a:endPar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89" name="TextBox 88">
            <a:extLst>
              <a:ext uri="{FF2B5EF4-FFF2-40B4-BE49-F238E27FC236}">
                <a16:creationId xmlns:a16="http://schemas.microsoft.com/office/drawing/2014/main" id="{8BFDAC3C-DAB4-FB4E-6404-8CC40B1F84DC}"/>
              </a:ext>
            </a:extLst>
          </p:cNvPr>
          <p:cNvSpPr txBox="1"/>
          <p:nvPr/>
        </p:nvSpPr>
        <p:spPr>
          <a:xfrm>
            <a:off x="8375488" y="4679985"/>
            <a:ext cx="3561548" cy="1384995"/>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duction of feed and additives</a:t>
            </a: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art of SHV Holdings. Present in Europe, Latin America, Asia and Africa, operating through its own factories and joint ventures. Focus on sustainable production and reducing the environmental impact of feed.</a:t>
            </a:r>
          </a:p>
        </p:txBody>
      </p:sp>
      <p:sp>
        <p:nvSpPr>
          <p:cNvPr id="6" name="TextBox 5">
            <a:extLst>
              <a:ext uri="{FF2B5EF4-FFF2-40B4-BE49-F238E27FC236}">
                <a16:creationId xmlns:a16="http://schemas.microsoft.com/office/drawing/2014/main" id="{B8BD3A92-0FC7-BC1F-EDE4-5774A2EF773F}"/>
              </a:ext>
            </a:extLst>
          </p:cNvPr>
          <p:cNvSpPr txBox="1"/>
          <p:nvPr/>
        </p:nvSpPr>
        <p:spPr>
          <a:xfrm>
            <a:off x="0" y="6642556"/>
            <a:ext cx="4103803"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Source: IQ Capital Pro data and analysis of KAZAKH INVEST data</a:t>
            </a:r>
          </a:p>
        </p:txBody>
      </p:sp>
      <p:sp>
        <p:nvSpPr>
          <p:cNvPr id="3" name="TextBox 2">
            <a:extLst>
              <a:ext uri="{FF2B5EF4-FFF2-40B4-BE49-F238E27FC236}">
                <a16:creationId xmlns:a16="http://schemas.microsoft.com/office/drawing/2014/main" id="{0D53C99C-E000-4EB2-9906-A4186C8BF6AB}"/>
              </a:ext>
            </a:extLst>
          </p:cNvPr>
          <p:cNvSpPr txBox="1"/>
          <p:nvPr/>
        </p:nvSpPr>
        <p:spPr>
          <a:xfrm>
            <a:off x="508360" y="6942306"/>
            <a:ext cx="3100686"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000" b="0" i="1" u="none" strike="noStrike" kern="1200" cap="none" spc="0" normalizeH="0" baseline="0" noProof="0">
                <a:ln>
                  <a:noFill/>
                </a:ln>
                <a:solidFill>
                  <a:prstClr val="black">
                    <a:lumMod val="50000"/>
                    <a:lumOff val="50000"/>
                  </a:prstClr>
                </a:solidFill>
                <a:effectLst/>
                <a:uLnTx/>
                <a:uFillTx/>
                <a:latin typeface="Century Gothic" panose="020B0502020202020204" pitchFamily="34" charset="0"/>
                <a:ea typeface="+mn-ea"/>
                <a:cs typeface="+mn-cs"/>
              </a:rPr>
              <a:t>Источник, по данным </a:t>
            </a:r>
            <a:r>
              <a:rPr kumimoji="0" lang="en-US" sz="1000" b="0" i="1" u="none" strike="noStrike" kern="1200" cap="none" spc="0" normalizeH="0" baseline="0" noProof="0">
                <a:ln>
                  <a:noFill/>
                </a:ln>
                <a:solidFill>
                  <a:prstClr val="black">
                    <a:lumMod val="50000"/>
                    <a:lumOff val="50000"/>
                  </a:prstClr>
                </a:solidFill>
                <a:effectLst/>
                <a:uLnTx/>
                <a:uFillTx/>
                <a:latin typeface="Century Gothic" panose="020B0502020202020204" pitchFamily="34" charset="0"/>
                <a:ea typeface="+mn-ea"/>
                <a:cs typeface="+mn-cs"/>
              </a:rPr>
              <a:t>IQ Capital Pro</a:t>
            </a:r>
            <a:endParaRPr kumimoji="0" lang="ru-RU" sz="1000" b="0" i="1" u="none" strike="noStrike" kern="1200" cap="none" spc="0" normalizeH="0" baseline="0" noProof="0">
              <a:ln>
                <a:noFill/>
              </a:ln>
              <a:solidFill>
                <a:prstClr val="black">
                  <a:lumMod val="50000"/>
                  <a:lumOff val="50000"/>
                </a:prstClr>
              </a:solidFill>
              <a:effectLst/>
              <a:uLnTx/>
              <a:uFillTx/>
              <a:latin typeface="Century Gothic" panose="020B0502020202020204" pitchFamily="34" charset="0"/>
              <a:ea typeface="+mn-ea"/>
              <a:cs typeface="+mn-cs"/>
            </a:endParaRPr>
          </a:p>
        </p:txBody>
      </p:sp>
      <p:sp>
        <p:nvSpPr>
          <p:cNvPr id="15" name="TextBox 14">
            <a:extLst>
              <a:ext uri="{FF2B5EF4-FFF2-40B4-BE49-F238E27FC236}">
                <a16:creationId xmlns:a16="http://schemas.microsoft.com/office/drawing/2014/main" id="{946B2B07-A807-B123-44BC-14DBD4942990}"/>
              </a:ext>
            </a:extLst>
          </p:cNvPr>
          <p:cNvSpPr txBox="1"/>
          <p:nvPr/>
        </p:nvSpPr>
        <p:spPr>
          <a:xfrm>
            <a:off x="5086913" y="6637313"/>
            <a:ext cx="7095022" cy="21544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There are no foreign representative offices/branches of the specified companies in the countries of Central Asia and the CIS</a:t>
            </a:r>
          </a:p>
        </p:txBody>
      </p:sp>
      <p:pic>
        <p:nvPicPr>
          <p:cNvPr id="2" name="Рисунок 1"/>
          <p:cNvPicPr>
            <a:picLocks noChangeAspect="1"/>
          </p:cNvPicPr>
          <p:nvPr/>
        </p:nvPicPr>
        <p:blipFill rotWithShape="1">
          <a:blip r:embed="rId3">
            <a:extLst>
              <a:ext uri="{28A0092B-C50C-407E-A947-70E740481C1C}">
                <a14:useLocalDpi xmlns:a14="http://schemas.microsoft.com/office/drawing/2010/main" val="0"/>
              </a:ext>
            </a:extLst>
          </a:blip>
          <a:srcRect t="38024" b="37195"/>
          <a:stretch/>
        </p:blipFill>
        <p:spPr>
          <a:xfrm>
            <a:off x="453241" y="1122435"/>
            <a:ext cx="888827" cy="146843"/>
          </a:xfrm>
          <a:prstGeom prst="rect">
            <a:avLst/>
          </a:prstGeom>
        </p:spPr>
      </p:pic>
      <p:pic>
        <p:nvPicPr>
          <p:cNvPr id="4" name="Рисунок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62385" y="1045660"/>
            <a:ext cx="462732" cy="351676"/>
          </a:xfrm>
          <a:prstGeom prst="rect">
            <a:avLst/>
          </a:prstGeom>
        </p:spPr>
      </p:pic>
      <p:pic>
        <p:nvPicPr>
          <p:cNvPr id="8" name="Рисунок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274719" y="1016208"/>
            <a:ext cx="546719" cy="364479"/>
          </a:xfrm>
          <a:prstGeom prst="rect">
            <a:avLst/>
          </a:prstGeom>
        </p:spPr>
      </p:pic>
      <p:pic>
        <p:nvPicPr>
          <p:cNvPr id="9" name="Рисунок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457358" y="1007444"/>
            <a:ext cx="851837" cy="319439"/>
          </a:xfrm>
          <a:prstGeom prst="rect">
            <a:avLst/>
          </a:prstGeom>
        </p:spPr>
      </p:pic>
      <p:pic>
        <p:nvPicPr>
          <p:cNvPr id="10" name="Рисунок 9"/>
          <p:cNvPicPr>
            <a:picLocks noChangeAspect="1"/>
          </p:cNvPicPr>
          <p:nvPr/>
        </p:nvPicPr>
        <p:blipFill>
          <a:blip r:embed="rId7"/>
          <a:stretch>
            <a:fillRect/>
          </a:stretch>
        </p:blipFill>
        <p:spPr>
          <a:xfrm>
            <a:off x="11171797" y="1034074"/>
            <a:ext cx="573343" cy="352383"/>
          </a:xfrm>
          <a:prstGeom prst="rect">
            <a:avLst/>
          </a:prstGeom>
        </p:spPr>
      </p:pic>
      <p:pic>
        <p:nvPicPr>
          <p:cNvPr id="11" name="Рисунок 10"/>
          <p:cNvPicPr>
            <a:picLocks noChangeAspect="1"/>
          </p:cNvPicPr>
          <p:nvPr/>
        </p:nvPicPr>
        <p:blipFill rotWithShape="1">
          <a:blip r:embed="rId8">
            <a:extLst>
              <a:ext uri="{28A0092B-C50C-407E-A947-70E740481C1C}">
                <a14:useLocalDpi xmlns:a14="http://schemas.microsoft.com/office/drawing/2010/main" val="0"/>
              </a:ext>
            </a:extLst>
          </a:blip>
          <a:srcRect b="14509"/>
          <a:stretch/>
        </p:blipFill>
        <p:spPr>
          <a:xfrm>
            <a:off x="8557689" y="1148977"/>
            <a:ext cx="803487" cy="193982"/>
          </a:xfrm>
          <a:prstGeom prst="rect">
            <a:avLst/>
          </a:prstGeom>
        </p:spPr>
      </p:pic>
      <p:pic>
        <p:nvPicPr>
          <p:cNvPr id="13" name="Рисунок 1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32085" y="4288406"/>
            <a:ext cx="650989" cy="263768"/>
          </a:xfrm>
          <a:prstGeom prst="rect">
            <a:avLst/>
          </a:prstGeom>
        </p:spPr>
      </p:pic>
      <p:pic>
        <p:nvPicPr>
          <p:cNvPr id="17" name="Рисунок 16"/>
          <p:cNvPicPr>
            <a:picLocks noChangeAspect="1"/>
          </p:cNvPicPr>
          <p:nvPr/>
        </p:nvPicPr>
        <p:blipFill>
          <a:blip r:embed="rId10"/>
          <a:stretch>
            <a:fillRect/>
          </a:stretch>
        </p:blipFill>
        <p:spPr>
          <a:xfrm>
            <a:off x="3255882" y="4265254"/>
            <a:ext cx="519625" cy="306269"/>
          </a:xfrm>
          <a:prstGeom prst="rect">
            <a:avLst/>
          </a:prstGeom>
        </p:spPr>
      </p:pic>
      <p:pic>
        <p:nvPicPr>
          <p:cNvPr id="18" name="Рисунок 17"/>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474136" y="4313285"/>
            <a:ext cx="871512" cy="221305"/>
          </a:xfrm>
          <a:prstGeom prst="rect">
            <a:avLst/>
          </a:prstGeom>
        </p:spPr>
      </p:pic>
      <p:pic>
        <p:nvPicPr>
          <p:cNvPr id="20" name="Рисунок 19"/>
          <p:cNvPicPr>
            <a:picLocks noChangeAspect="1"/>
          </p:cNvPicPr>
          <p:nvPr/>
        </p:nvPicPr>
        <p:blipFill>
          <a:blip r:embed="rId12"/>
          <a:stretch>
            <a:fillRect/>
          </a:stretch>
        </p:blipFill>
        <p:spPr>
          <a:xfrm>
            <a:off x="7207597" y="4230847"/>
            <a:ext cx="605049" cy="350682"/>
          </a:xfrm>
          <a:prstGeom prst="rect">
            <a:avLst/>
          </a:prstGeom>
        </p:spPr>
      </p:pic>
      <p:pic>
        <p:nvPicPr>
          <p:cNvPr id="24" name="Рисунок 23"/>
          <p:cNvPicPr>
            <a:picLocks noChangeAspect="1"/>
          </p:cNvPicPr>
          <p:nvPr/>
        </p:nvPicPr>
        <p:blipFill>
          <a:blip r:embed="rId13"/>
          <a:stretch>
            <a:fillRect/>
          </a:stretch>
        </p:blipFill>
        <p:spPr>
          <a:xfrm>
            <a:off x="11250499" y="4231500"/>
            <a:ext cx="530663" cy="350029"/>
          </a:xfrm>
          <a:prstGeom prst="rect">
            <a:avLst/>
          </a:prstGeom>
        </p:spPr>
      </p:pic>
      <p:pic>
        <p:nvPicPr>
          <p:cNvPr id="26" name="Рисунок 25"/>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560168" y="4273392"/>
            <a:ext cx="669093" cy="221316"/>
          </a:xfrm>
          <a:prstGeom prst="rect">
            <a:avLst/>
          </a:prstGeom>
        </p:spPr>
      </p:pic>
    </p:spTree>
    <p:extLst>
      <p:ext uri="{BB962C8B-B14F-4D97-AF65-F5344CB8AC3E}">
        <p14:creationId xmlns:p14="http://schemas.microsoft.com/office/powerpoint/2010/main" val="10651676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Прямоугольник: скругленные углы 3">
            <a:extLst>
              <a:ext uri="{FF2B5EF4-FFF2-40B4-BE49-F238E27FC236}">
                <a16:creationId xmlns:a16="http://schemas.microsoft.com/office/drawing/2014/main" id="{6597C0E6-0BF2-4DA5-AC2F-A571AB92A879}"/>
              </a:ext>
            </a:extLst>
          </p:cNvPr>
          <p:cNvSpPr/>
          <p:nvPr/>
        </p:nvSpPr>
        <p:spPr>
          <a:xfrm>
            <a:off x="267776" y="624646"/>
            <a:ext cx="3672039" cy="2872698"/>
          </a:xfrm>
          <a:prstGeom prst="roundRect">
            <a:avLst/>
          </a:prstGeom>
          <a:noFill/>
          <a:ln w="1905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60" name="Прямоугольник с двумя скругленными соседними углами 59"/>
          <p:cNvSpPr/>
          <p:nvPr/>
        </p:nvSpPr>
        <p:spPr>
          <a:xfrm rot="10800000">
            <a:off x="632593" y="637067"/>
            <a:ext cx="2931207" cy="312753"/>
          </a:xfrm>
          <a:prstGeom prst="round2SameRect">
            <a:avLst>
              <a:gd name="adj1" fmla="val 50000"/>
              <a:gd name="adj2" fmla="val 0"/>
            </a:avLst>
          </a:prstGeom>
          <a:solidFill>
            <a:schemeClr val="tx2">
              <a:lumMod val="10000"/>
              <a:lumOff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61" name="Прямоугольник 3">
            <a:extLst>
              <a:ext uri="{FF2B5EF4-FFF2-40B4-BE49-F238E27FC236}">
                <a16:creationId xmlns:a16="http://schemas.microsoft.com/office/drawing/2014/main" id="{BBEEE44D-B7AB-4D17-8E75-2FB59E935EAF}"/>
              </a:ext>
            </a:extLst>
          </p:cNvPr>
          <p:cNvSpPr>
            <a:spLocks noChangeArrowheads="1"/>
          </p:cNvSpPr>
          <p:nvPr/>
        </p:nvSpPr>
        <p:spPr bwMode="auto">
          <a:xfrm>
            <a:off x="491920" y="630791"/>
            <a:ext cx="3230555" cy="320825"/>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123" tIns="44561" rIns="89123" bIns="44561">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sz="15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ADM (Archer Daniels Midland)</a:t>
            </a:r>
            <a:endParaRPr kumimoji="0" lang="de-DE" altLang="en-US" sz="15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5" name="TextBox 4"/>
          <p:cNvSpPr txBox="1"/>
          <p:nvPr/>
        </p:nvSpPr>
        <p:spPr>
          <a:xfrm>
            <a:off x="956649" y="993155"/>
            <a:ext cx="217165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eadquarter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Chicago, USA</a:t>
            </a:r>
          </a:p>
        </p:txBody>
      </p:sp>
      <p:sp>
        <p:nvSpPr>
          <p:cNvPr id="63" name="Прямоугольник: скругленные углы 3">
            <a:extLst>
              <a:ext uri="{FF2B5EF4-FFF2-40B4-BE49-F238E27FC236}">
                <a16:creationId xmlns:a16="http://schemas.microsoft.com/office/drawing/2014/main" id="{6597C0E6-0BF2-4DA5-AC2F-A571AB92A879}"/>
              </a:ext>
            </a:extLst>
          </p:cNvPr>
          <p:cNvSpPr/>
          <p:nvPr/>
        </p:nvSpPr>
        <p:spPr>
          <a:xfrm>
            <a:off x="4304632" y="645298"/>
            <a:ext cx="3672039" cy="2833193"/>
          </a:xfrm>
          <a:prstGeom prst="roundRect">
            <a:avLst/>
          </a:prstGeom>
          <a:noFill/>
          <a:ln w="1905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64" name="Прямоугольник с двумя скругленными соседними углами 63"/>
          <p:cNvSpPr/>
          <p:nvPr/>
        </p:nvSpPr>
        <p:spPr>
          <a:xfrm rot="10800000">
            <a:off x="4707724" y="655114"/>
            <a:ext cx="2931207" cy="275660"/>
          </a:xfrm>
          <a:prstGeom prst="round2SameRect">
            <a:avLst>
              <a:gd name="adj1" fmla="val 50000"/>
              <a:gd name="adj2" fmla="val 0"/>
            </a:avLst>
          </a:prstGeom>
          <a:solidFill>
            <a:schemeClr val="tx2">
              <a:lumMod val="10000"/>
              <a:lumOff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65" name="Прямоугольник 3">
            <a:extLst>
              <a:ext uri="{FF2B5EF4-FFF2-40B4-BE49-F238E27FC236}">
                <a16:creationId xmlns:a16="http://schemas.microsoft.com/office/drawing/2014/main" id="{BBEEE44D-B7AB-4D17-8E75-2FB59E935EAF}"/>
              </a:ext>
            </a:extLst>
          </p:cNvPr>
          <p:cNvSpPr>
            <a:spLocks noChangeArrowheads="1"/>
          </p:cNvSpPr>
          <p:nvPr/>
        </p:nvSpPr>
        <p:spPr bwMode="auto">
          <a:xfrm>
            <a:off x="4681629" y="631956"/>
            <a:ext cx="3082722" cy="311591"/>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123" tIns="44561" rIns="89123" bIns="44561">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ChemChina</a:t>
            </a:r>
            <a:endPar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69" name="Прямоугольник: скругленные углы 3">
            <a:extLst>
              <a:ext uri="{FF2B5EF4-FFF2-40B4-BE49-F238E27FC236}">
                <a16:creationId xmlns:a16="http://schemas.microsoft.com/office/drawing/2014/main" id="{6597C0E6-0BF2-4DA5-AC2F-A571AB92A879}"/>
              </a:ext>
            </a:extLst>
          </p:cNvPr>
          <p:cNvSpPr/>
          <p:nvPr/>
        </p:nvSpPr>
        <p:spPr>
          <a:xfrm>
            <a:off x="8249795" y="645298"/>
            <a:ext cx="3672039" cy="2861473"/>
          </a:xfrm>
          <a:prstGeom prst="roundRect">
            <a:avLst/>
          </a:prstGeom>
          <a:noFill/>
          <a:ln w="1905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70" name="Прямоугольник с двумя скругленными соседними углами 69"/>
          <p:cNvSpPr/>
          <p:nvPr/>
        </p:nvSpPr>
        <p:spPr>
          <a:xfrm rot="10800000">
            <a:off x="8628199" y="666307"/>
            <a:ext cx="2931207" cy="257520"/>
          </a:xfrm>
          <a:prstGeom prst="round2SameRect">
            <a:avLst>
              <a:gd name="adj1" fmla="val 50000"/>
              <a:gd name="adj2" fmla="val 0"/>
            </a:avLst>
          </a:prstGeom>
          <a:solidFill>
            <a:schemeClr val="tx2">
              <a:lumMod val="10000"/>
              <a:lumOff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72" name="Прямоугольник 3">
            <a:extLst>
              <a:ext uri="{FF2B5EF4-FFF2-40B4-BE49-F238E27FC236}">
                <a16:creationId xmlns:a16="http://schemas.microsoft.com/office/drawing/2014/main" id="{BBEEE44D-B7AB-4D17-8E75-2FB59E935EAF}"/>
              </a:ext>
            </a:extLst>
          </p:cNvPr>
          <p:cNvSpPr>
            <a:spLocks noChangeArrowheads="1"/>
          </p:cNvSpPr>
          <p:nvPr/>
        </p:nvSpPr>
        <p:spPr bwMode="auto">
          <a:xfrm>
            <a:off x="8578510" y="625266"/>
            <a:ext cx="3082722" cy="311591"/>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123" tIns="44561" rIns="89123" bIns="44561">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CJ </a:t>
            </a:r>
            <a:r>
              <a:rPr kumimoji="0" lang="en-US" sz="1600" b="1"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CheilJedang</a:t>
            </a:r>
            <a:endPar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77" name="TextBox 76"/>
          <p:cNvSpPr txBox="1"/>
          <p:nvPr/>
        </p:nvSpPr>
        <p:spPr>
          <a:xfrm>
            <a:off x="9239022" y="978320"/>
            <a:ext cx="1942536"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eadquarter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Seoul, South Korea</a:t>
            </a:r>
          </a:p>
        </p:txBody>
      </p:sp>
      <p:sp>
        <p:nvSpPr>
          <p:cNvPr id="126" name="TextBox 125"/>
          <p:cNvSpPr txBox="1"/>
          <p:nvPr/>
        </p:nvSpPr>
        <p:spPr>
          <a:xfrm>
            <a:off x="358475" y="1457969"/>
            <a:ext cx="3524049" cy="1723549"/>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duction of bio-feeds and fermented ingredients</a:t>
            </a: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he company operates more than 270 production sites in 190 countries. One of the leaders in deep processing of agricultural raw materials (soy, corn, wheat) and integration of chains from raw materials to finished feed.</a:t>
            </a:r>
          </a:p>
        </p:txBody>
      </p:sp>
      <p:sp>
        <p:nvSpPr>
          <p:cNvPr id="131" name="TextBox 130"/>
          <p:cNvSpPr txBox="1"/>
          <p:nvPr/>
        </p:nvSpPr>
        <p:spPr>
          <a:xfrm>
            <a:off x="8283852" y="1495322"/>
            <a:ext cx="3634141" cy="1384995"/>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duction of feed amino acids, probiotic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srgbClr val="000000"/>
              </a:solidFill>
              <a:effectLst/>
              <a:uLnTx/>
              <a:uFillTx/>
              <a:latin typeface="-webkit-standard"/>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he company uses biotechnology based on microbial fermentation and has production sites in Brazil, China, Indonesia and the USA. It is actively expanding internationally in the field of feed solutions.</a:t>
            </a:r>
          </a:p>
        </p:txBody>
      </p:sp>
      <p:sp>
        <p:nvSpPr>
          <p:cNvPr id="14" name="TextBox 13">
            <a:extLst>
              <a:ext uri="{FF2B5EF4-FFF2-40B4-BE49-F238E27FC236}">
                <a16:creationId xmlns:a16="http://schemas.microsoft.com/office/drawing/2014/main" id="{9A608F09-CF16-F4D5-E44C-10EB6FBA6F0B}"/>
              </a:ext>
            </a:extLst>
          </p:cNvPr>
          <p:cNvSpPr txBox="1"/>
          <p:nvPr/>
        </p:nvSpPr>
        <p:spPr>
          <a:xfrm>
            <a:off x="5108178" y="971609"/>
            <a:ext cx="217165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eadquarter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Beijing, China</a:t>
            </a:r>
          </a:p>
        </p:txBody>
      </p:sp>
      <p:sp>
        <p:nvSpPr>
          <p:cNvPr id="16" name="TextBox 15">
            <a:extLst>
              <a:ext uri="{FF2B5EF4-FFF2-40B4-BE49-F238E27FC236}">
                <a16:creationId xmlns:a16="http://schemas.microsoft.com/office/drawing/2014/main" id="{1515CBBD-6B2B-0F99-4D4A-DBF88A80455B}"/>
              </a:ext>
            </a:extLst>
          </p:cNvPr>
          <p:cNvSpPr txBox="1"/>
          <p:nvPr/>
        </p:nvSpPr>
        <p:spPr>
          <a:xfrm>
            <a:off x="4352413" y="1499469"/>
            <a:ext cx="3643112" cy="1723549"/>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duction of </a:t>
            </a:r>
            <a:r>
              <a:rPr kumimoji="0" lang="en-US" sz="12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biostimulants</a:t>
            </a: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plant protection products, fertilizer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he Chinese state holding company that owns Syngenta Group is engaged in </a:t>
            </a:r>
            <a:r>
              <a:rPr kumimoji="0" lang="en-US" sz="12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agrochemistry</a:t>
            </a: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seed production and </a:t>
            </a:r>
            <a:r>
              <a:rPr kumimoji="0" lang="en-US" sz="12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agrobiotechnology</a:t>
            </a: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r>
              <a:rPr kumimoji="0" lang="en-US" sz="12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ChemChina</a:t>
            </a: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operates dozens of enterprises around the world, including in Europe, South America and Asia.</a:t>
            </a:r>
          </a:p>
        </p:txBody>
      </p:sp>
      <p:sp>
        <p:nvSpPr>
          <p:cNvPr id="21" name="Прямоугольник: скругленные углы 3">
            <a:extLst>
              <a:ext uri="{FF2B5EF4-FFF2-40B4-BE49-F238E27FC236}">
                <a16:creationId xmlns:a16="http://schemas.microsoft.com/office/drawing/2014/main" id="{0FCBF128-AA27-4E7F-53CC-80A65364C1CE}"/>
              </a:ext>
            </a:extLst>
          </p:cNvPr>
          <p:cNvSpPr/>
          <p:nvPr/>
        </p:nvSpPr>
        <p:spPr>
          <a:xfrm>
            <a:off x="267776" y="3830160"/>
            <a:ext cx="3672039" cy="2764153"/>
          </a:xfrm>
          <a:prstGeom prst="roundRect">
            <a:avLst/>
          </a:prstGeom>
          <a:noFill/>
          <a:ln w="1905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22" name="Прямоугольник с двумя скругленными соседними углами 59">
            <a:extLst>
              <a:ext uri="{FF2B5EF4-FFF2-40B4-BE49-F238E27FC236}">
                <a16:creationId xmlns:a16="http://schemas.microsoft.com/office/drawing/2014/main" id="{4A8020D5-B724-51CF-BDAC-FD387E73D9F8}"/>
              </a:ext>
            </a:extLst>
          </p:cNvPr>
          <p:cNvSpPr/>
          <p:nvPr/>
        </p:nvSpPr>
        <p:spPr>
          <a:xfrm rot="10800000">
            <a:off x="509454" y="3859226"/>
            <a:ext cx="3130212" cy="312753"/>
          </a:xfrm>
          <a:prstGeom prst="round2SameRect">
            <a:avLst>
              <a:gd name="adj1" fmla="val 50000"/>
              <a:gd name="adj2" fmla="val 0"/>
            </a:avLst>
          </a:prstGeom>
          <a:solidFill>
            <a:schemeClr val="tx2">
              <a:lumMod val="10000"/>
              <a:lumOff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23" name="Прямоугольник 3">
            <a:extLst>
              <a:ext uri="{FF2B5EF4-FFF2-40B4-BE49-F238E27FC236}">
                <a16:creationId xmlns:a16="http://schemas.microsoft.com/office/drawing/2014/main" id="{A99D9D06-1B9F-266D-723B-23071E255134}"/>
              </a:ext>
            </a:extLst>
          </p:cNvPr>
          <p:cNvSpPr>
            <a:spLocks noChangeArrowheads="1"/>
          </p:cNvSpPr>
          <p:nvPr/>
        </p:nvSpPr>
        <p:spPr bwMode="auto">
          <a:xfrm>
            <a:off x="465848" y="3848634"/>
            <a:ext cx="3217423" cy="336214"/>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123" tIns="44561" rIns="89123" bIns="44561">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Dabeinong</a:t>
            </a:r>
            <a:r>
              <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Technology Group</a:t>
            </a:r>
            <a:endParaRPr kumimoji="0" lang="de-DE" alt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28" name="TextBox 27">
            <a:extLst>
              <a:ext uri="{FF2B5EF4-FFF2-40B4-BE49-F238E27FC236}">
                <a16:creationId xmlns:a16="http://schemas.microsoft.com/office/drawing/2014/main" id="{5D095DBB-AE99-6A50-8D1A-3007EBFD90BE}"/>
              </a:ext>
            </a:extLst>
          </p:cNvPr>
          <p:cNvSpPr txBox="1"/>
          <p:nvPr/>
        </p:nvSpPr>
        <p:spPr>
          <a:xfrm>
            <a:off x="1012370" y="4195256"/>
            <a:ext cx="217165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eadquarter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Beijing, China</a:t>
            </a:r>
          </a:p>
        </p:txBody>
      </p:sp>
      <p:sp>
        <p:nvSpPr>
          <p:cNvPr id="35" name="TextBox 34">
            <a:extLst>
              <a:ext uri="{FF2B5EF4-FFF2-40B4-BE49-F238E27FC236}">
                <a16:creationId xmlns:a16="http://schemas.microsoft.com/office/drawing/2014/main" id="{0AB286EC-14B2-3E72-BE28-D1981AEDBAAF}"/>
              </a:ext>
            </a:extLst>
          </p:cNvPr>
          <p:cNvSpPr txBox="1"/>
          <p:nvPr/>
        </p:nvSpPr>
        <p:spPr>
          <a:xfrm>
            <a:off x="358475" y="4726144"/>
            <a:ext cx="3547651" cy="1354217"/>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duction of feed, premixes</a:t>
            </a: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kumimoji="0" lang="ru-RU"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One of the largest Chinese manufacturers of compound feed, bio-enzyme additives. Actively develops its own R&amp;D centers and export operations. Has experience in building factories in the countries of Southeast Asia.</a:t>
            </a:r>
          </a:p>
        </p:txBody>
      </p:sp>
      <p:sp>
        <p:nvSpPr>
          <p:cNvPr id="37" name="Прямоугольник: скругленные углы 3">
            <a:extLst>
              <a:ext uri="{FF2B5EF4-FFF2-40B4-BE49-F238E27FC236}">
                <a16:creationId xmlns:a16="http://schemas.microsoft.com/office/drawing/2014/main" id="{619825D6-3E57-C635-CAD5-00E8A955397F}"/>
              </a:ext>
            </a:extLst>
          </p:cNvPr>
          <p:cNvSpPr/>
          <p:nvPr/>
        </p:nvSpPr>
        <p:spPr>
          <a:xfrm>
            <a:off x="4337307" y="3838166"/>
            <a:ext cx="3672039" cy="2721027"/>
          </a:xfrm>
          <a:prstGeom prst="roundRect">
            <a:avLst/>
          </a:prstGeom>
          <a:noFill/>
          <a:ln w="1905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39" name="Прямоугольник с двумя скругленными соседними углами 63">
            <a:extLst>
              <a:ext uri="{FF2B5EF4-FFF2-40B4-BE49-F238E27FC236}">
                <a16:creationId xmlns:a16="http://schemas.microsoft.com/office/drawing/2014/main" id="{20DF9529-3C01-F33D-0646-ED4EE51A916E}"/>
              </a:ext>
            </a:extLst>
          </p:cNvPr>
          <p:cNvSpPr/>
          <p:nvPr/>
        </p:nvSpPr>
        <p:spPr>
          <a:xfrm rot="10800000">
            <a:off x="4699083" y="3848635"/>
            <a:ext cx="2931207" cy="275660"/>
          </a:xfrm>
          <a:prstGeom prst="round2SameRect">
            <a:avLst>
              <a:gd name="adj1" fmla="val 50000"/>
              <a:gd name="adj2" fmla="val 0"/>
            </a:avLst>
          </a:prstGeom>
          <a:solidFill>
            <a:schemeClr val="tx2">
              <a:lumMod val="10000"/>
              <a:lumOff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41" name="TextBox 40">
            <a:extLst>
              <a:ext uri="{FF2B5EF4-FFF2-40B4-BE49-F238E27FC236}">
                <a16:creationId xmlns:a16="http://schemas.microsoft.com/office/drawing/2014/main" id="{8B31FB0E-F2F0-A3BA-969F-30F252E1C082}"/>
              </a:ext>
            </a:extLst>
          </p:cNvPr>
          <p:cNvSpPr txBox="1"/>
          <p:nvPr/>
        </p:nvSpPr>
        <p:spPr>
          <a:xfrm>
            <a:off x="5139352" y="4185903"/>
            <a:ext cx="217165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eadquarters: Netherlands/Switzerland</a:t>
            </a:r>
          </a:p>
        </p:txBody>
      </p:sp>
      <p:sp>
        <p:nvSpPr>
          <p:cNvPr id="43" name="Прямоугольник 3">
            <a:extLst>
              <a:ext uri="{FF2B5EF4-FFF2-40B4-BE49-F238E27FC236}">
                <a16:creationId xmlns:a16="http://schemas.microsoft.com/office/drawing/2014/main" id="{BF72B3E9-E489-1327-36A7-96B3023D02F7}"/>
              </a:ext>
            </a:extLst>
          </p:cNvPr>
          <p:cNvSpPr>
            <a:spLocks noChangeArrowheads="1"/>
          </p:cNvSpPr>
          <p:nvPr/>
        </p:nvSpPr>
        <p:spPr bwMode="auto">
          <a:xfrm>
            <a:off x="4643696" y="3833781"/>
            <a:ext cx="3082722" cy="311591"/>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123" tIns="44561" rIns="89123" bIns="44561">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DSM-</a:t>
            </a:r>
            <a:r>
              <a:rPr kumimoji="0" lang="en-US" sz="1600" b="1"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Firmenich</a:t>
            </a:r>
            <a:endPar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55" name="TextBox 54">
            <a:extLst>
              <a:ext uri="{FF2B5EF4-FFF2-40B4-BE49-F238E27FC236}">
                <a16:creationId xmlns:a16="http://schemas.microsoft.com/office/drawing/2014/main" id="{C174BA4C-91BA-DD36-2F9B-FE94A2943544}"/>
              </a:ext>
            </a:extLst>
          </p:cNvPr>
          <p:cNvSpPr txBox="1"/>
          <p:nvPr/>
        </p:nvSpPr>
        <p:spPr>
          <a:xfrm>
            <a:off x="4436634" y="4732969"/>
            <a:ext cx="3572712" cy="1538883"/>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duction of bio-ingredients, additive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he company operates in the segments of nutrition, health and sustainable agriculture, integrating scientific developments into bio-production. It uses advanced methods of fermentation and synthetic biology for the feed and food industries.</a:t>
            </a:r>
          </a:p>
        </p:txBody>
      </p:sp>
      <p:sp>
        <p:nvSpPr>
          <p:cNvPr id="76" name="Прямоугольник: скругленные углы 3">
            <a:extLst>
              <a:ext uri="{FF2B5EF4-FFF2-40B4-BE49-F238E27FC236}">
                <a16:creationId xmlns:a16="http://schemas.microsoft.com/office/drawing/2014/main" id="{090F7383-98B5-88A8-B2AC-1EA33EDC2356}"/>
              </a:ext>
            </a:extLst>
          </p:cNvPr>
          <p:cNvSpPr/>
          <p:nvPr/>
        </p:nvSpPr>
        <p:spPr>
          <a:xfrm>
            <a:off x="8306410" y="3851722"/>
            <a:ext cx="3672039" cy="2721027"/>
          </a:xfrm>
          <a:prstGeom prst="roundRect">
            <a:avLst/>
          </a:prstGeom>
          <a:noFill/>
          <a:ln w="1905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79" name="TextBox 78">
            <a:extLst>
              <a:ext uri="{FF2B5EF4-FFF2-40B4-BE49-F238E27FC236}">
                <a16:creationId xmlns:a16="http://schemas.microsoft.com/office/drawing/2014/main" id="{EF5296C0-060B-C3C3-D7C3-BC021EEA9C8D}"/>
              </a:ext>
            </a:extLst>
          </p:cNvPr>
          <p:cNvSpPr txBox="1"/>
          <p:nvPr/>
        </p:nvSpPr>
        <p:spPr>
          <a:xfrm>
            <a:off x="9052082" y="4171980"/>
            <a:ext cx="2208837"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eadquarter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Montreal, Canada</a:t>
            </a:r>
          </a:p>
        </p:txBody>
      </p:sp>
      <p:sp>
        <p:nvSpPr>
          <p:cNvPr id="81" name="Прямоугольник с двумя скругленными соседними углами 69">
            <a:extLst>
              <a:ext uri="{FF2B5EF4-FFF2-40B4-BE49-F238E27FC236}">
                <a16:creationId xmlns:a16="http://schemas.microsoft.com/office/drawing/2014/main" id="{84B968D9-0494-C1D4-0D58-9DCC274A6875}"/>
              </a:ext>
            </a:extLst>
          </p:cNvPr>
          <p:cNvSpPr/>
          <p:nvPr/>
        </p:nvSpPr>
        <p:spPr>
          <a:xfrm rot="10800000">
            <a:off x="8637971" y="3877591"/>
            <a:ext cx="2931207" cy="253201"/>
          </a:xfrm>
          <a:prstGeom prst="round2SameRect">
            <a:avLst>
              <a:gd name="adj1" fmla="val 50000"/>
              <a:gd name="adj2" fmla="val 0"/>
            </a:avLst>
          </a:prstGeom>
          <a:solidFill>
            <a:schemeClr val="tx2">
              <a:lumMod val="10000"/>
              <a:lumOff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82" name="Прямоугольник 3">
            <a:extLst>
              <a:ext uri="{FF2B5EF4-FFF2-40B4-BE49-F238E27FC236}">
                <a16:creationId xmlns:a16="http://schemas.microsoft.com/office/drawing/2014/main" id="{4B67C1C7-B513-0954-F48C-735E9B34BD0B}"/>
              </a:ext>
            </a:extLst>
          </p:cNvPr>
          <p:cNvSpPr>
            <a:spLocks noChangeArrowheads="1"/>
          </p:cNvSpPr>
          <p:nvPr/>
        </p:nvSpPr>
        <p:spPr bwMode="auto">
          <a:xfrm>
            <a:off x="8295996" y="3825356"/>
            <a:ext cx="3692866" cy="336214"/>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123" tIns="44561" rIns="89123" bIns="44561">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Lallemand</a:t>
            </a:r>
            <a:r>
              <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nimal Nutrition</a:t>
            </a:r>
            <a:endParaRPr kumimoji="0" lang="de-DE" alt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89" name="TextBox 88">
            <a:extLst>
              <a:ext uri="{FF2B5EF4-FFF2-40B4-BE49-F238E27FC236}">
                <a16:creationId xmlns:a16="http://schemas.microsoft.com/office/drawing/2014/main" id="{E395E0EF-0173-3171-18DB-F3EC8A2AA396}"/>
              </a:ext>
            </a:extLst>
          </p:cNvPr>
          <p:cNvSpPr txBox="1"/>
          <p:nvPr/>
        </p:nvSpPr>
        <p:spPr>
          <a:xfrm>
            <a:off x="8395009" y="4754927"/>
            <a:ext cx="3522984" cy="1569660"/>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duction of probiotics, enzymes</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endPar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he company focuses on biotechnology for animal husbandry, including live yeast, bacterial cultures, and enzymatic complexes. It has a developed R&amp;D infrastructure and is active in Latin America, Europe, and Asia.</a:t>
            </a:r>
          </a:p>
        </p:txBody>
      </p:sp>
      <p:sp>
        <p:nvSpPr>
          <p:cNvPr id="48" name="TextBox 47">
            <a:extLst>
              <a:ext uri="{FF2B5EF4-FFF2-40B4-BE49-F238E27FC236}">
                <a16:creationId xmlns:a16="http://schemas.microsoft.com/office/drawing/2014/main" id="{4362852D-BA5C-C86A-E3D2-211610E14695}"/>
              </a:ext>
            </a:extLst>
          </p:cNvPr>
          <p:cNvSpPr txBox="1"/>
          <p:nvPr/>
        </p:nvSpPr>
        <p:spPr>
          <a:xfrm>
            <a:off x="131886" y="109572"/>
            <a:ext cx="11939952" cy="438325"/>
          </a:xfrm>
          <a:prstGeom prst="rect">
            <a:avLst/>
          </a:prstGeom>
          <a:noFill/>
        </p:spPr>
        <p:txBody>
          <a:bodyPr wrap="square">
            <a:spAutoFit/>
          </a:bodyPr>
          <a:lstStyle/>
          <a:p>
            <a:pPr marL="0" marR="0" lvl="0" indent="0" algn="l" defTabSz="914400" rtl="0" eaLnBrk="1" fontAlgn="auto" latinLnBrk="0" hangingPunct="1">
              <a:lnSpc>
                <a:spcPts val="2946"/>
              </a:lnSpc>
              <a:spcBef>
                <a:spcPts val="100"/>
              </a:spcBef>
              <a:spcAft>
                <a:spcPts val="0"/>
              </a:spcAft>
              <a:buClrTx/>
              <a:buSzTx/>
              <a:buFontTx/>
              <a:buNone/>
              <a:tabLst/>
              <a:defRPr/>
            </a:pPr>
            <a:r>
              <a:rPr kumimoji="0" lang="en-US" sz="24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mn-cs"/>
              </a:rPr>
              <a:t>TARGET LIST OF COMPANIES PRODUCING BIOFEED AND BIOFERTILIZERS</a:t>
            </a:r>
          </a:p>
        </p:txBody>
      </p:sp>
      <p:pic>
        <p:nvPicPr>
          <p:cNvPr id="3" name="Рисунок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81793" y="1035362"/>
            <a:ext cx="647738" cy="341535"/>
          </a:xfrm>
          <a:prstGeom prst="rect">
            <a:avLst/>
          </a:prstGeom>
        </p:spPr>
      </p:pic>
      <p:pic>
        <p:nvPicPr>
          <p:cNvPr id="4" name="Рисунок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6727" y="939567"/>
            <a:ext cx="537444" cy="537444"/>
          </a:xfrm>
          <a:prstGeom prst="rect">
            <a:avLst/>
          </a:prstGeom>
        </p:spPr>
      </p:pic>
      <p:pic>
        <p:nvPicPr>
          <p:cNvPr id="8" name="Рисунок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218749" y="1011547"/>
            <a:ext cx="602734" cy="401901"/>
          </a:xfrm>
          <a:prstGeom prst="rect">
            <a:avLst/>
          </a:prstGeom>
        </p:spPr>
      </p:pic>
      <p:pic>
        <p:nvPicPr>
          <p:cNvPr id="10" name="Рисунок 9"/>
          <p:cNvPicPr>
            <a:picLocks noChangeAspect="1"/>
          </p:cNvPicPr>
          <p:nvPr/>
        </p:nvPicPr>
        <p:blipFill rotWithShape="1">
          <a:blip r:embed="rId6">
            <a:extLst>
              <a:ext uri="{28A0092B-C50C-407E-A947-70E740481C1C}">
                <a14:useLocalDpi xmlns:a14="http://schemas.microsoft.com/office/drawing/2010/main" val="0"/>
              </a:ext>
            </a:extLst>
          </a:blip>
          <a:srcRect t="29236" b="50912"/>
          <a:stretch/>
        </p:blipFill>
        <p:spPr>
          <a:xfrm>
            <a:off x="4523734" y="1152551"/>
            <a:ext cx="895764" cy="177822"/>
          </a:xfrm>
          <a:prstGeom prst="rect">
            <a:avLst/>
          </a:prstGeom>
        </p:spPr>
      </p:pic>
      <p:pic>
        <p:nvPicPr>
          <p:cNvPr id="12" name="Рисунок 1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561115" y="1029840"/>
            <a:ext cx="518521" cy="445457"/>
          </a:xfrm>
          <a:prstGeom prst="rect">
            <a:avLst/>
          </a:prstGeom>
        </p:spPr>
      </p:pic>
      <p:pic>
        <p:nvPicPr>
          <p:cNvPr id="15" name="Рисунок 14"/>
          <p:cNvPicPr>
            <a:picLocks noChangeAspect="1"/>
          </p:cNvPicPr>
          <p:nvPr/>
        </p:nvPicPr>
        <p:blipFill rotWithShape="1">
          <a:blip r:embed="rId8">
            <a:extLst>
              <a:ext uri="{28A0092B-C50C-407E-A947-70E740481C1C}">
                <a14:useLocalDpi xmlns:a14="http://schemas.microsoft.com/office/drawing/2010/main" val="0"/>
              </a:ext>
            </a:extLst>
          </a:blip>
          <a:srcRect t="11436" b="14308"/>
          <a:stretch/>
        </p:blipFill>
        <p:spPr>
          <a:xfrm>
            <a:off x="11151520" y="1017620"/>
            <a:ext cx="641491" cy="476349"/>
          </a:xfrm>
          <a:prstGeom prst="rect">
            <a:avLst/>
          </a:prstGeom>
        </p:spPr>
      </p:pic>
      <p:pic>
        <p:nvPicPr>
          <p:cNvPr id="56" name="Рисунок 5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149665" y="4274876"/>
            <a:ext cx="602734" cy="401901"/>
          </a:xfrm>
          <a:prstGeom prst="rect">
            <a:avLst/>
          </a:prstGeom>
        </p:spPr>
      </p:pic>
      <p:pic>
        <p:nvPicPr>
          <p:cNvPr id="25" name="Рисунок 24"/>
          <p:cNvPicPr>
            <a:picLocks noChangeAspect="1"/>
          </p:cNvPicPr>
          <p:nvPr/>
        </p:nvPicPr>
        <p:blipFill rotWithShape="1">
          <a:blip r:embed="rId9">
            <a:extLst>
              <a:ext uri="{28A0092B-C50C-407E-A947-70E740481C1C}">
                <a14:useLocalDpi xmlns:a14="http://schemas.microsoft.com/office/drawing/2010/main" val="0"/>
              </a:ext>
            </a:extLst>
          </a:blip>
          <a:srcRect t="12614" b="30616"/>
          <a:stretch/>
        </p:blipFill>
        <p:spPr>
          <a:xfrm>
            <a:off x="453533" y="4229827"/>
            <a:ext cx="781538" cy="443674"/>
          </a:xfrm>
          <a:prstGeom prst="rect">
            <a:avLst/>
          </a:prstGeom>
        </p:spPr>
      </p:pic>
      <p:pic>
        <p:nvPicPr>
          <p:cNvPr id="26" name="Рисунок 25"/>
          <p:cNvPicPr>
            <a:picLocks noChangeAspect="1"/>
          </p:cNvPicPr>
          <p:nvPr/>
        </p:nvPicPr>
        <p:blipFill>
          <a:blip r:embed="rId10"/>
          <a:stretch>
            <a:fillRect/>
          </a:stretch>
        </p:blipFill>
        <p:spPr>
          <a:xfrm>
            <a:off x="4577219" y="4265704"/>
            <a:ext cx="639785" cy="384458"/>
          </a:xfrm>
          <a:prstGeom prst="rect">
            <a:avLst/>
          </a:prstGeom>
        </p:spPr>
      </p:pic>
      <p:pic>
        <p:nvPicPr>
          <p:cNvPr id="27" name="Рисунок 26"/>
          <p:cNvPicPr>
            <a:picLocks noChangeAspect="1"/>
          </p:cNvPicPr>
          <p:nvPr/>
        </p:nvPicPr>
        <p:blipFill>
          <a:blip r:embed="rId11"/>
          <a:stretch>
            <a:fillRect/>
          </a:stretch>
        </p:blipFill>
        <p:spPr>
          <a:xfrm>
            <a:off x="7401944" y="4238796"/>
            <a:ext cx="389918" cy="391497"/>
          </a:xfrm>
          <a:prstGeom prst="rect">
            <a:avLst/>
          </a:prstGeom>
        </p:spPr>
      </p:pic>
      <p:pic>
        <p:nvPicPr>
          <p:cNvPr id="29" name="Рисунок 28"/>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545343" y="4279227"/>
            <a:ext cx="716415" cy="350870"/>
          </a:xfrm>
          <a:prstGeom prst="rect">
            <a:avLst/>
          </a:prstGeom>
        </p:spPr>
      </p:pic>
      <p:pic>
        <p:nvPicPr>
          <p:cNvPr id="30" name="Рисунок 29"/>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1049643" y="4255622"/>
            <a:ext cx="708817" cy="354409"/>
          </a:xfrm>
          <a:prstGeom prst="rect">
            <a:avLst/>
          </a:prstGeom>
        </p:spPr>
      </p:pic>
      <p:sp>
        <p:nvSpPr>
          <p:cNvPr id="47" name="TextBox 46">
            <a:extLst>
              <a:ext uri="{FF2B5EF4-FFF2-40B4-BE49-F238E27FC236}">
                <a16:creationId xmlns:a16="http://schemas.microsoft.com/office/drawing/2014/main" id="{B8BD3A92-0FC7-BC1F-EDE4-5774A2EF773F}"/>
              </a:ext>
            </a:extLst>
          </p:cNvPr>
          <p:cNvSpPr txBox="1"/>
          <p:nvPr/>
        </p:nvSpPr>
        <p:spPr>
          <a:xfrm>
            <a:off x="0" y="6642556"/>
            <a:ext cx="4103803"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Source: IQ Capital Pro data and analysis of KAZAKH INVEST data</a:t>
            </a:r>
          </a:p>
        </p:txBody>
      </p:sp>
      <p:sp>
        <p:nvSpPr>
          <p:cNvPr id="49" name="TextBox 48">
            <a:extLst>
              <a:ext uri="{FF2B5EF4-FFF2-40B4-BE49-F238E27FC236}">
                <a16:creationId xmlns:a16="http://schemas.microsoft.com/office/drawing/2014/main" id="{946B2B07-A807-B123-44BC-14DBD4942990}"/>
              </a:ext>
            </a:extLst>
          </p:cNvPr>
          <p:cNvSpPr txBox="1"/>
          <p:nvPr/>
        </p:nvSpPr>
        <p:spPr>
          <a:xfrm>
            <a:off x="5086913" y="6637313"/>
            <a:ext cx="7095022" cy="21544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There are no foreign representative offices/branches of the specified companies in the countries of Central Asia and the CIS</a:t>
            </a:r>
          </a:p>
        </p:txBody>
      </p:sp>
    </p:spTree>
    <p:extLst>
      <p:ext uri="{BB962C8B-B14F-4D97-AF65-F5344CB8AC3E}">
        <p14:creationId xmlns:p14="http://schemas.microsoft.com/office/powerpoint/2010/main" val="21438974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0" y="0"/>
            <a:ext cx="12192000"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3"/>
            <a:stretch>
              <a:fillRect t="-18518"/>
            </a:stretch>
          </a:blipFill>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reeform 5"/>
          <p:cNvSpPr/>
          <p:nvPr/>
        </p:nvSpPr>
        <p:spPr>
          <a:xfrm flipH="1">
            <a:off x="9980296" y="4114800"/>
            <a:ext cx="2211705" cy="2743200"/>
          </a:xfrm>
          <a:custGeom>
            <a:avLst/>
            <a:gdLst/>
            <a:ahLst/>
            <a:cxnLst/>
            <a:rect l="l" t="t" r="r" b="b"/>
            <a:pathLst>
              <a:path w="3317557" h="4114800">
                <a:moveTo>
                  <a:pt x="3317557" y="0"/>
                </a:moveTo>
                <a:lnTo>
                  <a:pt x="0" y="0"/>
                </a:lnTo>
                <a:lnTo>
                  <a:pt x="0" y="4114800"/>
                </a:lnTo>
                <a:lnTo>
                  <a:pt x="3317557" y="4114800"/>
                </a:lnTo>
                <a:lnTo>
                  <a:pt x="3317557" y="0"/>
                </a:lnTo>
                <a:close/>
              </a:path>
            </a:pathLst>
          </a:custGeom>
          <a:blipFill>
            <a:blip r:embed="rId4"/>
            <a:stretch>
              <a:fillRect/>
            </a:stretch>
          </a:blipFill>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TextBox 7"/>
          <p:cNvSpPr txBox="1"/>
          <p:nvPr/>
        </p:nvSpPr>
        <p:spPr>
          <a:xfrm>
            <a:off x="659396" y="2924944"/>
            <a:ext cx="10873208" cy="1508105"/>
          </a:xfrm>
          <a:prstGeom prst="rect">
            <a:avLst/>
          </a:prstGeom>
          <a:noFill/>
        </p:spPr>
        <p:txBody>
          <a:bodyPr wrap="square" rtlCol="0">
            <a:spAutoFit/>
          </a:bodyPr>
          <a:lstStyle/>
          <a:p>
            <a:pPr marL="0" marR="0" lvl="0" indent="0" algn="ctr" defTabSz="1100639" rtl="0" eaLnBrk="1" fontAlgn="auto" latinLnBrk="0" hangingPunct="0">
              <a:lnSpc>
                <a:spcPct val="100000"/>
              </a:lnSpc>
              <a:spcBef>
                <a:spcPts val="0"/>
              </a:spcBef>
              <a:spcAft>
                <a:spcPts val="0"/>
              </a:spcAft>
              <a:buClrTx/>
              <a:buSzTx/>
              <a:buFontTx/>
              <a:buNone/>
              <a:tabLst/>
              <a:defRPr/>
            </a:pPr>
            <a:r>
              <a:rPr kumimoji="0" lang="en-US" sz="3600" b="1" i="0" u="none" strike="noStrike" kern="0" cap="none" spc="0" normalizeH="0" baseline="0" noProof="0" dirty="0">
                <a:ln>
                  <a:noFill/>
                </a:ln>
                <a:solidFill>
                  <a:srgbClr val="5B9BD5"/>
                </a:solidFill>
                <a:effectLst/>
                <a:uLnTx/>
                <a:uFillTx/>
                <a:latin typeface="Century Gothic" panose="020B0502020202020204" pitchFamily="34" charset="0"/>
                <a:ea typeface="Tahoma" panose="020B0604030504040204" pitchFamily="34" charset="0"/>
                <a:cs typeface="Arial" pitchFamily="34" charset="0"/>
                <a:sym typeface="Helvetica Neue Medium"/>
              </a:rPr>
              <a:t>Investment Opportunities </a:t>
            </a:r>
          </a:p>
          <a:p>
            <a:pPr marL="0" marR="0" lvl="0" indent="0" algn="ctr" defTabSz="1100639" rtl="0" eaLnBrk="1" fontAlgn="auto" latinLnBrk="0" hangingPunct="0">
              <a:lnSpc>
                <a:spcPct val="100000"/>
              </a:lnSpc>
              <a:spcBef>
                <a:spcPts val="0"/>
              </a:spcBef>
              <a:spcAft>
                <a:spcPts val="0"/>
              </a:spcAft>
              <a:buClrTx/>
              <a:buSzTx/>
              <a:buFontTx/>
              <a:buNone/>
              <a:tabLst/>
              <a:defRPr/>
            </a:pPr>
            <a:r>
              <a:rPr kumimoji="0" lang="en-US" sz="3600" b="1" i="0" u="none" strike="noStrike" kern="0" cap="none" spc="0" normalizeH="0" baseline="0" noProof="0" dirty="0">
                <a:ln>
                  <a:noFill/>
                </a:ln>
                <a:solidFill>
                  <a:srgbClr val="5B9BD5"/>
                </a:solidFill>
                <a:effectLst/>
                <a:uLnTx/>
                <a:uFillTx/>
                <a:latin typeface="Century Gothic" panose="020B0502020202020204" pitchFamily="34" charset="0"/>
                <a:ea typeface="Tahoma" panose="020B0604030504040204" pitchFamily="34" charset="0"/>
                <a:cs typeface="Arial" pitchFamily="34" charset="0"/>
                <a:sym typeface="Helvetica Neue Medium"/>
              </a:rPr>
              <a:t>at the Heart of Eurasia</a:t>
            </a:r>
            <a:endParaRPr kumimoji="0" lang="ru-RU" sz="3600" b="1" i="0" u="none" strike="noStrike" kern="0" cap="none" spc="0" normalizeH="0" baseline="0" noProof="0" dirty="0">
              <a:ln>
                <a:noFill/>
              </a:ln>
              <a:solidFill>
                <a:srgbClr val="5B9BD5"/>
              </a:solidFill>
              <a:effectLst/>
              <a:uLnTx/>
              <a:uFillTx/>
              <a:latin typeface="Century Gothic" panose="020B0502020202020204" pitchFamily="34" charset="0"/>
              <a:ea typeface="Tahoma" panose="020B0604030504040204" pitchFamily="34" charset="0"/>
              <a:cs typeface="Arial" pitchFamily="34" charset="0"/>
              <a:sym typeface="Helvetica Neue Medium"/>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ru-RU" sz="2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Arial" pitchFamily="34" charset="0"/>
            </a:endParaRPr>
          </a:p>
        </p:txBody>
      </p:sp>
      <p:pic>
        <p:nvPicPr>
          <p:cNvPr id="9" name="Picture 2" descr="Комитет по инвестициям - Kazakh Invest"/>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58836" y="548680"/>
            <a:ext cx="2874328" cy="1644879"/>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A6816036-C2BB-A7C6-8827-3993F77F749C}"/>
              </a:ext>
            </a:extLst>
          </p:cNvPr>
          <p:cNvSpPr txBox="1"/>
          <p:nvPr/>
        </p:nvSpPr>
        <p:spPr>
          <a:xfrm>
            <a:off x="298938" y="5468816"/>
            <a:ext cx="11368454" cy="1208023"/>
          </a:xfrm>
          <a:prstGeom prst="rect">
            <a:avLst/>
          </a:prstGeom>
          <a:noFill/>
        </p:spPr>
        <p:txBody>
          <a:bodyPr wrap="square">
            <a:spAutoFit/>
          </a:bodyPr>
          <a:lstStyle/>
          <a:p>
            <a:pPr marL="0" marR="0" lvl="0" indent="0" algn="l" defTabSz="457200" rtl="0" eaLnBrk="1" fontAlgn="auto" latinLnBrk="0" hangingPunct="1">
              <a:lnSpc>
                <a:spcPts val="2946"/>
              </a:lnSpc>
              <a:spcBef>
                <a:spcPts val="0"/>
              </a:spcBef>
              <a:spcAft>
                <a:spcPts val="0"/>
              </a:spcAft>
              <a:buClrTx/>
              <a:buSzTx/>
              <a:buFontTx/>
              <a:buNone/>
              <a:tabLst/>
              <a:defRPr/>
            </a:pPr>
            <a:r>
              <a:rPr kumimoji="0" lang="en-US" sz="2800" b="0" i="0"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Tahoma" panose="020B0604030504040204" pitchFamily="34" charset="0"/>
                <a:cs typeface="Rubik Bold" panose="020B0604020202020204"/>
                <a:sym typeface="Helvetica Neue Medium"/>
              </a:rPr>
              <a:t>PROSPECTS FOR THE DEVELOPMENT OF SPECIFIC AREAS OF AGRICULTURE IN KAZAKHSTAN – CROP PRODUCTION</a:t>
            </a:r>
          </a:p>
          <a:p>
            <a:pPr marL="0" marR="0" lvl="0" indent="0" algn="l" defTabSz="457200" rtl="0" eaLnBrk="1" fontAlgn="auto" latinLnBrk="0" hangingPunct="1">
              <a:lnSpc>
                <a:spcPts val="2946"/>
              </a:lnSpc>
              <a:spcBef>
                <a:spcPts val="0"/>
              </a:spcBef>
              <a:spcAft>
                <a:spcPts val="0"/>
              </a:spcAft>
              <a:buClrTx/>
              <a:buSzTx/>
              <a:buFontTx/>
              <a:buNone/>
              <a:tabLst/>
              <a:defRPr/>
            </a:pPr>
            <a:r>
              <a:rPr kumimoji="0" lang="en-US" sz="2000" b="0" i="0"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Tahoma" panose="020B0604030504040204" pitchFamily="34" charset="0"/>
                <a:cs typeface="Rubik Bold" panose="020B0604020202020204"/>
                <a:sym typeface="Helvetica Neue Medium"/>
              </a:rPr>
              <a:t>October</a:t>
            </a:r>
            <a:r>
              <a:rPr kumimoji="0" lang="ru-RU" sz="2000" b="0" i="0"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Tahoma" panose="020B0604030504040204" pitchFamily="34" charset="0"/>
                <a:cs typeface="Rubik Bold" panose="020B0604020202020204"/>
                <a:sym typeface="Helvetica Neue Medium"/>
              </a:rPr>
              <a:t> 2025 </a:t>
            </a:r>
            <a:r>
              <a:rPr kumimoji="0" lang="en-US" sz="2000" b="0" i="0"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Tahoma" panose="020B0604030504040204" pitchFamily="34" charset="0"/>
                <a:cs typeface="Rubik Bold" panose="020B0604020202020204"/>
                <a:sym typeface="Helvetica Neue Medium"/>
              </a:rPr>
              <a:t> </a:t>
            </a:r>
          </a:p>
        </p:txBody>
      </p:sp>
    </p:spTree>
    <p:extLst>
      <p:ext uri="{BB962C8B-B14F-4D97-AF65-F5344CB8AC3E}">
        <p14:creationId xmlns:p14="http://schemas.microsoft.com/office/powerpoint/2010/main" val="26703787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286"/>
          <p:cNvSpPr txBox="1">
            <a:spLocks noChangeArrowheads="1"/>
          </p:cNvSpPr>
          <p:nvPr>
            <p:custDataLst>
              <p:tags r:id="rId1"/>
            </p:custDataLst>
          </p:nvPr>
        </p:nvSpPr>
        <p:spPr bwMode="gray">
          <a:xfrm>
            <a:off x="151674" y="4658471"/>
            <a:ext cx="11806869" cy="1757827"/>
          </a:xfrm>
          <a:prstGeom prst="roundRect">
            <a:avLst>
              <a:gd name="adj" fmla="val 0"/>
            </a:avLst>
          </a:prstGeom>
          <a:solidFill>
            <a:schemeClr val="tx2">
              <a:lumMod val="10000"/>
              <a:lumOff val="90000"/>
            </a:schemeClr>
          </a:solidFill>
          <a:ln w="9525" cap="flat" cmpd="sng" algn="ctr">
            <a:noFill/>
            <a:prstDash val="solid"/>
          </a:ln>
          <a:effectLst/>
        </p:spPr>
        <p:txBody>
          <a:bodyPr anchor="ctr"/>
          <a:lstStyle>
            <a:defPPr>
              <a:defRPr lang="en-US"/>
            </a:defPPr>
            <a:lvl1pPr algn="ctr">
              <a:defRPr sz="11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FFFFFF"/>
              </a:solidFill>
              <a:effectLst/>
              <a:uLnTx/>
              <a:uFillTx/>
              <a:latin typeface="Century Gothic" panose="020B0502020202020204" pitchFamily="34" charset="0"/>
              <a:ea typeface="ＭＳ Ｐゴシック"/>
              <a:cs typeface="+mn-cs"/>
            </a:endParaRPr>
          </a:p>
        </p:txBody>
      </p:sp>
      <p:sp>
        <p:nvSpPr>
          <p:cNvPr id="53" name="Rectangle 286"/>
          <p:cNvSpPr txBox="1">
            <a:spLocks noChangeArrowheads="1"/>
          </p:cNvSpPr>
          <p:nvPr>
            <p:custDataLst>
              <p:tags r:id="rId2"/>
            </p:custDataLst>
          </p:nvPr>
        </p:nvSpPr>
        <p:spPr bwMode="gray">
          <a:xfrm>
            <a:off x="151674" y="2012925"/>
            <a:ext cx="11806869" cy="1619496"/>
          </a:xfrm>
          <a:prstGeom prst="roundRect">
            <a:avLst>
              <a:gd name="adj" fmla="val 0"/>
            </a:avLst>
          </a:prstGeom>
          <a:solidFill>
            <a:schemeClr val="tx2">
              <a:lumMod val="10000"/>
              <a:lumOff val="90000"/>
            </a:schemeClr>
          </a:solidFill>
          <a:ln w="9525" cap="flat" cmpd="sng" algn="ctr">
            <a:noFill/>
            <a:prstDash val="solid"/>
          </a:ln>
          <a:effectLst>
            <a:outerShdw blurRad="50800" dist="38100" dir="5400000" algn="t" rotWithShape="0">
              <a:schemeClr val="tx2">
                <a:lumMod val="60000"/>
                <a:lumOff val="40000"/>
                <a:alpha val="40000"/>
              </a:schemeClr>
            </a:outerShdw>
          </a:effectLst>
        </p:spPr>
        <p:txBody>
          <a:bodyPr anchor="ctr"/>
          <a:lstStyle>
            <a:defPPr>
              <a:defRPr lang="en-US"/>
            </a:defPPr>
            <a:lvl1pPr algn="ctr">
              <a:defRPr sz="11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FFFFFF"/>
              </a:solidFill>
              <a:effectLst/>
              <a:uLnTx/>
              <a:uFillTx/>
              <a:latin typeface="Century Gothic" panose="020B0502020202020204" pitchFamily="34" charset="0"/>
              <a:ea typeface="ＭＳ Ｐゴシック"/>
              <a:cs typeface="+mn-cs"/>
            </a:endParaRPr>
          </a:p>
        </p:txBody>
      </p:sp>
      <p:sp>
        <p:nvSpPr>
          <p:cNvPr id="62" name="Овал 61">
            <a:extLst>
              <a:ext uri="{FF2B5EF4-FFF2-40B4-BE49-F238E27FC236}">
                <a16:creationId xmlns:a16="http://schemas.microsoft.com/office/drawing/2014/main" id="{0E55C0B2-6396-4FC6-9AE4-8FFC96D83CB9}"/>
              </a:ext>
            </a:extLst>
          </p:cNvPr>
          <p:cNvSpPr/>
          <p:nvPr/>
        </p:nvSpPr>
        <p:spPr>
          <a:xfrm>
            <a:off x="1143853" y="1228434"/>
            <a:ext cx="900000" cy="900000"/>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63" name="Прямоугольник 62">
            <a:extLst>
              <a:ext uri="{FF2B5EF4-FFF2-40B4-BE49-F238E27FC236}">
                <a16:creationId xmlns:a16="http://schemas.microsoft.com/office/drawing/2014/main" id="{A4542B5E-BEE1-4077-A521-45FA4D9491AB}"/>
              </a:ext>
            </a:extLst>
          </p:cNvPr>
          <p:cNvSpPr/>
          <p:nvPr/>
        </p:nvSpPr>
        <p:spPr>
          <a:xfrm>
            <a:off x="2627605" y="4959902"/>
            <a:ext cx="3445830" cy="138499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Investment attractiveness</a:t>
            </a:r>
            <a:endParaRPr kumimoji="0" lang="ru-RU"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he sector is appealing to both foreign and domestic investors, including those in seed production, agricultural machinery and digital solutions</a:t>
            </a:r>
            <a:endParaRPr kumimoji="0" lang="en-US" sz="1400" b="0" i="1"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Malgun Gothic Semilight" panose="020B0502040204020203" pitchFamily="34" charset="-128"/>
              <a:cs typeface="Arial Narrow"/>
            </a:endParaRPr>
          </a:p>
        </p:txBody>
      </p:sp>
      <p:sp>
        <p:nvSpPr>
          <p:cNvPr id="64" name="Прямоугольник 63">
            <a:extLst>
              <a:ext uri="{FF2B5EF4-FFF2-40B4-BE49-F238E27FC236}">
                <a16:creationId xmlns:a16="http://schemas.microsoft.com/office/drawing/2014/main" id="{A4542B5E-BEE1-4077-A521-45FA4D9491AB}"/>
              </a:ext>
            </a:extLst>
          </p:cNvPr>
          <p:cNvSpPr/>
          <p:nvPr/>
        </p:nvSpPr>
        <p:spPr>
          <a:xfrm>
            <a:off x="2943052" y="2191051"/>
            <a:ext cx="2848090" cy="138499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Malgun Gothic Semilight" panose="020B0502040204020203" pitchFamily="34" charset="-128"/>
                <a:cs typeface="+mn-cs"/>
              </a:rPr>
              <a:t>Underutilized resources</a:t>
            </a:r>
            <a:endParaRPr kumimoji="0" lang="ru-RU" sz="1400" b="1" i="0"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Malgun Gothic Semilight" panose="020B0502040204020203" pitchFamily="34"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Malgun Gothic Semilight" panose="020B0502040204020203" pitchFamily="34" charset="-128"/>
                <a:cs typeface="+mn-cs"/>
              </a:rPr>
              <a:t>Over 116 million hectares of agricultural land, including fallow land and pastures, can be brought into sustainable crop production</a:t>
            </a:r>
          </a:p>
        </p:txBody>
      </p:sp>
      <p:sp>
        <p:nvSpPr>
          <p:cNvPr id="65" name="Прямоугольник 64">
            <a:extLst>
              <a:ext uri="{FF2B5EF4-FFF2-40B4-BE49-F238E27FC236}">
                <a16:creationId xmlns:a16="http://schemas.microsoft.com/office/drawing/2014/main" id="{A4542B5E-BEE1-4077-A521-45FA4D9491AB}"/>
              </a:ext>
            </a:extLst>
          </p:cNvPr>
          <p:cNvSpPr/>
          <p:nvPr/>
        </p:nvSpPr>
        <p:spPr>
          <a:xfrm>
            <a:off x="5882946" y="2205923"/>
            <a:ext cx="3184592" cy="138499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Malgun Gothic Semilight" panose="020B0502040204020203" pitchFamily="34" charset="-128"/>
                <a:cs typeface="Arial Narrow"/>
              </a:rPr>
              <a:t>Strategic location</a:t>
            </a:r>
            <a:endParaRPr kumimoji="0" lang="ru-RU" sz="1400" b="1" i="0"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Malgun Gothic Semilight" panose="020B0502040204020203" pitchFamily="34" charset="-128"/>
              <a:cs typeface="Arial Narrow"/>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ximity to growing markets and international transport routes creates favorable conditions for the development of </a:t>
            </a:r>
            <a:r>
              <a:rPr kumimoji="0" lang="en-US" sz="14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agrologistic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chains</a:t>
            </a:r>
            <a:endParaRPr kumimoji="0" lang="en-US" sz="1400" b="1" i="0"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Malgun Gothic Semilight" panose="020B0502040204020203" pitchFamily="34" charset="-128"/>
              <a:cs typeface="Arial Narrow"/>
            </a:endParaRPr>
          </a:p>
        </p:txBody>
      </p:sp>
      <p:sp>
        <p:nvSpPr>
          <p:cNvPr id="67" name="Прямоугольник 66">
            <a:extLst>
              <a:ext uri="{FF2B5EF4-FFF2-40B4-BE49-F238E27FC236}">
                <a16:creationId xmlns:a16="http://schemas.microsoft.com/office/drawing/2014/main" id="{A4542B5E-BEE1-4077-A521-45FA4D9491AB}"/>
              </a:ext>
            </a:extLst>
          </p:cNvPr>
          <p:cNvSpPr/>
          <p:nvPr/>
        </p:nvSpPr>
        <p:spPr>
          <a:xfrm>
            <a:off x="45272" y="2099189"/>
            <a:ext cx="2972133" cy="160043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Export potential</a:t>
            </a:r>
            <a:endParaRPr kumimoji="0" lang="ru-RU"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he development of value chains for grain, oilseed and niche crops strengthens Kazakhstan’s position in the markets of China, the Middle East and Central Asia</a:t>
            </a:r>
            <a:endParaRPr kumimoji="0" lang="en-US" sz="1400" b="0" i="0"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Malgun Gothic Semilight" panose="020B0502040204020203" pitchFamily="34" charset="-128"/>
              <a:cs typeface="Arial Narrow"/>
            </a:endParaRPr>
          </a:p>
        </p:txBody>
      </p:sp>
      <p:sp>
        <p:nvSpPr>
          <p:cNvPr id="68" name="Прямоугольник 67">
            <a:extLst>
              <a:ext uri="{FF2B5EF4-FFF2-40B4-BE49-F238E27FC236}">
                <a16:creationId xmlns:a16="http://schemas.microsoft.com/office/drawing/2014/main" id="{A4542B5E-BEE1-4077-A521-45FA4D9491AB}"/>
              </a:ext>
            </a:extLst>
          </p:cNvPr>
          <p:cNvSpPr/>
          <p:nvPr/>
        </p:nvSpPr>
        <p:spPr>
          <a:xfrm>
            <a:off x="151674" y="4956798"/>
            <a:ext cx="2468809" cy="138499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Government support</a:t>
            </a:r>
            <a:endParaRPr kumimoji="0" lang="ru-RU"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Support measures (subsidies, tax incentives, grants, infrastructure projects) make the sector a priority</a:t>
            </a: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70" name="Прямоугольник 69">
            <a:extLst>
              <a:ext uri="{FF2B5EF4-FFF2-40B4-BE49-F238E27FC236}">
                <a16:creationId xmlns:a16="http://schemas.microsoft.com/office/drawing/2014/main" id="{A4542B5E-BEE1-4077-A521-45FA4D9491AB}"/>
              </a:ext>
            </a:extLst>
          </p:cNvPr>
          <p:cNvSpPr/>
          <p:nvPr/>
        </p:nvSpPr>
        <p:spPr>
          <a:xfrm>
            <a:off x="8961838" y="4961338"/>
            <a:ext cx="2996705" cy="95410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Climate resilience</a:t>
            </a:r>
            <a:endParaRPr kumimoji="0" lang="ru-RU"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Drought-resistant crops and technologies reduce climate risks and ensure stable yields</a:t>
            </a:r>
            <a:endParaRPr kumimoji="0" lang="en-US" sz="1400" b="0" i="1"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Malgun Gothic Semilight" panose="020B0502040204020203" pitchFamily="34" charset="-128"/>
              <a:cs typeface="Arial Narrow"/>
            </a:endParaRPr>
          </a:p>
        </p:txBody>
      </p:sp>
      <p:sp>
        <p:nvSpPr>
          <p:cNvPr id="71" name="Прямоугольник 70">
            <a:extLst>
              <a:ext uri="{FF2B5EF4-FFF2-40B4-BE49-F238E27FC236}">
                <a16:creationId xmlns:a16="http://schemas.microsoft.com/office/drawing/2014/main" id="{A4542B5E-BEE1-4077-A521-45FA4D9491AB}"/>
              </a:ext>
            </a:extLst>
          </p:cNvPr>
          <p:cNvSpPr/>
          <p:nvPr/>
        </p:nvSpPr>
        <p:spPr>
          <a:xfrm>
            <a:off x="9067538" y="2191801"/>
            <a:ext cx="2936410" cy="138499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Value addition</a:t>
            </a:r>
            <a:endParaRPr kumimoji="0" lang="ru-RU"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cessing raw materials into flour, oils and proteins increases the sector’s contribution to the economy (up to 30%) and stimulates SMEs</a:t>
            </a:r>
            <a:endParaRPr kumimoji="0" lang="en-US" sz="1400" b="1" i="1"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Malgun Gothic Semilight" panose="020B0502040204020203" pitchFamily="34" charset="-128"/>
              <a:cs typeface="Arial Narrow"/>
            </a:endParaRPr>
          </a:p>
        </p:txBody>
      </p:sp>
      <p:sp>
        <p:nvSpPr>
          <p:cNvPr id="132" name="Freeform 34">
            <a:extLst>
              <a:ext uri="{FF2B5EF4-FFF2-40B4-BE49-F238E27FC236}">
                <a16:creationId xmlns:a16="http://schemas.microsoft.com/office/drawing/2014/main" id="{F825DF7A-4BA1-425D-841A-E54394C11385}"/>
              </a:ext>
            </a:extLst>
          </p:cNvPr>
          <p:cNvSpPr>
            <a:spLocks/>
          </p:cNvSpPr>
          <p:nvPr/>
        </p:nvSpPr>
        <p:spPr bwMode="auto">
          <a:xfrm>
            <a:off x="1163874" y="4479649"/>
            <a:ext cx="325173" cy="254261"/>
          </a:xfrm>
          <a:custGeom>
            <a:avLst/>
            <a:gdLst>
              <a:gd name="T0" fmla="*/ 180 w 1800"/>
              <a:gd name="T1" fmla="*/ 960 h 1200"/>
              <a:gd name="T2" fmla="*/ 305 w 1800"/>
              <a:gd name="T3" fmla="*/ 909 h 1200"/>
              <a:gd name="T4" fmla="*/ 482 w 1800"/>
              <a:gd name="T5" fmla="*/ 998 h 1200"/>
              <a:gd name="T6" fmla="*/ 480 w 1800"/>
              <a:gd name="T7" fmla="*/ 1020 h 1200"/>
              <a:gd name="T8" fmla="*/ 660 w 1800"/>
              <a:gd name="T9" fmla="*/ 1200 h 1200"/>
              <a:gd name="T10" fmla="*/ 840 w 1800"/>
              <a:gd name="T11" fmla="*/ 1020 h 1200"/>
              <a:gd name="T12" fmla="*/ 822 w 1800"/>
              <a:gd name="T13" fmla="*/ 943 h 1200"/>
              <a:gd name="T14" fmla="*/ 1063 w 1800"/>
              <a:gd name="T15" fmla="*/ 702 h 1200"/>
              <a:gd name="T16" fmla="*/ 1140 w 1800"/>
              <a:gd name="T17" fmla="*/ 720 h 1200"/>
              <a:gd name="T18" fmla="*/ 1320 w 1800"/>
              <a:gd name="T19" fmla="*/ 540 h 1200"/>
              <a:gd name="T20" fmla="*/ 1311 w 1800"/>
              <a:gd name="T21" fmla="*/ 487 h 1200"/>
              <a:gd name="T22" fmla="*/ 1520 w 1800"/>
              <a:gd name="T23" fmla="*/ 330 h 1200"/>
              <a:gd name="T24" fmla="*/ 1620 w 1800"/>
              <a:gd name="T25" fmla="*/ 360 h 1200"/>
              <a:gd name="T26" fmla="*/ 1800 w 1800"/>
              <a:gd name="T27" fmla="*/ 180 h 1200"/>
              <a:gd name="T28" fmla="*/ 1620 w 1800"/>
              <a:gd name="T29" fmla="*/ 0 h 1200"/>
              <a:gd name="T30" fmla="*/ 1440 w 1800"/>
              <a:gd name="T31" fmla="*/ 180 h 1200"/>
              <a:gd name="T32" fmla="*/ 1449 w 1800"/>
              <a:gd name="T33" fmla="*/ 233 h 1200"/>
              <a:gd name="T34" fmla="*/ 1240 w 1800"/>
              <a:gd name="T35" fmla="*/ 390 h 1200"/>
              <a:gd name="T36" fmla="*/ 1140 w 1800"/>
              <a:gd name="T37" fmla="*/ 360 h 1200"/>
              <a:gd name="T38" fmla="*/ 960 w 1800"/>
              <a:gd name="T39" fmla="*/ 540 h 1200"/>
              <a:gd name="T40" fmla="*/ 978 w 1800"/>
              <a:gd name="T41" fmla="*/ 617 h 1200"/>
              <a:gd name="T42" fmla="*/ 737 w 1800"/>
              <a:gd name="T43" fmla="*/ 858 h 1200"/>
              <a:gd name="T44" fmla="*/ 660 w 1800"/>
              <a:gd name="T45" fmla="*/ 840 h 1200"/>
              <a:gd name="T46" fmla="*/ 535 w 1800"/>
              <a:gd name="T47" fmla="*/ 891 h 1200"/>
              <a:gd name="T48" fmla="*/ 358 w 1800"/>
              <a:gd name="T49" fmla="*/ 802 h 1200"/>
              <a:gd name="T50" fmla="*/ 360 w 1800"/>
              <a:gd name="T51" fmla="*/ 780 h 1200"/>
              <a:gd name="T52" fmla="*/ 180 w 1800"/>
              <a:gd name="T53" fmla="*/ 600 h 1200"/>
              <a:gd name="T54" fmla="*/ 0 w 1800"/>
              <a:gd name="T55" fmla="*/ 780 h 1200"/>
              <a:gd name="T56" fmla="*/ 180 w 1800"/>
              <a:gd name="T57" fmla="*/ 96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00" h="1200">
                <a:moveTo>
                  <a:pt x="180" y="960"/>
                </a:moveTo>
                <a:cubicBezTo>
                  <a:pt x="228" y="960"/>
                  <a:pt x="272" y="941"/>
                  <a:pt x="305" y="909"/>
                </a:cubicBezTo>
                <a:cubicBezTo>
                  <a:pt x="482" y="998"/>
                  <a:pt x="482" y="998"/>
                  <a:pt x="482" y="998"/>
                </a:cubicBezTo>
                <a:cubicBezTo>
                  <a:pt x="481" y="1005"/>
                  <a:pt x="480" y="1013"/>
                  <a:pt x="480" y="1020"/>
                </a:cubicBezTo>
                <a:cubicBezTo>
                  <a:pt x="480" y="1119"/>
                  <a:pt x="561" y="1200"/>
                  <a:pt x="660" y="1200"/>
                </a:cubicBezTo>
                <a:cubicBezTo>
                  <a:pt x="759" y="1200"/>
                  <a:pt x="840" y="1119"/>
                  <a:pt x="840" y="1020"/>
                </a:cubicBezTo>
                <a:cubicBezTo>
                  <a:pt x="840" y="992"/>
                  <a:pt x="833" y="966"/>
                  <a:pt x="822" y="943"/>
                </a:cubicBezTo>
                <a:cubicBezTo>
                  <a:pt x="1063" y="702"/>
                  <a:pt x="1063" y="702"/>
                  <a:pt x="1063" y="702"/>
                </a:cubicBezTo>
                <a:cubicBezTo>
                  <a:pt x="1086" y="713"/>
                  <a:pt x="1112" y="720"/>
                  <a:pt x="1140" y="720"/>
                </a:cubicBezTo>
                <a:cubicBezTo>
                  <a:pt x="1239" y="720"/>
                  <a:pt x="1320" y="639"/>
                  <a:pt x="1320" y="540"/>
                </a:cubicBezTo>
                <a:cubicBezTo>
                  <a:pt x="1320" y="521"/>
                  <a:pt x="1316" y="504"/>
                  <a:pt x="1311" y="487"/>
                </a:cubicBezTo>
                <a:cubicBezTo>
                  <a:pt x="1520" y="330"/>
                  <a:pt x="1520" y="330"/>
                  <a:pt x="1520" y="330"/>
                </a:cubicBezTo>
                <a:cubicBezTo>
                  <a:pt x="1549" y="349"/>
                  <a:pt x="1583" y="360"/>
                  <a:pt x="1620" y="360"/>
                </a:cubicBezTo>
                <a:cubicBezTo>
                  <a:pt x="1719" y="360"/>
                  <a:pt x="1800" y="279"/>
                  <a:pt x="1800" y="180"/>
                </a:cubicBezTo>
                <a:cubicBezTo>
                  <a:pt x="1800" y="81"/>
                  <a:pt x="1719" y="0"/>
                  <a:pt x="1620" y="0"/>
                </a:cubicBezTo>
                <a:cubicBezTo>
                  <a:pt x="1521" y="0"/>
                  <a:pt x="1440" y="81"/>
                  <a:pt x="1440" y="180"/>
                </a:cubicBezTo>
                <a:cubicBezTo>
                  <a:pt x="1440" y="199"/>
                  <a:pt x="1444" y="216"/>
                  <a:pt x="1449" y="233"/>
                </a:cubicBezTo>
                <a:cubicBezTo>
                  <a:pt x="1240" y="390"/>
                  <a:pt x="1240" y="390"/>
                  <a:pt x="1240" y="390"/>
                </a:cubicBezTo>
                <a:cubicBezTo>
                  <a:pt x="1211" y="371"/>
                  <a:pt x="1177" y="360"/>
                  <a:pt x="1140" y="360"/>
                </a:cubicBezTo>
                <a:cubicBezTo>
                  <a:pt x="1041" y="360"/>
                  <a:pt x="960" y="441"/>
                  <a:pt x="960" y="540"/>
                </a:cubicBezTo>
                <a:cubicBezTo>
                  <a:pt x="960" y="568"/>
                  <a:pt x="967" y="594"/>
                  <a:pt x="978" y="617"/>
                </a:cubicBezTo>
                <a:cubicBezTo>
                  <a:pt x="737" y="858"/>
                  <a:pt x="737" y="858"/>
                  <a:pt x="737" y="858"/>
                </a:cubicBezTo>
                <a:cubicBezTo>
                  <a:pt x="714" y="847"/>
                  <a:pt x="688" y="840"/>
                  <a:pt x="660" y="840"/>
                </a:cubicBezTo>
                <a:cubicBezTo>
                  <a:pt x="612" y="840"/>
                  <a:pt x="568" y="859"/>
                  <a:pt x="535" y="891"/>
                </a:cubicBezTo>
                <a:cubicBezTo>
                  <a:pt x="358" y="802"/>
                  <a:pt x="358" y="802"/>
                  <a:pt x="358" y="802"/>
                </a:cubicBezTo>
                <a:cubicBezTo>
                  <a:pt x="359" y="795"/>
                  <a:pt x="360" y="787"/>
                  <a:pt x="360" y="780"/>
                </a:cubicBezTo>
                <a:cubicBezTo>
                  <a:pt x="360" y="681"/>
                  <a:pt x="279" y="600"/>
                  <a:pt x="180" y="600"/>
                </a:cubicBezTo>
                <a:cubicBezTo>
                  <a:pt x="81" y="600"/>
                  <a:pt x="0" y="681"/>
                  <a:pt x="0" y="780"/>
                </a:cubicBezTo>
                <a:cubicBezTo>
                  <a:pt x="0" y="879"/>
                  <a:pt x="81" y="960"/>
                  <a:pt x="180" y="960"/>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33" name="Freeform 35">
            <a:extLst>
              <a:ext uri="{FF2B5EF4-FFF2-40B4-BE49-F238E27FC236}">
                <a16:creationId xmlns:a16="http://schemas.microsoft.com/office/drawing/2014/main" id="{FD72D47A-3569-4EAC-9577-271EAAF35E04}"/>
              </a:ext>
            </a:extLst>
          </p:cNvPr>
          <p:cNvSpPr>
            <a:spLocks/>
          </p:cNvSpPr>
          <p:nvPr/>
        </p:nvSpPr>
        <p:spPr bwMode="auto">
          <a:xfrm>
            <a:off x="1271583" y="4336718"/>
            <a:ext cx="369917" cy="306708"/>
          </a:xfrm>
          <a:custGeom>
            <a:avLst/>
            <a:gdLst>
              <a:gd name="T0" fmla="*/ 1988 w 2048"/>
              <a:gd name="T1" fmla="*/ 1328 h 1448"/>
              <a:gd name="T2" fmla="*/ 1924 w 2048"/>
              <a:gd name="T3" fmla="*/ 1328 h 1448"/>
              <a:gd name="T4" fmla="*/ 1924 w 2048"/>
              <a:gd name="T5" fmla="*/ 60 h 1448"/>
              <a:gd name="T6" fmla="*/ 1864 w 2048"/>
              <a:gd name="T7" fmla="*/ 0 h 1448"/>
              <a:gd name="T8" fmla="*/ 1624 w 2048"/>
              <a:gd name="T9" fmla="*/ 0 h 1448"/>
              <a:gd name="T10" fmla="*/ 1564 w 2048"/>
              <a:gd name="T11" fmla="*/ 60 h 1448"/>
              <a:gd name="T12" fmla="*/ 1564 w 2048"/>
              <a:gd name="T13" fmla="*/ 1328 h 1448"/>
              <a:gd name="T14" fmla="*/ 1444 w 2048"/>
              <a:gd name="T15" fmla="*/ 1328 h 1448"/>
              <a:gd name="T16" fmla="*/ 1444 w 2048"/>
              <a:gd name="T17" fmla="*/ 420 h 1448"/>
              <a:gd name="T18" fmla="*/ 1384 w 2048"/>
              <a:gd name="T19" fmla="*/ 360 h 1448"/>
              <a:gd name="T20" fmla="*/ 1144 w 2048"/>
              <a:gd name="T21" fmla="*/ 360 h 1448"/>
              <a:gd name="T22" fmla="*/ 1084 w 2048"/>
              <a:gd name="T23" fmla="*/ 420 h 1448"/>
              <a:gd name="T24" fmla="*/ 1084 w 2048"/>
              <a:gd name="T25" fmla="*/ 1328 h 1448"/>
              <a:gd name="T26" fmla="*/ 964 w 2048"/>
              <a:gd name="T27" fmla="*/ 1328 h 1448"/>
              <a:gd name="T28" fmla="*/ 964 w 2048"/>
              <a:gd name="T29" fmla="*/ 900 h 1448"/>
              <a:gd name="T30" fmla="*/ 904 w 2048"/>
              <a:gd name="T31" fmla="*/ 840 h 1448"/>
              <a:gd name="T32" fmla="*/ 664 w 2048"/>
              <a:gd name="T33" fmla="*/ 840 h 1448"/>
              <a:gd name="T34" fmla="*/ 604 w 2048"/>
              <a:gd name="T35" fmla="*/ 900 h 1448"/>
              <a:gd name="T36" fmla="*/ 604 w 2048"/>
              <a:gd name="T37" fmla="*/ 1328 h 1448"/>
              <a:gd name="T38" fmla="*/ 484 w 2048"/>
              <a:gd name="T39" fmla="*/ 1328 h 1448"/>
              <a:gd name="T40" fmla="*/ 484 w 2048"/>
              <a:gd name="T41" fmla="*/ 660 h 1448"/>
              <a:gd name="T42" fmla="*/ 424 w 2048"/>
              <a:gd name="T43" fmla="*/ 600 h 1448"/>
              <a:gd name="T44" fmla="*/ 184 w 2048"/>
              <a:gd name="T45" fmla="*/ 600 h 1448"/>
              <a:gd name="T46" fmla="*/ 124 w 2048"/>
              <a:gd name="T47" fmla="*/ 660 h 1448"/>
              <a:gd name="T48" fmla="*/ 124 w 2048"/>
              <a:gd name="T49" fmla="*/ 1328 h 1448"/>
              <a:gd name="T50" fmla="*/ 60 w 2048"/>
              <a:gd name="T51" fmla="*/ 1328 h 1448"/>
              <a:gd name="T52" fmla="*/ 0 w 2048"/>
              <a:gd name="T53" fmla="*/ 1388 h 1448"/>
              <a:gd name="T54" fmla="*/ 60 w 2048"/>
              <a:gd name="T55" fmla="*/ 1448 h 1448"/>
              <a:gd name="T56" fmla="*/ 1988 w 2048"/>
              <a:gd name="T57" fmla="*/ 1448 h 1448"/>
              <a:gd name="T58" fmla="*/ 2048 w 2048"/>
              <a:gd name="T59" fmla="*/ 1388 h 1448"/>
              <a:gd name="T60" fmla="*/ 1988 w 2048"/>
              <a:gd name="T61" fmla="*/ 1328 h 1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48" h="1448">
                <a:moveTo>
                  <a:pt x="1988" y="1328"/>
                </a:moveTo>
                <a:cubicBezTo>
                  <a:pt x="1924" y="1328"/>
                  <a:pt x="1924" y="1328"/>
                  <a:pt x="1924" y="1328"/>
                </a:cubicBezTo>
                <a:cubicBezTo>
                  <a:pt x="1924" y="60"/>
                  <a:pt x="1924" y="60"/>
                  <a:pt x="1924" y="60"/>
                </a:cubicBezTo>
                <a:cubicBezTo>
                  <a:pt x="1924" y="27"/>
                  <a:pt x="1897" y="0"/>
                  <a:pt x="1864" y="0"/>
                </a:cubicBezTo>
                <a:cubicBezTo>
                  <a:pt x="1624" y="0"/>
                  <a:pt x="1624" y="0"/>
                  <a:pt x="1624" y="0"/>
                </a:cubicBezTo>
                <a:cubicBezTo>
                  <a:pt x="1591" y="0"/>
                  <a:pt x="1564" y="27"/>
                  <a:pt x="1564" y="60"/>
                </a:cubicBezTo>
                <a:cubicBezTo>
                  <a:pt x="1564" y="1328"/>
                  <a:pt x="1564" y="1328"/>
                  <a:pt x="1564" y="1328"/>
                </a:cubicBezTo>
                <a:cubicBezTo>
                  <a:pt x="1444" y="1328"/>
                  <a:pt x="1444" y="1328"/>
                  <a:pt x="1444" y="1328"/>
                </a:cubicBezTo>
                <a:cubicBezTo>
                  <a:pt x="1444" y="420"/>
                  <a:pt x="1444" y="420"/>
                  <a:pt x="1444" y="420"/>
                </a:cubicBezTo>
                <a:cubicBezTo>
                  <a:pt x="1444" y="387"/>
                  <a:pt x="1417" y="360"/>
                  <a:pt x="1384" y="360"/>
                </a:cubicBezTo>
                <a:cubicBezTo>
                  <a:pt x="1144" y="360"/>
                  <a:pt x="1144" y="360"/>
                  <a:pt x="1144" y="360"/>
                </a:cubicBezTo>
                <a:cubicBezTo>
                  <a:pt x="1111" y="360"/>
                  <a:pt x="1084" y="387"/>
                  <a:pt x="1084" y="420"/>
                </a:cubicBezTo>
                <a:cubicBezTo>
                  <a:pt x="1084" y="1328"/>
                  <a:pt x="1084" y="1328"/>
                  <a:pt x="1084" y="1328"/>
                </a:cubicBezTo>
                <a:cubicBezTo>
                  <a:pt x="964" y="1328"/>
                  <a:pt x="964" y="1328"/>
                  <a:pt x="964" y="1328"/>
                </a:cubicBezTo>
                <a:cubicBezTo>
                  <a:pt x="964" y="900"/>
                  <a:pt x="964" y="900"/>
                  <a:pt x="964" y="900"/>
                </a:cubicBezTo>
                <a:cubicBezTo>
                  <a:pt x="964" y="867"/>
                  <a:pt x="937" y="840"/>
                  <a:pt x="904" y="840"/>
                </a:cubicBezTo>
                <a:cubicBezTo>
                  <a:pt x="664" y="840"/>
                  <a:pt x="664" y="840"/>
                  <a:pt x="664" y="840"/>
                </a:cubicBezTo>
                <a:cubicBezTo>
                  <a:pt x="631" y="840"/>
                  <a:pt x="604" y="867"/>
                  <a:pt x="604" y="900"/>
                </a:cubicBezTo>
                <a:cubicBezTo>
                  <a:pt x="604" y="1328"/>
                  <a:pt x="604" y="1328"/>
                  <a:pt x="604" y="1328"/>
                </a:cubicBezTo>
                <a:cubicBezTo>
                  <a:pt x="484" y="1328"/>
                  <a:pt x="484" y="1328"/>
                  <a:pt x="484" y="1328"/>
                </a:cubicBezTo>
                <a:cubicBezTo>
                  <a:pt x="484" y="660"/>
                  <a:pt x="484" y="660"/>
                  <a:pt x="484" y="660"/>
                </a:cubicBezTo>
                <a:cubicBezTo>
                  <a:pt x="484" y="627"/>
                  <a:pt x="457" y="600"/>
                  <a:pt x="424" y="600"/>
                </a:cubicBezTo>
                <a:cubicBezTo>
                  <a:pt x="184" y="600"/>
                  <a:pt x="184" y="600"/>
                  <a:pt x="184" y="600"/>
                </a:cubicBezTo>
                <a:cubicBezTo>
                  <a:pt x="151" y="600"/>
                  <a:pt x="124" y="627"/>
                  <a:pt x="124" y="660"/>
                </a:cubicBezTo>
                <a:cubicBezTo>
                  <a:pt x="124" y="1328"/>
                  <a:pt x="124" y="1328"/>
                  <a:pt x="124" y="1328"/>
                </a:cubicBezTo>
                <a:cubicBezTo>
                  <a:pt x="60" y="1328"/>
                  <a:pt x="60" y="1328"/>
                  <a:pt x="60" y="1328"/>
                </a:cubicBezTo>
                <a:cubicBezTo>
                  <a:pt x="27" y="1328"/>
                  <a:pt x="0" y="1355"/>
                  <a:pt x="0" y="1388"/>
                </a:cubicBezTo>
                <a:cubicBezTo>
                  <a:pt x="0" y="1421"/>
                  <a:pt x="27" y="1448"/>
                  <a:pt x="60" y="1448"/>
                </a:cubicBezTo>
                <a:cubicBezTo>
                  <a:pt x="1988" y="1448"/>
                  <a:pt x="1988" y="1448"/>
                  <a:pt x="1988" y="1448"/>
                </a:cubicBezTo>
                <a:cubicBezTo>
                  <a:pt x="2021" y="1448"/>
                  <a:pt x="2048" y="1421"/>
                  <a:pt x="2048" y="1388"/>
                </a:cubicBezTo>
                <a:cubicBezTo>
                  <a:pt x="2048" y="1355"/>
                  <a:pt x="2021" y="1328"/>
                  <a:pt x="1988" y="1328"/>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52" name="Овал 51"/>
          <p:cNvSpPr/>
          <p:nvPr/>
        </p:nvSpPr>
        <p:spPr>
          <a:xfrm>
            <a:off x="1275178" y="1360790"/>
            <a:ext cx="633774" cy="6403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59" name="Прямоугольник 58">
            <a:extLst>
              <a:ext uri="{FF2B5EF4-FFF2-40B4-BE49-F238E27FC236}">
                <a16:creationId xmlns:a16="http://schemas.microsoft.com/office/drawing/2014/main" id="{A4542B5E-BEE1-4077-A521-45FA4D9491AB}"/>
              </a:ext>
            </a:extLst>
          </p:cNvPr>
          <p:cNvSpPr/>
          <p:nvPr/>
        </p:nvSpPr>
        <p:spPr>
          <a:xfrm>
            <a:off x="6088434" y="4947957"/>
            <a:ext cx="2873405" cy="138499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Food security</a:t>
            </a:r>
            <a:endParaRPr kumimoji="0" lang="ru-RU"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Malgun Gothic Semilight" panose="020B0502040204020203" pitchFamily="34" charset="-128"/>
                <a:cs typeface="+mn-cs"/>
              </a:rPr>
              <a:t>Crop production reduces dependence on grain and feed imports, strengthening the domestic market amid global instability</a:t>
            </a:r>
            <a:endParaRPr kumimoji="0" lang="en-US" sz="1400" b="1" i="0"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Malgun Gothic Semilight" panose="020B0502040204020203" pitchFamily="34" charset="-128"/>
              <a:cs typeface="+mn-cs"/>
            </a:endParaRPr>
          </a:p>
        </p:txBody>
      </p:sp>
      <p:sp>
        <p:nvSpPr>
          <p:cNvPr id="80" name="Freeform 42">
            <a:extLst>
              <a:ext uri="{FF2B5EF4-FFF2-40B4-BE49-F238E27FC236}">
                <a16:creationId xmlns:a16="http://schemas.microsoft.com/office/drawing/2014/main" id="{93A44508-033C-4DE8-BAB4-E99EC8B6CC2E}"/>
              </a:ext>
            </a:extLst>
          </p:cNvPr>
          <p:cNvSpPr>
            <a:spLocks noEditPoints="1"/>
          </p:cNvSpPr>
          <p:nvPr/>
        </p:nvSpPr>
        <p:spPr bwMode="auto">
          <a:xfrm>
            <a:off x="10356827" y="4251697"/>
            <a:ext cx="511702" cy="560360"/>
          </a:xfrm>
          <a:custGeom>
            <a:avLst/>
            <a:gdLst>
              <a:gd name="T0" fmla="*/ 1102 w 1634"/>
              <a:gd name="T1" fmla="*/ 1040 h 1959"/>
              <a:gd name="T2" fmla="*/ 1102 w 1634"/>
              <a:gd name="T3" fmla="*/ 594 h 1959"/>
              <a:gd name="T4" fmla="*/ 1505 w 1634"/>
              <a:gd name="T5" fmla="*/ 817 h 1959"/>
              <a:gd name="T6" fmla="*/ 792 w 1634"/>
              <a:gd name="T7" fmla="*/ 130 h 1959"/>
              <a:gd name="T8" fmla="*/ 841 w 1634"/>
              <a:gd name="T9" fmla="*/ 130 h 1959"/>
              <a:gd name="T10" fmla="*/ 646 w 1634"/>
              <a:gd name="T11" fmla="*/ 501 h 1959"/>
              <a:gd name="T12" fmla="*/ 623 w 1634"/>
              <a:gd name="T13" fmla="*/ 817 h 1959"/>
              <a:gd name="T14" fmla="*/ 827 w 1634"/>
              <a:gd name="T15" fmla="*/ 611 h 1959"/>
              <a:gd name="T16" fmla="*/ 1010 w 1634"/>
              <a:gd name="T17" fmla="*/ 817 h 1959"/>
              <a:gd name="T18" fmla="*/ 827 w 1634"/>
              <a:gd name="T19" fmla="*/ 1023 h 1959"/>
              <a:gd name="T20" fmla="*/ 623 w 1634"/>
              <a:gd name="T21" fmla="*/ 817 h 1959"/>
              <a:gd name="T22" fmla="*/ 1090 w 1634"/>
              <a:gd name="T23" fmla="*/ 492 h 1959"/>
              <a:gd name="T24" fmla="*/ 1381 w 1634"/>
              <a:gd name="T25" fmla="*/ 424 h 1959"/>
              <a:gd name="T26" fmla="*/ 544 w 1634"/>
              <a:gd name="T27" fmla="*/ 489 h 1959"/>
              <a:gd name="T28" fmla="*/ 645 w 1634"/>
              <a:gd name="T29" fmla="*/ 151 h 1959"/>
              <a:gd name="T30" fmla="*/ 1634 w 1634"/>
              <a:gd name="T31" fmla="*/ 817 h 1959"/>
              <a:gd name="T32" fmla="*/ 13 w 1634"/>
              <a:gd name="T33" fmla="*/ 673 h 1959"/>
              <a:gd name="T34" fmla="*/ 701 w 1634"/>
              <a:gd name="T35" fmla="*/ 1755 h 1959"/>
              <a:gd name="T36" fmla="*/ 1383 w 1634"/>
              <a:gd name="T37" fmla="*/ 1565 h 1959"/>
              <a:gd name="T38" fmla="*/ 701 w 1634"/>
              <a:gd name="T39" fmla="*/ 1365 h 1959"/>
              <a:gd name="T40" fmla="*/ 144 w 1634"/>
              <a:gd name="T41" fmla="*/ 673 h 1959"/>
              <a:gd name="T42" fmla="*/ 531 w 1634"/>
              <a:gd name="T43" fmla="*/ 592 h 1959"/>
              <a:gd name="T44" fmla="*/ 531 w 1634"/>
              <a:gd name="T45" fmla="*/ 1043 h 1959"/>
              <a:gd name="T46" fmla="*/ 326 w 1634"/>
              <a:gd name="T47" fmla="*/ 1101 h 1959"/>
              <a:gd name="T48" fmla="*/ 362 w 1634"/>
              <a:gd name="T49" fmla="*/ 1142 h 1959"/>
              <a:gd name="T50" fmla="*/ 393 w 1634"/>
              <a:gd name="T51" fmla="*/ 1173 h 1959"/>
              <a:gd name="T52" fmla="*/ 569 w 1634"/>
              <a:gd name="T53" fmla="*/ 1276 h 1959"/>
              <a:gd name="T54" fmla="*/ 611 w 1634"/>
              <a:gd name="T55" fmla="*/ 1286 h 1959"/>
              <a:gd name="T56" fmla="*/ 624 w 1634"/>
              <a:gd name="T57" fmla="*/ 1287 h 1959"/>
              <a:gd name="T58" fmla="*/ 778 w 1634"/>
              <a:gd name="T59" fmla="*/ 1127 h 1959"/>
              <a:gd name="T60" fmla="*/ 988 w 1634"/>
              <a:gd name="T61" fmla="*/ 1132 h 1959"/>
              <a:gd name="T62" fmla="*/ 1060 w 1634"/>
              <a:gd name="T63" fmla="*/ 1290 h 1959"/>
              <a:gd name="T64" fmla="*/ 1381 w 1634"/>
              <a:gd name="T65" fmla="*/ 1210 h 1959"/>
              <a:gd name="T66" fmla="*/ 1336 w 1634"/>
              <a:gd name="T67" fmla="*/ 1442 h 1959"/>
              <a:gd name="T68" fmla="*/ 1336 w 1634"/>
              <a:gd name="T69" fmla="*/ 1442 h 19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34" h="1959">
                <a:moveTo>
                  <a:pt x="1434" y="1120"/>
                </a:moveTo>
                <a:cubicBezTo>
                  <a:pt x="1347" y="1084"/>
                  <a:pt x="1232" y="1056"/>
                  <a:pt x="1102" y="1040"/>
                </a:cubicBezTo>
                <a:cubicBezTo>
                  <a:pt x="1110" y="967"/>
                  <a:pt x="1113" y="892"/>
                  <a:pt x="1113" y="817"/>
                </a:cubicBezTo>
                <a:cubicBezTo>
                  <a:pt x="1113" y="742"/>
                  <a:pt x="1110" y="667"/>
                  <a:pt x="1102" y="594"/>
                </a:cubicBezTo>
                <a:cubicBezTo>
                  <a:pt x="1232" y="578"/>
                  <a:pt x="1347" y="550"/>
                  <a:pt x="1434" y="513"/>
                </a:cubicBezTo>
                <a:cubicBezTo>
                  <a:pt x="1479" y="605"/>
                  <a:pt x="1505" y="708"/>
                  <a:pt x="1505" y="817"/>
                </a:cubicBezTo>
                <a:cubicBezTo>
                  <a:pt x="1505" y="926"/>
                  <a:pt x="1479" y="1029"/>
                  <a:pt x="1434" y="1120"/>
                </a:cubicBezTo>
                <a:close/>
                <a:moveTo>
                  <a:pt x="792" y="130"/>
                </a:moveTo>
                <a:cubicBezTo>
                  <a:pt x="800" y="129"/>
                  <a:pt x="808" y="129"/>
                  <a:pt x="817" y="129"/>
                </a:cubicBezTo>
                <a:cubicBezTo>
                  <a:pt x="825" y="129"/>
                  <a:pt x="833" y="129"/>
                  <a:pt x="841" y="130"/>
                </a:cubicBezTo>
                <a:cubicBezTo>
                  <a:pt x="890" y="163"/>
                  <a:pt x="954" y="289"/>
                  <a:pt x="988" y="502"/>
                </a:cubicBezTo>
                <a:cubicBezTo>
                  <a:pt x="873" y="511"/>
                  <a:pt x="755" y="510"/>
                  <a:pt x="646" y="501"/>
                </a:cubicBezTo>
                <a:cubicBezTo>
                  <a:pt x="680" y="288"/>
                  <a:pt x="743" y="163"/>
                  <a:pt x="792" y="130"/>
                </a:cubicBezTo>
                <a:close/>
                <a:moveTo>
                  <a:pt x="623" y="817"/>
                </a:moveTo>
                <a:cubicBezTo>
                  <a:pt x="623" y="739"/>
                  <a:pt x="626" y="668"/>
                  <a:pt x="633" y="603"/>
                </a:cubicBezTo>
                <a:cubicBezTo>
                  <a:pt x="695" y="609"/>
                  <a:pt x="760" y="611"/>
                  <a:pt x="827" y="611"/>
                </a:cubicBezTo>
                <a:cubicBezTo>
                  <a:pt x="885" y="611"/>
                  <a:pt x="943" y="609"/>
                  <a:pt x="1000" y="604"/>
                </a:cubicBezTo>
                <a:cubicBezTo>
                  <a:pt x="1007" y="669"/>
                  <a:pt x="1010" y="740"/>
                  <a:pt x="1010" y="817"/>
                </a:cubicBezTo>
                <a:cubicBezTo>
                  <a:pt x="1010" y="894"/>
                  <a:pt x="1007" y="965"/>
                  <a:pt x="1000" y="1030"/>
                </a:cubicBezTo>
                <a:cubicBezTo>
                  <a:pt x="945" y="1025"/>
                  <a:pt x="886" y="1023"/>
                  <a:pt x="827" y="1023"/>
                </a:cubicBezTo>
                <a:cubicBezTo>
                  <a:pt x="760" y="1023"/>
                  <a:pt x="695" y="1025"/>
                  <a:pt x="633" y="1031"/>
                </a:cubicBezTo>
                <a:cubicBezTo>
                  <a:pt x="626" y="966"/>
                  <a:pt x="623" y="895"/>
                  <a:pt x="623" y="817"/>
                </a:cubicBezTo>
                <a:close/>
                <a:moveTo>
                  <a:pt x="1381" y="424"/>
                </a:moveTo>
                <a:cubicBezTo>
                  <a:pt x="1304" y="454"/>
                  <a:pt x="1204" y="478"/>
                  <a:pt x="1090" y="492"/>
                </a:cubicBezTo>
                <a:cubicBezTo>
                  <a:pt x="1069" y="357"/>
                  <a:pt x="1035" y="236"/>
                  <a:pt x="988" y="151"/>
                </a:cubicBezTo>
                <a:cubicBezTo>
                  <a:pt x="1150" y="192"/>
                  <a:pt x="1288" y="291"/>
                  <a:pt x="1381" y="424"/>
                </a:cubicBezTo>
                <a:close/>
                <a:moveTo>
                  <a:pt x="645" y="151"/>
                </a:moveTo>
                <a:cubicBezTo>
                  <a:pt x="598" y="236"/>
                  <a:pt x="565" y="355"/>
                  <a:pt x="544" y="489"/>
                </a:cubicBezTo>
                <a:cubicBezTo>
                  <a:pt x="431" y="474"/>
                  <a:pt x="331" y="449"/>
                  <a:pt x="257" y="418"/>
                </a:cubicBezTo>
                <a:cubicBezTo>
                  <a:pt x="350" y="288"/>
                  <a:pt x="486" y="192"/>
                  <a:pt x="645" y="151"/>
                </a:cubicBezTo>
                <a:close/>
                <a:moveTo>
                  <a:pt x="1336" y="1442"/>
                </a:moveTo>
                <a:cubicBezTo>
                  <a:pt x="1518" y="1292"/>
                  <a:pt x="1634" y="1071"/>
                  <a:pt x="1634" y="817"/>
                </a:cubicBezTo>
                <a:cubicBezTo>
                  <a:pt x="1634" y="366"/>
                  <a:pt x="1267" y="0"/>
                  <a:pt x="817" y="0"/>
                </a:cubicBezTo>
                <a:cubicBezTo>
                  <a:pt x="415" y="0"/>
                  <a:pt x="81" y="291"/>
                  <a:pt x="13" y="673"/>
                </a:cubicBezTo>
                <a:cubicBezTo>
                  <a:pt x="4" y="720"/>
                  <a:pt x="0" y="768"/>
                  <a:pt x="0" y="817"/>
                </a:cubicBezTo>
                <a:cubicBezTo>
                  <a:pt x="0" y="1268"/>
                  <a:pt x="239" y="1621"/>
                  <a:pt x="701" y="1755"/>
                </a:cubicBezTo>
                <a:cubicBezTo>
                  <a:pt x="701" y="1959"/>
                  <a:pt x="701" y="1959"/>
                  <a:pt x="701" y="1959"/>
                </a:cubicBezTo>
                <a:cubicBezTo>
                  <a:pt x="1383" y="1565"/>
                  <a:pt x="1383" y="1565"/>
                  <a:pt x="1383" y="1565"/>
                </a:cubicBezTo>
                <a:cubicBezTo>
                  <a:pt x="701" y="1172"/>
                  <a:pt x="701" y="1172"/>
                  <a:pt x="701" y="1172"/>
                </a:cubicBezTo>
                <a:cubicBezTo>
                  <a:pt x="701" y="1365"/>
                  <a:pt x="701" y="1365"/>
                  <a:pt x="701" y="1365"/>
                </a:cubicBezTo>
                <a:cubicBezTo>
                  <a:pt x="329" y="1365"/>
                  <a:pt x="130" y="1063"/>
                  <a:pt x="130" y="776"/>
                </a:cubicBezTo>
                <a:cubicBezTo>
                  <a:pt x="132" y="741"/>
                  <a:pt x="137" y="706"/>
                  <a:pt x="144" y="673"/>
                </a:cubicBezTo>
                <a:cubicBezTo>
                  <a:pt x="156" y="614"/>
                  <a:pt x="176" y="559"/>
                  <a:pt x="203" y="507"/>
                </a:cubicBezTo>
                <a:cubicBezTo>
                  <a:pt x="288" y="545"/>
                  <a:pt x="401" y="574"/>
                  <a:pt x="531" y="592"/>
                </a:cubicBezTo>
                <a:cubicBezTo>
                  <a:pt x="523" y="665"/>
                  <a:pt x="520" y="741"/>
                  <a:pt x="520" y="817"/>
                </a:cubicBezTo>
                <a:cubicBezTo>
                  <a:pt x="520" y="893"/>
                  <a:pt x="523" y="969"/>
                  <a:pt x="531" y="1043"/>
                </a:cubicBezTo>
                <a:cubicBezTo>
                  <a:pt x="452" y="1053"/>
                  <a:pt x="379" y="1068"/>
                  <a:pt x="315" y="1087"/>
                </a:cubicBezTo>
                <a:cubicBezTo>
                  <a:pt x="319" y="1092"/>
                  <a:pt x="322" y="1096"/>
                  <a:pt x="326" y="1101"/>
                </a:cubicBezTo>
                <a:cubicBezTo>
                  <a:pt x="337" y="1115"/>
                  <a:pt x="348" y="1129"/>
                  <a:pt x="359" y="1140"/>
                </a:cubicBezTo>
                <a:cubicBezTo>
                  <a:pt x="362" y="1142"/>
                  <a:pt x="362" y="1142"/>
                  <a:pt x="362" y="1142"/>
                </a:cubicBezTo>
                <a:cubicBezTo>
                  <a:pt x="364" y="1145"/>
                  <a:pt x="364" y="1145"/>
                  <a:pt x="364" y="1145"/>
                </a:cubicBezTo>
                <a:cubicBezTo>
                  <a:pt x="372" y="1154"/>
                  <a:pt x="382" y="1163"/>
                  <a:pt x="393" y="1173"/>
                </a:cubicBezTo>
                <a:cubicBezTo>
                  <a:pt x="439" y="1162"/>
                  <a:pt x="490" y="1152"/>
                  <a:pt x="544" y="1145"/>
                </a:cubicBezTo>
                <a:cubicBezTo>
                  <a:pt x="551" y="1191"/>
                  <a:pt x="559" y="1235"/>
                  <a:pt x="569" y="1276"/>
                </a:cubicBezTo>
                <a:cubicBezTo>
                  <a:pt x="570" y="1276"/>
                  <a:pt x="570" y="1276"/>
                  <a:pt x="570" y="1276"/>
                </a:cubicBezTo>
                <a:cubicBezTo>
                  <a:pt x="586" y="1282"/>
                  <a:pt x="601" y="1286"/>
                  <a:pt x="611" y="1286"/>
                </a:cubicBezTo>
                <a:cubicBezTo>
                  <a:pt x="614" y="1286"/>
                  <a:pt x="614" y="1286"/>
                  <a:pt x="614" y="1286"/>
                </a:cubicBezTo>
                <a:cubicBezTo>
                  <a:pt x="614" y="1286"/>
                  <a:pt x="622" y="1287"/>
                  <a:pt x="624" y="1287"/>
                </a:cubicBezTo>
                <a:cubicBezTo>
                  <a:pt x="624" y="1038"/>
                  <a:pt x="624" y="1038"/>
                  <a:pt x="624" y="1038"/>
                </a:cubicBezTo>
                <a:cubicBezTo>
                  <a:pt x="778" y="1127"/>
                  <a:pt x="778" y="1127"/>
                  <a:pt x="778" y="1127"/>
                </a:cubicBezTo>
                <a:cubicBezTo>
                  <a:pt x="794" y="1126"/>
                  <a:pt x="811" y="1126"/>
                  <a:pt x="827" y="1126"/>
                </a:cubicBezTo>
                <a:cubicBezTo>
                  <a:pt x="882" y="1126"/>
                  <a:pt x="936" y="1128"/>
                  <a:pt x="988" y="1132"/>
                </a:cubicBezTo>
                <a:cubicBezTo>
                  <a:pt x="982" y="1169"/>
                  <a:pt x="975" y="1204"/>
                  <a:pt x="968" y="1236"/>
                </a:cubicBezTo>
                <a:cubicBezTo>
                  <a:pt x="1060" y="1290"/>
                  <a:pt x="1060" y="1290"/>
                  <a:pt x="1060" y="1290"/>
                </a:cubicBezTo>
                <a:cubicBezTo>
                  <a:pt x="1072" y="1244"/>
                  <a:pt x="1082" y="1194"/>
                  <a:pt x="1090" y="1142"/>
                </a:cubicBezTo>
                <a:cubicBezTo>
                  <a:pt x="1204" y="1156"/>
                  <a:pt x="1304" y="1180"/>
                  <a:pt x="1381" y="1210"/>
                </a:cubicBezTo>
                <a:cubicBezTo>
                  <a:pt x="1335" y="1275"/>
                  <a:pt x="1279" y="1332"/>
                  <a:pt x="1214" y="1378"/>
                </a:cubicBezTo>
                <a:lnTo>
                  <a:pt x="1336" y="1442"/>
                </a:lnTo>
                <a:close/>
                <a:moveTo>
                  <a:pt x="1336" y="1442"/>
                </a:moveTo>
                <a:cubicBezTo>
                  <a:pt x="1336" y="1442"/>
                  <a:pt x="1336" y="1442"/>
                  <a:pt x="1336" y="1442"/>
                </a:cubicBezTo>
              </a:path>
            </a:pathLst>
          </a:custGeom>
          <a:solidFill>
            <a:schemeClr val="bg1"/>
          </a:solidFill>
          <a:ln>
            <a:noFill/>
          </a:ln>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133" b="0" i="0" u="none" strike="noStrike" kern="1200" cap="none" spc="0" normalizeH="0" baseline="0" noProof="0">
              <a:ln>
                <a:noFill/>
              </a:ln>
              <a:solidFill>
                <a:prstClr val="black"/>
              </a:solidFill>
              <a:effectLst/>
              <a:uLnTx/>
              <a:uFillTx/>
              <a:latin typeface="Century Gothic" panose="020B0502020202020204" pitchFamily="34" charset="0"/>
              <a:ea typeface="Tahoma" pitchFamily="34" charset="0"/>
              <a:cs typeface="Tahoma" pitchFamily="34" charset="0"/>
            </a:endParaRPr>
          </a:p>
        </p:txBody>
      </p:sp>
      <p:sp>
        <p:nvSpPr>
          <p:cNvPr id="49" name="Прямоугольник 48">
            <a:extLst>
              <a:ext uri="{FF2B5EF4-FFF2-40B4-BE49-F238E27FC236}">
                <a16:creationId xmlns:a16="http://schemas.microsoft.com/office/drawing/2014/main" id="{9F07B031-507A-4B7A-8F68-C20C8A23F3C7}"/>
              </a:ext>
            </a:extLst>
          </p:cNvPr>
          <p:cNvSpPr/>
          <p:nvPr/>
        </p:nvSpPr>
        <p:spPr>
          <a:xfrm>
            <a:off x="1480646" y="159954"/>
            <a:ext cx="9984438" cy="461665"/>
          </a:xfrm>
          <a:prstGeom prst="rect">
            <a:avLst/>
          </a:prstGeom>
        </p:spPr>
        <p:txBody>
          <a:bodyPr wrap="square">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ru-RU" altLang="ru-RU" sz="2400" b="0" i="0" u="none" strike="noStrike" kern="1200" cap="none" spc="0" normalizeH="0" baseline="0" noProof="0">
                <a:ln>
                  <a:noFill/>
                </a:ln>
                <a:solidFill>
                  <a:prstClr val="white"/>
                </a:solidFill>
                <a:effectLst/>
                <a:uLnTx/>
                <a:uFillTx/>
                <a:latin typeface="Century Gothic" panose="020B0502020202020204" pitchFamily="34" charset="0"/>
                <a:ea typeface="Futura"/>
                <a:cs typeface="Arial" panose="020B0604020202020204" pitchFamily="34" charset="0"/>
                <a:sym typeface="Futura"/>
              </a:rPr>
              <a:t>Почему необходимо развивать углехимию в Казахстане?</a:t>
            </a:r>
            <a:endParaRPr kumimoji="0" lang="en-US" altLang="ru-RU" sz="2400" b="0" i="0" u="none" strike="noStrike" kern="1200" cap="none" spc="0" normalizeH="0" baseline="0" noProof="0">
              <a:ln>
                <a:noFill/>
              </a:ln>
              <a:solidFill>
                <a:prstClr val="white"/>
              </a:solidFill>
              <a:effectLst/>
              <a:uLnTx/>
              <a:uFillTx/>
              <a:latin typeface="Century Gothic" panose="020B0502020202020204" pitchFamily="34" charset="0"/>
              <a:ea typeface="Futura"/>
              <a:cs typeface="Arial" panose="020B0604020202020204" pitchFamily="34" charset="0"/>
              <a:sym typeface="Futura"/>
            </a:endParaRPr>
          </a:p>
        </p:txBody>
      </p:sp>
      <p:sp>
        <p:nvSpPr>
          <p:cNvPr id="56" name="Овал 55">
            <a:extLst>
              <a:ext uri="{FF2B5EF4-FFF2-40B4-BE49-F238E27FC236}">
                <a16:creationId xmlns:a16="http://schemas.microsoft.com/office/drawing/2014/main" id="{0E55C0B2-6396-4FC6-9AE4-8FFC96D83CB9}"/>
              </a:ext>
            </a:extLst>
          </p:cNvPr>
          <p:cNvSpPr/>
          <p:nvPr/>
        </p:nvSpPr>
        <p:spPr>
          <a:xfrm>
            <a:off x="4069259" y="1228434"/>
            <a:ext cx="900000" cy="900000"/>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57" name="Овал 56"/>
          <p:cNvSpPr/>
          <p:nvPr/>
        </p:nvSpPr>
        <p:spPr>
          <a:xfrm>
            <a:off x="4202372" y="1357207"/>
            <a:ext cx="633774" cy="6403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60" name="Овал 59">
            <a:extLst>
              <a:ext uri="{FF2B5EF4-FFF2-40B4-BE49-F238E27FC236}">
                <a16:creationId xmlns:a16="http://schemas.microsoft.com/office/drawing/2014/main" id="{0E55C0B2-6396-4FC6-9AE4-8FFC96D83CB9}"/>
              </a:ext>
            </a:extLst>
          </p:cNvPr>
          <p:cNvSpPr/>
          <p:nvPr/>
        </p:nvSpPr>
        <p:spPr>
          <a:xfrm>
            <a:off x="7218255" y="1228434"/>
            <a:ext cx="900000" cy="900000"/>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66" name="Овал 65"/>
          <p:cNvSpPr/>
          <p:nvPr/>
        </p:nvSpPr>
        <p:spPr>
          <a:xfrm>
            <a:off x="7351368" y="1355825"/>
            <a:ext cx="633774" cy="6403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73" name="Овал 72">
            <a:extLst>
              <a:ext uri="{FF2B5EF4-FFF2-40B4-BE49-F238E27FC236}">
                <a16:creationId xmlns:a16="http://schemas.microsoft.com/office/drawing/2014/main" id="{0E55C0B2-6396-4FC6-9AE4-8FFC96D83CB9}"/>
              </a:ext>
            </a:extLst>
          </p:cNvPr>
          <p:cNvSpPr/>
          <p:nvPr/>
        </p:nvSpPr>
        <p:spPr>
          <a:xfrm>
            <a:off x="10162678" y="1228434"/>
            <a:ext cx="900000" cy="900000"/>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74" name="Овал 73"/>
          <p:cNvSpPr/>
          <p:nvPr/>
        </p:nvSpPr>
        <p:spPr>
          <a:xfrm>
            <a:off x="10295791" y="1355825"/>
            <a:ext cx="633774" cy="6403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82" name="Овал 81">
            <a:extLst>
              <a:ext uri="{FF2B5EF4-FFF2-40B4-BE49-F238E27FC236}">
                <a16:creationId xmlns:a16="http://schemas.microsoft.com/office/drawing/2014/main" id="{0E55C0B2-6396-4FC6-9AE4-8FFC96D83CB9}"/>
              </a:ext>
            </a:extLst>
          </p:cNvPr>
          <p:cNvSpPr/>
          <p:nvPr/>
        </p:nvSpPr>
        <p:spPr>
          <a:xfrm>
            <a:off x="945016" y="4054872"/>
            <a:ext cx="900000" cy="900000"/>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83" name="Овал 82"/>
          <p:cNvSpPr/>
          <p:nvPr/>
        </p:nvSpPr>
        <p:spPr>
          <a:xfrm>
            <a:off x="1078719" y="4169907"/>
            <a:ext cx="633774" cy="6403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85" name="Овал 84">
            <a:extLst>
              <a:ext uri="{FF2B5EF4-FFF2-40B4-BE49-F238E27FC236}">
                <a16:creationId xmlns:a16="http://schemas.microsoft.com/office/drawing/2014/main" id="{0E55C0B2-6396-4FC6-9AE4-8FFC96D83CB9}"/>
              </a:ext>
            </a:extLst>
          </p:cNvPr>
          <p:cNvSpPr/>
          <p:nvPr/>
        </p:nvSpPr>
        <p:spPr>
          <a:xfrm>
            <a:off x="3880550" y="3953804"/>
            <a:ext cx="900000" cy="900000"/>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86" name="Овал 85"/>
          <p:cNvSpPr/>
          <p:nvPr/>
        </p:nvSpPr>
        <p:spPr>
          <a:xfrm>
            <a:off x="4019308" y="4086509"/>
            <a:ext cx="633774" cy="6403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88" name="Овал 87">
            <a:extLst>
              <a:ext uri="{FF2B5EF4-FFF2-40B4-BE49-F238E27FC236}">
                <a16:creationId xmlns:a16="http://schemas.microsoft.com/office/drawing/2014/main" id="{0E55C0B2-6396-4FC6-9AE4-8FFC96D83CB9}"/>
              </a:ext>
            </a:extLst>
          </p:cNvPr>
          <p:cNvSpPr/>
          <p:nvPr/>
        </p:nvSpPr>
        <p:spPr>
          <a:xfrm>
            <a:off x="7192673" y="4002728"/>
            <a:ext cx="900000" cy="900000"/>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90" name="Овал 89"/>
          <p:cNvSpPr/>
          <p:nvPr/>
        </p:nvSpPr>
        <p:spPr>
          <a:xfrm>
            <a:off x="7322631" y="4142319"/>
            <a:ext cx="633774" cy="6403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92" name="Овал 91">
            <a:extLst>
              <a:ext uri="{FF2B5EF4-FFF2-40B4-BE49-F238E27FC236}">
                <a16:creationId xmlns:a16="http://schemas.microsoft.com/office/drawing/2014/main" id="{0E55C0B2-6396-4FC6-9AE4-8FFC96D83CB9}"/>
              </a:ext>
            </a:extLst>
          </p:cNvPr>
          <p:cNvSpPr/>
          <p:nvPr/>
        </p:nvSpPr>
        <p:spPr>
          <a:xfrm>
            <a:off x="10080901" y="3979622"/>
            <a:ext cx="900000" cy="900000"/>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93" name="Овал 92"/>
          <p:cNvSpPr/>
          <p:nvPr/>
        </p:nvSpPr>
        <p:spPr>
          <a:xfrm>
            <a:off x="10210859" y="4119213"/>
            <a:ext cx="633774" cy="6403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cxnSp>
        <p:nvCxnSpPr>
          <p:cNvPr id="100" name="Прямая соединительная линия 99"/>
          <p:cNvCxnSpPr/>
          <p:nvPr/>
        </p:nvCxnSpPr>
        <p:spPr>
          <a:xfrm>
            <a:off x="2925467" y="2264805"/>
            <a:ext cx="0" cy="1116419"/>
          </a:xfrm>
          <a:prstGeom prst="line">
            <a:avLst/>
          </a:prstGeom>
          <a:ln w="12700">
            <a:solidFill>
              <a:srgbClr val="FBDD76"/>
            </a:solidFill>
          </a:ln>
        </p:spPr>
        <p:style>
          <a:lnRef idx="1">
            <a:schemeClr val="accent1"/>
          </a:lnRef>
          <a:fillRef idx="0">
            <a:schemeClr val="accent1"/>
          </a:fillRef>
          <a:effectRef idx="0">
            <a:schemeClr val="accent1"/>
          </a:effectRef>
          <a:fontRef idx="minor">
            <a:schemeClr val="tx1"/>
          </a:fontRef>
        </p:style>
      </p:cxnSp>
      <p:cxnSp>
        <p:nvCxnSpPr>
          <p:cNvPr id="103" name="Прямая соединительная линия 102"/>
          <p:cNvCxnSpPr/>
          <p:nvPr/>
        </p:nvCxnSpPr>
        <p:spPr>
          <a:xfrm>
            <a:off x="5824819" y="2264805"/>
            <a:ext cx="0" cy="1116419"/>
          </a:xfrm>
          <a:prstGeom prst="line">
            <a:avLst/>
          </a:prstGeom>
          <a:ln w="12700">
            <a:solidFill>
              <a:srgbClr val="FBDD76"/>
            </a:solidFill>
          </a:ln>
        </p:spPr>
        <p:style>
          <a:lnRef idx="1">
            <a:schemeClr val="accent1"/>
          </a:lnRef>
          <a:fillRef idx="0">
            <a:schemeClr val="accent1"/>
          </a:fillRef>
          <a:effectRef idx="0">
            <a:schemeClr val="accent1"/>
          </a:effectRef>
          <a:fontRef idx="minor">
            <a:schemeClr val="tx1"/>
          </a:fontRef>
        </p:style>
      </p:cxnSp>
      <p:cxnSp>
        <p:nvCxnSpPr>
          <p:cNvPr id="105" name="Прямая соединительная линия 104"/>
          <p:cNvCxnSpPr/>
          <p:nvPr/>
        </p:nvCxnSpPr>
        <p:spPr>
          <a:xfrm>
            <a:off x="9101216" y="2264805"/>
            <a:ext cx="0" cy="1116419"/>
          </a:xfrm>
          <a:prstGeom prst="line">
            <a:avLst/>
          </a:prstGeom>
          <a:ln w="12700">
            <a:solidFill>
              <a:srgbClr val="FBDD76"/>
            </a:solidFill>
          </a:ln>
        </p:spPr>
        <p:style>
          <a:lnRef idx="1">
            <a:schemeClr val="accent1"/>
          </a:lnRef>
          <a:fillRef idx="0">
            <a:schemeClr val="accent1"/>
          </a:fillRef>
          <a:effectRef idx="0">
            <a:schemeClr val="accent1"/>
          </a:effectRef>
          <a:fontRef idx="minor">
            <a:schemeClr val="tx1"/>
          </a:fontRef>
        </p:style>
      </p:cxnSp>
      <p:cxnSp>
        <p:nvCxnSpPr>
          <p:cNvPr id="107" name="Прямая соединительная линия 106"/>
          <p:cNvCxnSpPr/>
          <p:nvPr/>
        </p:nvCxnSpPr>
        <p:spPr>
          <a:xfrm>
            <a:off x="8925983" y="5137264"/>
            <a:ext cx="0" cy="1116419"/>
          </a:xfrm>
          <a:prstGeom prst="line">
            <a:avLst/>
          </a:prstGeom>
          <a:ln w="12700">
            <a:solidFill>
              <a:srgbClr val="FBDD76"/>
            </a:solidFill>
          </a:ln>
        </p:spPr>
        <p:style>
          <a:lnRef idx="1">
            <a:schemeClr val="accent1"/>
          </a:lnRef>
          <a:fillRef idx="0">
            <a:schemeClr val="accent1"/>
          </a:fillRef>
          <a:effectRef idx="0">
            <a:schemeClr val="accent1"/>
          </a:effectRef>
          <a:fontRef idx="minor">
            <a:schemeClr val="tx1"/>
          </a:fontRef>
        </p:style>
      </p:cxnSp>
      <p:cxnSp>
        <p:nvCxnSpPr>
          <p:cNvPr id="110" name="Прямая соединительная линия 109"/>
          <p:cNvCxnSpPr/>
          <p:nvPr/>
        </p:nvCxnSpPr>
        <p:spPr>
          <a:xfrm>
            <a:off x="6058435" y="5094571"/>
            <a:ext cx="0" cy="1116419"/>
          </a:xfrm>
          <a:prstGeom prst="line">
            <a:avLst/>
          </a:prstGeom>
          <a:ln w="12700">
            <a:solidFill>
              <a:srgbClr val="FBDD76"/>
            </a:solidFill>
          </a:ln>
        </p:spPr>
        <p:style>
          <a:lnRef idx="1">
            <a:schemeClr val="accent1"/>
          </a:lnRef>
          <a:fillRef idx="0">
            <a:schemeClr val="accent1"/>
          </a:fillRef>
          <a:effectRef idx="0">
            <a:schemeClr val="accent1"/>
          </a:effectRef>
          <a:fontRef idx="minor">
            <a:schemeClr val="tx1"/>
          </a:fontRef>
        </p:style>
      </p:cxnSp>
      <p:cxnSp>
        <p:nvCxnSpPr>
          <p:cNvPr id="111" name="Прямая соединительная линия 110"/>
          <p:cNvCxnSpPr/>
          <p:nvPr/>
        </p:nvCxnSpPr>
        <p:spPr>
          <a:xfrm>
            <a:off x="2620483" y="5021255"/>
            <a:ext cx="0" cy="1116419"/>
          </a:xfrm>
          <a:prstGeom prst="line">
            <a:avLst/>
          </a:prstGeom>
          <a:ln w="12700">
            <a:solidFill>
              <a:srgbClr val="FBDD76"/>
            </a:solidFill>
          </a:ln>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321058" y="209389"/>
            <a:ext cx="11223242" cy="836126"/>
          </a:xfrm>
          <a:prstGeom prst="rect">
            <a:avLst/>
          </a:prstGeom>
          <a:solidFill>
            <a:schemeClr val="bg1"/>
          </a:solidFill>
        </p:spPr>
        <p:txBody>
          <a:bodyPr wrap="square" rtlCol="0">
            <a:spAutoFit/>
          </a:bodyPr>
          <a:lstStyle/>
          <a:p>
            <a:pPr marL="0" marR="0" lvl="0" indent="0" algn="l" defTabSz="914400" rtl="0" eaLnBrk="1" fontAlgn="auto" latinLnBrk="0" hangingPunct="1">
              <a:lnSpc>
                <a:spcPts val="2946"/>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mn-cs"/>
              </a:rPr>
              <a:t>WHY IS IT NECESSARY TO DEVELOP CROP PRODUCTION IN KAZAKHSTAN?</a:t>
            </a:r>
            <a:endParaRPr kumimoji="0" lang="ru-RU" sz="30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mn-cs"/>
            </a:endParaRPr>
          </a:p>
        </p:txBody>
      </p:sp>
      <p:sp>
        <p:nvSpPr>
          <p:cNvPr id="2" name="TextBox 1">
            <a:extLst>
              <a:ext uri="{FF2B5EF4-FFF2-40B4-BE49-F238E27FC236}">
                <a16:creationId xmlns:a16="http://schemas.microsoft.com/office/drawing/2014/main" id="{2DD61B2B-173F-5A71-1A3B-F1515B7E9D1A}"/>
              </a:ext>
            </a:extLst>
          </p:cNvPr>
          <p:cNvSpPr txBox="1"/>
          <p:nvPr/>
        </p:nvSpPr>
        <p:spPr>
          <a:xfrm>
            <a:off x="70242" y="6631512"/>
            <a:ext cx="3949066"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Source: Ministry of Agriculture of the Republic of Kazakhstan</a:t>
            </a:r>
          </a:p>
        </p:txBody>
      </p:sp>
      <p:pic>
        <p:nvPicPr>
          <p:cNvPr id="24" name="Рисунок 23" descr="Банк со сплошной заливкой">
            <a:extLst>
              <a:ext uri="{FF2B5EF4-FFF2-40B4-BE49-F238E27FC236}">
                <a16:creationId xmlns:a16="http://schemas.microsoft.com/office/drawing/2014/main" id="{6E02D0D1-91BD-7597-0776-6A5CFC9DD24F}"/>
              </a:ext>
            </a:extLst>
          </p:cNvPr>
          <p:cNvPicPr>
            <a:picLocks noChangeAspect="1"/>
          </p:cNvPicPr>
          <p:nvPr/>
        </p:nvPicPr>
        <p:blipFill>
          <a:blip r:embed="rId4">
            <a:duotone>
              <a:schemeClr val="bg2">
                <a:shade val="45000"/>
                <a:satMod val="135000"/>
              </a:schemeClr>
              <a:prstClr val="white"/>
            </a:duotone>
          </a:blip>
          <a:stretch>
            <a:fillRect/>
          </a:stretch>
        </p:blipFill>
        <p:spPr>
          <a:xfrm>
            <a:off x="1140860" y="4199955"/>
            <a:ext cx="527129" cy="527129"/>
          </a:xfrm>
          <a:prstGeom prst="rect">
            <a:avLst/>
          </a:prstGeom>
        </p:spPr>
      </p:pic>
      <p:pic>
        <p:nvPicPr>
          <p:cNvPr id="5" name="Рисунок 4"/>
          <p:cNvPicPr>
            <a:picLocks noChangeAspect="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375669" y="1466531"/>
            <a:ext cx="429995" cy="429995"/>
          </a:xfrm>
          <a:prstGeom prst="rect">
            <a:avLst/>
          </a:prstGeom>
        </p:spPr>
      </p:pic>
      <p:pic>
        <p:nvPicPr>
          <p:cNvPr id="9" name="Рисунок 8"/>
          <p:cNvPicPr>
            <a:picLocks noChangeAspect="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124616" y="4194590"/>
            <a:ext cx="409692" cy="409692"/>
          </a:xfrm>
          <a:prstGeom prst="rect">
            <a:avLst/>
          </a:prstGeom>
        </p:spPr>
      </p:pic>
      <p:pic>
        <p:nvPicPr>
          <p:cNvPr id="4" name="Рисунок 3"/>
          <p:cNvPicPr>
            <a:picLocks noChangeAspect="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281533" y="1411466"/>
            <a:ext cx="465530" cy="465530"/>
          </a:xfrm>
          <a:prstGeom prst="rect">
            <a:avLst/>
          </a:prstGeom>
        </p:spPr>
      </p:pic>
      <p:pic>
        <p:nvPicPr>
          <p:cNvPr id="6" name="Рисунок 5"/>
          <p:cNvPicPr>
            <a:picLocks noChangeAspect="1"/>
          </p:cNvPicPr>
          <p:nvPr/>
        </p:nvPicPr>
        <p:blipFill>
          <a:blip r:embed="rId8">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7419685" y="1432385"/>
            <a:ext cx="497139" cy="497139"/>
          </a:xfrm>
          <a:prstGeom prst="rect">
            <a:avLst/>
          </a:prstGeom>
        </p:spPr>
      </p:pic>
      <p:pic>
        <p:nvPicPr>
          <p:cNvPr id="10" name="Рисунок 9"/>
          <p:cNvPicPr>
            <a:picLocks noChangeAspect="1"/>
          </p:cNvPicPr>
          <p:nvPr/>
        </p:nvPicPr>
        <p:blipFill>
          <a:blip r:embed="rId9">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0413718" y="1472457"/>
            <a:ext cx="395747" cy="395747"/>
          </a:xfrm>
          <a:prstGeom prst="rect">
            <a:avLst/>
          </a:prstGeom>
        </p:spPr>
      </p:pic>
      <p:pic>
        <p:nvPicPr>
          <p:cNvPr id="12" name="Рисунок 11"/>
          <p:cNvPicPr>
            <a:picLocks noChangeAspect="1"/>
          </p:cNvPicPr>
          <p:nvPr/>
        </p:nvPicPr>
        <p:blipFill>
          <a:blip r:embed="rId10">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7392604" y="4225009"/>
            <a:ext cx="474678" cy="474678"/>
          </a:xfrm>
          <a:prstGeom prst="rect">
            <a:avLst/>
          </a:prstGeom>
        </p:spPr>
      </p:pic>
      <p:pic>
        <p:nvPicPr>
          <p:cNvPr id="15" name="Рисунок 14"/>
          <p:cNvPicPr>
            <a:picLocks noChangeAspect="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0302089" y="4228342"/>
            <a:ext cx="441018" cy="441018"/>
          </a:xfrm>
          <a:prstGeom prst="rect">
            <a:avLst/>
          </a:prstGeom>
        </p:spPr>
      </p:pic>
    </p:spTree>
    <p:extLst>
      <p:ext uri="{BB962C8B-B14F-4D97-AF65-F5344CB8AC3E}">
        <p14:creationId xmlns:p14="http://schemas.microsoft.com/office/powerpoint/2010/main" val="4350358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A53621-89A9-5CB9-15CF-BCE35B57AB53}"/>
            </a:ext>
          </a:extLst>
        </p:cNvPr>
        <p:cNvGrpSpPr/>
        <p:nvPr/>
      </p:nvGrpSpPr>
      <p:grpSpPr>
        <a:xfrm>
          <a:off x="0" y="0"/>
          <a:ext cx="0" cy="0"/>
          <a:chOff x="0" y="0"/>
          <a:chExt cx="0" cy="0"/>
        </a:xfrm>
      </p:grpSpPr>
      <p:graphicFrame>
        <p:nvGraphicFramePr>
          <p:cNvPr id="165" name="think-cell data - do not delete" hidden="1">
            <a:extLst>
              <a:ext uri="{FF2B5EF4-FFF2-40B4-BE49-F238E27FC236}">
                <a16:creationId xmlns:a16="http://schemas.microsoft.com/office/drawing/2014/main" id="{57AD73EE-AE98-4190-F317-063FF48DB81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Слайд think-cell" r:id="rId8" imgW="7772400" imgH="10058400" progId="TCLayout.ActiveDocument.1">
                  <p:embed/>
                </p:oleObj>
              </mc:Choice>
              <mc:Fallback>
                <p:oleObj name="Слайд think-cell" r:id="rId8" imgW="7772400" imgH="10058400" progId="TCLayout.ActiveDocument.1">
                  <p:embed/>
                  <p:pic>
                    <p:nvPicPr>
                      <p:cNvPr id="165" name="think-cell data - do not delete" hidden="1">
                        <a:extLst>
                          <a:ext uri="{FF2B5EF4-FFF2-40B4-BE49-F238E27FC236}">
                            <a16:creationId xmlns:a16="http://schemas.microsoft.com/office/drawing/2014/main" id="{57AD73EE-AE98-4190-F317-063FF48DB817}"/>
                          </a:ext>
                        </a:extLst>
                      </p:cNvPr>
                      <p:cNvPicPr/>
                      <p:nvPr/>
                    </p:nvPicPr>
                    <p:blipFill>
                      <a:blip r:embed="rId9"/>
                      <a:stretch>
                        <a:fillRect/>
                      </a:stretch>
                    </p:blipFill>
                    <p:spPr>
                      <a:xfrm>
                        <a:off x="1588" y="1588"/>
                        <a:ext cx="1227" cy="1588"/>
                      </a:xfrm>
                      <a:prstGeom prst="rect">
                        <a:avLst/>
                      </a:prstGeom>
                    </p:spPr>
                  </p:pic>
                </p:oleObj>
              </mc:Fallback>
            </mc:AlternateContent>
          </a:graphicData>
        </a:graphic>
      </p:graphicFrame>
      <p:sp>
        <p:nvSpPr>
          <p:cNvPr id="193" name="Прямоугольник: скругленные углы 28">
            <a:extLst>
              <a:ext uri="{FF2B5EF4-FFF2-40B4-BE49-F238E27FC236}">
                <a16:creationId xmlns:a16="http://schemas.microsoft.com/office/drawing/2014/main" id="{0CD19A2D-0E43-ABA7-C0DD-C310F18BE03E}"/>
              </a:ext>
            </a:extLst>
          </p:cNvPr>
          <p:cNvSpPr/>
          <p:nvPr/>
        </p:nvSpPr>
        <p:spPr>
          <a:xfrm>
            <a:off x="9551405" y="2861118"/>
            <a:ext cx="2110907" cy="584146"/>
          </a:xfrm>
          <a:prstGeom prst="roundRect">
            <a:avLst/>
          </a:prstGeom>
          <a:ln>
            <a:solidFill>
              <a:schemeClr val="tx2">
                <a:lumMod val="75000"/>
                <a:lumOff val="25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Milling, extraction, pressing, fermentation etc.</a:t>
            </a:r>
            <a:endParaRPr kumimoji="0" lang="ru-RU"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17" name="Прямоугольник: скругленные углы 16">
            <a:extLst>
              <a:ext uri="{FF2B5EF4-FFF2-40B4-BE49-F238E27FC236}">
                <a16:creationId xmlns:a16="http://schemas.microsoft.com/office/drawing/2014/main" id="{B2A9BFED-CB3C-44CA-8D2E-80576A74AB9F}"/>
              </a:ext>
            </a:extLst>
          </p:cNvPr>
          <p:cNvSpPr/>
          <p:nvPr/>
        </p:nvSpPr>
        <p:spPr>
          <a:xfrm>
            <a:off x="408931" y="868855"/>
            <a:ext cx="11395235" cy="589062"/>
          </a:xfrm>
          <a:prstGeom prst="roundRect">
            <a:avLst>
              <a:gd name="adj" fmla="val 4040"/>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2" name="TextBox 1">
            <a:extLst>
              <a:ext uri="{FF2B5EF4-FFF2-40B4-BE49-F238E27FC236}">
                <a16:creationId xmlns:a16="http://schemas.microsoft.com/office/drawing/2014/main" id="{4BC2F765-ED67-7659-8D37-9C30D01343C9}"/>
              </a:ext>
            </a:extLst>
          </p:cNvPr>
          <p:cNvSpPr txBox="1"/>
          <p:nvPr/>
        </p:nvSpPr>
        <p:spPr>
          <a:xfrm>
            <a:off x="219075" y="234798"/>
            <a:ext cx="10782300" cy="464230"/>
          </a:xfrm>
          <a:prstGeom prst="rect">
            <a:avLst/>
          </a:prstGeom>
          <a:noFill/>
        </p:spPr>
        <p:txBody>
          <a:bodyPr wrap="square" rtlCol="0">
            <a:spAutoFit/>
          </a:bodyPr>
          <a:lstStyle/>
          <a:p>
            <a:pPr marL="0" marR="0" lvl="0" indent="0" algn="l" defTabSz="914400" rtl="0" eaLnBrk="1" fontAlgn="auto" latinLnBrk="0" hangingPunct="1">
              <a:lnSpc>
                <a:spcPts val="2946"/>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Rubik Bold" panose="020B0604020202020204"/>
              </a:rPr>
              <a:t>CROP PRODUCTION VALUE CHAIN</a:t>
            </a:r>
          </a:p>
        </p:txBody>
      </p:sp>
      <p:cxnSp>
        <p:nvCxnSpPr>
          <p:cNvPr id="27" name="Прямая соединительная линия 26">
            <a:extLst>
              <a:ext uri="{FF2B5EF4-FFF2-40B4-BE49-F238E27FC236}">
                <a16:creationId xmlns:a16="http://schemas.microsoft.com/office/drawing/2014/main" id="{7609C373-7787-22A7-D8B2-5E89A359A7FC}"/>
              </a:ext>
            </a:extLst>
          </p:cNvPr>
          <p:cNvCxnSpPr>
            <a:cxnSpLocks/>
          </p:cNvCxnSpPr>
          <p:nvPr/>
        </p:nvCxnSpPr>
        <p:spPr>
          <a:xfrm flipV="1">
            <a:off x="0" y="2672058"/>
            <a:ext cx="12188086" cy="9016"/>
          </a:xfrm>
          <a:prstGeom prst="line">
            <a:avLst/>
          </a:prstGeom>
          <a:ln w="19050"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30" name="Группа 29">
            <a:extLst>
              <a:ext uri="{FF2B5EF4-FFF2-40B4-BE49-F238E27FC236}">
                <a16:creationId xmlns:a16="http://schemas.microsoft.com/office/drawing/2014/main" id="{F9453F51-6FCD-8880-B852-E3FF8F91DCB6}"/>
              </a:ext>
            </a:extLst>
          </p:cNvPr>
          <p:cNvGrpSpPr/>
          <p:nvPr/>
        </p:nvGrpSpPr>
        <p:grpSpPr>
          <a:xfrm>
            <a:off x="398937" y="1775899"/>
            <a:ext cx="294640" cy="294640"/>
            <a:chOff x="2501900" y="2336800"/>
            <a:chExt cx="294640" cy="294640"/>
          </a:xfrm>
        </p:grpSpPr>
        <p:sp>
          <p:nvSpPr>
            <p:cNvPr id="35" name="Овал 34">
              <a:extLst>
                <a:ext uri="{FF2B5EF4-FFF2-40B4-BE49-F238E27FC236}">
                  <a16:creationId xmlns:a16="http://schemas.microsoft.com/office/drawing/2014/main" id="{CB199040-E8AD-179D-4CD1-7FB15B97F8D3}"/>
                </a:ext>
              </a:extLst>
            </p:cNvPr>
            <p:cNvSpPr/>
            <p:nvPr/>
          </p:nvSpPr>
          <p:spPr>
            <a:xfrm>
              <a:off x="2501900" y="2336800"/>
              <a:ext cx="294640" cy="294640"/>
            </a:xfrm>
            <a:prstGeom prst="ellipse">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Rubik Bold" panose="020B0604020202020204"/>
              </a:endParaRPr>
            </a:p>
          </p:txBody>
        </p:sp>
        <p:sp>
          <p:nvSpPr>
            <p:cNvPr id="36" name="Овал 35">
              <a:extLst>
                <a:ext uri="{FF2B5EF4-FFF2-40B4-BE49-F238E27FC236}">
                  <a16:creationId xmlns:a16="http://schemas.microsoft.com/office/drawing/2014/main" id="{06423579-FCD2-8719-B880-F9ADA7198D21}"/>
                </a:ext>
              </a:extLst>
            </p:cNvPr>
            <p:cNvSpPr/>
            <p:nvPr/>
          </p:nvSpPr>
          <p:spPr>
            <a:xfrm>
              <a:off x="2593340" y="2420620"/>
              <a:ext cx="125222" cy="125222"/>
            </a:xfrm>
            <a:prstGeom prst="ellipse">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Rubik Bold" panose="020B0604020202020204"/>
              </a:endParaRPr>
            </a:p>
          </p:txBody>
        </p:sp>
      </p:grpSp>
      <p:cxnSp>
        <p:nvCxnSpPr>
          <p:cNvPr id="61" name="Прямая соединительная линия 60">
            <a:extLst>
              <a:ext uri="{FF2B5EF4-FFF2-40B4-BE49-F238E27FC236}">
                <a16:creationId xmlns:a16="http://schemas.microsoft.com/office/drawing/2014/main" id="{E724A5A5-CC3D-3E74-6901-24C41236EC8B}"/>
              </a:ext>
            </a:extLst>
          </p:cNvPr>
          <p:cNvCxnSpPr>
            <a:cxnSpLocks/>
            <a:endCxn id="155" idx="4"/>
          </p:cNvCxnSpPr>
          <p:nvPr/>
        </p:nvCxnSpPr>
        <p:spPr>
          <a:xfrm>
            <a:off x="546257" y="1984941"/>
            <a:ext cx="0" cy="1435137"/>
          </a:xfrm>
          <a:prstGeom prst="line">
            <a:avLst/>
          </a:prstGeom>
          <a:ln w="50800">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40" name="Rectangle 286">
            <a:extLst>
              <a:ext uri="{FF2B5EF4-FFF2-40B4-BE49-F238E27FC236}">
                <a16:creationId xmlns:a16="http://schemas.microsoft.com/office/drawing/2014/main" id="{5FEF20A4-C49C-C1D0-E644-4107538D0FA0}"/>
              </a:ext>
            </a:extLst>
          </p:cNvPr>
          <p:cNvSpPr txBox="1">
            <a:spLocks noChangeArrowheads="1"/>
          </p:cNvSpPr>
          <p:nvPr>
            <p:custDataLst>
              <p:tags r:id="rId2"/>
            </p:custDataLst>
          </p:nvPr>
        </p:nvSpPr>
        <p:spPr bwMode="gray">
          <a:xfrm>
            <a:off x="785017" y="1734809"/>
            <a:ext cx="1907111" cy="335730"/>
          </a:xfrm>
          <a:prstGeom prst="roundRect">
            <a:avLst>
              <a:gd name="adj" fmla="val 0"/>
            </a:avLst>
          </a:prstGeom>
          <a:solidFill>
            <a:schemeClr val="tx2">
              <a:lumMod val="10000"/>
              <a:lumOff val="90000"/>
            </a:schemeClr>
          </a:solidFill>
          <a:ln w="9525" cap="flat" cmpd="sng" algn="ctr">
            <a:noFill/>
            <a:prstDash val="solid"/>
          </a:ln>
          <a:effectLst>
            <a:outerShdw blurRad="50800" dist="38100" dir="5400000" algn="t" rotWithShape="0">
              <a:schemeClr val="tx2">
                <a:lumMod val="60000"/>
                <a:lumOff val="40000"/>
                <a:alpha val="40000"/>
              </a:schemeClr>
            </a:outerShdw>
          </a:effectLst>
        </p:spPr>
        <p:txBody>
          <a:bodyPr anchor="ctr"/>
          <a:lstStyle>
            <a:defPPr>
              <a:defRPr lang="en-US"/>
            </a:defPPr>
            <a:lvl1pPr algn="ctr">
              <a:defRPr sz="11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FFFFFF"/>
              </a:solidFill>
              <a:effectLst/>
              <a:uLnTx/>
              <a:uFillTx/>
              <a:latin typeface="Century Gothic" panose="020B0502020202020204" pitchFamily="34" charset="0"/>
              <a:ea typeface="ＭＳ Ｐゴシック"/>
              <a:cs typeface="+mn-cs"/>
            </a:endParaRPr>
          </a:p>
        </p:txBody>
      </p:sp>
      <p:sp>
        <p:nvSpPr>
          <p:cNvPr id="147" name="TextBox 63">
            <a:extLst>
              <a:ext uri="{FF2B5EF4-FFF2-40B4-BE49-F238E27FC236}">
                <a16:creationId xmlns:a16="http://schemas.microsoft.com/office/drawing/2014/main" id="{690AA886-66EE-8994-F205-4E7856AE655A}"/>
              </a:ext>
            </a:extLst>
          </p:cNvPr>
          <p:cNvSpPr txBox="1"/>
          <p:nvPr/>
        </p:nvSpPr>
        <p:spPr>
          <a:xfrm>
            <a:off x="854359" y="1765541"/>
            <a:ext cx="1838399" cy="308482"/>
          </a:xfrm>
          <a:prstGeom prst="rect">
            <a:avLst/>
          </a:prstGeom>
        </p:spPr>
        <p:txBody>
          <a:bodyPr wrap="square" lIns="0" tIns="0" rIns="0" bIns="0" rtlCol="0" anchor="t">
            <a:spAutoFit/>
          </a:bodyPr>
          <a:lstStyle/>
          <a:p>
            <a:pPr marL="0" marR="0" lvl="0" indent="0" algn="l" defTabSz="914400" rtl="0" eaLnBrk="1" fontAlgn="auto" latinLnBrk="0" hangingPunct="1">
              <a:lnSpc>
                <a:spcPts val="1236"/>
              </a:lnSpc>
              <a:spcBef>
                <a:spcPts val="0"/>
              </a:spcBef>
              <a:spcAft>
                <a:spcPts val="0"/>
              </a:spcAft>
              <a:buClrTx/>
              <a:buSzTx/>
              <a:buFontTx/>
              <a:buNone/>
              <a:tabLst/>
              <a:defRPr/>
            </a:pPr>
            <a:r>
              <a:rPr kumimoji="0" lang="en-US" sz="1400" b="1" i="0" u="none" strike="noStrike" kern="1200" cap="none" spc="-24" normalizeH="0" baseline="0" noProof="0" dirty="0">
                <a:ln>
                  <a:noFill/>
                </a:ln>
                <a:solidFill>
                  <a:srgbClr val="156082"/>
                </a:solidFill>
                <a:effectLst/>
                <a:uLnTx/>
                <a:uFillTx/>
                <a:latin typeface="Century Gothic" panose="020B0502020202020204" pitchFamily="34" charset="0"/>
                <a:ea typeface="+mn-ea"/>
                <a:cs typeface="+mn-cs"/>
              </a:rPr>
              <a:t>Cultivation and harvesting</a:t>
            </a:r>
          </a:p>
        </p:txBody>
      </p:sp>
      <p:sp>
        <p:nvSpPr>
          <p:cNvPr id="154" name="Прямоугольник: скругленные углы 28">
            <a:extLst>
              <a:ext uri="{FF2B5EF4-FFF2-40B4-BE49-F238E27FC236}">
                <a16:creationId xmlns:a16="http://schemas.microsoft.com/office/drawing/2014/main" id="{EE86D06B-2105-9B07-F0FE-4CA2695C3EDF}"/>
              </a:ext>
            </a:extLst>
          </p:cNvPr>
          <p:cNvSpPr/>
          <p:nvPr/>
        </p:nvSpPr>
        <p:spPr>
          <a:xfrm>
            <a:off x="661618" y="2842468"/>
            <a:ext cx="1725605" cy="1005122"/>
          </a:xfrm>
          <a:prstGeom prst="roundRect">
            <a:avLst/>
          </a:prstGeom>
          <a:ln>
            <a:solidFill>
              <a:schemeClr val="tx2">
                <a:lumMod val="75000"/>
                <a:lumOff val="25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Grain, oilseed, industrial and forage crops</a:t>
            </a:r>
            <a:endParaRPr kumimoji="0" lang="ru-RU" sz="16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155" name="Овал 154">
            <a:extLst>
              <a:ext uri="{FF2B5EF4-FFF2-40B4-BE49-F238E27FC236}">
                <a16:creationId xmlns:a16="http://schemas.microsoft.com/office/drawing/2014/main" id="{9607050E-F114-31FC-578D-EE52062ED948}"/>
              </a:ext>
            </a:extLst>
          </p:cNvPr>
          <p:cNvSpPr/>
          <p:nvPr/>
        </p:nvSpPr>
        <p:spPr>
          <a:xfrm>
            <a:off x="286840" y="2873455"/>
            <a:ext cx="518834" cy="546623"/>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156" name="Rectangle 286">
            <a:extLst>
              <a:ext uri="{FF2B5EF4-FFF2-40B4-BE49-F238E27FC236}">
                <a16:creationId xmlns:a16="http://schemas.microsoft.com/office/drawing/2014/main" id="{F8FE1FC1-53AE-71DD-ACD7-BABA7132E90A}"/>
              </a:ext>
            </a:extLst>
          </p:cNvPr>
          <p:cNvSpPr txBox="1">
            <a:spLocks noChangeArrowheads="1"/>
          </p:cNvSpPr>
          <p:nvPr>
            <p:custDataLst>
              <p:tags r:id="rId3"/>
            </p:custDataLst>
          </p:nvPr>
        </p:nvSpPr>
        <p:spPr bwMode="gray">
          <a:xfrm>
            <a:off x="3538107" y="1787795"/>
            <a:ext cx="1907111" cy="335730"/>
          </a:xfrm>
          <a:prstGeom prst="roundRect">
            <a:avLst>
              <a:gd name="adj" fmla="val 0"/>
            </a:avLst>
          </a:prstGeom>
          <a:solidFill>
            <a:schemeClr val="tx2">
              <a:lumMod val="10000"/>
              <a:lumOff val="90000"/>
            </a:schemeClr>
          </a:solidFill>
          <a:ln w="9525" cap="flat" cmpd="sng" algn="ctr">
            <a:noFill/>
            <a:prstDash val="solid"/>
          </a:ln>
          <a:effectLst>
            <a:outerShdw blurRad="50800" dist="38100" dir="5400000" algn="t" rotWithShape="0">
              <a:schemeClr val="tx2">
                <a:lumMod val="60000"/>
                <a:lumOff val="40000"/>
                <a:alpha val="40000"/>
              </a:schemeClr>
            </a:outerShdw>
          </a:effectLst>
        </p:spPr>
        <p:txBody>
          <a:bodyPr anchor="ctr"/>
          <a:lstStyle>
            <a:defPPr>
              <a:defRPr lang="en-US"/>
            </a:defPPr>
            <a:lvl1pPr algn="ctr">
              <a:defRPr sz="11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FFFFFF"/>
              </a:solidFill>
              <a:effectLst/>
              <a:uLnTx/>
              <a:uFillTx/>
              <a:latin typeface="Century Gothic" panose="020B0502020202020204" pitchFamily="34" charset="0"/>
              <a:ea typeface="ＭＳ Ｐゴシック"/>
              <a:cs typeface="+mn-cs"/>
            </a:endParaRPr>
          </a:p>
        </p:txBody>
      </p:sp>
      <p:sp>
        <p:nvSpPr>
          <p:cNvPr id="159" name="TextBox 158">
            <a:extLst>
              <a:ext uri="{FF2B5EF4-FFF2-40B4-BE49-F238E27FC236}">
                <a16:creationId xmlns:a16="http://schemas.microsoft.com/office/drawing/2014/main" id="{EF2ADFC4-3607-B5D8-B1BA-E7FA1B6B6AD3}"/>
              </a:ext>
            </a:extLst>
          </p:cNvPr>
          <p:cNvSpPr txBox="1"/>
          <p:nvPr/>
        </p:nvSpPr>
        <p:spPr>
          <a:xfrm>
            <a:off x="3528902" y="1842423"/>
            <a:ext cx="1860436" cy="246221"/>
          </a:xfrm>
          <a:prstGeom prst="rect">
            <a:avLst/>
          </a:prstGeom>
          <a:noFill/>
        </p:spPr>
        <p:txBody>
          <a:bodyPr wrap="square">
            <a:spAutoFit/>
          </a:bodyPr>
          <a:lstStyle/>
          <a:p>
            <a:pPr marL="0" marR="0" lvl="0" indent="0" algn="l" defTabSz="914400" rtl="0" eaLnBrk="1" fontAlgn="auto" latinLnBrk="0" hangingPunct="1">
              <a:lnSpc>
                <a:spcPts val="1236"/>
              </a:lnSpc>
              <a:spcBef>
                <a:spcPts val="0"/>
              </a:spcBef>
              <a:spcAft>
                <a:spcPts val="0"/>
              </a:spcAft>
              <a:buClrTx/>
              <a:buSzTx/>
              <a:buFontTx/>
              <a:buNone/>
              <a:tabLst/>
              <a:defRPr/>
            </a:pPr>
            <a:r>
              <a:rPr kumimoji="0" lang="en-US" sz="1400" b="1" i="0" u="none" strike="noStrike" kern="1200" cap="none" spc="-24" normalizeH="0" baseline="0" noProof="0" dirty="0">
                <a:ln>
                  <a:noFill/>
                </a:ln>
                <a:solidFill>
                  <a:srgbClr val="156082"/>
                </a:solidFill>
                <a:effectLst/>
                <a:uLnTx/>
                <a:uFillTx/>
                <a:latin typeface="Century Gothic" panose="020B0502020202020204" pitchFamily="34" charset="0"/>
                <a:ea typeface="+mn-ea"/>
                <a:cs typeface="+mn-cs"/>
              </a:rPr>
              <a:t>Primary processing</a:t>
            </a:r>
          </a:p>
        </p:txBody>
      </p:sp>
      <p:cxnSp>
        <p:nvCxnSpPr>
          <p:cNvPr id="161" name="Прямая соединительная линия 160">
            <a:extLst>
              <a:ext uri="{FF2B5EF4-FFF2-40B4-BE49-F238E27FC236}">
                <a16:creationId xmlns:a16="http://schemas.microsoft.com/office/drawing/2014/main" id="{142DFB67-5E51-C282-A565-D91E9C787A15}"/>
              </a:ext>
            </a:extLst>
          </p:cNvPr>
          <p:cNvCxnSpPr>
            <a:cxnSpLocks/>
          </p:cNvCxnSpPr>
          <p:nvPr/>
        </p:nvCxnSpPr>
        <p:spPr>
          <a:xfrm flipH="1">
            <a:off x="3296187" y="2005643"/>
            <a:ext cx="8739" cy="1401894"/>
          </a:xfrm>
          <a:prstGeom prst="line">
            <a:avLst/>
          </a:prstGeom>
          <a:ln w="50800">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63" name="Овал 162">
            <a:extLst>
              <a:ext uri="{FF2B5EF4-FFF2-40B4-BE49-F238E27FC236}">
                <a16:creationId xmlns:a16="http://schemas.microsoft.com/office/drawing/2014/main" id="{86410160-E564-C253-04BF-980C8890F4F8}"/>
              </a:ext>
            </a:extLst>
          </p:cNvPr>
          <p:cNvSpPr/>
          <p:nvPr/>
        </p:nvSpPr>
        <p:spPr>
          <a:xfrm>
            <a:off x="3036770" y="2879964"/>
            <a:ext cx="518834" cy="546623"/>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164" name="Rectangle 286">
            <a:extLst>
              <a:ext uri="{FF2B5EF4-FFF2-40B4-BE49-F238E27FC236}">
                <a16:creationId xmlns:a16="http://schemas.microsoft.com/office/drawing/2014/main" id="{22FF6593-DDF5-4992-F52C-0ADDB56C74A7}"/>
              </a:ext>
            </a:extLst>
          </p:cNvPr>
          <p:cNvSpPr txBox="1">
            <a:spLocks noChangeArrowheads="1"/>
          </p:cNvSpPr>
          <p:nvPr>
            <p:custDataLst>
              <p:tags r:id="rId4"/>
            </p:custDataLst>
          </p:nvPr>
        </p:nvSpPr>
        <p:spPr bwMode="gray">
          <a:xfrm>
            <a:off x="6495415" y="1787795"/>
            <a:ext cx="1907111" cy="335730"/>
          </a:xfrm>
          <a:prstGeom prst="roundRect">
            <a:avLst>
              <a:gd name="adj" fmla="val 0"/>
            </a:avLst>
          </a:prstGeom>
          <a:solidFill>
            <a:schemeClr val="tx2">
              <a:lumMod val="10000"/>
              <a:lumOff val="90000"/>
            </a:schemeClr>
          </a:solidFill>
          <a:ln w="9525" cap="flat" cmpd="sng" algn="ctr">
            <a:noFill/>
            <a:prstDash val="solid"/>
          </a:ln>
          <a:effectLst>
            <a:outerShdw blurRad="50800" dist="38100" dir="5400000" algn="t" rotWithShape="0">
              <a:schemeClr val="tx2">
                <a:lumMod val="60000"/>
                <a:lumOff val="40000"/>
                <a:alpha val="40000"/>
              </a:schemeClr>
            </a:outerShdw>
          </a:effectLst>
        </p:spPr>
        <p:txBody>
          <a:bodyPr anchor="ctr"/>
          <a:lstStyle>
            <a:defPPr>
              <a:defRPr lang="en-US"/>
            </a:defPPr>
            <a:lvl1pPr algn="ctr">
              <a:defRPr sz="11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FFFFFF"/>
              </a:solidFill>
              <a:effectLst/>
              <a:uLnTx/>
              <a:uFillTx/>
              <a:latin typeface="Century Gothic" panose="020B0502020202020204" pitchFamily="34" charset="0"/>
              <a:ea typeface="ＭＳ Ｐゴシック"/>
              <a:cs typeface="+mn-cs"/>
            </a:endParaRPr>
          </a:p>
        </p:txBody>
      </p:sp>
      <p:sp>
        <p:nvSpPr>
          <p:cNvPr id="160" name="TextBox 159">
            <a:extLst>
              <a:ext uri="{FF2B5EF4-FFF2-40B4-BE49-F238E27FC236}">
                <a16:creationId xmlns:a16="http://schemas.microsoft.com/office/drawing/2014/main" id="{6B5021C0-0860-5E13-F24B-AACBE9DB9183}"/>
              </a:ext>
            </a:extLst>
          </p:cNvPr>
          <p:cNvSpPr txBox="1"/>
          <p:nvPr/>
        </p:nvSpPr>
        <p:spPr>
          <a:xfrm>
            <a:off x="6483039" y="1849800"/>
            <a:ext cx="1964331" cy="246927"/>
          </a:xfrm>
          <a:prstGeom prst="rect">
            <a:avLst/>
          </a:prstGeom>
          <a:noFill/>
        </p:spPr>
        <p:txBody>
          <a:bodyPr wrap="square">
            <a:spAutoFit/>
          </a:bodyPr>
          <a:lstStyle/>
          <a:p>
            <a:pPr marL="0" marR="0" lvl="0" indent="0" algn="l" defTabSz="914400" rtl="0" eaLnBrk="1" fontAlgn="auto" latinLnBrk="0" hangingPunct="1">
              <a:lnSpc>
                <a:spcPts val="1236"/>
              </a:lnSpc>
              <a:spcBef>
                <a:spcPts val="0"/>
              </a:spcBef>
              <a:spcAft>
                <a:spcPts val="0"/>
              </a:spcAft>
              <a:buClrTx/>
              <a:buSzTx/>
              <a:buFontTx/>
              <a:buNone/>
              <a:tabLst/>
              <a:defRPr/>
            </a:pPr>
            <a:r>
              <a:rPr kumimoji="0" lang="en-US" sz="1400" b="1" i="0" u="none" strike="noStrike" kern="1200" cap="none" spc="-24" normalizeH="0" baseline="0" noProof="0" dirty="0">
                <a:ln>
                  <a:noFill/>
                </a:ln>
                <a:solidFill>
                  <a:srgbClr val="156082"/>
                </a:solidFill>
                <a:effectLst/>
                <a:uLnTx/>
                <a:uFillTx/>
                <a:latin typeface="Century Gothic" panose="020B0502020202020204" pitchFamily="34" charset="0"/>
                <a:ea typeface="+mn-ea"/>
                <a:cs typeface="+mn-cs"/>
              </a:rPr>
              <a:t>Logistics and storage</a:t>
            </a:r>
          </a:p>
        </p:txBody>
      </p:sp>
      <p:cxnSp>
        <p:nvCxnSpPr>
          <p:cNvPr id="166" name="Прямая соединительная линия 165">
            <a:extLst>
              <a:ext uri="{FF2B5EF4-FFF2-40B4-BE49-F238E27FC236}">
                <a16:creationId xmlns:a16="http://schemas.microsoft.com/office/drawing/2014/main" id="{B4241303-6A90-DD68-B133-D06614BA569E}"/>
              </a:ext>
            </a:extLst>
          </p:cNvPr>
          <p:cNvCxnSpPr>
            <a:cxnSpLocks/>
          </p:cNvCxnSpPr>
          <p:nvPr/>
        </p:nvCxnSpPr>
        <p:spPr>
          <a:xfrm flipH="1">
            <a:off x="6255503" y="2009771"/>
            <a:ext cx="1564" cy="1391257"/>
          </a:xfrm>
          <a:prstGeom prst="line">
            <a:avLst/>
          </a:prstGeom>
          <a:ln w="50800">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67" name="Овал 166">
            <a:extLst>
              <a:ext uri="{FF2B5EF4-FFF2-40B4-BE49-F238E27FC236}">
                <a16:creationId xmlns:a16="http://schemas.microsoft.com/office/drawing/2014/main" id="{7E76E639-3CF7-2E66-0084-3E5913CD310F}"/>
              </a:ext>
            </a:extLst>
          </p:cNvPr>
          <p:cNvSpPr/>
          <p:nvPr/>
        </p:nvSpPr>
        <p:spPr>
          <a:xfrm>
            <a:off x="5996086" y="2873455"/>
            <a:ext cx="518834" cy="546623"/>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177" name="Прямоугольник: скругленные углы 10">
            <a:extLst>
              <a:ext uri="{FF2B5EF4-FFF2-40B4-BE49-F238E27FC236}">
                <a16:creationId xmlns:a16="http://schemas.microsoft.com/office/drawing/2014/main" id="{8BA38267-63B7-1BD1-CD9F-505D136A390B}"/>
              </a:ext>
            </a:extLst>
          </p:cNvPr>
          <p:cNvSpPr/>
          <p:nvPr/>
        </p:nvSpPr>
        <p:spPr>
          <a:xfrm>
            <a:off x="6485297" y="3923890"/>
            <a:ext cx="1723615" cy="323043"/>
          </a:xfrm>
          <a:prstGeom prst="roundRect">
            <a:avLst/>
          </a:prstGeom>
          <a:noFill/>
          <a:ln>
            <a:solidFill>
              <a:schemeClr val="tx2">
                <a:lumMod val="75000"/>
                <a:lumOff val="2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ransportation</a:t>
            </a:r>
            <a:endParaRPr kumimoji="0" lang="ru-RU" sz="9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78" name="Прямоугольник: скругленные углы 10">
            <a:extLst>
              <a:ext uri="{FF2B5EF4-FFF2-40B4-BE49-F238E27FC236}">
                <a16:creationId xmlns:a16="http://schemas.microsoft.com/office/drawing/2014/main" id="{5461FE5F-6727-F264-21EB-9EA3DD4EF55F}"/>
              </a:ext>
            </a:extLst>
          </p:cNvPr>
          <p:cNvSpPr/>
          <p:nvPr/>
        </p:nvSpPr>
        <p:spPr>
          <a:xfrm>
            <a:off x="6485297" y="2853020"/>
            <a:ext cx="1723615" cy="429573"/>
          </a:xfrm>
          <a:prstGeom prst="roundRect">
            <a:avLst/>
          </a:prstGeom>
          <a:noFill/>
          <a:ln>
            <a:solidFill>
              <a:schemeClr val="tx2">
                <a:lumMod val="75000"/>
                <a:lumOff val="2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Elevators, grain storage facilities</a:t>
            </a:r>
            <a:endParaRPr kumimoji="0" lang="ru-RU" sz="10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cxnSp>
        <p:nvCxnSpPr>
          <p:cNvPr id="185" name="Прямая соединительная линия 184">
            <a:extLst>
              <a:ext uri="{FF2B5EF4-FFF2-40B4-BE49-F238E27FC236}">
                <a16:creationId xmlns:a16="http://schemas.microsoft.com/office/drawing/2014/main" id="{BCDCCABD-79AF-27D4-B12C-6F2AE74A449E}"/>
              </a:ext>
            </a:extLst>
          </p:cNvPr>
          <p:cNvCxnSpPr>
            <a:cxnSpLocks/>
            <a:endCxn id="232" idx="4"/>
          </p:cNvCxnSpPr>
          <p:nvPr/>
        </p:nvCxnSpPr>
        <p:spPr>
          <a:xfrm flipH="1">
            <a:off x="9349982" y="2014098"/>
            <a:ext cx="16881" cy="1348635"/>
          </a:xfrm>
          <a:prstGeom prst="line">
            <a:avLst/>
          </a:prstGeom>
          <a:ln w="50800">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86" name="Rectangle 286">
            <a:extLst>
              <a:ext uri="{FF2B5EF4-FFF2-40B4-BE49-F238E27FC236}">
                <a16:creationId xmlns:a16="http://schemas.microsoft.com/office/drawing/2014/main" id="{17CE03F0-E041-4641-5915-9668E07726AF}"/>
              </a:ext>
            </a:extLst>
          </p:cNvPr>
          <p:cNvSpPr txBox="1">
            <a:spLocks noChangeArrowheads="1"/>
          </p:cNvSpPr>
          <p:nvPr>
            <p:custDataLst>
              <p:tags r:id="rId5"/>
            </p:custDataLst>
          </p:nvPr>
        </p:nvSpPr>
        <p:spPr bwMode="gray">
          <a:xfrm>
            <a:off x="9600043" y="1812779"/>
            <a:ext cx="1653817" cy="335730"/>
          </a:xfrm>
          <a:prstGeom prst="roundRect">
            <a:avLst>
              <a:gd name="adj" fmla="val 0"/>
            </a:avLst>
          </a:prstGeom>
          <a:solidFill>
            <a:schemeClr val="tx2">
              <a:lumMod val="10000"/>
              <a:lumOff val="90000"/>
            </a:schemeClr>
          </a:solidFill>
          <a:ln w="9525" cap="flat" cmpd="sng" algn="ctr">
            <a:noFill/>
            <a:prstDash val="solid"/>
          </a:ln>
          <a:effectLst>
            <a:outerShdw blurRad="50800" dist="38100" dir="5400000" algn="t" rotWithShape="0">
              <a:schemeClr val="tx2">
                <a:lumMod val="60000"/>
                <a:lumOff val="40000"/>
                <a:alpha val="40000"/>
              </a:schemeClr>
            </a:outerShdw>
          </a:effectLst>
        </p:spPr>
        <p:txBody>
          <a:bodyPr anchor="ctr"/>
          <a:lstStyle>
            <a:defPPr>
              <a:defRPr lang="en-US"/>
            </a:defPPr>
            <a:lvl1pPr algn="ctr">
              <a:defRPr sz="11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FFFFFF"/>
              </a:solidFill>
              <a:effectLst/>
              <a:uLnTx/>
              <a:uFillTx/>
              <a:latin typeface="Century Gothic" panose="020B0502020202020204" pitchFamily="34" charset="0"/>
              <a:ea typeface="ＭＳ Ｐゴシック"/>
              <a:cs typeface="+mn-cs"/>
            </a:endParaRPr>
          </a:p>
        </p:txBody>
      </p:sp>
      <p:sp>
        <p:nvSpPr>
          <p:cNvPr id="187" name="TextBox 186">
            <a:extLst>
              <a:ext uri="{FF2B5EF4-FFF2-40B4-BE49-F238E27FC236}">
                <a16:creationId xmlns:a16="http://schemas.microsoft.com/office/drawing/2014/main" id="{CC675F86-F396-A475-1A1A-32C4A935B294}"/>
              </a:ext>
            </a:extLst>
          </p:cNvPr>
          <p:cNvSpPr txBox="1"/>
          <p:nvPr/>
        </p:nvSpPr>
        <p:spPr>
          <a:xfrm>
            <a:off x="9575044" y="1870958"/>
            <a:ext cx="1660882" cy="246927"/>
          </a:xfrm>
          <a:prstGeom prst="rect">
            <a:avLst/>
          </a:prstGeom>
          <a:noFill/>
        </p:spPr>
        <p:txBody>
          <a:bodyPr wrap="square">
            <a:spAutoFit/>
          </a:bodyPr>
          <a:lstStyle/>
          <a:p>
            <a:pPr marL="0" marR="0" lvl="0" indent="0" algn="l" defTabSz="914400" rtl="0" eaLnBrk="1" fontAlgn="auto" latinLnBrk="0" hangingPunct="1">
              <a:lnSpc>
                <a:spcPts val="1236"/>
              </a:lnSpc>
              <a:spcBef>
                <a:spcPts val="0"/>
              </a:spcBef>
              <a:spcAft>
                <a:spcPts val="0"/>
              </a:spcAft>
              <a:buClrTx/>
              <a:buSzTx/>
              <a:buFontTx/>
              <a:buNone/>
              <a:tabLst/>
              <a:defRPr/>
            </a:pPr>
            <a:r>
              <a:rPr kumimoji="0" lang="en-US" sz="1400" b="1" i="0" u="none" strike="noStrike" kern="1200" cap="none" spc="-24" normalizeH="0" baseline="0" noProof="0" dirty="0">
                <a:ln>
                  <a:noFill/>
                </a:ln>
                <a:solidFill>
                  <a:srgbClr val="156082"/>
                </a:solidFill>
                <a:effectLst/>
                <a:uLnTx/>
                <a:uFillTx/>
                <a:latin typeface="Century Gothic" panose="020B0502020202020204" pitchFamily="34" charset="0"/>
                <a:ea typeface="+mn-ea"/>
                <a:cs typeface="+mn-cs"/>
              </a:rPr>
              <a:t>Deep processing</a:t>
            </a:r>
          </a:p>
        </p:txBody>
      </p:sp>
      <p:sp>
        <p:nvSpPr>
          <p:cNvPr id="192" name="Овал 191">
            <a:extLst>
              <a:ext uri="{FF2B5EF4-FFF2-40B4-BE49-F238E27FC236}">
                <a16:creationId xmlns:a16="http://schemas.microsoft.com/office/drawing/2014/main" id="{FB0F9A46-4BDC-0800-D73C-8A78B339569C}"/>
              </a:ext>
            </a:extLst>
          </p:cNvPr>
          <p:cNvSpPr/>
          <p:nvPr/>
        </p:nvSpPr>
        <p:spPr>
          <a:xfrm>
            <a:off x="9095680" y="2878351"/>
            <a:ext cx="518834" cy="546623"/>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198" name="Треугольник 197">
            <a:extLst>
              <a:ext uri="{FF2B5EF4-FFF2-40B4-BE49-F238E27FC236}">
                <a16:creationId xmlns:a16="http://schemas.microsoft.com/office/drawing/2014/main" id="{24019F7C-19BE-2454-94A8-AECFCFAF3DF2}"/>
              </a:ext>
            </a:extLst>
          </p:cNvPr>
          <p:cNvSpPr/>
          <p:nvPr/>
        </p:nvSpPr>
        <p:spPr>
          <a:xfrm rot="5400000">
            <a:off x="8712940" y="3031409"/>
            <a:ext cx="210181" cy="200624"/>
          </a:xfrm>
          <a:prstGeom prst="triangle">
            <a:avLst/>
          </a:prstGeom>
          <a:solidFill>
            <a:schemeClr val="tx2">
              <a:lumMod val="25000"/>
              <a:lumOff val="75000"/>
            </a:schemeClr>
          </a:solidFill>
          <a:ln>
            <a:solidFill>
              <a:schemeClr val="tx2">
                <a:lumMod val="25000"/>
                <a:lumOff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03" name="Треугольник 202">
            <a:extLst>
              <a:ext uri="{FF2B5EF4-FFF2-40B4-BE49-F238E27FC236}">
                <a16:creationId xmlns:a16="http://schemas.microsoft.com/office/drawing/2014/main" id="{48D339C2-B42F-2DAB-DA6E-025B52079FE6}"/>
              </a:ext>
            </a:extLst>
          </p:cNvPr>
          <p:cNvSpPr/>
          <p:nvPr/>
        </p:nvSpPr>
        <p:spPr>
          <a:xfrm rot="5400000">
            <a:off x="5513618" y="3022483"/>
            <a:ext cx="210181" cy="200624"/>
          </a:xfrm>
          <a:prstGeom prst="triangle">
            <a:avLst/>
          </a:prstGeom>
          <a:solidFill>
            <a:schemeClr val="tx2">
              <a:lumMod val="25000"/>
              <a:lumOff val="75000"/>
            </a:schemeClr>
          </a:solidFill>
          <a:ln>
            <a:solidFill>
              <a:schemeClr val="tx2">
                <a:lumMod val="25000"/>
                <a:lumOff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04" name="Треугольник 203">
            <a:extLst>
              <a:ext uri="{FF2B5EF4-FFF2-40B4-BE49-F238E27FC236}">
                <a16:creationId xmlns:a16="http://schemas.microsoft.com/office/drawing/2014/main" id="{56C8F4BD-69E2-97C1-99AD-B2FF07599A56}"/>
              </a:ext>
            </a:extLst>
          </p:cNvPr>
          <p:cNvSpPr/>
          <p:nvPr/>
        </p:nvSpPr>
        <p:spPr>
          <a:xfrm rot="5400000">
            <a:off x="2646032" y="3031408"/>
            <a:ext cx="210181" cy="200624"/>
          </a:xfrm>
          <a:prstGeom prst="triangle">
            <a:avLst/>
          </a:prstGeom>
          <a:solidFill>
            <a:schemeClr val="tx2">
              <a:lumMod val="25000"/>
              <a:lumOff val="75000"/>
            </a:schemeClr>
          </a:solidFill>
          <a:ln>
            <a:solidFill>
              <a:schemeClr val="tx2">
                <a:lumMod val="25000"/>
                <a:lumOff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22" name="TextBox 221">
            <a:extLst>
              <a:ext uri="{FF2B5EF4-FFF2-40B4-BE49-F238E27FC236}">
                <a16:creationId xmlns:a16="http://schemas.microsoft.com/office/drawing/2014/main" id="{E70ACA5D-CDD1-8F1D-8093-EBE99E062FD9}"/>
              </a:ext>
            </a:extLst>
          </p:cNvPr>
          <p:cNvSpPr txBox="1"/>
          <p:nvPr/>
        </p:nvSpPr>
        <p:spPr>
          <a:xfrm>
            <a:off x="509219" y="900727"/>
            <a:ext cx="11190173" cy="523220"/>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he presented value chain reflects the key stages from cultivation to processing and helps identify areas with the </a:t>
            </a:r>
            <a:r>
              <a:rPr kumimoji="0" lang="en-US" sz="1400" b="1" i="0" u="none" strike="noStrike" kern="1200" cap="none" spc="-24" normalizeH="0" baseline="0" noProof="0" dirty="0">
                <a:ln>
                  <a:noFill/>
                </a:ln>
                <a:solidFill>
                  <a:srgbClr val="156082"/>
                </a:solidFill>
                <a:effectLst/>
                <a:uLnTx/>
                <a:uFillTx/>
                <a:latin typeface="Century Gothic" panose="020B0502020202020204" pitchFamily="34" charset="0"/>
                <a:ea typeface="+mn-ea"/>
                <a:cs typeface="+mn-cs"/>
              </a:rPr>
              <a:t>highest potential for value addition and investment</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t>
            </a:r>
            <a:endParaRPr kumimoji="0" lang="ru-KZ" sz="1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229" name="Овал 228">
            <a:extLst>
              <a:ext uri="{FF2B5EF4-FFF2-40B4-BE49-F238E27FC236}">
                <a16:creationId xmlns:a16="http://schemas.microsoft.com/office/drawing/2014/main" id="{BFCC7E50-E002-F091-A067-19126793F5CC}"/>
              </a:ext>
            </a:extLst>
          </p:cNvPr>
          <p:cNvSpPr/>
          <p:nvPr/>
        </p:nvSpPr>
        <p:spPr>
          <a:xfrm>
            <a:off x="336583" y="2932653"/>
            <a:ext cx="419347" cy="430611"/>
          </a:xfrm>
          <a:prstGeom prst="ellipse">
            <a:avLst/>
          </a:prstGeom>
          <a:solidFill>
            <a:schemeClr val="bg1"/>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230" name="Овал 229">
            <a:extLst>
              <a:ext uri="{FF2B5EF4-FFF2-40B4-BE49-F238E27FC236}">
                <a16:creationId xmlns:a16="http://schemas.microsoft.com/office/drawing/2014/main" id="{32646263-F24B-A98C-DF78-0566971C3E1E}"/>
              </a:ext>
            </a:extLst>
          </p:cNvPr>
          <p:cNvSpPr/>
          <p:nvPr/>
        </p:nvSpPr>
        <p:spPr>
          <a:xfrm>
            <a:off x="3079302" y="2941493"/>
            <a:ext cx="419347" cy="430611"/>
          </a:xfrm>
          <a:prstGeom prst="ellipse">
            <a:avLst/>
          </a:prstGeom>
          <a:solidFill>
            <a:schemeClr val="bg1"/>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231" name="Овал 230">
            <a:extLst>
              <a:ext uri="{FF2B5EF4-FFF2-40B4-BE49-F238E27FC236}">
                <a16:creationId xmlns:a16="http://schemas.microsoft.com/office/drawing/2014/main" id="{4EC63E1C-88DB-A767-3121-4A57A2396A28}"/>
              </a:ext>
            </a:extLst>
          </p:cNvPr>
          <p:cNvSpPr/>
          <p:nvPr/>
        </p:nvSpPr>
        <p:spPr>
          <a:xfrm>
            <a:off x="6047154" y="2932701"/>
            <a:ext cx="419347" cy="430611"/>
          </a:xfrm>
          <a:prstGeom prst="ellipse">
            <a:avLst/>
          </a:prstGeom>
          <a:solidFill>
            <a:schemeClr val="bg1"/>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232" name="Овал 231">
            <a:extLst>
              <a:ext uri="{FF2B5EF4-FFF2-40B4-BE49-F238E27FC236}">
                <a16:creationId xmlns:a16="http://schemas.microsoft.com/office/drawing/2014/main" id="{F36CB1CF-8BD4-7554-8B57-31B3CAC55B2B}"/>
              </a:ext>
            </a:extLst>
          </p:cNvPr>
          <p:cNvSpPr/>
          <p:nvPr/>
        </p:nvSpPr>
        <p:spPr>
          <a:xfrm>
            <a:off x="9140308" y="2932122"/>
            <a:ext cx="419347" cy="430611"/>
          </a:xfrm>
          <a:prstGeom prst="ellipse">
            <a:avLst/>
          </a:prstGeom>
          <a:solidFill>
            <a:schemeClr val="bg1"/>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78" name="Прямоугольник: скругленные углы 10">
            <a:extLst>
              <a:ext uri="{FF2B5EF4-FFF2-40B4-BE49-F238E27FC236}">
                <a16:creationId xmlns:a16="http://schemas.microsoft.com/office/drawing/2014/main" id="{8BA38267-63B7-1BD1-CD9F-505D136A390B}"/>
              </a:ext>
            </a:extLst>
          </p:cNvPr>
          <p:cNvSpPr/>
          <p:nvPr/>
        </p:nvSpPr>
        <p:spPr>
          <a:xfrm>
            <a:off x="6485298" y="3388007"/>
            <a:ext cx="1723614" cy="425203"/>
          </a:xfrm>
          <a:prstGeom prst="roundRect">
            <a:avLst/>
          </a:prstGeom>
          <a:noFill/>
          <a:ln>
            <a:solidFill>
              <a:schemeClr val="tx2">
                <a:lumMod val="75000"/>
                <a:lumOff val="2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Cold storage warehouses</a:t>
            </a:r>
            <a:endParaRPr kumimoji="0" lang="ru-RU" sz="9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grpSp>
        <p:nvGrpSpPr>
          <p:cNvPr id="37" name="Группа 36">
            <a:extLst>
              <a:ext uri="{FF2B5EF4-FFF2-40B4-BE49-F238E27FC236}">
                <a16:creationId xmlns:a16="http://schemas.microsoft.com/office/drawing/2014/main" id="{E90901CE-DCA0-AA86-EE4B-A13D652621A3}"/>
              </a:ext>
            </a:extLst>
          </p:cNvPr>
          <p:cNvGrpSpPr/>
          <p:nvPr/>
        </p:nvGrpSpPr>
        <p:grpSpPr>
          <a:xfrm>
            <a:off x="3150875" y="1815651"/>
            <a:ext cx="294640" cy="294640"/>
            <a:chOff x="2501900" y="2336800"/>
            <a:chExt cx="294640" cy="294640"/>
          </a:xfrm>
        </p:grpSpPr>
        <p:sp>
          <p:nvSpPr>
            <p:cNvPr id="40" name="Овал 39">
              <a:extLst>
                <a:ext uri="{FF2B5EF4-FFF2-40B4-BE49-F238E27FC236}">
                  <a16:creationId xmlns:a16="http://schemas.microsoft.com/office/drawing/2014/main" id="{13C0C2F9-BF16-3B6C-4916-8A8838EA531C}"/>
                </a:ext>
              </a:extLst>
            </p:cNvPr>
            <p:cNvSpPr/>
            <p:nvPr/>
          </p:nvSpPr>
          <p:spPr>
            <a:xfrm>
              <a:off x="2501900" y="2336800"/>
              <a:ext cx="294640" cy="294640"/>
            </a:xfrm>
            <a:prstGeom prst="ellipse">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Rubik Bold" panose="020B0604020202020204"/>
              </a:endParaRPr>
            </a:p>
          </p:txBody>
        </p:sp>
        <p:sp>
          <p:nvSpPr>
            <p:cNvPr id="42" name="Овал 41">
              <a:extLst>
                <a:ext uri="{FF2B5EF4-FFF2-40B4-BE49-F238E27FC236}">
                  <a16:creationId xmlns:a16="http://schemas.microsoft.com/office/drawing/2014/main" id="{B37F1218-2B97-416E-FADE-D3A333AB9BA7}"/>
                </a:ext>
              </a:extLst>
            </p:cNvPr>
            <p:cNvSpPr/>
            <p:nvPr/>
          </p:nvSpPr>
          <p:spPr>
            <a:xfrm>
              <a:off x="2593340" y="2420620"/>
              <a:ext cx="125222" cy="125222"/>
            </a:xfrm>
            <a:prstGeom prst="ellipse">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Rubik Bold" panose="020B0604020202020204"/>
              </a:endParaRPr>
            </a:p>
          </p:txBody>
        </p:sp>
      </p:grpSp>
      <p:grpSp>
        <p:nvGrpSpPr>
          <p:cNvPr id="43" name="Группа 42">
            <a:extLst>
              <a:ext uri="{FF2B5EF4-FFF2-40B4-BE49-F238E27FC236}">
                <a16:creationId xmlns:a16="http://schemas.microsoft.com/office/drawing/2014/main" id="{137B337A-A1EA-77CB-2153-49C656B67E4A}"/>
              </a:ext>
            </a:extLst>
          </p:cNvPr>
          <p:cNvGrpSpPr/>
          <p:nvPr/>
        </p:nvGrpSpPr>
        <p:grpSpPr>
          <a:xfrm>
            <a:off x="6108183" y="1819779"/>
            <a:ext cx="294640" cy="294640"/>
            <a:chOff x="2501900" y="2336800"/>
            <a:chExt cx="294640" cy="294640"/>
          </a:xfrm>
        </p:grpSpPr>
        <p:sp>
          <p:nvSpPr>
            <p:cNvPr id="49" name="Овал 48">
              <a:extLst>
                <a:ext uri="{FF2B5EF4-FFF2-40B4-BE49-F238E27FC236}">
                  <a16:creationId xmlns:a16="http://schemas.microsoft.com/office/drawing/2014/main" id="{0A457375-A6EA-B747-A882-2215E98DD4CA}"/>
                </a:ext>
              </a:extLst>
            </p:cNvPr>
            <p:cNvSpPr/>
            <p:nvPr/>
          </p:nvSpPr>
          <p:spPr>
            <a:xfrm>
              <a:off x="2501900" y="2336800"/>
              <a:ext cx="294640" cy="294640"/>
            </a:xfrm>
            <a:prstGeom prst="ellipse">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Rubik Bold" panose="020B0604020202020204"/>
              </a:endParaRPr>
            </a:p>
          </p:txBody>
        </p:sp>
        <p:sp>
          <p:nvSpPr>
            <p:cNvPr id="51" name="Овал 50">
              <a:extLst>
                <a:ext uri="{FF2B5EF4-FFF2-40B4-BE49-F238E27FC236}">
                  <a16:creationId xmlns:a16="http://schemas.microsoft.com/office/drawing/2014/main" id="{588BA29E-BE47-08BB-38EA-FE47E6E29D12}"/>
                </a:ext>
              </a:extLst>
            </p:cNvPr>
            <p:cNvSpPr/>
            <p:nvPr/>
          </p:nvSpPr>
          <p:spPr>
            <a:xfrm>
              <a:off x="2593340" y="2420620"/>
              <a:ext cx="125222" cy="125222"/>
            </a:xfrm>
            <a:prstGeom prst="ellipse">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Rubik Bold" panose="020B0604020202020204"/>
              </a:endParaRPr>
            </a:p>
          </p:txBody>
        </p:sp>
      </p:grpSp>
      <p:pic>
        <p:nvPicPr>
          <p:cNvPr id="3" name="Рисунок 2"/>
          <p:cNvPicPr>
            <a:picLocks noChangeAspect="1"/>
          </p:cNvPicPr>
          <p:nvPr/>
        </p:nvPicPr>
        <p:blipFill>
          <a:blip r:embed="rId10">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89239" y="2984400"/>
            <a:ext cx="314460" cy="314460"/>
          </a:xfrm>
          <a:prstGeom prst="rect">
            <a:avLst/>
          </a:prstGeom>
        </p:spPr>
      </p:pic>
      <p:sp>
        <p:nvSpPr>
          <p:cNvPr id="74" name="Прямоугольник: скругленные углы 10">
            <a:extLst>
              <a:ext uri="{FF2B5EF4-FFF2-40B4-BE49-F238E27FC236}">
                <a16:creationId xmlns:a16="http://schemas.microsoft.com/office/drawing/2014/main" id="{8BA38267-63B7-1BD1-CD9F-505D136A390B}"/>
              </a:ext>
            </a:extLst>
          </p:cNvPr>
          <p:cNvSpPr/>
          <p:nvPr/>
        </p:nvSpPr>
        <p:spPr>
          <a:xfrm>
            <a:off x="3523821" y="3778692"/>
            <a:ext cx="1699292" cy="327569"/>
          </a:xfrm>
          <a:prstGeom prst="roundRect">
            <a:avLst/>
          </a:prstGeom>
          <a:noFill/>
          <a:ln>
            <a:solidFill>
              <a:schemeClr val="tx2">
                <a:lumMod val="75000"/>
                <a:lumOff val="2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Grading</a:t>
            </a:r>
            <a:endParaRPr kumimoji="0" lang="ru-RU" sz="9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75" name="Прямоугольник: скругленные углы 10">
            <a:extLst>
              <a:ext uri="{FF2B5EF4-FFF2-40B4-BE49-F238E27FC236}">
                <a16:creationId xmlns:a16="http://schemas.microsoft.com/office/drawing/2014/main" id="{5461FE5F-6727-F264-21EB-9EA3DD4EF55F}"/>
              </a:ext>
            </a:extLst>
          </p:cNvPr>
          <p:cNvSpPr/>
          <p:nvPr/>
        </p:nvSpPr>
        <p:spPr>
          <a:xfrm>
            <a:off x="3523820" y="2848493"/>
            <a:ext cx="1702575" cy="363185"/>
          </a:xfrm>
          <a:prstGeom prst="roundRect">
            <a:avLst/>
          </a:prstGeom>
          <a:noFill/>
          <a:ln>
            <a:solidFill>
              <a:schemeClr val="tx2">
                <a:lumMod val="75000"/>
                <a:lumOff val="2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Cleaning</a:t>
            </a:r>
            <a:endParaRPr kumimoji="0" lang="ru-RU" sz="10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76" name="Прямоугольник: скругленные углы 10">
            <a:extLst>
              <a:ext uri="{FF2B5EF4-FFF2-40B4-BE49-F238E27FC236}">
                <a16:creationId xmlns:a16="http://schemas.microsoft.com/office/drawing/2014/main" id="{8BA38267-63B7-1BD1-CD9F-505D136A390B}"/>
              </a:ext>
            </a:extLst>
          </p:cNvPr>
          <p:cNvSpPr/>
          <p:nvPr/>
        </p:nvSpPr>
        <p:spPr>
          <a:xfrm>
            <a:off x="3523821" y="3313144"/>
            <a:ext cx="1699291" cy="363365"/>
          </a:xfrm>
          <a:prstGeom prst="roundRect">
            <a:avLst/>
          </a:prstGeom>
          <a:noFill/>
          <a:ln>
            <a:solidFill>
              <a:schemeClr val="tx2">
                <a:lumMod val="75000"/>
                <a:lumOff val="2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Drying</a:t>
            </a:r>
            <a:endParaRPr kumimoji="0" lang="ru-RU" sz="9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pic>
        <p:nvPicPr>
          <p:cNvPr id="10" name="Рисунок 9"/>
          <p:cNvPicPr>
            <a:picLocks noChangeAspect="1"/>
          </p:cNvPicPr>
          <p:nvPr/>
        </p:nvPicPr>
        <p:blipFill>
          <a:blip r:embed="rId11">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092997" y="2986333"/>
            <a:ext cx="330516" cy="330516"/>
          </a:xfrm>
          <a:prstGeom prst="rect">
            <a:avLst/>
          </a:prstGeom>
        </p:spPr>
      </p:pic>
      <p:cxnSp>
        <p:nvCxnSpPr>
          <p:cNvPr id="79" name="Прямая соединительная линия 78">
            <a:extLst>
              <a:ext uri="{FF2B5EF4-FFF2-40B4-BE49-F238E27FC236}">
                <a16:creationId xmlns:a16="http://schemas.microsoft.com/office/drawing/2014/main" id="{EE40FE03-C600-1145-50E3-34FEF04C8A23}"/>
              </a:ext>
            </a:extLst>
          </p:cNvPr>
          <p:cNvCxnSpPr>
            <a:cxnSpLocks/>
          </p:cNvCxnSpPr>
          <p:nvPr/>
        </p:nvCxnSpPr>
        <p:spPr>
          <a:xfrm>
            <a:off x="11871585" y="3153784"/>
            <a:ext cx="5801" cy="1940898"/>
          </a:xfrm>
          <a:prstGeom prst="line">
            <a:avLst/>
          </a:prstGeom>
        </p:spPr>
        <p:style>
          <a:lnRef idx="1">
            <a:schemeClr val="accent1"/>
          </a:lnRef>
          <a:fillRef idx="0">
            <a:schemeClr val="accent1"/>
          </a:fillRef>
          <a:effectRef idx="0">
            <a:schemeClr val="accent1"/>
          </a:effectRef>
          <a:fontRef idx="minor">
            <a:schemeClr val="tx1"/>
          </a:fontRef>
        </p:style>
      </p:cxnSp>
      <p:cxnSp>
        <p:nvCxnSpPr>
          <p:cNvPr id="81" name="Прямая соединительная линия 80">
            <a:extLst>
              <a:ext uri="{FF2B5EF4-FFF2-40B4-BE49-F238E27FC236}">
                <a16:creationId xmlns:a16="http://schemas.microsoft.com/office/drawing/2014/main" id="{F5F3A2BE-92B5-0411-C770-09FE5FB7971E}"/>
              </a:ext>
            </a:extLst>
          </p:cNvPr>
          <p:cNvCxnSpPr>
            <a:cxnSpLocks/>
          </p:cNvCxnSpPr>
          <p:nvPr/>
        </p:nvCxnSpPr>
        <p:spPr>
          <a:xfrm>
            <a:off x="11688717" y="4654471"/>
            <a:ext cx="181608" cy="0"/>
          </a:xfrm>
          <a:prstGeom prst="line">
            <a:avLst/>
          </a:prstGeom>
        </p:spPr>
        <p:style>
          <a:lnRef idx="1">
            <a:schemeClr val="accent1"/>
          </a:lnRef>
          <a:fillRef idx="0">
            <a:schemeClr val="accent1"/>
          </a:fillRef>
          <a:effectRef idx="0">
            <a:schemeClr val="accent1"/>
          </a:effectRef>
          <a:fontRef idx="minor">
            <a:schemeClr val="tx1"/>
          </a:fontRef>
        </p:style>
      </p:cxnSp>
      <p:sp>
        <p:nvSpPr>
          <p:cNvPr id="83" name="Прямоугольник: скругленные углы 10">
            <a:extLst>
              <a:ext uri="{FF2B5EF4-FFF2-40B4-BE49-F238E27FC236}">
                <a16:creationId xmlns:a16="http://schemas.microsoft.com/office/drawing/2014/main" id="{5461FE5F-6727-F264-21EB-9EA3DD4EF55F}"/>
              </a:ext>
            </a:extLst>
          </p:cNvPr>
          <p:cNvSpPr/>
          <p:nvPr/>
        </p:nvSpPr>
        <p:spPr>
          <a:xfrm>
            <a:off x="9577239" y="3542727"/>
            <a:ext cx="2115473" cy="363185"/>
          </a:xfrm>
          <a:prstGeom prst="roundRect">
            <a:avLst/>
          </a:prstGeom>
          <a:noFill/>
          <a:ln>
            <a:solidFill>
              <a:schemeClr val="tx2">
                <a:lumMod val="75000"/>
                <a:lumOff val="2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Flour</a:t>
            </a:r>
            <a:endParaRPr kumimoji="0" lang="ru-RU" sz="10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cxnSp>
        <p:nvCxnSpPr>
          <p:cNvPr id="84" name="Прямая соединительная линия 83">
            <a:extLst>
              <a:ext uri="{FF2B5EF4-FFF2-40B4-BE49-F238E27FC236}">
                <a16:creationId xmlns:a16="http://schemas.microsoft.com/office/drawing/2014/main" id="{C2A99ACF-1CBE-100D-DBE9-53890BC5DD2C}"/>
              </a:ext>
            </a:extLst>
          </p:cNvPr>
          <p:cNvCxnSpPr>
            <a:cxnSpLocks/>
          </p:cNvCxnSpPr>
          <p:nvPr/>
        </p:nvCxnSpPr>
        <p:spPr>
          <a:xfrm>
            <a:off x="11688717" y="3739564"/>
            <a:ext cx="18160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6" name="Прямая соединительная линия 85">
            <a:extLst>
              <a:ext uri="{FF2B5EF4-FFF2-40B4-BE49-F238E27FC236}">
                <a16:creationId xmlns:a16="http://schemas.microsoft.com/office/drawing/2014/main" id="{F5F3A2BE-92B5-0411-C770-09FE5FB7971E}"/>
              </a:ext>
            </a:extLst>
          </p:cNvPr>
          <p:cNvCxnSpPr>
            <a:cxnSpLocks/>
          </p:cNvCxnSpPr>
          <p:nvPr/>
        </p:nvCxnSpPr>
        <p:spPr>
          <a:xfrm>
            <a:off x="11652664" y="3152948"/>
            <a:ext cx="217661" cy="836"/>
          </a:xfrm>
          <a:prstGeom prst="line">
            <a:avLst/>
          </a:prstGeom>
        </p:spPr>
        <p:style>
          <a:lnRef idx="1">
            <a:schemeClr val="accent1"/>
          </a:lnRef>
          <a:fillRef idx="0">
            <a:schemeClr val="accent1"/>
          </a:fillRef>
          <a:effectRef idx="0">
            <a:schemeClr val="accent1"/>
          </a:effectRef>
          <a:fontRef idx="minor">
            <a:schemeClr val="tx1"/>
          </a:fontRef>
        </p:style>
      </p:cxnSp>
      <p:grpSp>
        <p:nvGrpSpPr>
          <p:cNvPr id="53" name="Группа 52">
            <a:extLst>
              <a:ext uri="{FF2B5EF4-FFF2-40B4-BE49-F238E27FC236}">
                <a16:creationId xmlns:a16="http://schemas.microsoft.com/office/drawing/2014/main" id="{8EEDC711-C782-5DAB-FAA2-3CF4DB092853}"/>
              </a:ext>
            </a:extLst>
          </p:cNvPr>
          <p:cNvGrpSpPr/>
          <p:nvPr/>
        </p:nvGrpSpPr>
        <p:grpSpPr>
          <a:xfrm>
            <a:off x="9212811" y="1821681"/>
            <a:ext cx="294640" cy="294640"/>
            <a:chOff x="2501900" y="2336800"/>
            <a:chExt cx="294640" cy="294640"/>
          </a:xfrm>
        </p:grpSpPr>
        <p:sp>
          <p:nvSpPr>
            <p:cNvPr id="54" name="Овал 53">
              <a:extLst>
                <a:ext uri="{FF2B5EF4-FFF2-40B4-BE49-F238E27FC236}">
                  <a16:creationId xmlns:a16="http://schemas.microsoft.com/office/drawing/2014/main" id="{EB263377-90C3-342A-127F-E42296972F05}"/>
                </a:ext>
              </a:extLst>
            </p:cNvPr>
            <p:cNvSpPr/>
            <p:nvPr/>
          </p:nvSpPr>
          <p:spPr>
            <a:xfrm>
              <a:off x="2501900" y="2336800"/>
              <a:ext cx="294640" cy="294640"/>
            </a:xfrm>
            <a:prstGeom prst="ellipse">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Rubik Bold" panose="020B0604020202020204"/>
              </a:endParaRPr>
            </a:p>
          </p:txBody>
        </p:sp>
        <p:sp>
          <p:nvSpPr>
            <p:cNvPr id="57" name="Овал 56">
              <a:extLst>
                <a:ext uri="{FF2B5EF4-FFF2-40B4-BE49-F238E27FC236}">
                  <a16:creationId xmlns:a16="http://schemas.microsoft.com/office/drawing/2014/main" id="{BF5DED13-E59C-F97A-D673-028BA383E2E4}"/>
                </a:ext>
              </a:extLst>
            </p:cNvPr>
            <p:cNvSpPr/>
            <p:nvPr/>
          </p:nvSpPr>
          <p:spPr>
            <a:xfrm>
              <a:off x="2593340" y="2420620"/>
              <a:ext cx="125222" cy="125222"/>
            </a:xfrm>
            <a:prstGeom prst="ellipse">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Rubik Bold" panose="020B0604020202020204"/>
              </a:endParaRPr>
            </a:p>
          </p:txBody>
        </p:sp>
      </p:grpSp>
      <p:sp>
        <p:nvSpPr>
          <p:cNvPr id="87" name="Прямоугольник: скругленные углы 10">
            <a:extLst>
              <a:ext uri="{FF2B5EF4-FFF2-40B4-BE49-F238E27FC236}">
                <a16:creationId xmlns:a16="http://schemas.microsoft.com/office/drawing/2014/main" id="{8BA38267-63B7-1BD1-CD9F-505D136A390B}"/>
              </a:ext>
            </a:extLst>
          </p:cNvPr>
          <p:cNvSpPr/>
          <p:nvPr/>
        </p:nvSpPr>
        <p:spPr>
          <a:xfrm>
            <a:off x="9587758" y="4013179"/>
            <a:ext cx="2115473" cy="336466"/>
          </a:xfrm>
          <a:prstGeom prst="roundRect">
            <a:avLst/>
          </a:prstGeom>
          <a:noFill/>
          <a:ln>
            <a:solidFill>
              <a:schemeClr val="tx2">
                <a:lumMod val="75000"/>
                <a:lumOff val="2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Starch</a:t>
            </a:r>
            <a:endParaRPr kumimoji="0" lang="ru-RU" sz="9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88" name="Прямоугольник: скругленные углы 10">
            <a:extLst>
              <a:ext uri="{FF2B5EF4-FFF2-40B4-BE49-F238E27FC236}">
                <a16:creationId xmlns:a16="http://schemas.microsoft.com/office/drawing/2014/main" id="{8BA38267-63B7-1BD1-CD9F-505D136A390B}"/>
              </a:ext>
            </a:extLst>
          </p:cNvPr>
          <p:cNvSpPr/>
          <p:nvPr/>
        </p:nvSpPr>
        <p:spPr>
          <a:xfrm>
            <a:off x="9577239" y="4450417"/>
            <a:ext cx="2115473" cy="336466"/>
          </a:xfrm>
          <a:prstGeom prst="roundRect">
            <a:avLst/>
          </a:prstGeom>
          <a:noFill/>
          <a:ln>
            <a:solidFill>
              <a:schemeClr val="tx2">
                <a:lumMod val="75000"/>
                <a:lumOff val="2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Malt</a:t>
            </a:r>
            <a:endParaRPr kumimoji="0" lang="ru-RU" sz="9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90" name="Прямоугольник: скругленные углы 10">
            <a:extLst>
              <a:ext uri="{FF2B5EF4-FFF2-40B4-BE49-F238E27FC236}">
                <a16:creationId xmlns:a16="http://schemas.microsoft.com/office/drawing/2014/main" id="{8BA38267-63B7-1BD1-CD9F-505D136A390B}"/>
              </a:ext>
            </a:extLst>
          </p:cNvPr>
          <p:cNvSpPr/>
          <p:nvPr/>
        </p:nvSpPr>
        <p:spPr>
          <a:xfrm>
            <a:off x="9583919" y="4889466"/>
            <a:ext cx="2115473" cy="336466"/>
          </a:xfrm>
          <a:prstGeom prst="roundRect">
            <a:avLst/>
          </a:prstGeom>
          <a:noFill/>
          <a:ln>
            <a:solidFill>
              <a:schemeClr val="tx2">
                <a:lumMod val="75000"/>
                <a:lumOff val="2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Compound feed etc.</a:t>
            </a:r>
            <a:endParaRPr kumimoji="0" lang="ru-RU" sz="9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cxnSp>
        <p:nvCxnSpPr>
          <p:cNvPr id="99" name="Прямая соединительная линия 98">
            <a:extLst>
              <a:ext uri="{FF2B5EF4-FFF2-40B4-BE49-F238E27FC236}">
                <a16:creationId xmlns:a16="http://schemas.microsoft.com/office/drawing/2014/main" id="{F5F3A2BE-92B5-0411-C770-09FE5FB7971E}"/>
              </a:ext>
            </a:extLst>
          </p:cNvPr>
          <p:cNvCxnSpPr>
            <a:cxnSpLocks/>
          </p:cNvCxnSpPr>
          <p:nvPr/>
        </p:nvCxnSpPr>
        <p:spPr>
          <a:xfrm>
            <a:off x="11695778" y="5094682"/>
            <a:ext cx="18160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3" name="Прямая соединительная линия 102">
            <a:extLst>
              <a:ext uri="{FF2B5EF4-FFF2-40B4-BE49-F238E27FC236}">
                <a16:creationId xmlns:a16="http://schemas.microsoft.com/office/drawing/2014/main" id="{F5F3A2BE-92B5-0411-C770-09FE5FB7971E}"/>
              </a:ext>
            </a:extLst>
          </p:cNvPr>
          <p:cNvCxnSpPr>
            <a:cxnSpLocks/>
          </p:cNvCxnSpPr>
          <p:nvPr/>
        </p:nvCxnSpPr>
        <p:spPr>
          <a:xfrm>
            <a:off x="11717716" y="4153275"/>
            <a:ext cx="148453" cy="0"/>
          </a:xfrm>
          <a:prstGeom prst="line">
            <a:avLst/>
          </a:prstGeom>
        </p:spPr>
        <p:style>
          <a:lnRef idx="1">
            <a:schemeClr val="accent1"/>
          </a:lnRef>
          <a:fillRef idx="0">
            <a:schemeClr val="accent1"/>
          </a:fillRef>
          <a:effectRef idx="0">
            <a:schemeClr val="accent1"/>
          </a:effectRef>
          <a:fontRef idx="minor">
            <a:schemeClr val="tx1"/>
          </a:fontRef>
        </p:style>
      </p:cxnSp>
      <p:sp>
        <p:nvSpPr>
          <p:cNvPr id="109" name="Треугольник 181">
            <a:extLst>
              <a:ext uri="{FF2B5EF4-FFF2-40B4-BE49-F238E27FC236}">
                <a16:creationId xmlns:a16="http://schemas.microsoft.com/office/drawing/2014/main" id="{12D4B82B-D806-5ADE-C6D0-E6CEEEC4630E}"/>
              </a:ext>
            </a:extLst>
          </p:cNvPr>
          <p:cNvSpPr/>
          <p:nvPr/>
        </p:nvSpPr>
        <p:spPr>
          <a:xfrm rot="10800000">
            <a:off x="10631524" y="5366615"/>
            <a:ext cx="210181" cy="200624"/>
          </a:xfrm>
          <a:prstGeom prst="triangle">
            <a:avLst/>
          </a:prstGeom>
          <a:solidFill>
            <a:schemeClr val="tx2">
              <a:lumMod val="25000"/>
              <a:lumOff val="75000"/>
            </a:schemeClr>
          </a:solidFill>
          <a:ln>
            <a:solidFill>
              <a:schemeClr val="tx2">
                <a:lumMod val="25000"/>
                <a:lumOff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10" name="TextBox 109">
            <a:extLst>
              <a:ext uri="{FF2B5EF4-FFF2-40B4-BE49-F238E27FC236}">
                <a16:creationId xmlns:a16="http://schemas.microsoft.com/office/drawing/2014/main" id="{9A4731B7-6C1E-EA02-0AEA-2B4F3CDB48EC}"/>
              </a:ext>
            </a:extLst>
          </p:cNvPr>
          <p:cNvSpPr txBox="1"/>
          <p:nvPr/>
        </p:nvSpPr>
        <p:spPr>
          <a:xfrm>
            <a:off x="9352489" y="5624918"/>
            <a:ext cx="2519362" cy="246927"/>
          </a:xfrm>
          <a:prstGeom prst="rect">
            <a:avLst/>
          </a:prstGeom>
          <a:noFill/>
        </p:spPr>
        <p:txBody>
          <a:bodyPr wrap="square">
            <a:spAutoFit/>
          </a:bodyPr>
          <a:lstStyle/>
          <a:p>
            <a:pPr marL="0" marR="0" lvl="0" indent="0" algn="ctr" defTabSz="914400" rtl="0" eaLnBrk="1" fontAlgn="auto" latinLnBrk="0" hangingPunct="1">
              <a:lnSpc>
                <a:spcPts val="1236"/>
              </a:lnSpc>
              <a:spcBef>
                <a:spcPts val="0"/>
              </a:spcBef>
              <a:spcAft>
                <a:spcPts val="0"/>
              </a:spcAft>
              <a:buClrTx/>
              <a:buSzTx/>
              <a:buFontTx/>
              <a:buNone/>
              <a:tabLst/>
              <a:defRPr/>
            </a:pPr>
            <a:r>
              <a:rPr kumimoji="0" lang="en-US" sz="1400" b="1" i="0" u="none" strike="noStrike" kern="1200" cap="none" spc="-24" normalizeH="0" baseline="0" noProof="0" dirty="0">
                <a:ln>
                  <a:noFill/>
                </a:ln>
                <a:solidFill>
                  <a:srgbClr val="156082"/>
                </a:solidFill>
                <a:effectLst/>
                <a:uLnTx/>
                <a:uFillTx/>
                <a:latin typeface="Century Gothic" panose="020B0502020202020204" pitchFamily="34" charset="0"/>
                <a:ea typeface="+mn-ea"/>
                <a:cs typeface="+mn-cs"/>
              </a:rPr>
              <a:t>By-product utilization</a:t>
            </a:r>
          </a:p>
        </p:txBody>
      </p:sp>
      <p:sp>
        <p:nvSpPr>
          <p:cNvPr id="111" name="Прямоугольник 110">
            <a:extLst>
              <a:ext uri="{FF2B5EF4-FFF2-40B4-BE49-F238E27FC236}">
                <a16:creationId xmlns:a16="http://schemas.microsoft.com/office/drawing/2014/main" id="{D4CAD42D-8E45-3B30-5716-2B8C9B958761}"/>
              </a:ext>
            </a:extLst>
          </p:cNvPr>
          <p:cNvSpPr/>
          <p:nvPr/>
        </p:nvSpPr>
        <p:spPr>
          <a:xfrm>
            <a:off x="9577239" y="5895928"/>
            <a:ext cx="2125992" cy="629011"/>
          </a:xfrm>
          <a:prstGeom prst="rect">
            <a:avLst/>
          </a:prstGeom>
          <a:ln>
            <a:solidFill>
              <a:srgbClr val="336699"/>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Green manure crops and composting</a:t>
            </a:r>
            <a:endParaRPr kumimoji="0" lang="ru-RU" sz="12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graphicFrame>
        <p:nvGraphicFramePr>
          <p:cNvPr id="112" name="Диаграмма 111"/>
          <p:cNvGraphicFramePr/>
          <p:nvPr/>
        </p:nvGraphicFramePr>
        <p:xfrm>
          <a:off x="509219" y="4884880"/>
          <a:ext cx="7872782" cy="1533620"/>
        </p:xfrm>
        <a:graphic>
          <a:graphicData uri="http://schemas.openxmlformats.org/drawingml/2006/chart">
            <c:chart xmlns:c="http://schemas.openxmlformats.org/drawingml/2006/chart" xmlns:r="http://schemas.openxmlformats.org/officeDocument/2006/relationships" r:id="rId12"/>
          </a:graphicData>
        </a:graphic>
      </p:graphicFrame>
      <p:sp>
        <p:nvSpPr>
          <p:cNvPr id="113" name="TextBox 112">
            <a:extLst>
              <a:ext uri="{FF2B5EF4-FFF2-40B4-BE49-F238E27FC236}">
                <a16:creationId xmlns:a16="http://schemas.microsoft.com/office/drawing/2014/main" id="{7CEDF362-60AD-11DB-C89D-2F2153DA57DD}"/>
              </a:ext>
            </a:extLst>
          </p:cNvPr>
          <p:cNvSpPr txBox="1"/>
          <p:nvPr/>
        </p:nvSpPr>
        <p:spPr>
          <a:xfrm>
            <a:off x="1524420" y="4551252"/>
            <a:ext cx="5853464"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Crop production output</a:t>
            </a:r>
            <a:r>
              <a:rPr kumimoji="0" lang="ru-RU" sz="11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r>
              <a:rPr kumimoji="0" lang="en-US" sz="11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million tons</a:t>
            </a:r>
            <a:r>
              <a:rPr kumimoji="0" lang="ru-RU" sz="11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t>
            </a:r>
          </a:p>
        </p:txBody>
      </p:sp>
      <p:pic>
        <p:nvPicPr>
          <p:cNvPr id="24" name="Рисунок 23"/>
          <p:cNvPicPr>
            <a:picLocks noChangeAspect="1"/>
          </p:cNvPicPr>
          <p:nvPr/>
        </p:nvPicPr>
        <p:blipFill>
          <a:blip r:embed="rId1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206189" y="2984400"/>
            <a:ext cx="294536" cy="294536"/>
          </a:xfrm>
          <a:prstGeom prst="rect">
            <a:avLst/>
          </a:prstGeom>
        </p:spPr>
      </p:pic>
      <p:pic>
        <p:nvPicPr>
          <p:cNvPr id="28" name="Рисунок 27"/>
          <p:cNvPicPr>
            <a:picLocks noChangeAspect="1"/>
          </p:cNvPicPr>
          <p:nvPr/>
        </p:nvPicPr>
        <p:blipFill>
          <a:blip r:embed="rId14">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133952" y="3005898"/>
            <a:ext cx="295970" cy="295970"/>
          </a:xfrm>
          <a:prstGeom prst="rect">
            <a:avLst/>
          </a:prstGeom>
        </p:spPr>
      </p:pic>
      <p:sp>
        <p:nvSpPr>
          <p:cNvPr id="70" name="TextBox 69">
            <a:extLst>
              <a:ext uri="{FF2B5EF4-FFF2-40B4-BE49-F238E27FC236}">
                <a16:creationId xmlns:a16="http://schemas.microsoft.com/office/drawing/2014/main" id="{A196E4F8-8A51-4AE5-BF7E-4772E11CAEF3}"/>
              </a:ext>
            </a:extLst>
          </p:cNvPr>
          <p:cNvSpPr txBox="1"/>
          <p:nvPr/>
        </p:nvSpPr>
        <p:spPr>
          <a:xfrm>
            <a:off x="16218" y="6641124"/>
            <a:ext cx="11393321"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Times New Roman" panose="02020603050405020304" pitchFamily="18" charset="0"/>
              </a:rPr>
              <a:t>Source: The Bureau of National Statistics of the Agency for Strategic Planning and Reforms of the Republic of Kazakhstan</a:t>
            </a:r>
            <a:endParaRPr kumimoji="0" lang="en"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Times New Roman" panose="02020603050405020304" pitchFamily="18" charset="0"/>
            </a:endParaRPr>
          </a:p>
        </p:txBody>
      </p:sp>
    </p:spTree>
    <p:extLst>
      <p:ext uri="{BB962C8B-B14F-4D97-AF65-F5344CB8AC3E}">
        <p14:creationId xmlns:p14="http://schemas.microsoft.com/office/powerpoint/2010/main" val="305119959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8F4CD4-036E-8D21-C1CB-7F72609633E0}"/>
            </a:ext>
          </a:extLst>
        </p:cNvPr>
        <p:cNvGrpSpPr/>
        <p:nvPr/>
      </p:nvGrpSpPr>
      <p:grpSpPr>
        <a:xfrm>
          <a:off x="0" y="0"/>
          <a:ext cx="0" cy="0"/>
          <a:chOff x="0" y="0"/>
          <a:chExt cx="0" cy="0"/>
        </a:xfrm>
      </p:grpSpPr>
      <p:graphicFrame>
        <p:nvGraphicFramePr>
          <p:cNvPr id="18" name="Диаграмма 17"/>
          <p:cNvGraphicFramePr/>
          <p:nvPr/>
        </p:nvGraphicFramePr>
        <p:xfrm>
          <a:off x="0" y="1255898"/>
          <a:ext cx="5620870" cy="338025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Диаграмма 9"/>
          <p:cNvGraphicFramePr/>
          <p:nvPr/>
        </p:nvGraphicFramePr>
        <p:xfrm>
          <a:off x="6116516" y="1374242"/>
          <a:ext cx="5620870" cy="3380256"/>
        </p:xfrm>
        <a:graphic>
          <a:graphicData uri="http://schemas.openxmlformats.org/drawingml/2006/chart">
            <c:chart xmlns:c="http://schemas.openxmlformats.org/drawingml/2006/chart" xmlns:r="http://schemas.openxmlformats.org/officeDocument/2006/relationships" r:id="rId4"/>
          </a:graphicData>
        </a:graphic>
      </p:graphicFrame>
      <p:sp>
        <p:nvSpPr>
          <p:cNvPr id="27" name="object 3">
            <a:extLst>
              <a:ext uri="{FF2B5EF4-FFF2-40B4-BE49-F238E27FC236}">
                <a16:creationId xmlns:a16="http://schemas.microsoft.com/office/drawing/2014/main" id="{92A8156A-2B42-2168-6196-95902B8BAABE}"/>
              </a:ext>
            </a:extLst>
          </p:cNvPr>
          <p:cNvSpPr txBox="1">
            <a:spLocks noGrp="1"/>
          </p:cNvSpPr>
          <p:nvPr>
            <p:ph type="title"/>
          </p:nvPr>
        </p:nvSpPr>
        <p:spPr>
          <a:xfrm>
            <a:off x="245686" y="186550"/>
            <a:ext cx="11702713" cy="443711"/>
          </a:xfrm>
          <a:prstGeom prst="rect">
            <a:avLst/>
          </a:prstGeom>
        </p:spPr>
        <p:txBody>
          <a:bodyPr vert="horz" wrap="square" lIns="0" tIns="12700" rIns="0" bIns="0" rtlCol="0">
            <a:spAutoFit/>
          </a:bodyPr>
          <a:lstStyle/>
          <a:p>
            <a:pPr marL="12700">
              <a:lnSpc>
                <a:spcPct val="100000"/>
              </a:lnSpc>
              <a:spcBef>
                <a:spcPts val="100"/>
              </a:spcBef>
            </a:pPr>
            <a:r>
              <a:rPr lang="en-US" sz="2800" b="1" dirty="0">
                <a:solidFill>
                  <a:schemeClr val="accent4"/>
                </a:solidFill>
                <a:latin typeface="Century Gothic" panose="020B0502020202020204" pitchFamily="34" charset="0"/>
                <a:ea typeface="+mn-ea"/>
                <a:cs typeface="+mn-cs"/>
              </a:rPr>
              <a:t>GLOBAL EXPORT AND IMPORT OF CROP PRODUCTION</a:t>
            </a:r>
            <a:endParaRPr lang="ru-RU" sz="2800" i="1" dirty="0">
              <a:solidFill>
                <a:schemeClr val="accent4"/>
              </a:solidFill>
              <a:latin typeface="Century Gothic" panose="020B0502020202020204" pitchFamily="34" charset="0"/>
              <a:ea typeface="Malgun Gothic Semilight" panose="020B0502040204020203" pitchFamily="34" charset="-128"/>
              <a:cs typeface="Arial" panose="020B0604020202020204" pitchFamily="34" charset="0"/>
            </a:endParaRPr>
          </a:p>
        </p:txBody>
      </p:sp>
      <p:sp>
        <p:nvSpPr>
          <p:cNvPr id="19" name="TextBox 18">
            <a:extLst>
              <a:ext uri="{FF2B5EF4-FFF2-40B4-BE49-F238E27FC236}">
                <a16:creationId xmlns:a16="http://schemas.microsoft.com/office/drawing/2014/main" id="{BBBFC575-720A-0AFD-0E60-10A7FAD8B8DC}"/>
              </a:ext>
            </a:extLst>
          </p:cNvPr>
          <p:cNvSpPr txBox="1"/>
          <p:nvPr/>
        </p:nvSpPr>
        <p:spPr>
          <a:xfrm>
            <a:off x="86833" y="4754498"/>
            <a:ext cx="5781860" cy="1651734"/>
          </a:xfrm>
          <a:prstGeom prst="rect">
            <a:avLst/>
          </a:prstGeom>
          <a:noFill/>
          <a:ln w="19050">
            <a:solidFill>
              <a:schemeClr val="accent1"/>
            </a:solidFill>
            <a:prstDash val="sysDot"/>
          </a:ln>
        </p:spPr>
        <p:txBody>
          <a:bodyPr wrap="square" rtlCol="0">
            <a:spAutoFit/>
          </a:bodyPr>
          <a:lstStyle/>
          <a:p>
            <a:pPr marL="285750" marR="0" lvl="0" indent="-285750" algn="just"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In 2024, the main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exporter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of crop products worldwide were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the United States, Brazil and Canada</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accounting for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15.56%</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13.77%</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and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6.20%</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of exports, respectively. The combined share of these three countries amounted to 35.53%.</a:t>
            </a:r>
          </a:p>
          <a:p>
            <a:pPr marL="285750" marR="0" lvl="0" indent="-285750" algn="just"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Kazakhstan</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with export volumes totaling $2,150.8 thousand, accounted for about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0.5%</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of global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export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and is included in the </a:t>
            </a:r>
            <a:r>
              <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other</a:t>
            </a:r>
            <a:r>
              <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countries category (39.75%).</a:t>
            </a:r>
          </a:p>
        </p:txBody>
      </p:sp>
      <p:sp>
        <p:nvSpPr>
          <p:cNvPr id="2" name="Прямоугольник 1">
            <a:extLst>
              <a:ext uri="{FF2B5EF4-FFF2-40B4-BE49-F238E27FC236}">
                <a16:creationId xmlns:a16="http://schemas.microsoft.com/office/drawing/2014/main" id="{5523F916-C16F-2FC8-263F-2AF89B683D41}"/>
              </a:ext>
            </a:extLst>
          </p:cNvPr>
          <p:cNvSpPr/>
          <p:nvPr/>
        </p:nvSpPr>
        <p:spPr>
          <a:xfrm>
            <a:off x="5976435" y="4897479"/>
            <a:ext cx="6102284" cy="1208023"/>
          </a:xfrm>
          <a:prstGeom prst="rect">
            <a:avLst/>
          </a:prstGeom>
          <a:noFill/>
          <a:ln w="19050">
            <a:solidFill>
              <a:schemeClr val="accent1"/>
            </a:solidFill>
            <a:prstDash val="sysDot"/>
          </a:ln>
        </p:spPr>
        <p:txBody>
          <a:bodyPr wrap="square" rtlCol="0">
            <a:spAutoFit/>
          </a:bodyPr>
          <a:lstStyle/>
          <a:p>
            <a:pPr marL="285750" marR="0" lvl="0" indent="-285750" algn="just"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China, the United States</a:t>
            </a:r>
            <a:r>
              <a:rPr kumimoji="0" lang="ru-RU"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and Germany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were the main consumers of crop products, accounting for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18.57%</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4.72%</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and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4.04%</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of total imports, respectively.</a:t>
            </a: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a:p>
            <a:pPr marL="285750" marR="0" lvl="0" indent="-285750" algn="just"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Kazakhstan</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held a modest share: import volumes totaled $909.6 thousand, equivalent to less than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0.2%</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of the global total.</a:t>
            </a: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5" name="TextBox 4">
            <a:extLst>
              <a:ext uri="{FF2B5EF4-FFF2-40B4-BE49-F238E27FC236}">
                <a16:creationId xmlns:a16="http://schemas.microsoft.com/office/drawing/2014/main" id="{817C3E91-567B-DB55-D84F-72AA4A161EDD}"/>
              </a:ext>
            </a:extLst>
          </p:cNvPr>
          <p:cNvSpPr txBox="1"/>
          <p:nvPr/>
        </p:nvSpPr>
        <p:spPr>
          <a:xfrm>
            <a:off x="159226" y="897862"/>
            <a:ext cx="564168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Structure of global </a:t>
            </a:r>
            <a:r>
              <a:rPr kumimoji="0" lang="en-US" sz="1400" b="1"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cro</a:t>
            </a: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p production exports, 2024</a:t>
            </a:r>
            <a:endParaRPr kumimoji="0" lang="ru-RU"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17" name="TextBox 16">
            <a:extLst>
              <a:ext uri="{FF2B5EF4-FFF2-40B4-BE49-F238E27FC236}">
                <a16:creationId xmlns:a16="http://schemas.microsoft.com/office/drawing/2014/main" id="{A27B00BE-9BA2-A846-BAE7-8EBFCFE1265C}"/>
              </a:ext>
            </a:extLst>
          </p:cNvPr>
          <p:cNvSpPr txBox="1"/>
          <p:nvPr/>
        </p:nvSpPr>
        <p:spPr>
          <a:xfrm>
            <a:off x="6335025" y="897862"/>
            <a:ext cx="568822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Structure of global crop production imports, 2024</a:t>
            </a:r>
            <a:endParaRPr kumimoji="0" lang="ru-RU"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4" name="TextBox 3">
            <a:extLst>
              <a:ext uri="{FF2B5EF4-FFF2-40B4-BE49-F238E27FC236}">
                <a16:creationId xmlns:a16="http://schemas.microsoft.com/office/drawing/2014/main" id="{7CD4ADEB-FF27-B4A0-07CC-9381D09304D0}"/>
              </a:ext>
            </a:extLst>
          </p:cNvPr>
          <p:cNvSpPr txBox="1"/>
          <p:nvPr/>
        </p:nvSpPr>
        <p:spPr>
          <a:xfrm>
            <a:off x="71719" y="6638674"/>
            <a:ext cx="7599405"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Source</a:t>
            </a:r>
            <a:r>
              <a:rPr kumimoji="0" lang="ru-RU"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r>
              <a:rPr kumimoji="0" lang="kk-KZ" sz="800" b="0" i="0" u="none" strike="noStrike" kern="100" cap="none" spc="0" normalizeH="0" baseline="0" noProof="0" dirty="0">
                <a:ln>
                  <a:noFill/>
                </a:ln>
                <a:solidFill>
                  <a:prstClr val="black">
                    <a:lumMod val="65000"/>
                    <a:lumOff val="35000"/>
                  </a:prstClr>
                </a:solidFill>
                <a:effectLst/>
                <a:uLnTx/>
                <a:uFillTx/>
                <a:latin typeface="Century Gothic" panose="020B0502020202020204" pitchFamily="34" charset="0"/>
                <a:ea typeface="Aptos" panose="020B0004020202020204" pitchFamily="34" charset="0"/>
                <a:cs typeface="Times New Roman" panose="02020603050405020304" pitchFamily="18" charset="0"/>
              </a:rPr>
              <a:t>International Trade Centre</a:t>
            </a:r>
            <a:endParaRPr kumimoji="0" lang="ru-RU"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7" name="TextBox 6">
            <a:extLst>
              <a:ext uri="{FF2B5EF4-FFF2-40B4-BE49-F238E27FC236}">
                <a16:creationId xmlns:a16="http://schemas.microsoft.com/office/drawing/2014/main" id="{0E0C4527-24C3-AB3E-53C9-7CD6C23C6C03}"/>
              </a:ext>
            </a:extLst>
          </p:cNvPr>
          <p:cNvSpPr txBox="1"/>
          <p:nvPr/>
        </p:nvSpPr>
        <p:spPr>
          <a:xfrm>
            <a:off x="1997408" y="2596653"/>
            <a:ext cx="1626054"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2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385,6 </a:t>
            </a:r>
            <a:r>
              <a:rPr kumimoji="0" lang="en-US" sz="2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billion US dollars</a:t>
            </a:r>
            <a:endParaRPr kumimoji="0" lang="ru-RU" sz="2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6" name="TextBox 15">
            <a:extLst>
              <a:ext uri="{FF2B5EF4-FFF2-40B4-BE49-F238E27FC236}">
                <a16:creationId xmlns:a16="http://schemas.microsoft.com/office/drawing/2014/main" id="{5C1BFC30-A0BA-3DAE-A445-A6559A9D149F}"/>
              </a:ext>
            </a:extLst>
          </p:cNvPr>
          <p:cNvSpPr txBox="1"/>
          <p:nvPr/>
        </p:nvSpPr>
        <p:spPr>
          <a:xfrm>
            <a:off x="7975280" y="2733783"/>
            <a:ext cx="1939201"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2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411 </a:t>
            </a:r>
            <a:r>
              <a:rPr kumimoji="0" lang="en-US" sz="2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billion US dollars</a:t>
            </a:r>
            <a:endParaRPr kumimoji="0" lang="ru-KZ" sz="2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85897914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Диаграмма 17"/>
          <p:cNvGraphicFramePr/>
          <p:nvPr/>
        </p:nvGraphicFramePr>
        <p:xfrm>
          <a:off x="273533" y="1045923"/>
          <a:ext cx="5620870" cy="338025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6" name="Диаграмма 15"/>
          <p:cNvGraphicFramePr/>
          <p:nvPr/>
        </p:nvGraphicFramePr>
        <p:xfrm>
          <a:off x="6189523" y="960939"/>
          <a:ext cx="5620870" cy="3380256"/>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9C3B41ED-5DFC-8E54-B73B-0BAC9848809F}"/>
              </a:ext>
            </a:extLst>
          </p:cNvPr>
          <p:cNvSpPr txBox="1"/>
          <p:nvPr/>
        </p:nvSpPr>
        <p:spPr>
          <a:xfrm>
            <a:off x="206762" y="202290"/>
            <a:ext cx="11870942" cy="464230"/>
          </a:xfrm>
          <a:prstGeom prst="rect">
            <a:avLst/>
          </a:prstGeom>
          <a:solidFill>
            <a:schemeClr val="bg1"/>
          </a:solidFill>
        </p:spPr>
        <p:txBody>
          <a:bodyPr wrap="square" lIns="91440" tIns="45720" rIns="91440" bIns="45720" rtlCol="0" anchor="t">
            <a:spAutoFit/>
          </a:bodyPr>
          <a:lstStyle/>
          <a:p>
            <a:pPr marL="0" marR="0" lvl="0" indent="0" algn="l" defTabSz="914400" rtl="0" eaLnBrk="1" fontAlgn="auto" latinLnBrk="0" hangingPunct="1">
              <a:lnSpc>
                <a:spcPts val="2946"/>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mn-cs"/>
              </a:rPr>
              <a:t>GLOBAL EXPORT AND IMPORT OF BARLEY</a:t>
            </a:r>
            <a:endParaRPr kumimoji="0" lang="ru-RU" sz="28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mn-cs"/>
            </a:endParaRPr>
          </a:p>
        </p:txBody>
      </p:sp>
      <p:sp>
        <p:nvSpPr>
          <p:cNvPr id="2" name="TextBox 1">
            <a:extLst>
              <a:ext uri="{FF2B5EF4-FFF2-40B4-BE49-F238E27FC236}">
                <a16:creationId xmlns:a16="http://schemas.microsoft.com/office/drawing/2014/main" id="{C39BC883-69FF-8669-4466-57B1770994C9}"/>
              </a:ext>
            </a:extLst>
          </p:cNvPr>
          <p:cNvSpPr txBox="1"/>
          <p:nvPr/>
        </p:nvSpPr>
        <p:spPr>
          <a:xfrm>
            <a:off x="922899" y="649724"/>
            <a:ext cx="4806114" cy="410433"/>
          </a:xfrm>
          <a:prstGeom prst="rect">
            <a:avLst/>
          </a:prstGeom>
          <a:noFill/>
          <a:ln>
            <a:noFill/>
          </a:ln>
        </p:spPr>
        <p:txBody>
          <a:bodyPr wrap="square" lIns="91440" tIns="45720" rIns="91440" bIns="45720" rtlCol="0" anchor="t">
            <a:spAutoFit/>
          </a:bodyPr>
          <a:lstStyle/>
          <a:p>
            <a:pPr marL="0" marR="0" lvl="0" indent="0" algn="l" defTabSz="914400" rtl="0" eaLnBrk="1" fontAlgn="auto" latinLnBrk="0" hangingPunct="1">
              <a:lnSpc>
                <a:spcPts val="2946"/>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Structure of global barley exports, 2024</a:t>
            </a:r>
            <a:endParaRPr kumimoji="0" lang="ru-RU"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4" name="TextBox 3">
            <a:extLst>
              <a:ext uri="{FF2B5EF4-FFF2-40B4-BE49-F238E27FC236}">
                <a16:creationId xmlns:a16="http://schemas.microsoft.com/office/drawing/2014/main" id="{BD24BC33-79DA-D18C-6DA6-EA705EAA5C27}"/>
              </a:ext>
            </a:extLst>
          </p:cNvPr>
          <p:cNvSpPr txBox="1"/>
          <p:nvPr/>
        </p:nvSpPr>
        <p:spPr>
          <a:xfrm>
            <a:off x="7099439" y="641237"/>
            <a:ext cx="4806114" cy="410433"/>
          </a:xfrm>
          <a:prstGeom prst="rect">
            <a:avLst/>
          </a:prstGeom>
          <a:noFill/>
          <a:ln>
            <a:noFill/>
          </a:ln>
        </p:spPr>
        <p:txBody>
          <a:bodyPr wrap="square" lIns="91440" tIns="45720" rIns="91440" bIns="45720" rtlCol="0" anchor="t">
            <a:spAutoFit/>
          </a:bodyPr>
          <a:lstStyle/>
          <a:p>
            <a:pPr marL="0" marR="0" lvl="0" indent="0" algn="l" defTabSz="914400" rtl="0" eaLnBrk="1" fontAlgn="auto" latinLnBrk="0" hangingPunct="1">
              <a:lnSpc>
                <a:spcPts val="2946"/>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Structure of global barley imports, 2024</a:t>
            </a:r>
            <a:endParaRPr kumimoji="0" lang="ru-RU"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12" name="TextBox 11">
            <a:extLst>
              <a:ext uri="{FF2B5EF4-FFF2-40B4-BE49-F238E27FC236}">
                <a16:creationId xmlns:a16="http://schemas.microsoft.com/office/drawing/2014/main" id="{BBBFC575-720A-0AFD-0E60-10A7FAD8B8DC}"/>
              </a:ext>
            </a:extLst>
          </p:cNvPr>
          <p:cNvSpPr txBox="1"/>
          <p:nvPr/>
        </p:nvSpPr>
        <p:spPr>
          <a:xfrm>
            <a:off x="112602" y="4489212"/>
            <a:ext cx="5781860" cy="1815882"/>
          </a:xfrm>
          <a:prstGeom prst="rect">
            <a:avLst/>
          </a:prstGeom>
          <a:noFill/>
          <a:ln w="19050">
            <a:solidFill>
              <a:schemeClr val="accent1"/>
            </a:solidFill>
            <a:prstDash val="sysDot"/>
          </a:ln>
        </p:spPr>
        <p:txBody>
          <a:bodyPr wrap="square" rtlCol="0">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In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2024</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 the main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exporter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 of barley were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Australia (19.07%)</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France (16.17%)</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 and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Russia (10.06%)</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 Together, these three countries accounted for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45.3%</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 of global exports, underscoring their leading role in the global barley market.</a:t>
            </a: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Kazakhstan</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 with a share of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3.07%</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 secured a solid position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among the world’s top ten exporter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 ahead of Hungary (2.42%) but behind countries such as Romania (5.70%) and Ukraine (6.46%).</a:t>
            </a: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endParaRPr>
          </a:p>
        </p:txBody>
      </p:sp>
      <p:sp>
        <p:nvSpPr>
          <p:cNvPr id="13" name="Прямоугольник 12">
            <a:extLst>
              <a:ext uri="{FF2B5EF4-FFF2-40B4-BE49-F238E27FC236}">
                <a16:creationId xmlns:a16="http://schemas.microsoft.com/office/drawing/2014/main" id="{5523F916-C16F-2FC8-263F-2AF89B683D41}"/>
              </a:ext>
            </a:extLst>
          </p:cNvPr>
          <p:cNvSpPr/>
          <p:nvPr/>
        </p:nvSpPr>
        <p:spPr>
          <a:xfrm>
            <a:off x="5992776" y="4359630"/>
            <a:ext cx="6102284" cy="2246769"/>
          </a:xfrm>
          <a:prstGeom prst="rect">
            <a:avLst/>
          </a:prstGeom>
          <a:noFill/>
          <a:ln w="19050">
            <a:solidFill>
              <a:schemeClr val="accent1"/>
            </a:solidFill>
            <a:prstDash val="sysDot"/>
          </a:ln>
        </p:spPr>
        <p:txBody>
          <a:bodyPr wrap="square" rtlCol="0">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Arial"/>
              </a:rPr>
              <a:t>In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2024</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Arial"/>
              </a:rPr>
              <a:t>, the largest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importer</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Arial"/>
              </a:rPr>
              <a:t> of barley was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China</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Arial"/>
              </a:rPr>
              <a:t>, accounting for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39.22%</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Arial"/>
              </a:rPr>
              <a:t> of global purchases.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Significant import volumes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Arial"/>
              </a:rPr>
              <a:t>were also recorded in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Saudi Arabia (9.10%)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Arial"/>
              </a:rPr>
              <a:t>and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the Netherlands (6.20%)</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Arial"/>
              </a:rPr>
              <a:t>, which, together with China, accounted for more than half of the global demand for this crop.</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Kazakhstan</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Arial"/>
              </a:rPr>
              <a:t> imported only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0.27%</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Arial"/>
              </a:rPr>
              <a:t> of the total global volume, placing it among the smallest participants in the international barley trade.</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The remaining 23.51%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Arial"/>
              </a:rPr>
              <a:t>is distributed among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other countries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Arial"/>
              </a:rPr>
              <a:t>grouped under the </a:t>
            </a:r>
            <a:r>
              <a:rPr kumimoji="0" lang="ru-RU"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other</a:t>
            </a:r>
            <a:r>
              <a:rPr kumimoji="0" lang="ru-RU"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Arial"/>
              </a:rPr>
              <a:t> category.</a:t>
            </a: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Arial"/>
            </a:endParaRPr>
          </a:p>
        </p:txBody>
      </p:sp>
      <p:sp>
        <p:nvSpPr>
          <p:cNvPr id="14" name="TextBox 13">
            <a:extLst>
              <a:ext uri="{FF2B5EF4-FFF2-40B4-BE49-F238E27FC236}">
                <a16:creationId xmlns:a16="http://schemas.microsoft.com/office/drawing/2014/main" id="{0E0C4527-24C3-AB3E-53C9-7CD6C23C6C03}"/>
              </a:ext>
            </a:extLst>
          </p:cNvPr>
          <p:cNvSpPr txBox="1"/>
          <p:nvPr/>
        </p:nvSpPr>
        <p:spPr>
          <a:xfrm>
            <a:off x="2270941" y="2396198"/>
            <a:ext cx="1626054"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2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8,6 </a:t>
            </a:r>
            <a:r>
              <a:rPr kumimoji="0" lang="en-US" sz="2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billion US dollars</a:t>
            </a:r>
            <a:endParaRPr kumimoji="0" lang="ru-RU" sz="2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5" name="TextBox 14">
            <a:extLst>
              <a:ext uri="{FF2B5EF4-FFF2-40B4-BE49-F238E27FC236}">
                <a16:creationId xmlns:a16="http://schemas.microsoft.com/office/drawing/2014/main" id="{0E0C4527-24C3-AB3E-53C9-7CD6C23C6C03}"/>
              </a:ext>
            </a:extLst>
          </p:cNvPr>
          <p:cNvSpPr txBox="1"/>
          <p:nvPr/>
        </p:nvSpPr>
        <p:spPr>
          <a:xfrm>
            <a:off x="8186931" y="2312251"/>
            <a:ext cx="1626054"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2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9,6 </a:t>
            </a:r>
            <a:r>
              <a:rPr kumimoji="0" lang="en-US" sz="2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billion US dollars</a:t>
            </a:r>
            <a:endParaRPr kumimoji="0" lang="ru-RU" sz="2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7" name="TextBox 16">
            <a:extLst>
              <a:ext uri="{FF2B5EF4-FFF2-40B4-BE49-F238E27FC236}">
                <a16:creationId xmlns:a16="http://schemas.microsoft.com/office/drawing/2014/main" id="{7CD4ADEB-FF27-B4A0-07CC-9381D09304D0}"/>
              </a:ext>
            </a:extLst>
          </p:cNvPr>
          <p:cNvSpPr txBox="1"/>
          <p:nvPr/>
        </p:nvSpPr>
        <p:spPr>
          <a:xfrm>
            <a:off x="71719" y="6638674"/>
            <a:ext cx="7599405"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Source</a:t>
            </a:r>
            <a:r>
              <a:rPr kumimoji="0" lang="ru-RU"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r>
              <a:rPr kumimoji="0" lang="kk-KZ" sz="800" b="0" i="0" u="none" strike="noStrike" kern="100" cap="none" spc="0" normalizeH="0" baseline="0" noProof="0" dirty="0">
                <a:ln>
                  <a:noFill/>
                </a:ln>
                <a:solidFill>
                  <a:prstClr val="black">
                    <a:lumMod val="65000"/>
                    <a:lumOff val="35000"/>
                  </a:prstClr>
                </a:solidFill>
                <a:effectLst/>
                <a:uLnTx/>
                <a:uFillTx/>
                <a:latin typeface="Century Gothic" panose="020B0502020202020204" pitchFamily="34" charset="0"/>
                <a:ea typeface="Aptos" panose="020B0004020202020204" pitchFamily="34" charset="0"/>
                <a:cs typeface="Times New Roman" panose="02020603050405020304" pitchFamily="18" charset="0"/>
              </a:rPr>
              <a:t>International Trade Centre</a:t>
            </a:r>
            <a:endParaRPr kumimoji="0" lang="ru-RU"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24685851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938EDA-CCC0-5C2B-3C30-CA635AEC8B33}"/>
            </a:ext>
          </a:extLst>
        </p:cNvPr>
        <p:cNvGrpSpPr/>
        <p:nvPr/>
      </p:nvGrpSpPr>
      <p:grpSpPr>
        <a:xfrm>
          <a:off x="0" y="0"/>
          <a:ext cx="0" cy="0"/>
          <a:chOff x="0" y="0"/>
          <a:chExt cx="0" cy="0"/>
        </a:xfrm>
      </p:grpSpPr>
      <p:graphicFrame>
        <p:nvGraphicFramePr>
          <p:cNvPr id="18" name="Диаграмма 17"/>
          <p:cNvGraphicFramePr/>
          <p:nvPr/>
        </p:nvGraphicFramePr>
        <p:xfrm>
          <a:off x="6424591" y="1116210"/>
          <a:ext cx="5620870" cy="338025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7" name="Диаграмма 16"/>
          <p:cNvGraphicFramePr/>
          <p:nvPr/>
        </p:nvGraphicFramePr>
        <p:xfrm>
          <a:off x="530290" y="1178219"/>
          <a:ext cx="5620870" cy="3380256"/>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8B01728C-FD59-FEE8-B7E9-BCBC00B72CCE}"/>
              </a:ext>
            </a:extLst>
          </p:cNvPr>
          <p:cNvSpPr txBox="1"/>
          <p:nvPr/>
        </p:nvSpPr>
        <p:spPr>
          <a:xfrm>
            <a:off x="257489" y="196605"/>
            <a:ext cx="11870942" cy="464230"/>
          </a:xfrm>
          <a:prstGeom prst="rect">
            <a:avLst/>
          </a:prstGeom>
          <a:solidFill>
            <a:schemeClr val="bg1"/>
          </a:solidFill>
        </p:spPr>
        <p:txBody>
          <a:bodyPr wrap="square" lIns="91440" tIns="45720" rIns="91440" bIns="45720" rtlCol="0" anchor="t">
            <a:spAutoFit/>
          </a:bodyPr>
          <a:lstStyle/>
          <a:p>
            <a:pPr marL="0" marR="0" lvl="0" indent="0" algn="l" defTabSz="914400" rtl="0" eaLnBrk="1" fontAlgn="auto" latinLnBrk="0" hangingPunct="1">
              <a:lnSpc>
                <a:spcPts val="2946"/>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mn-cs"/>
              </a:rPr>
              <a:t>GLOBAL EXPORT AND IMPORT OF OATS</a:t>
            </a:r>
            <a:endParaRPr kumimoji="0" lang="ru-RU" sz="28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mn-cs"/>
            </a:endParaRPr>
          </a:p>
        </p:txBody>
      </p:sp>
      <p:sp>
        <p:nvSpPr>
          <p:cNvPr id="2" name="TextBox 1">
            <a:extLst>
              <a:ext uri="{FF2B5EF4-FFF2-40B4-BE49-F238E27FC236}">
                <a16:creationId xmlns:a16="http://schemas.microsoft.com/office/drawing/2014/main" id="{EE24566A-C413-C1F0-C662-23CEB2F01FC3}"/>
              </a:ext>
            </a:extLst>
          </p:cNvPr>
          <p:cNvSpPr txBox="1"/>
          <p:nvPr/>
        </p:nvSpPr>
        <p:spPr>
          <a:xfrm>
            <a:off x="906774" y="649724"/>
            <a:ext cx="4806114" cy="410433"/>
          </a:xfrm>
          <a:prstGeom prst="rect">
            <a:avLst/>
          </a:prstGeom>
          <a:noFill/>
          <a:ln>
            <a:noFill/>
          </a:ln>
        </p:spPr>
        <p:txBody>
          <a:bodyPr wrap="square" lIns="91440" tIns="45720" rIns="91440" bIns="45720" rtlCol="0" anchor="t">
            <a:spAutoFit/>
          </a:bodyPr>
          <a:lstStyle/>
          <a:p>
            <a:pPr marL="0" marR="0" lvl="0" indent="0" algn="ctr" defTabSz="914400" rtl="0" eaLnBrk="1" fontAlgn="auto" latinLnBrk="0" hangingPunct="1">
              <a:lnSpc>
                <a:spcPts val="2946"/>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Structure of global oat exports, 2024</a:t>
            </a:r>
            <a:endParaRPr kumimoji="0" lang="ru-RU"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6" name="TextBox 5">
            <a:extLst>
              <a:ext uri="{FF2B5EF4-FFF2-40B4-BE49-F238E27FC236}">
                <a16:creationId xmlns:a16="http://schemas.microsoft.com/office/drawing/2014/main" id="{416B9CC2-95C7-2F08-902F-7FEE8E76A8EA}"/>
              </a:ext>
            </a:extLst>
          </p:cNvPr>
          <p:cNvSpPr txBox="1"/>
          <p:nvPr/>
        </p:nvSpPr>
        <p:spPr>
          <a:xfrm>
            <a:off x="6900147" y="641237"/>
            <a:ext cx="4479297" cy="410433"/>
          </a:xfrm>
          <a:prstGeom prst="rect">
            <a:avLst/>
          </a:prstGeom>
          <a:noFill/>
          <a:ln>
            <a:noFill/>
          </a:ln>
        </p:spPr>
        <p:txBody>
          <a:bodyPr wrap="square" lIns="91440" tIns="45720" rIns="91440" bIns="45720" rtlCol="0" anchor="t">
            <a:spAutoFit/>
          </a:bodyPr>
          <a:lstStyle/>
          <a:p>
            <a:pPr marL="0" marR="0" lvl="0" indent="0" algn="ctr" defTabSz="914400" rtl="0" eaLnBrk="1" fontAlgn="auto" latinLnBrk="0" hangingPunct="1">
              <a:lnSpc>
                <a:spcPts val="2946"/>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Structure of global oat imports, 2024</a:t>
            </a:r>
            <a:endParaRPr kumimoji="0" lang="ru-RU"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12" name="TextBox 11">
            <a:extLst>
              <a:ext uri="{FF2B5EF4-FFF2-40B4-BE49-F238E27FC236}">
                <a16:creationId xmlns:a16="http://schemas.microsoft.com/office/drawing/2014/main" id="{BBBFC575-720A-0AFD-0E60-10A7FAD8B8DC}"/>
              </a:ext>
            </a:extLst>
          </p:cNvPr>
          <p:cNvSpPr txBox="1"/>
          <p:nvPr/>
        </p:nvSpPr>
        <p:spPr>
          <a:xfrm>
            <a:off x="140677" y="4534692"/>
            <a:ext cx="5934808" cy="1815882"/>
          </a:xfrm>
          <a:prstGeom prst="rect">
            <a:avLst/>
          </a:prstGeom>
          <a:noFill/>
          <a:ln w="19050">
            <a:solidFill>
              <a:schemeClr val="accent1"/>
            </a:solidFill>
            <a:prstDash val="sysDot"/>
          </a:ln>
        </p:spPr>
        <p:txBody>
          <a:bodyPr wrap="square" rtlCol="0">
            <a:spAutoFit/>
          </a:bodyPr>
          <a:lstStyle/>
          <a:p>
            <a:pPr marL="342900" marR="0" lvl="0" indent="-34290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In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2024</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 the main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exporter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 of oats worldwide were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Canada, Finland</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 and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Australia</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 accounting for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40.82%, 13.12%</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 and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11.28%</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 of global exports, respectively. The combined share of these three countries totaled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65.22%</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 highlighting their key role in the international oat trade.</a:t>
            </a:r>
          </a:p>
          <a:p>
            <a:pPr marL="342900" marR="0" lvl="0" indent="-34290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Kazakhstan</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 with a share of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0.21%</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 of the global export volume, is included in the </a:t>
            </a:r>
            <a:r>
              <a:rPr kumimoji="0" lang="ru-RU"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other</a:t>
            </a:r>
            <a:r>
              <a:rPr kumimoji="0" lang="ru-RU"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 countries category</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 which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collectively</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 accounts for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14.2%</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 of global exports.</a:t>
            </a: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endParaRPr>
          </a:p>
        </p:txBody>
      </p:sp>
      <p:sp>
        <p:nvSpPr>
          <p:cNvPr id="13" name="Прямоугольник 12">
            <a:extLst>
              <a:ext uri="{FF2B5EF4-FFF2-40B4-BE49-F238E27FC236}">
                <a16:creationId xmlns:a16="http://schemas.microsoft.com/office/drawing/2014/main" id="{5523F916-C16F-2FC8-263F-2AF89B683D41}"/>
              </a:ext>
            </a:extLst>
          </p:cNvPr>
          <p:cNvSpPr/>
          <p:nvPr/>
        </p:nvSpPr>
        <p:spPr>
          <a:xfrm>
            <a:off x="6172200" y="4644456"/>
            <a:ext cx="5873261" cy="1815882"/>
          </a:xfrm>
          <a:prstGeom prst="rect">
            <a:avLst/>
          </a:prstGeom>
          <a:noFill/>
          <a:ln w="19050">
            <a:solidFill>
              <a:schemeClr val="accent1"/>
            </a:solidFill>
            <a:prstDash val="sysDot"/>
          </a:ln>
        </p:spPr>
        <p:txBody>
          <a:bodyPr wrap="square" rtlCol="0">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In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2024</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 the largest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importer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 of oats were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the United States, Germany</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 and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China</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 accounting for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30.43%, 15.14%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and</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 13.23%</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 of global imports, respectively. The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combined share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of these three countries was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58.8%</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 underscoring their importance in global oat demand.</a:t>
            </a: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Kazakhstan</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 accounted for only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0.05%</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 of global oat imports, placing it in the </a:t>
            </a:r>
            <a:r>
              <a:rPr kumimoji="0" lang="ru-RU"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other</a:t>
            </a:r>
            <a:r>
              <a:rPr kumimoji="0" lang="ru-RU"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 countries category</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 which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collectively</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 represents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18.4%</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 of global imports.</a:t>
            </a: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endParaRPr>
          </a:p>
        </p:txBody>
      </p:sp>
      <p:sp>
        <p:nvSpPr>
          <p:cNvPr id="14" name="TextBox 13">
            <a:extLst>
              <a:ext uri="{FF2B5EF4-FFF2-40B4-BE49-F238E27FC236}">
                <a16:creationId xmlns:a16="http://schemas.microsoft.com/office/drawing/2014/main" id="{0E0C4527-24C3-AB3E-53C9-7CD6C23C6C03}"/>
              </a:ext>
            </a:extLst>
          </p:cNvPr>
          <p:cNvSpPr txBox="1"/>
          <p:nvPr/>
        </p:nvSpPr>
        <p:spPr>
          <a:xfrm>
            <a:off x="2522989" y="2543869"/>
            <a:ext cx="1626054"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2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1,1 </a:t>
            </a:r>
            <a:r>
              <a:rPr kumimoji="0" lang="en-US" sz="2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billion US dollars</a:t>
            </a:r>
            <a:endParaRPr kumimoji="0" lang="ru-RU" sz="2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5" name="TextBox 14">
            <a:extLst>
              <a:ext uri="{FF2B5EF4-FFF2-40B4-BE49-F238E27FC236}">
                <a16:creationId xmlns:a16="http://schemas.microsoft.com/office/drawing/2014/main" id="{0E0C4527-24C3-AB3E-53C9-7CD6C23C6C03}"/>
              </a:ext>
            </a:extLst>
          </p:cNvPr>
          <p:cNvSpPr txBox="1"/>
          <p:nvPr/>
        </p:nvSpPr>
        <p:spPr>
          <a:xfrm>
            <a:off x="8421999" y="2453760"/>
            <a:ext cx="1626054"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2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1,1 </a:t>
            </a:r>
            <a:r>
              <a:rPr kumimoji="0" lang="en-US" sz="2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billion US dollars</a:t>
            </a:r>
            <a:endParaRPr kumimoji="0" lang="ru-RU" sz="2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6" name="TextBox 15">
            <a:extLst>
              <a:ext uri="{FF2B5EF4-FFF2-40B4-BE49-F238E27FC236}">
                <a16:creationId xmlns:a16="http://schemas.microsoft.com/office/drawing/2014/main" id="{7CD4ADEB-FF27-B4A0-07CC-9381D09304D0}"/>
              </a:ext>
            </a:extLst>
          </p:cNvPr>
          <p:cNvSpPr txBox="1"/>
          <p:nvPr/>
        </p:nvSpPr>
        <p:spPr>
          <a:xfrm>
            <a:off x="71719" y="6638674"/>
            <a:ext cx="7599405"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Source</a:t>
            </a:r>
            <a:r>
              <a:rPr kumimoji="0" lang="ru-RU"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r>
              <a:rPr kumimoji="0" lang="kk-KZ" sz="800" b="0" i="0" u="none" strike="noStrike" kern="100" cap="none" spc="0" normalizeH="0" baseline="0" noProof="0" dirty="0">
                <a:ln>
                  <a:noFill/>
                </a:ln>
                <a:solidFill>
                  <a:prstClr val="black">
                    <a:lumMod val="65000"/>
                    <a:lumOff val="35000"/>
                  </a:prstClr>
                </a:solidFill>
                <a:effectLst/>
                <a:uLnTx/>
                <a:uFillTx/>
                <a:latin typeface="Century Gothic" panose="020B0502020202020204" pitchFamily="34" charset="0"/>
                <a:ea typeface="Aptos" panose="020B0004020202020204" pitchFamily="34" charset="0"/>
                <a:cs typeface="Times New Roman" panose="02020603050405020304" pitchFamily="18" charset="0"/>
              </a:rPr>
              <a:t>International Trade Centre</a:t>
            </a:r>
            <a:endParaRPr kumimoji="0" lang="ru-RU"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25296409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286"/>
          <p:cNvSpPr txBox="1">
            <a:spLocks noChangeArrowheads="1"/>
          </p:cNvSpPr>
          <p:nvPr>
            <p:custDataLst>
              <p:tags r:id="rId1"/>
            </p:custDataLst>
          </p:nvPr>
        </p:nvSpPr>
        <p:spPr bwMode="gray">
          <a:xfrm>
            <a:off x="151674" y="4658471"/>
            <a:ext cx="11806869" cy="1757827"/>
          </a:xfrm>
          <a:prstGeom prst="roundRect">
            <a:avLst>
              <a:gd name="adj" fmla="val 0"/>
            </a:avLst>
          </a:prstGeom>
          <a:solidFill>
            <a:schemeClr val="tx2">
              <a:lumMod val="10000"/>
              <a:lumOff val="90000"/>
            </a:schemeClr>
          </a:solidFill>
          <a:ln w="9525" cap="flat" cmpd="sng" algn="ctr">
            <a:noFill/>
            <a:prstDash val="solid"/>
          </a:ln>
          <a:effectLst/>
        </p:spPr>
        <p:txBody>
          <a:bodyPr anchor="ctr"/>
          <a:lstStyle>
            <a:defPPr>
              <a:defRPr lang="en-US"/>
            </a:defPPr>
            <a:lvl1pPr algn="ctr">
              <a:defRPr sz="11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FFFFFF"/>
              </a:solidFill>
              <a:effectLst/>
              <a:uLnTx/>
              <a:uFillTx/>
              <a:latin typeface="Century Gothic" panose="020B0502020202020204" pitchFamily="34" charset="0"/>
              <a:ea typeface="ＭＳ Ｐゴシック"/>
              <a:cs typeface="+mn-cs"/>
            </a:endParaRPr>
          </a:p>
        </p:txBody>
      </p:sp>
      <p:sp>
        <p:nvSpPr>
          <p:cNvPr id="53" name="Rectangle 286"/>
          <p:cNvSpPr txBox="1">
            <a:spLocks noChangeArrowheads="1"/>
          </p:cNvSpPr>
          <p:nvPr>
            <p:custDataLst>
              <p:tags r:id="rId2"/>
            </p:custDataLst>
          </p:nvPr>
        </p:nvSpPr>
        <p:spPr bwMode="gray">
          <a:xfrm>
            <a:off x="151674" y="2012925"/>
            <a:ext cx="11806869" cy="1619496"/>
          </a:xfrm>
          <a:prstGeom prst="roundRect">
            <a:avLst>
              <a:gd name="adj" fmla="val 0"/>
            </a:avLst>
          </a:prstGeom>
          <a:solidFill>
            <a:schemeClr val="tx2">
              <a:lumMod val="10000"/>
              <a:lumOff val="90000"/>
            </a:schemeClr>
          </a:solidFill>
          <a:ln w="9525" cap="flat" cmpd="sng" algn="ctr">
            <a:noFill/>
            <a:prstDash val="solid"/>
          </a:ln>
          <a:effectLst>
            <a:outerShdw blurRad="50800" dist="38100" dir="5400000" algn="t" rotWithShape="0">
              <a:schemeClr val="tx2">
                <a:lumMod val="60000"/>
                <a:lumOff val="40000"/>
                <a:alpha val="40000"/>
              </a:schemeClr>
            </a:outerShdw>
          </a:effectLst>
        </p:spPr>
        <p:txBody>
          <a:bodyPr anchor="ctr"/>
          <a:lstStyle>
            <a:defPPr>
              <a:defRPr lang="en-US"/>
            </a:defPPr>
            <a:lvl1pPr algn="ctr">
              <a:defRPr sz="11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FFFFFF"/>
              </a:solidFill>
              <a:effectLst/>
              <a:uLnTx/>
              <a:uFillTx/>
              <a:latin typeface="Century Gothic" panose="020B0502020202020204" pitchFamily="34" charset="0"/>
              <a:ea typeface="ＭＳ Ｐゴシック"/>
              <a:cs typeface="+mn-cs"/>
            </a:endParaRPr>
          </a:p>
        </p:txBody>
      </p:sp>
      <p:sp>
        <p:nvSpPr>
          <p:cNvPr id="62" name="Овал 61">
            <a:extLst>
              <a:ext uri="{FF2B5EF4-FFF2-40B4-BE49-F238E27FC236}">
                <a16:creationId xmlns:a16="http://schemas.microsoft.com/office/drawing/2014/main" id="{0E55C0B2-6396-4FC6-9AE4-8FFC96D83CB9}"/>
              </a:ext>
            </a:extLst>
          </p:cNvPr>
          <p:cNvSpPr/>
          <p:nvPr/>
        </p:nvSpPr>
        <p:spPr>
          <a:xfrm>
            <a:off x="1143853" y="1228434"/>
            <a:ext cx="900000" cy="900000"/>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63" name="Прямоугольник 62">
            <a:extLst>
              <a:ext uri="{FF2B5EF4-FFF2-40B4-BE49-F238E27FC236}">
                <a16:creationId xmlns:a16="http://schemas.microsoft.com/office/drawing/2014/main" id="{A4542B5E-BEE1-4077-A521-45FA4D9491AB}"/>
              </a:ext>
            </a:extLst>
          </p:cNvPr>
          <p:cNvSpPr/>
          <p:nvPr/>
        </p:nvSpPr>
        <p:spPr>
          <a:xfrm>
            <a:off x="3034587" y="4861692"/>
            <a:ext cx="3022705" cy="160043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Foreign investor interest – a sign of market attractiveness</a:t>
            </a:r>
            <a:endParaRPr kumimoji="0" lang="ru-RU"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Dutch company REKA is planning to launch local production of </a:t>
            </a:r>
            <a:r>
              <a:rPr kumimoji="0" lang="en-US" sz="14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biofertilizer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nd plant protection products in Kazakhstan</a:t>
            </a:r>
            <a:endParaRPr kumimoji="0" lang="en-US" sz="1400" b="0" i="1"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Malgun Gothic Semilight" panose="020B0502040204020203" pitchFamily="34" charset="-128"/>
              <a:cs typeface="Arial Narrow"/>
            </a:endParaRPr>
          </a:p>
        </p:txBody>
      </p:sp>
      <p:sp>
        <p:nvSpPr>
          <p:cNvPr id="64" name="Прямоугольник 63">
            <a:extLst>
              <a:ext uri="{FF2B5EF4-FFF2-40B4-BE49-F238E27FC236}">
                <a16:creationId xmlns:a16="http://schemas.microsoft.com/office/drawing/2014/main" id="{A4542B5E-BEE1-4077-A521-45FA4D9491AB}"/>
              </a:ext>
            </a:extLst>
          </p:cNvPr>
          <p:cNvSpPr/>
          <p:nvPr/>
        </p:nvSpPr>
        <p:spPr>
          <a:xfrm>
            <a:off x="3034588" y="2173509"/>
            <a:ext cx="2738741" cy="116955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Malgun Gothic Semilight" panose="020B0502040204020203" pitchFamily="34" charset="-128"/>
                <a:cs typeface="+mn-cs"/>
              </a:rPr>
              <a:t>Agro-export potential</a:t>
            </a:r>
            <a:endParaRPr kumimoji="0" lang="ru-RU" sz="1400" b="1" i="0"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Malgun Gothic Semilight" panose="020B0502040204020203" pitchFamily="34"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Malgun Gothic Semilight" panose="020B0502040204020203" pitchFamily="34" charset="-128"/>
                <a:cs typeface="+mn-cs"/>
              </a:rPr>
              <a:t>Proximity to major markets with growing demand for organic and sustainable agricultural products</a:t>
            </a:r>
          </a:p>
        </p:txBody>
      </p:sp>
      <p:sp>
        <p:nvSpPr>
          <p:cNvPr id="65" name="Прямоугольник 64">
            <a:extLst>
              <a:ext uri="{FF2B5EF4-FFF2-40B4-BE49-F238E27FC236}">
                <a16:creationId xmlns:a16="http://schemas.microsoft.com/office/drawing/2014/main" id="{A4542B5E-BEE1-4077-A521-45FA4D9491AB}"/>
              </a:ext>
            </a:extLst>
          </p:cNvPr>
          <p:cNvSpPr/>
          <p:nvPr/>
        </p:nvSpPr>
        <p:spPr>
          <a:xfrm>
            <a:off x="5882946" y="2170755"/>
            <a:ext cx="3108653" cy="138499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Malgun Gothic Semilight" panose="020B0502040204020203" pitchFamily="34" charset="-128"/>
                <a:cs typeface="Arial Narrow"/>
              </a:rPr>
              <a:t>Global market growt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ccording to Grand View Research, the global </a:t>
            </a:r>
            <a:r>
              <a:rPr kumimoji="0" lang="en-US" sz="14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biofertilizer</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market is projected to reach $5.2 billion by 2030, while the </a:t>
            </a:r>
            <a:r>
              <a:rPr kumimoji="0" lang="en-US" sz="14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biofeed</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market may grow to $13 billion</a:t>
            </a:r>
            <a:endParaRPr kumimoji="0" lang="en-US" sz="1400" b="1" i="0"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Malgun Gothic Semilight" panose="020B0502040204020203" pitchFamily="34" charset="-128"/>
              <a:cs typeface="Arial Narrow"/>
            </a:endParaRPr>
          </a:p>
        </p:txBody>
      </p:sp>
      <p:sp>
        <p:nvSpPr>
          <p:cNvPr id="67" name="Прямоугольник 66">
            <a:extLst>
              <a:ext uri="{FF2B5EF4-FFF2-40B4-BE49-F238E27FC236}">
                <a16:creationId xmlns:a16="http://schemas.microsoft.com/office/drawing/2014/main" id="{A4542B5E-BEE1-4077-A521-45FA4D9491AB}"/>
              </a:ext>
            </a:extLst>
          </p:cNvPr>
          <p:cNvSpPr/>
          <p:nvPr/>
        </p:nvSpPr>
        <p:spPr>
          <a:xfrm>
            <a:off x="71648" y="2178317"/>
            <a:ext cx="2972133" cy="138499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ccess to bio-based raw materials</a:t>
            </a:r>
            <a:endParaRPr kumimoji="0" lang="ru-RU"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Kazakhstan generates over 60 million tons of organic agricultural waste annually (manure, straw, husks)</a:t>
            </a:r>
            <a:endParaRPr kumimoji="0" lang="en-US" sz="1400" b="0" i="0"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Malgun Gothic Semilight" panose="020B0502040204020203" pitchFamily="34" charset="-128"/>
              <a:cs typeface="Arial Narrow"/>
            </a:endParaRPr>
          </a:p>
        </p:txBody>
      </p:sp>
      <p:sp>
        <p:nvSpPr>
          <p:cNvPr id="68" name="Прямоугольник 67">
            <a:extLst>
              <a:ext uri="{FF2B5EF4-FFF2-40B4-BE49-F238E27FC236}">
                <a16:creationId xmlns:a16="http://schemas.microsoft.com/office/drawing/2014/main" id="{A4542B5E-BEE1-4077-A521-45FA4D9491AB}"/>
              </a:ext>
            </a:extLst>
          </p:cNvPr>
          <p:cNvSpPr/>
          <p:nvPr/>
        </p:nvSpPr>
        <p:spPr>
          <a:xfrm>
            <a:off x="196863" y="4949124"/>
            <a:ext cx="2682474" cy="138499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Government priorities</a:t>
            </a:r>
            <a:endParaRPr kumimoji="0" lang="ru-RU"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Kazakhstan’s green development agenda and organic standards create favorable conditions for local bio-based production</a:t>
            </a: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70" name="Прямоугольник 69">
            <a:extLst>
              <a:ext uri="{FF2B5EF4-FFF2-40B4-BE49-F238E27FC236}">
                <a16:creationId xmlns:a16="http://schemas.microsoft.com/office/drawing/2014/main" id="{A4542B5E-BEE1-4077-A521-45FA4D9491AB}"/>
              </a:ext>
            </a:extLst>
          </p:cNvPr>
          <p:cNvSpPr/>
          <p:nvPr/>
        </p:nvSpPr>
        <p:spPr>
          <a:xfrm>
            <a:off x="8940205" y="4958852"/>
            <a:ext cx="3031702" cy="138499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echnological capacity</a:t>
            </a:r>
            <a:endParaRPr kumimoji="0" lang="ru-RU"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he country has agricultural research institutes, biotechnology labs and training centers – a foundation for local R&amp;D and production</a:t>
            </a:r>
            <a:endParaRPr kumimoji="0" lang="en-US" sz="1400" b="0" i="1"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Malgun Gothic Semilight" panose="020B0502040204020203" pitchFamily="34" charset="-128"/>
              <a:cs typeface="Arial Narrow"/>
            </a:endParaRPr>
          </a:p>
        </p:txBody>
      </p:sp>
      <p:sp>
        <p:nvSpPr>
          <p:cNvPr id="71" name="Прямоугольник 70">
            <a:extLst>
              <a:ext uri="{FF2B5EF4-FFF2-40B4-BE49-F238E27FC236}">
                <a16:creationId xmlns:a16="http://schemas.microsoft.com/office/drawing/2014/main" id="{A4542B5E-BEE1-4077-A521-45FA4D9491AB}"/>
              </a:ext>
            </a:extLst>
          </p:cNvPr>
          <p:cNvSpPr/>
          <p:nvPr/>
        </p:nvSpPr>
        <p:spPr>
          <a:xfrm>
            <a:off x="9164648" y="2084394"/>
            <a:ext cx="2812923" cy="160043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Environmental trends</a:t>
            </a:r>
            <a:endParaRPr kumimoji="0" lang="ru-RU"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ightening regulations in the EU, China, and Gulf countries are accelerating the shift toward eco-friendly, antibiotic-free feed and fertilizers</a:t>
            </a:r>
            <a:endParaRPr kumimoji="0" lang="en-US" sz="1400" b="1" i="1"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Malgun Gothic Semilight" panose="020B0502040204020203" pitchFamily="34" charset="-128"/>
              <a:cs typeface="Arial Narrow"/>
            </a:endParaRPr>
          </a:p>
        </p:txBody>
      </p:sp>
      <p:sp>
        <p:nvSpPr>
          <p:cNvPr id="132" name="Freeform 34">
            <a:extLst>
              <a:ext uri="{FF2B5EF4-FFF2-40B4-BE49-F238E27FC236}">
                <a16:creationId xmlns:a16="http://schemas.microsoft.com/office/drawing/2014/main" id="{F825DF7A-4BA1-425D-841A-E54394C11385}"/>
              </a:ext>
            </a:extLst>
          </p:cNvPr>
          <p:cNvSpPr>
            <a:spLocks/>
          </p:cNvSpPr>
          <p:nvPr/>
        </p:nvSpPr>
        <p:spPr bwMode="auto">
          <a:xfrm>
            <a:off x="1163874" y="4479649"/>
            <a:ext cx="325173" cy="254261"/>
          </a:xfrm>
          <a:custGeom>
            <a:avLst/>
            <a:gdLst>
              <a:gd name="T0" fmla="*/ 180 w 1800"/>
              <a:gd name="T1" fmla="*/ 960 h 1200"/>
              <a:gd name="T2" fmla="*/ 305 w 1800"/>
              <a:gd name="T3" fmla="*/ 909 h 1200"/>
              <a:gd name="T4" fmla="*/ 482 w 1800"/>
              <a:gd name="T5" fmla="*/ 998 h 1200"/>
              <a:gd name="T6" fmla="*/ 480 w 1800"/>
              <a:gd name="T7" fmla="*/ 1020 h 1200"/>
              <a:gd name="T8" fmla="*/ 660 w 1800"/>
              <a:gd name="T9" fmla="*/ 1200 h 1200"/>
              <a:gd name="T10" fmla="*/ 840 w 1800"/>
              <a:gd name="T11" fmla="*/ 1020 h 1200"/>
              <a:gd name="T12" fmla="*/ 822 w 1800"/>
              <a:gd name="T13" fmla="*/ 943 h 1200"/>
              <a:gd name="T14" fmla="*/ 1063 w 1800"/>
              <a:gd name="T15" fmla="*/ 702 h 1200"/>
              <a:gd name="T16" fmla="*/ 1140 w 1800"/>
              <a:gd name="T17" fmla="*/ 720 h 1200"/>
              <a:gd name="T18" fmla="*/ 1320 w 1800"/>
              <a:gd name="T19" fmla="*/ 540 h 1200"/>
              <a:gd name="T20" fmla="*/ 1311 w 1800"/>
              <a:gd name="T21" fmla="*/ 487 h 1200"/>
              <a:gd name="T22" fmla="*/ 1520 w 1800"/>
              <a:gd name="T23" fmla="*/ 330 h 1200"/>
              <a:gd name="T24" fmla="*/ 1620 w 1800"/>
              <a:gd name="T25" fmla="*/ 360 h 1200"/>
              <a:gd name="T26" fmla="*/ 1800 w 1800"/>
              <a:gd name="T27" fmla="*/ 180 h 1200"/>
              <a:gd name="T28" fmla="*/ 1620 w 1800"/>
              <a:gd name="T29" fmla="*/ 0 h 1200"/>
              <a:gd name="T30" fmla="*/ 1440 w 1800"/>
              <a:gd name="T31" fmla="*/ 180 h 1200"/>
              <a:gd name="T32" fmla="*/ 1449 w 1800"/>
              <a:gd name="T33" fmla="*/ 233 h 1200"/>
              <a:gd name="T34" fmla="*/ 1240 w 1800"/>
              <a:gd name="T35" fmla="*/ 390 h 1200"/>
              <a:gd name="T36" fmla="*/ 1140 w 1800"/>
              <a:gd name="T37" fmla="*/ 360 h 1200"/>
              <a:gd name="T38" fmla="*/ 960 w 1800"/>
              <a:gd name="T39" fmla="*/ 540 h 1200"/>
              <a:gd name="T40" fmla="*/ 978 w 1800"/>
              <a:gd name="T41" fmla="*/ 617 h 1200"/>
              <a:gd name="T42" fmla="*/ 737 w 1800"/>
              <a:gd name="T43" fmla="*/ 858 h 1200"/>
              <a:gd name="T44" fmla="*/ 660 w 1800"/>
              <a:gd name="T45" fmla="*/ 840 h 1200"/>
              <a:gd name="T46" fmla="*/ 535 w 1800"/>
              <a:gd name="T47" fmla="*/ 891 h 1200"/>
              <a:gd name="T48" fmla="*/ 358 w 1800"/>
              <a:gd name="T49" fmla="*/ 802 h 1200"/>
              <a:gd name="T50" fmla="*/ 360 w 1800"/>
              <a:gd name="T51" fmla="*/ 780 h 1200"/>
              <a:gd name="T52" fmla="*/ 180 w 1800"/>
              <a:gd name="T53" fmla="*/ 600 h 1200"/>
              <a:gd name="T54" fmla="*/ 0 w 1800"/>
              <a:gd name="T55" fmla="*/ 780 h 1200"/>
              <a:gd name="T56" fmla="*/ 180 w 1800"/>
              <a:gd name="T57" fmla="*/ 96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00" h="1200">
                <a:moveTo>
                  <a:pt x="180" y="960"/>
                </a:moveTo>
                <a:cubicBezTo>
                  <a:pt x="228" y="960"/>
                  <a:pt x="272" y="941"/>
                  <a:pt x="305" y="909"/>
                </a:cubicBezTo>
                <a:cubicBezTo>
                  <a:pt x="482" y="998"/>
                  <a:pt x="482" y="998"/>
                  <a:pt x="482" y="998"/>
                </a:cubicBezTo>
                <a:cubicBezTo>
                  <a:pt x="481" y="1005"/>
                  <a:pt x="480" y="1013"/>
                  <a:pt x="480" y="1020"/>
                </a:cubicBezTo>
                <a:cubicBezTo>
                  <a:pt x="480" y="1119"/>
                  <a:pt x="561" y="1200"/>
                  <a:pt x="660" y="1200"/>
                </a:cubicBezTo>
                <a:cubicBezTo>
                  <a:pt x="759" y="1200"/>
                  <a:pt x="840" y="1119"/>
                  <a:pt x="840" y="1020"/>
                </a:cubicBezTo>
                <a:cubicBezTo>
                  <a:pt x="840" y="992"/>
                  <a:pt x="833" y="966"/>
                  <a:pt x="822" y="943"/>
                </a:cubicBezTo>
                <a:cubicBezTo>
                  <a:pt x="1063" y="702"/>
                  <a:pt x="1063" y="702"/>
                  <a:pt x="1063" y="702"/>
                </a:cubicBezTo>
                <a:cubicBezTo>
                  <a:pt x="1086" y="713"/>
                  <a:pt x="1112" y="720"/>
                  <a:pt x="1140" y="720"/>
                </a:cubicBezTo>
                <a:cubicBezTo>
                  <a:pt x="1239" y="720"/>
                  <a:pt x="1320" y="639"/>
                  <a:pt x="1320" y="540"/>
                </a:cubicBezTo>
                <a:cubicBezTo>
                  <a:pt x="1320" y="521"/>
                  <a:pt x="1316" y="504"/>
                  <a:pt x="1311" y="487"/>
                </a:cubicBezTo>
                <a:cubicBezTo>
                  <a:pt x="1520" y="330"/>
                  <a:pt x="1520" y="330"/>
                  <a:pt x="1520" y="330"/>
                </a:cubicBezTo>
                <a:cubicBezTo>
                  <a:pt x="1549" y="349"/>
                  <a:pt x="1583" y="360"/>
                  <a:pt x="1620" y="360"/>
                </a:cubicBezTo>
                <a:cubicBezTo>
                  <a:pt x="1719" y="360"/>
                  <a:pt x="1800" y="279"/>
                  <a:pt x="1800" y="180"/>
                </a:cubicBezTo>
                <a:cubicBezTo>
                  <a:pt x="1800" y="81"/>
                  <a:pt x="1719" y="0"/>
                  <a:pt x="1620" y="0"/>
                </a:cubicBezTo>
                <a:cubicBezTo>
                  <a:pt x="1521" y="0"/>
                  <a:pt x="1440" y="81"/>
                  <a:pt x="1440" y="180"/>
                </a:cubicBezTo>
                <a:cubicBezTo>
                  <a:pt x="1440" y="199"/>
                  <a:pt x="1444" y="216"/>
                  <a:pt x="1449" y="233"/>
                </a:cubicBezTo>
                <a:cubicBezTo>
                  <a:pt x="1240" y="390"/>
                  <a:pt x="1240" y="390"/>
                  <a:pt x="1240" y="390"/>
                </a:cubicBezTo>
                <a:cubicBezTo>
                  <a:pt x="1211" y="371"/>
                  <a:pt x="1177" y="360"/>
                  <a:pt x="1140" y="360"/>
                </a:cubicBezTo>
                <a:cubicBezTo>
                  <a:pt x="1041" y="360"/>
                  <a:pt x="960" y="441"/>
                  <a:pt x="960" y="540"/>
                </a:cubicBezTo>
                <a:cubicBezTo>
                  <a:pt x="960" y="568"/>
                  <a:pt x="967" y="594"/>
                  <a:pt x="978" y="617"/>
                </a:cubicBezTo>
                <a:cubicBezTo>
                  <a:pt x="737" y="858"/>
                  <a:pt x="737" y="858"/>
                  <a:pt x="737" y="858"/>
                </a:cubicBezTo>
                <a:cubicBezTo>
                  <a:pt x="714" y="847"/>
                  <a:pt x="688" y="840"/>
                  <a:pt x="660" y="840"/>
                </a:cubicBezTo>
                <a:cubicBezTo>
                  <a:pt x="612" y="840"/>
                  <a:pt x="568" y="859"/>
                  <a:pt x="535" y="891"/>
                </a:cubicBezTo>
                <a:cubicBezTo>
                  <a:pt x="358" y="802"/>
                  <a:pt x="358" y="802"/>
                  <a:pt x="358" y="802"/>
                </a:cubicBezTo>
                <a:cubicBezTo>
                  <a:pt x="359" y="795"/>
                  <a:pt x="360" y="787"/>
                  <a:pt x="360" y="780"/>
                </a:cubicBezTo>
                <a:cubicBezTo>
                  <a:pt x="360" y="681"/>
                  <a:pt x="279" y="600"/>
                  <a:pt x="180" y="600"/>
                </a:cubicBezTo>
                <a:cubicBezTo>
                  <a:pt x="81" y="600"/>
                  <a:pt x="0" y="681"/>
                  <a:pt x="0" y="780"/>
                </a:cubicBezTo>
                <a:cubicBezTo>
                  <a:pt x="0" y="879"/>
                  <a:pt x="81" y="960"/>
                  <a:pt x="180" y="960"/>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33" name="Freeform 35">
            <a:extLst>
              <a:ext uri="{FF2B5EF4-FFF2-40B4-BE49-F238E27FC236}">
                <a16:creationId xmlns:a16="http://schemas.microsoft.com/office/drawing/2014/main" id="{FD72D47A-3569-4EAC-9577-271EAAF35E04}"/>
              </a:ext>
            </a:extLst>
          </p:cNvPr>
          <p:cNvSpPr>
            <a:spLocks/>
          </p:cNvSpPr>
          <p:nvPr/>
        </p:nvSpPr>
        <p:spPr bwMode="auto">
          <a:xfrm>
            <a:off x="1271583" y="4336718"/>
            <a:ext cx="369917" cy="306708"/>
          </a:xfrm>
          <a:custGeom>
            <a:avLst/>
            <a:gdLst>
              <a:gd name="T0" fmla="*/ 1988 w 2048"/>
              <a:gd name="T1" fmla="*/ 1328 h 1448"/>
              <a:gd name="T2" fmla="*/ 1924 w 2048"/>
              <a:gd name="T3" fmla="*/ 1328 h 1448"/>
              <a:gd name="T4" fmla="*/ 1924 w 2048"/>
              <a:gd name="T5" fmla="*/ 60 h 1448"/>
              <a:gd name="T6" fmla="*/ 1864 w 2048"/>
              <a:gd name="T7" fmla="*/ 0 h 1448"/>
              <a:gd name="T8" fmla="*/ 1624 w 2048"/>
              <a:gd name="T9" fmla="*/ 0 h 1448"/>
              <a:gd name="T10" fmla="*/ 1564 w 2048"/>
              <a:gd name="T11" fmla="*/ 60 h 1448"/>
              <a:gd name="T12" fmla="*/ 1564 w 2048"/>
              <a:gd name="T13" fmla="*/ 1328 h 1448"/>
              <a:gd name="T14" fmla="*/ 1444 w 2048"/>
              <a:gd name="T15" fmla="*/ 1328 h 1448"/>
              <a:gd name="T16" fmla="*/ 1444 w 2048"/>
              <a:gd name="T17" fmla="*/ 420 h 1448"/>
              <a:gd name="T18" fmla="*/ 1384 w 2048"/>
              <a:gd name="T19" fmla="*/ 360 h 1448"/>
              <a:gd name="T20" fmla="*/ 1144 w 2048"/>
              <a:gd name="T21" fmla="*/ 360 h 1448"/>
              <a:gd name="T22" fmla="*/ 1084 w 2048"/>
              <a:gd name="T23" fmla="*/ 420 h 1448"/>
              <a:gd name="T24" fmla="*/ 1084 w 2048"/>
              <a:gd name="T25" fmla="*/ 1328 h 1448"/>
              <a:gd name="T26" fmla="*/ 964 w 2048"/>
              <a:gd name="T27" fmla="*/ 1328 h 1448"/>
              <a:gd name="T28" fmla="*/ 964 w 2048"/>
              <a:gd name="T29" fmla="*/ 900 h 1448"/>
              <a:gd name="T30" fmla="*/ 904 w 2048"/>
              <a:gd name="T31" fmla="*/ 840 h 1448"/>
              <a:gd name="T32" fmla="*/ 664 w 2048"/>
              <a:gd name="T33" fmla="*/ 840 h 1448"/>
              <a:gd name="T34" fmla="*/ 604 w 2048"/>
              <a:gd name="T35" fmla="*/ 900 h 1448"/>
              <a:gd name="T36" fmla="*/ 604 w 2048"/>
              <a:gd name="T37" fmla="*/ 1328 h 1448"/>
              <a:gd name="T38" fmla="*/ 484 w 2048"/>
              <a:gd name="T39" fmla="*/ 1328 h 1448"/>
              <a:gd name="T40" fmla="*/ 484 w 2048"/>
              <a:gd name="T41" fmla="*/ 660 h 1448"/>
              <a:gd name="T42" fmla="*/ 424 w 2048"/>
              <a:gd name="T43" fmla="*/ 600 h 1448"/>
              <a:gd name="T44" fmla="*/ 184 w 2048"/>
              <a:gd name="T45" fmla="*/ 600 h 1448"/>
              <a:gd name="T46" fmla="*/ 124 w 2048"/>
              <a:gd name="T47" fmla="*/ 660 h 1448"/>
              <a:gd name="T48" fmla="*/ 124 w 2048"/>
              <a:gd name="T49" fmla="*/ 1328 h 1448"/>
              <a:gd name="T50" fmla="*/ 60 w 2048"/>
              <a:gd name="T51" fmla="*/ 1328 h 1448"/>
              <a:gd name="T52" fmla="*/ 0 w 2048"/>
              <a:gd name="T53" fmla="*/ 1388 h 1448"/>
              <a:gd name="T54" fmla="*/ 60 w 2048"/>
              <a:gd name="T55" fmla="*/ 1448 h 1448"/>
              <a:gd name="T56" fmla="*/ 1988 w 2048"/>
              <a:gd name="T57" fmla="*/ 1448 h 1448"/>
              <a:gd name="T58" fmla="*/ 2048 w 2048"/>
              <a:gd name="T59" fmla="*/ 1388 h 1448"/>
              <a:gd name="T60" fmla="*/ 1988 w 2048"/>
              <a:gd name="T61" fmla="*/ 1328 h 1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48" h="1448">
                <a:moveTo>
                  <a:pt x="1988" y="1328"/>
                </a:moveTo>
                <a:cubicBezTo>
                  <a:pt x="1924" y="1328"/>
                  <a:pt x="1924" y="1328"/>
                  <a:pt x="1924" y="1328"/>
                </a:cubicBezTo>
                <a:cubicBezTo>
                  <a:pt x="1924" y="60"/>
                  <a:pt x="1924" y="60"/>
                  <a:pt x="1924" y="60"/>
                </a:cubicBezTo>
                <a:cubicBezTo>
                  <a:pt x="1924" y="27"/>
                  <a:pt x="1897" y="0"/>
                  <a:pt x="1864" y="0"/>
                </a:cubicBezTo>
                <a:cubicBezTo>
                  <a:pt x="1624" y="0"/>
                  <a:pt x="1624" y="0"/>
                  <a:pt x="1624" y="0"/>
                </a:cubicBezTo>
                <a:cubicBezTo>
                  <a:pt x="1591" y="0"/>
                  <a:pt x="1564" y="27"/>
                  <a:pt x="1564" y="60"/>
                </a:cubicBezTo>
                <a:cubicBezTo>
                  <a:pt x="1564" y="1328"/>
                  <a:pt x="1564" y="1328"/>
                  <a:pt x="1564" y="1328"/>
                </a:cubicBezTo>
                <a:cubicBezTo>
                  <a:pt x="1444" y="1328"/>
                  <a:pt x="1444" y="1328"/>
                  <a:pt x="1444" y="1328"/>
                </a:cubicBezTo>
                <a:cubicBezTo>
                  <a:pt x="1444" y="420"/>
                  <a:pt x="1444" y="420"/>
                  <a:pt x="1444" y="420"/>
                </a:cubicBezTo>
                <a:cubicBezTo>
                  <a:pt x="1444" y="387"/>
                  <a:pt x="1417" y="360"/>
                  <a:pt x="1384" y="360"/>
                </a:cubicBezTo>
                <a:cubicBezTo>
                  <a:pt x="1144" y="360"/>
                  <a:pt x="1144" y="360"/>
                  <a:pt x="1144" y="360"/>
                </a:cubicBezTo>
                <a:cubicBezTo>
                  <a:pt x="1111" y="360"/>
                  <a:pt x="1084" y="387"/>
                  <a:pt x="1084" y="420"/>
                </a:cubicBezTo>
                <a:cubicBezTo>
                  <a:pt x="1084" y="1328"/>
                  <a:pt x="1084" y="1328"/>
                  <a:pt x="1084" y="1328"/>
                </a:cubicBezTo>
                <a:cubicBezTo>
                  <a:pt x="964" y="1328"/>
                  <a:pt x="964" y="1328"/>
                  <a:pt x="964" y="1328"/>
                </a:cubicBezTo>
                <a:cubicBezTo>
                  <a:pt x="964" y="900"/>
                  <a:pt x="964" y="900"/>
                  <a:pt x="964" y="900"/>
                </a:cubicBezTo>
                <a:cubicBezTo>
                  <a:pt x="964" y="867"/>
                  <a:pt x="937" y="840"/>
                  <a:pt x="904" y="840"/>
                </a:cubicBezTo>
                <a:cubicBezTo>
                  <a:pt x="664" y="840"/>
                  <a:pt x="664" y="840"/>
                  <a:pt x="664" y="840"/>
                </a:cubicBezTo>
                <a:cubicBezTo>
                  <a:pt x="631" y="840"/>
                  <a:pt x="604" y="867"/>
                  <a:pt x="604" y="900"/>
                </a:cubicBezTo>
                <a:cubicBezTo>
                  <a:pt x="604" y="1328"/>
                  <a:pt x="604" y="1328"/>
                  <a:pt x="604" y="1328"/>
                </a:cubicBezTo>
                <a:cubicBezTo>
                  <a:pt x="484" y="1328"/>
                  <a:pt x="484" y="1328"/>
                  <a:pt x="484" y="1328"/>
                </a:cubicBezTo>
                <a:cubicBezTo>
                  <a:pt x="484" y="660"/>
                  <a:pt x="484" y="660"/>
                  <a:pt x="484" y="660"/>
                </a:cubicBezTo>
                <a:cubicBezTo>
                  <a:pt x="484" y="627"/>
                  <a:pt x="457" y="600"/>
                  <a:pt x="424" y="600"/>
                </a:cubicBezTo>
                <a:cubicBezTo>
                  <a:pt x="184" y="600"/>
                  <a:pt x="184" y="600"/>
                  <a:pt x="184" y="600"/>
                </a:cubicBezTo>
                <a:cubicBezTo>
                  <a:pt x="151" y="600"/>
                  <a:pt x="124" y="627"/>
                  <a:pt x="124" y="660"/>
                </a:cubicBezTo>
                <a:cubicBezTo>
                  <a:pt x="124" y="1328"/>
                  <a:pt x="124" y="1328"/>
                  <a:pt x="124" y="1328"/>
                </a:cubicBezTo>
                <a:cubicBezTo>
                  <a:pt x="60" y="1328"/>
                  <a:pt x="60" y="1328"/>
                  <a:pt x="60" y="1328"/>
                </a:cubicBezTo>
                <a:cubicBezTo>
                  <a:pt x="27" y="1328"/>
                  <a:pt x="0" y="1355"/>
                  <a:pt x="0" y="1388"/>
                </a:cubicBezTo>
                <a:cubicBezTo>
                  <a:pt x="0" y="1421"/>
                  <a:pt x="27" y="1448"/>
                  <a:pt x="60" y="1448"/>
                </a:cubicBezTo>
                <a:cubicBezTo>
                  <a:pt x="1988" y="1448"/>
                  <a:pt x="1988" y="1448"/>
                  <a:pt x="1988" y="1448"/>
                </a:cubicBezTo>
                <a:cubicBezTo>
                  <a:pt x="2021" y="1448"/>
                  <a:pt x="2048" y="1421"/>
                  <a:pt x="2048" y="1388"/>
                </a:cubicBezTo>
                <a:cubicBezTo>
                  <a:pt x="2048" y="1355"/>
                  <a:pt x="2021" y="1328"/>
                  <a:pt x="1988" y="1328"/>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52" name="Овал 51"/>
          <p:cNvSpPr/>
          <p:nvPr/>
        </p:nvSpPr>
        <p:spPr>
          <a:xfrm>
            <a:off x="1275178" y="1360790"/>
            <a:ext cx="633774" cy="6403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59" name="Прямоугольник 58">
            <a:extLst>
              <a:ext uri="{FF2B5EF4-FFF2-40B4-BE49-F238E27FC236}">
                <a16:creationId xmlns:a16="http://schemas.microsoft.com/office/drawing/2014/main" id="{A4542B5E-BEE1-4077-A521-45FA4D9491AB}"/>
              </a:ext>
            </a:extLst>
          </p:cNvPr>
          <p:cNvSpPr/>
          <p:nvPr/>
        </p:nvSpPr>
        <p:spPr>
          <a:xfrm>
            <a:off x="6071800" y="4949124"/>
            <a:ext cx="2873405" cy="138499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Bio-based solutions</a:t>
            </a:r>
            <a:endParaRPr kumimoji="0" lang="ru-RU"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Malgun Gothic Semilight" panose="020B0502040204020203" pitchFamily="34" charset="-128"/>
                <a:cs typeface="+mn-cs"/>
              </a:rPr>
              <a:t>More than 70% of Kazakhstan's farmland is degraded – bio-preparations can help restore soil fertility and reduce chemical load</a:t>
            </a:r>
            <a:endParaRPr kumimoji="0" lang="en-US" sz="1400" b="1" i="0"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Malgun Gothic Semilight" panose="020B0502040204020203" pitchFamily="34" charset="-128"/>
              <a:cs typeface="+mn-cs"/>
            </a:endParaRPr>
          </a:p>
        </p:txBody>
      </p:sp>
      <p:sp>
        <p:nvSpPr>
          <p:cNvPr id="80" name="Freeform 42">
            <a:extLst>
              <a:ext uri="{FF2B5EF4-FFF2-40B4-BE49-F238E27FC236}">
                <a16:creationId xmlns:a16="http://schemas.microsoft.com/office/drawing/2014/main" id="{93A44508-033C-4DE8-BAB4-E99EC8B6CC2E}"/>
              </a:ext>
            </a:extLst>
          </p:cNvPr>
          <p:cNvSpPr>
            <a:spLocks noEditPoints="1"/>
          </p:cNvSpPr>
          <p:nvPr/>
        </p:nvSpPr>
        <p:spPr bwMode="auto">
          <a:xfrm>
            <a:off x="10356827" y="4251697"/>
            <a:ext cx="511702" cy="560360"/>
          </a:xfrm>
          <a:custGeom>
            <a:avLst/>
            <a:gdLst>
              <a:gd name="T0" fmla="*/ 1102 w 1634"/>
              <a:gd name="T1" fmla="*/ 1040 h 1959"/>
              <a:gd name="T2" fmla="*/ 1102 w 1634"/>
              <a:gd name="T3" fmla="*/ 594 h 1959"/>
              <a:gd name="T4" fmla="*/ 1505 w 1634"/>
              <a:gd name="T5" fmla="*/ 817 h 1959"/>
              <a:gd name="T6" fmla="*/ 792 w 1634"/>
              <a:gd name="T7" fmla="*/ 130 h 1959"/>
              <a:gd name="T8" fmla="*/ 841 w 1634"/>
              <a:gd name="T9" fmla="*/ 130 h 1959"/>
              <a:gd name="T10" fmla="*/ 646 w 1634"/>
              <a:gd name="T11" fmla="*/ 501 h 1959"/>
              <a:gd name="T12" fmla="*/ 623 w 1634"/>
              <a:gd name="T13" fmla="*/ 817 h 1959"/>
              <a:gd name="T14" fmla="*/ 827 w 1634"/>
              <a:gd name="T15" fmla="*/ 611 h 1959"/>
              <a:gd name="T16" fmla="*/ 1010 w 1634"/>
              <a:gd name="T17" fmla="*/ 817 h 1959"/>
              <a:gd name="T18" fmla="*/ 827 w 1634"/>
              <a:gd name="T19" fmla="*/ 1023 h 1959"/>
              <a:gd name="T20" fmla="*/ 623 w 1634"/>
              <a:gd name="T21" fmla="*/ 817 h 1959"/>
              <a:gd name="T22" fmla="*/ 1090 w 1634"/>
              <a:gd name="T23" fmla="*/ 492 h 1959"/>
              <a:gd name="T24" fmla="*/ 1381 w 1634"/>
              <a:gd name="T25" fmla="*/ 424 h 1959"/>
              <a:gd name="T26" fmla="*/ 544 w 1634"/>
              <a:gd name="T27" fmla="*/ 489 h 1959"/>
              <a:gd name="T28" fmla="*/ 645 w 1634"/>
              <a:gd name="T29" fmla="*/ 151 h 1959"/>
              <a:gd name="T30" fmla="*/ 1634 w 1634"/>
              <a:gd name="T31" fmla="*/ 817 h 1959"/>
              <a:gd name="T32" fmla="*/ 13 w 1634"/>
              <a:gd name="T33" fmla="*/ 673 h 1959"/>
              <a:gd name="T34" fmla="*/ 701 w 1634"/>
              <a:gd name="T35" fmla="*/ 1755 h 1959"/>
              <a:gd name="T36" fmla="*/ 1383 w 1634"/>
              <a:gd name="T37" fmla="*/ 1565 h 1959"/>
              <a:gd name="T38" fmla="*/ 701 w 1634"/>
              <a:gd name="T39" fmla="*/ 1365 h 1959"/>
              <a:gd name="T40" fmla="*/ 144 w 1634"/>
              <a:gd name="T41" fmla="*/ 673 h 1959"/>
              <a:gd name="T42" fmla="*/ 531 w 1634"/>
              <a:gd name="T43" fmla="*/ 592 h 1959"/>
              <a:gd name="T44" fmla="*/ 531 w 1634"/>
              <a:gd name="T45" fmla="*/ 1043 h 1959"/>
              <a:gd name="T46" fmla="*/ 326 w 1634"/>
              <a:gd name="T47" fmla="*/ 1101 h 1959"/>
              <a:gd name="T48" fmla="*/ 362 w 1634"/>
              <a:gd name="T49" fmla="*/ 1142 h 1959"/>
              <a:gd name="T50" fmla="*/ 393 w 1634"/>
              <a:gd name="T51" fmla="*/ 1173 h 1959"/>
              <a:gd name="T52" fmla="*/ 569 w 1634"/>
              <a:gd name="T53" fmla="*/ 1276 h 1959"/>
              <a:gd name="T54" fmla="*/ 611 w 1634"/>
              <a:gd name="T55" fmla="*/ 1286 h 1959"/>
              <a:gd name="T56" fmla="*/ 624 w 1634"/>
              <a:gd name="T57" fmla="*/ 1287 h 1959"/>
              <a:gd name="T58" fmla="*/ 778 w 1634"/>
              <a:gd name="T59" fmla="*/ 1127 h 1959"/>
              <a:gd name="T60" fmla="*/ 988 w 1634"/>
              <a:gd name="T61" fmla="*/ 1132 h 1959"/>
              <a:gd name="T62" fmla="*/ 1060 w 1634"/>
              <a:gd name="T63" fmla="*/ 1290 h 1959"/>
              <a:gd name="T64" fmla="*/ 1381 w 1634"/>
              <a:gd name="T65" fmla="*/ 1210 h 1959"/>
              <a:gd name="T66" fmla="*/ 1336 w 1634"/>
              <a:gd name="T67" fmla="*/ 1442 h 1959"/>
              <a:gd name="T68" fmla="*/ 1336 w 1634"/>
              <a:gd name="T69" fmla="*/ 1442 h 19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34" h="1959">
                <a:moveTo>
                  <a:pt x="1434" y="1120"/>
                </a:moveTo>
                <a:cubicBezTo>
                  <a:pt x="1347" y="1084"/>
                  <a:pt x="1232" y="1056"/>
                  <a:pt x="1102" y="1040"/>
                </a:cubicBezTo>
                <a:cubicBezTo>
                  <a:pt x="1110" y="967"/>
                  <a:pt x="1113" y="892"/>
                  <a:pt x="1113" y="817"/>
                </a:cubicBezTo>
                <a:cubicBezTo>
                  <a:pt x="1113" y="742"/>
                  <a:pt x="1110" y="667"/>
                  <a:pt x="1102" y="594"/>
                </a:cubicBezTo>
                <a:cubicBezTo>
                  <a:pt x="1232" y="578"/>
                  <a:pt x="1347" y="550"/>
                  <a:pt x="1434" y="513"/>
                </a:cubicBezTo>
                <a:cubicBezTo>
                  <a:pt x="1479" y="605"/>
                  <a:pt x="1505" y="708"/>
                  <a:pt x="1505" y="817"/>
                </a:cubicBezTo>
                <a:cubicBezTo>
                  <a:pt x="1505" y="926"/>
                  <a:pt x="1479" y="1029"/>
                  <a:pt x="1434" y="1120"/>
                </a:cubicBezTo>
                <a:close/>
                <a:moveTo>
                  <a:pt x="792" y="130"/>
                </a:moveTo>
                <a:cubicBezTo>
                  <a:pt x="800" y="129"/>
                  <a:pt x="808" y="129"/>
                  <a:pt x="817" y="129"/>
                </a:cubicBezTo>
                <a:cubicBezTo>
                  <a:pt x="825" y="129"/>
                  <a:pt x="833" y="129"/>
                  <a:pt x="841" y="130"/>
                </a:cubicBezTo>
                <a:cubicBezTo>
                  <a:pt x="890" y="163"/>
                  <a:pt x="954" y="289"/>
                  <a:pt x="988" y="502"/>
                </a:cubicBezTo>
                <a:cubicBezTo>
                  <a:pt x="873" y="511"/>
                  <a:pt x="755" y="510"/>
                  <a:pt x="646" y="501"/>
                </a:cubicBezTo>
                <a:cubicBezTo>
                  <a:pt x="680" y="288"/>
                  <a:pt x="743" y="163"/>
                  <a:pt x="792" y="130"/>
                </a:cubicBezTo>
                <a:close/>
                <a:moveTo>
                  <a:pt x="623" y="817"/>
                </a:moveTo>
                <a:cubicBezTo>
                  <a:pt x="623" y="739"/>
                  <a:pt x="626" y="668"/>
                  <a:pt x="633" y="603"/>
                </a:cubicBezTo>
                <a:cubicBezTo>
                  <a:pt x="695" y="609"/>
                  <a:pt x="760" y="611"/>
                  <a:pt x="827" y="611"/>
                </a:cubicBezTo>
                <a:cubicBezTo>
                  <a:pt x="885" y="611"/>
                  <a:pt x="943" y="609"/>
                  <a:pt x="1000" y="604"/>
                </a:cubicBezTo>
                <a:cubicBezTo>
                  <a:pt x="1007" y="669"/>
                  <a:pt x="1010" y="740"/>
                  <a:pt x="1010" y="817"/>
                </a:cubicBezTo>
                <a:cubicBezTo>
                  <a:pt x="1010" y="894"/>
                  <a:pt x="1007" y="965"/>
                  <a:pt x="1000" y="1030"/>
                </a:cubicBezTo>
                <a:cubicBezTo>
                  <a:pt x="945" y="1025"/>
                  <a:pt x="886" y="1023"/>
                  <a:pt x="827" y="1023"/>
                </a:cubicBezTo>
                <a:cubicBezTo>
                  <a:pt x="760" y="1023"/>
                  <a:pt x="695" y="1025"/>
                  <a:pt x="633" y="1031"/>
                </a:cubicBezTo>
                <a:cubicBezTo>
                  <a:pt x="626" y="966"/>
                  <a:pt x="623" y="895"/>
                  <a:pt x="623" y="817"/>
                </a:cubicBezTo>
                <a:close/>
                <a:moveTo>
                  <a:pt x="1381" y="424"/>
                </a:moveTo>
                <a:cubicBezTo>
                  <a:pt x="1304" y="454"/>
                  <a:pt x="1204" y="478"/>
                  <a:pt x="1090" y="492"/>
                </a:cubicBezTo>
                <a:cubicBezTo>
                  <a:pt x="1069" y="357"/>
                  <a:pt x="1035" y="236"/>
                  <a:pt x="988" y="151"/>
                </a:cubicBezTo>
                <a:cubicBezTo>
                  <a:pt x="1150" y="192"/>
                  <a:pt x="1288" y="291"/>
                  <a:pt x="1381" y="424"/>
                </a:cubicBezTo>
                <a:close/>
                <a:moveTo>
                  <a:pt x="645" y="151"/>
                </a:moveTo>
                <a:cubicBezTo>
                  <a:pt x="598" y="236"/>
                  <a:pt x="565" y="355"/>
                  <a:pt x="544" y="489"/>
                </a:cubicBezTo>
                <a:cubicBezTo>
                  <a:pt x="431" y="474"/>
                  <a:pt x="331" y="449"/>
                  <a:pt x="257" y="418"/>
                </a:cubicBezTo>
                <a:cubicBezTo>
                  <a:pt x="350" y="288"/>
                  <a:pt x="486" y="192"/>
                  <a:pt x="645" y="151"/>
                </a:cubicBezTo>
                <a:close/>
                <a:moveTo>
                  <a:pt x="1336" y="1442"/>
                </a:moveTo>
                <a:cubicBezTo>
                  <a:pt x="1518" y="1292"/>
                  <a:pt x="1634" y="1071"/>
                  <a:pt x="1634" y="817"/>
                </a:cubicBezTo>
                <a:cubicBezTo>
                  <a:pt x="1634" y="366"/>
                  <a:pt x="1267" y="0"/>
                  <a:pt x="817" y="0"/>
                </a:cubicBezTo>
                <a:cubicBezTo>
                  <a:pt x="415" y="0"/>
                  <a:pt x="81" y="291"/>
                  <a:pt x="13" y="673"/>
                </a:cubicBezTo>
                <a:cubicBezTo>
                  <a:pt x="4" y="720"/>
                  <a:pt x="0" y="768"/>
                  <a:pt x="0" y="817"/>
                </a:cubicBezTo>
                <a:cubicBezTo>
                  <a:pt x="0" y="1268"/>
                  <a:pt x="239" y="1621"/>
                  <a:pt x="701" y="1755"/>
                </a:cubicBezTo>
                <a:cubicBezTo>
                  <a:pt x="701" y="1959"/>
                  <a:pt x="701" y="1959"/>
                  <a:pt x="701" y="1959"/>
                </a:cubicBezTo>
                <a:cubicBezTo>
                  <a:pt x="1383" y="1565"/>
                  <a:pt x="1383" y="1565"/>
                  <a:pt x="1383" y="1565"/>
                </a:cubicBezTo>
                <a:cubicBezTo>
                  <a:pt x="701" y="1172"/>
                  <a:pt x="701" y="1172"/>
                  <a:pt x="701" y="1172"/>
                </a:cubicBezTo>
                <a:cubicBezTo>
                  <a:pt x="701" y="1365"/>
                  <a:pt x="701" y="1365"/>
                  <a:pt x="701" y="1365"/>
                </a:cubicBezTo>
                <a:cubicBezTo>
                  <a:pt x="329" y="1365"/>
                  <a:pt x="130" y="1063"/>
                  <a:pt x="130" y="776"/>
                </a:cubicBezTo>
                <a:cubicBezTo>
                  <a:pt x="132" y="741"/>
                  <a:pt x="137" y="706"/>
                  <a:pt x="144" y="673"/>
                </a:cubicBezTo>
                <a:cubicBezTo>
                  <a:pt x="156" y="614"/>
                  <a:pt x="176" y="559"/>
                  <a:pt x="203" y="507"/>
                </a:cubicBezTo>
                <a:cubicBezTo>
                  <a:pt x="288" y="545"/>
                  <a:pt x="401" y="574"/>
                  <a:pt x="531" y="592"/>
                </a:cubicBezTo>
                <a:cubicBezTo>
                  <a:pt x="523" y="665"/>
                  <a:pt x="520" y="741"/>
                  <a:pt x="520" y="817"/>
                </a:cubicBezTo>
                <a:cubicBezTo>
                  <a:pt x="520" y="893"/>
                  <a:pt x="523" y="969"/>
                  <a:pt x="531" y="1043"/>
                </a:cubicBezTo>
                <a:cubicBezTo>
                  <a:pt x="452" y="1053"/>
                  <a:pt x="379" y="1068"/>
                  <a:pt x="315" y="1087"/>
                </a:cubicBezTo>
                <a:cubicBezTo>
                  <a:pt x="319" y="1092"/>
                  <a:pt x="322" y="1096"/>
                  <a:pt x="326" y="1101"/>
                </a:cubicBezTo>
                <a:cubicBezTo>
                  <a:pt x="337" y="1115"/>
                  <a:pt x="348" y="1129"/>
                  <a:pt x="359" y="1140"/>
                </a:cubicBezTo>
                <a:cubicBezTo>
                  <a:pt x="362" y="1142"/>
                  <a:pt x="362" y="1142"/>
                  <a:pt x="362" y="1142"/>
                </a:cubicBezTo>
                <a:cubicBezTo>
                  <a:pt x="364" y="1145"/>
                  <a:pt x="364" y="1145"/>
                  <a:pt x="364" y="1145"/>
                </a:cubicBezTo>
                <a:cubicBezTo>
                  <a:pt x="372" y="1154"/>
                  <a:pt x="382" y="1163"/>
                  <a:pt x="393" y="1173"/>
                </a:cubicBezTo>
                <a:cubicBezTo>
                  <a:pt x="439" y="1162"/>
                  <a:pt x="490" y="1152"/>
                  <a:pt x="544" y="1145"/>
                </a:cubicBezTo>
                <a:cubicBezTo>
                  <a:pt x="551" y="1191"/>
                  <a:pt x="559" y="1235"/>
                  <a:pt x="569" y="1276"/>
                </a:cubicBezTo>
                <a:cubicBezTo>
                  <a:pt x="570" y="1276"/>
                  <a:pt x="570" y="1276"/>
                  <a:pt x="570" y="1276"/>
                </a:cubicBezTo>
                <a:cubicBezTo>
                  <a:pt x="586" y="1282"/>
                  <a:pt x="601" y="1286"/>
                  <a:pt x="611" y="1286"/>
                </a:cubicBezTo>
                <a:cubicBezTo>
                  <a:pt x="614" y="1286"/>
                  <a:pt x="614" y="1286"/>
                  <a:pt x="614" y="1286"/>
                </a:cubicBezTo>
                <a:cubicBezTo>
                  <a:pt x="614" y="1286"/>
                  <a:pt x="622" y="1287"/>
                  <a:pt x="624" y="1287"/>
                </a:cubicBezTo>
                <a:cubicBezTo>
                  <a:pt x="624" y="1038"/>
                  <a:pt x="624" y="1038"/>
                  <a:pt x="624" y="1038"/>
                </a:cubicBezTo>
                <a:cubicBezTo>
                  <a:pt x="778" y="1127"/>
                  <a:pt x="778" y="1127"/>
                  <a:pt x="778" y="1127"/>
                </a:cubicBezTo>
                <a:cubicBezTo>
                  <a:pt x="794" y="1126"/>
                  <a:pt x="811" y="1126"/>
                  <a:pt x="827" y="1126"/>
                </a:cubicBezTo>
                <a:cubicBezTo>
                  <a:pt x="882" y="1126"/>
                  <a:pt x="936" y="1128"/>
                  <a:pt x="988" y="1132"/>
                </a:cubicBezTo>
                <a:cubicBezTo>
                  <a:pt x="982" y="1169"/>
                  <a:pt x="975" y="1204"/>
                  <a:pt x="968" y="1236"/>
                </a:cubicBezTo>
                <a:cubicBezTo>
                  <a:pt x="1060" y="1290"/>
                  <a:pt x="1060" y="1290"/>
                  <a:pt x="1060" y="1290"/>
                </a:cubicBezTo>
                <a:cubicBezTo>
                  <a:pt x="1072" y="1244"/>
                  <a:pt x="1082" y="1194"/>
                  <a:pt x="1090" y="1142"/>
                </a:cubicBezTo>
                <a:cubicBezTo>
                  <a:pt x="1204" y="1156"/>
                  <a:pt x="1304" y="1180"/>
                  <a:pt x="1381" y="1210"/>
                </a:cubicBezTo>
                <a:cubicBezTo>
                  <a:pt x="1335" y="1275"/>
                  <a:pt x="1279" y="1332"/>
                  <a:pt x="1214" y="1378"/>
                </a:cubicBezTo>
                <a:lnTo>
                  <a:pt x="1336" y="1442"/>
                </a:lnTo>
                <a:close/>
                <a:moveTo>
                  <a:pt x="1336" y="1442"/>
                </a:moveTo>
                <a:cubicBezTo>
                  <a:pt x="1336" y="1442"/>
                  <a:pt x="1336" y="1442"/>
                  <a:pt x="1336" y="1442"/>
                </a:cubicBezTo>
              </a:path>
            </a:pathLst>
          </a:custGeom>
          <a:solidFill>
            <a:schemeClr val="bg1"/>
          </a:solidFill>
          <a:ln>
            <a:noFill/>
          </a:ln>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133" b="0" i="0" u="none" strike="noStrike" kern="1200" cap="none" spc="0" normalizeH="0" baseline="0" noProof="0">
              <a:ln>
                <a:noFill/>
              </a:ln>
              <a:solidFill>
                <a:prstClr val="black"/>
              </a:solidFill>
              <a:effectLst/>
              <a:uLnTx/>
              <a:uFillTx/>
              <a:latin typeface="Century Gothic" panose="020B0502020202020204" pitchFamily="34" charset="0"/>
              <a:ea typeface="Tahoma" pitchFamily="34" charset="0"/>
              <a:cs typeface="Tahoma" pitchFamily="34" charset="0"/>
            </a:endParaRPr>
          </a:p>
        </p:txBody>
      </p:sp>
      <p:sp>
        <p:nvSpPr>
          <p:cNvPr id="49" name="Прямоугольник 48">
            <a:extLst>
              <a:ext uri="{FF2B5EF4-FFF2-40B4-BE49-F238E27FC236}">
                <a16:creationId xmlns:a16="http://schemas.microsoft.com/office/drawing/2014/main" id="{9F07B031-507A-4B7A-8F68-C20C8A23F3C7}"/>
              </a:ext>
            </a:extLst>
          </p:cNvPr>
          <p:cNvSpPr/>
          <p:nvPr/>
        </p:nvSpPr>
        <p:spPr>
          <a:xfrm>
            <a:off x="1480646" y="159954"/>
            <a:ext cx="9984438" cy="461665"/>
          </a:xfrm>
          <a:prstGeom prst="rect">
            <a:avLst/>
          </a:prstGeom>
        </p:spPr>
        <p:txBody>
          <a:bodyPr wrap="square">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ru-RU" altLang="ru-RU" sz="2400" b="0" i="0" u="none" strike="noStrike" kern="1200" cap="none" spc="0" normalizeH="0" baseline="0" noProof="0">
                <a:ln>
                  <a:noFill/>
                </a:ln>
                <a:solidFill>
                  <a:prstClr val="white"/>
                </a:solidFill>
                <a:effectLst/>
                <a:uLnTx/>
                <a:uFillTx/>
                <a:latin typeface="Century Gothic" panose="020B0502020202020204" pitchFamily="34" charset="0"/>
                <a:ea typeface="Futura"/>
                <a:cs typeface="Arial" panose="020B0604020202020204" pitchFamily="34" charset="0"/>
                <a:sym typeface="Futura"/>
              </a:rPr>
              <a:t>Почему необходимо развивать углехимию в Казахстане?</a:t>
            </a:r>
            <a:endParaRPr kumimoji="0" lang="en-US" altLang="ru-RU" sz="2400" b="0" i="0" u="none" strike="noStrike" kern="1200" cap="none" spc="0" normalizeH="0" baseline="0" noProof="0">
              <a:ln>
                <a:noFill/>
              </a:ln>
              <a:solidFill>
                <a:prstClr val="white"/>
              </a:solidFill>
              <a:effectLst/>
              <a:uLnTx/>
              <a:uFillTx/>
              <a:latin typeface="Century Gothic" panose="020B0502020202020204" pitchFamily="34" charset="0"/>
              <a:ea typeface="Futura"/>
              <a:cs typeface="Arial" panose="020B0604020202020204" pitchFamily="34" charset="0"/>
              <a:sym typeface="Futura"/>
            </a:endParaRPr>
          </a:p>
        </p:txBody>
      </p:sp>
      <p:sp>
        <p:nvSpPr>
          <p:cNvPr id="56" name="Овал 55">
            <a:extLst>
              <a:ext uri="{FF2B5EF4-FFF2-40B4-BE49-F238E27FC236}">
                <a16:creationId xmlns:a16="http://schemas.microsoft.com/office/drawing/2014/main" id="{0E55C0B2-6396-4FC6-9AE4-8FFC96D83CB9}"/>
              </a:ext>
            </a:extLst>
          </p:cNvPr>
          <p:cNvSpPr/>
          <p:nvPr/>
        </p:nvSpPr>
        <p:spPr>
          <a:xfrm>
            <a:off x="4069259" y="1228434"/>
            <a:ext cx="900000" cy="900000"/>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57" name="Овал 56"/>
          <p:cNvSpPr/>
          <p:nvPr/>
        </p:nvSpPr>
        <p:spPr>
          <a:xfrm>
            <a:off x="4202372" y="1357207"/>
            <a:ext cx="633774" cy="6403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60" name="Овал 59">
            <a:extLst>
              <a:ext uri="{FF2B5EF4-FFF2-40B4-BE49-F238E27FC236}">
                <a16:creationId xmlns:a16="http://schemas.microsoft.com/office/drawing/2014/main" id="{0E55C0B2-6396-4FC6-9AE4-8FFC96D83CB9}"/>
              </a:ext>
            </a:extLst>
          </p:cNvPr>
          <p:cNvSpPr/>
          <p:nvPr/>
        </p:nvSpPr>
        <p:spPr>
          <a:xfrm>
            <a:off x="7218255" y="1228434"/>
            <a:ext cx="900000" cy="900000"/>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66" name="Овал 65"/>
          <p:cNvSpPr/>
          <p:nvPr/>
        </p:nvSpPr>
        <p:spPr>
          <a:xfrm>
            <a:off x="7351368" y="1355825"/>
            <a:ext cx="633774" cy="6403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73" name="Овал 72">
            <a:extLst>
              <a:ext uri="{FF2B5EF4-FFF2-40B4-BE49-F238E27FC236}">
                <a16:creationId xmlns:a16="http://schemas.microsoft.com/office/drawing/2014/main" id="{0E55C0B2-6396-4FC6-9AE4-8FFC96D83CB9}"/>
              </a:ext>
            </a:extLst>
          </p:cNvPr>
          <p:cNvSpPr/>
          <p:nvPr/>
        </p:nvSpPr>
        <p:spPr>
          <a:xfrm>
            <a:off x="10162678" y="1228434"/>
            <a:ext cx="900000" cy="900000"/>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74" name="Овал 73"/>
          <p:cNvSpPr/>
          <p:nvPr/>
        </p:nvSpPr>
        <p:spPr>
          <a:xfrm>
            <a:off x="10295791" y="1355825"/>
            <a:ext cx="633774" cy="6403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82" name="Овал 81">
            <a:extLst>
              <a:ext uri="{FF2B5EF4-FFF2-40B4-BE49-F238E27FC236}">
                <a16:creationId xmlns:a16="http://schemas.microsoft.com/office/drawing/2014/main" id="{0E55C0B2-6396-4FC6-9AE4-8FFC96D83CB9}"/>
              </a:ext>
            </a:extLst>
          </p:cNvPr>
          <p:cNvSpPr/>
          <p:nvPr/>
        </p:nvSpPr>
        <p:spPr>
          <a:xfrm>
            <a:off x="945016" y="4054872"/>
            <a:ext cx="900000" cy="900000"/>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83" name="Овал 82"/>
          <p:cNvSpPr/>
          <p:nvPr/>
        </p:nvSpPr>
        <p:spPr>
          <a:xfrm>
            <a:off x="1078719" y="4169907"/>
            <a:ext cx="633774" cy="6403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85" name="Овал 84">
            <a:extLst>
              <a:ext uri="{FF2B5EF4-FFF2-40B4-BE49-F238E27FC236}">
                <a16:creationId xmlns:a16="http://schemas.microsoft.com/office/drawing/2014/main" id="{0E55C0B2-6396-4FC6-9AE4-8FFC96D83CB9}"/>
              </a:ext>
            </a:extLst>
          </p:cNvPr>
          <p:cNvSpPr/>
          <p:nvPr/>
        </p:nvSpPr>
        <p:spPr>
          <a:xfrm>
            <a:off x="3880550" y="3953804"/>
            <a:ext cx="900000" cy="900000"/>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86" name="Овал 85"/>
          <p:cNvSpPr/>
          <p:nvPr/>
        </p:nvSpPr>
        <p:spPr>
          <a:xfrm>
            <a:off x="4019308" y="4086509"/>
            <a:ext cx="633774" cy="6403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88" name="Овал 87">
            <a:extLst>
              <a:ext uri="{FF2B5EF4-FFF2-40B4-BE49-F238E27FC236}">
                <a16:creationId xmlns:a16="http://schemas.microsoft.com/office/drawing/2014/main" id="{0E55C0B2-6396-4FC6-9AE4-8FFC96D83CB9}"/>
              </a:ext>
            </a:extLst>
          </p:cNvPr>
          <p:cNvSpPr/>
          <p:nvPr/>
        </p:nvSpPr>
        <p:spPr>
          <a:xfrm>
            <a:off x="7192673" y="4002728"/>
            <a:ext cx="900000" cy="900000"/>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90" name="Овал 89"/>
          <p:cNvSpPr/>
          <p:nvPr/>
        </p:nvSpPr>
        <p:spPr>
          <a:xfrm>
            <a:off x="7322631" y="4142319"/>
            <a:ext cx="633774" cy="6403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92" name="Овал 91">
            <a:extLst>
              <a:ext uri="{FF2B5EF4-FFF2-40B4-BE49-F238E27FC236}">
                <a16:creationId xmlns:a16="http://schemas.microsoft.com/office/drawing/2014/main" id="{0E55C0B2-6396-4FC6-9AE4-8FFC96D83CB9}"/>
              </a:ext>
            </a:extLst>
          </p:cNvPr>
          <p:cNvSpPr/>
          <p:nvPr/>
        </p:nvSpPr>
        <p:spPr>
          <a:xfrm>
            <a:off x="10080901" y="3979622"/>
            <a:ext cx="900000" cy="900000"/>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93" name="Овал 92"/>
          <p:cNvSpPr/>
          <p:nvPr/>
        </p:nvSpPr>
        <p:spPr>
          <a:xfrm>
            <a:off x="10210859" y="4119213"/>
            <a:ext cx="633774" cy="6403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cxnSp>
        <p:nvCxnSpPr>
          <p:cNvPr id="100" name="Прямая соединительная линия 99"/>
          <p:cNvCxnSpPr/>
          <p:nvPr/>
        </p:nvCxnSpPr>
        <p:spPr>
          <a:xfrm>
            <a:off x="2925467" y="2264805"/>
            <a:ext cx="0" cy="1116419"/>
          </a:xfrm>
          <a:prstGeom prst="line">
            <a:avLst/>
          </a:prstGeom>
          <a:ln w="12700">
            <a:solidFill>
              <a:srgbClr val="FBDD76"/>
            </a:solidFill>
          </a:ln>
        </p:spPr>
        <p:style>
          <a:lnRef idx="1">
            <a:schemeClr val="accent1"/>
          </a:lnRef>
          <a:fillRef idx="0">
            <a:schemeClr val="accent1"/>
          </a:fillRef>
          <a:effectRef idx="0">
            <a:schemeClr val="accent1"/>
          </a:effectRef>
          <a:fontRef idx="minor">
            <a:schemeClr val="tx1"/>
          </a:fontRef>
        </p:style>
      </p:cxnSp>
      <p:cxnSp>
        <p:nvCxnSpPr>
          <p:cNvPr id="103" name="Прямая соединительная линия 102"/>
          <p:cNvCxnSpPr/>
          <p:nvPr/>
        </p:nvCxnSpPr>
        <p:spPr>
          <a:xfrm>
            <a:off x="5824819" y="2264805"/>
            <a:ext cx="0" cy="1116419"/>
          </a:xfrm>
          <a:prstGeom prst="line">
            <a:avLst/>
          </a:prstGeom>
          <a:ln w="12700">
            <a:solidFill>
              <a:srgbClr val="FBDD76"/>
            </a:solidFill>
          </a:ln>
        </p:spPr>
        <p:style>
          <a:lnRef idx="1">
            <a:schemeClr val="accent1"/>
          </a:lnRef>
          <a:fillRef idx="0">
            <a:schemeClr val="accent1"/>
          </a:fillRef>
          <a:effectRef idx="0">
            <a:schemeClr val="accent1"/>
          </a:effectRef>
          <a:fontRef idx="minor">
            <a:schemeClr val="tx1"/>
          </a:fontRef>
        </p:style>
      </p:cxnSp>
      <p:cxnSp>
        <p:nvCxnSpPr>
          <p:cNvPr id="105" name="Прямая соединительная линия 104"/>
          <p:cNvCxnSpPr/>
          <p:nvPr/>
        </p:nvCxnSpPr>
        <p:spPr>
          <a:xfrm>
            <a:off x="9101216" y="2264805"/>
            <a:ext cx="0" cy="1116419"/>
          </a:xfrm>
          <a:prstGeom prst="line">
            <a:avLst/>
          </a:prstGeom>
          <a:ln w="12700">
            <a:solidFill>
              <a:srgbClr val="FBDD76"/>
            </a:solidFill>
          </a:ln>
        </p:spPr>
        <p:style>
          <a:lnRef idx="1">
            <a:schemeClr val="accent1"/>
          </a:lnRef>
          <a:fillRef idx="0">
            <a:schemeClr val="accent1"/>
          </a:fillRef>
          <a:effectRef idx="0">
            <a:schemeClr val="accent1"/>
          </a:effectRef>
          <a:fontRef idx="minor">
            <a:schemeClr val="tx1"/>
          </a:fontRef>
        </p:style>
      </p:cxnSp>
      <p:cxnSp>
        <p:nvCxnSpPr>
          <p:cNvPr id="107" name="Прямая соединительная линия 106"/>
          <p:cNvCxnSpPr/>
          <p:nvPr/>
        </p:nvCxnSpPr>
        <p:spPr>
          <a:xfrm>
            <a:off x="8925983" y="5137264"/>
            <a:ext cx="0" cy="1116419"/>
          </a:xfrm>
          <a:prstGeom prst="line">
            <a:avLst/>
          </a:prstGeom>
          <a:ln w="12700">
            <a:solidFill>
              <a:srgbClr val="FBDD76"/>
            </a:solidFill>
          </a:ln>
        </p:spPr>
        <p:style>
          <a:lnRef idx="1">
            <a:schemeClr val="accent1"/>
          </a:lnRef>
          <a:fillRef idx="0">
            <a:schemeClr val="accent1"/>
          </a:fillRef>
          <a:effectRef idx="0">
            <a:schemeClr val="accent1"/>
          </a:effectRef>
          <a:fontRef idx="minor">
            <a:schemeClr val="tx1"/>
          </a:fontRef>
        </p:style>
      </p:cxnSp>
      <p:cxnSp>
        <p:nvCxnSpPr>
          <p:cNvPr id="110" name="Прямая соединительная линия 109"/>
          <p:cNvCxnSpPr/>
          <p:nvPr/>
        </p:nvCxnSpPr>
        <p:spPr>
          <a:xfrm>
            <a:off x="6058435" y="5094571"/>
            <a:ext cx="0" cy="1116419"/>
          </a:xfrm>
          <a:prstGeom prst="line">
            <a:avLst/>
          </a:prstGeom>
          <a:ln w="12700">
            <a:solidFill>
              <a:srgbClr val="FBDD76"/>
            </a:solidFill>
          </a:ln>
        </p:spPr>
        <p:style>
          <a:lnRef idx="1">
            <a:schemeClr val="accent1"/>
          </a:lnRef>
          <a:fillRef idx="0">
            <a:schemeClr val="accent1"/>
          </a:fillRef>
          <a:effectRef idx="0">
            <a:schemeClr val="accent1"/>
          </a:effectRef>
          <a:fontRef idx="minor">
            <a:schemeClr val="tx1"/>
          </a:fontRef>
        </p:style>
      </p:cxnSp>
      <p:cxnSp>
        <p:nvCxnSpPr>
          <p:cNvPr id="111" name="Прямая соединительная линия 110"/>
          <p:cNvCxnSpPr/>
          <p:nvPr/>
        </p:nvCxnSpPr>
        <p:spPr>
          <a:xfrm>
            <a:off x="2925283" y="5021255"/>
            <a:ext cx="0" cy="1116419"/>
          </a:xfrm>
          <a:prstGeom prst="line">
            <a:avLst/>
          </a:prstGeom>
          <a:ln w="12700">
            <a:solidFill>
              <a:srgbClr val="FBDD76"/>
            </a:solidFill>
          </a:ln>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321058" y="209389"/>
            <a:ext cx="11799224" cy="836126"/>
          </a:xfrm>
          <a:prstGeom prst="rect">
            <a:avLst/>
          </a:prstGeom>
          <a:solidFill>
            <a:schemeClr val="bg1"/>
          </a:solidFill>
        </p:spPr>
        <p:txBody>
          <a:bodyPr wrap="square" rtlCol="0">
            <a:spAutoFit/>
          </a:bodyPr>
          <a:lstStyle/>
          <a:p>
            <a:pPr marL="0" marR="0" lvl="0" indent="0" algn="l" defTabSz="914400" rtl="0" eaLnBrk="1" fontAlgn="auto" latinLnBrk="0" hangingPunct="1">
              <a:lnSpc>
                <a:spcPts val="2946"/>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mn-cs"/>
              </a:rPr>
              <a:t>WHY IS IT NECESSARY TO DEVELOP THE PRODUCTION OF BIOFEED AND BIOFERTILIZERS IN KAZAKHSTAN?</a:t>
            </a:r>
          </a:p>
        </p:txBody>
      </p:sp>
      <p:sp>
        <p:nvSpPr>
          <p:cNvPr id="2" name="TextBox 1">
            <a:extLst>
              <a:ext uri="{FF2B5EF4-FFF2-40B4-BE49-F238E27FC236}">
                <a16:creationId xmlns:a16="http://schemas.microsoft.com/office/drawing/2014/main" id="{2DD61B2B-173F-5A71-1A3B-F1515B7E9D1A}"/>
              </a:ext>
            </a:extLst>
          </p:cNvPr>
          <p:cNvSpPr txBox="1"/>
          <p:nvPr/>
        </p:nvSpPr>
        <p:spPr>
          <a:xfrm>
            <a:off x="70241" y="6631512"/>
            <a:ext cx="12874345"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Source</a:t>
            </a:r>
            <a:r>
              <a:rPr kumimoji="0" lang="ru-RU"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a:t>
            </a: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MDPI, Grand View Research</a:t>
            </a:r>
            <a:r>
              <a:rPr kumimoji="0" lang="ru-RU"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a:t>
            </a: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UNDP</a:t>
            </a:r>
            <a:r>
              <a:rPr kumimoji="0" lang="ru-KZ"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endParaRPr kumimoji="0" lang="ru-RU"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pic>
        <p:nvPicPr>
          <p:cNvPr id="24" name="Рисунок 23" descr="Банк со сплошной заливкой">
            <a:extLst>
              <a:ext uri="{FF2B5EF4-FFF2-40B4-BE49-F238E27FC236}">
                <a16:creationId xmlns:a16="http://schemas.microsoft.com/office/drawing/2014/main" id="{6E02D0D1-91BD-7597-0776-6A5CFC9DD24F}"/>
              </a:ext>
            </a:extLst>
          </p:cNvPr>
          <p:cNvPicPr>
            <a:picLocks noChangeAspect="1"/>
          </p:cNvPicPr>
          <p:nvPr/>
        </p:nvPicPr>
        <p:blipFill>
          <a:blip r:embed="rId4">
            <a:duotone>
              <a:schemeClr val="bg2">
                <a:shade val="45000"/>
                <a:satMod val="135000"/>
              </a:schemeClr>
              <a:prstClr val="white"/>
            </a:duotone>
          </a:blip>
          <a:stretch>
            <a:fillRect/>
          </a:stretch>
        </p:blipFill>
        <p:spPr>
          <a:xfrm>
            <a:off x="1114371" y="4189412"/>
            <a:ext cx="556136" cy="556136"/>
          </a:xfrm>
          <a:prstGeom prst="rect">
            <a:avLst/>
          </a:prstGeom>
        </p:spPr>
      </p:pic>
      <p:pic>
        <p:nvPicPr>
          <p:cNvPr id="3" name="Рисунок 2"/>
          <p:cNvPicPr>
            <a:picLocks noChangeAspect="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315420" y="1424545"/>
            <a:ext cx="497500" cy="497500"/>
          </a:xfrm>
          <a:prstGeom prst="rect">
            <a:avLst/>
          </a:prstGeom>
        </p:spPr>
      </p:pic>
      <p:pic>
        <p:nvPicPr>
          <p:cNvPr id="5" name="Рисунок 4"/>
          <p:cNvPicPr>
            <a:picLocks noChangeAspect="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304261" y="1472354"/>
            <a:ext cx="429995" cy="429995"/>
          </a:xfrm>
          <a:prstGeom prst="rect">
            <a:avLst/>
          </a:prstGeom>
        </p:spPr>
      </p:pic>
      <p:pic>
        <p:nvPicPr>
          <p:cNvPr id="7" name="Рисунок 6"/>
          <p:cNvPicPr>
            <a:picLocks noChangeAspect="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7444613" y="1446999"/>
            <a:ext cx="429997" cy="429997"/>
          </a:xfrm>
          <a:prstGeom prst="rect">
            <a:avLst/>
          </a:prstGeom>
        </p:spPr>
      </p:pic>
      <p:pic>
        <p:nvPicPr>
          <p:cNvPr id="8" name="Рисунок 7"/>
          <p:cNvPicPr>
            <a:picLocks noChangeAspect="1"/>
          </p:cNvPicPr>
          <p:nvPr/>
        </p:nvPicPr>
        <p:blipFill>
          <a:blip r:embed="rId8">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0381166" y="1452133"/>
            <a:ext cx="463024" cy="463024"/>
          </a:xfrm>
          <a:prstGeom prst="rect">
            <a:avLst/>
          </a:prstGeom>
        </p:spPr>
      </p:pic>
      <p:pic>
        <p:nvPicPr>
          <p:cNvPr id="9" name="Рисунок 8"/>
          <p:cNvPicPr>
            <a:picLocks noChangeAspect="1"/>
          </p:cNvPicPr>
          <p:nvPr/>
        </p:nvPicPr>
        <p:blipFill>
          <a:blip r:embed="rId9">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124616" y="4194590"/>
            <a:ext cx="409692" cy="409692"/>
          </a:xfrm>
          <a:prstGeom prst="rect">
            <a:avLst/>
          </a:prstGeom>
        </p:spPr>
      </p:pic>
      <p:pic>
        <p:nvPicPr>
          <p:cNvPr id="11" name="Рисунок 10"/>
          <p:cNvPicPr>
            <a:picLocks noChangeAspect="1"/>
          </p:cNvPicPr>
          <p:nvPr/>
        </p:nvPicPr>
        <p:blipFill>
          <a:blip r:embed="rId10">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7462543" y="4273618"/>
            <a:ext cx="365323" cy="365323"/>
          </a:xfrm>
          <a:prstGeom prst="rect">
            <a:avLst/>
          </a:prstGeom>
        </p:spPr>
      </p:pic>
      <p:pic>
        <p:nvPicPr>
          <p:cNvPr id="13" name="Рисунок 12"/>
          <p:cNvPicPr>
            <a:picLocks noChangeAspect="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0318428" y="4222633"/>
            <a:ext cx="426110" cy="426110"/>
          </a:xfrm>
          <a:prstGeom prst="rect">
            <a:avLst/>
          </a:prstGeom>
        </p:spPr>
      </p:pic>
    </p:spTree>
    <p:extLst>
      <p:ext uri="{BB962C8B-B14F-4D97-AF65-F5344CB8AC3E}">
        <p14:creationId xmlns:p14="http://schemas.microsoft.com/office/powerpoint/2010/main" val="286029755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5E6E48-62EF-5C36-1A32-B53F89F842FD}"/>
            </a:ext>
          </a:extLst>
        </p:cNvPr>
        <p:cNvGrpSpPr/>
        <p:nvPr/>
      </p:nvGrpSpPr>
      <p:grpSpPr>
        <a:xfrm>
          <a:off x="0" y="0"/>
          <a:ext cx="0" cy="0"/>
          <a:chOff x="0" y="0"/>
          <a:chExt cx="0" cy="0"/>
        </a:xfrm>
      </p:grpSpPr>
      <p:grpSp>
        <p:nvGrpSpPr>
          <p:cNvPr id="8" name="Группа 7">
            <a:extLst>
              <a:ext uri="{FF2B5EF4-FFF2-40B4-BE49-F238E27FC236}">
                <a16:creationId xmlns:a16="http://schemas.microsoft.com/office/drawing/2014/main" id="{AC93AA9D-9A81-C19E-D936-7EFFBCF4E6F1}"/>
              </a:ext>
            </a:extLst>
          </p:cNvPr>
          <p:cNvGrpSpPr/>
          <p:nvPr/>
        </p:nvGrpSpPr>
        <p:grpSpPr>
          <a:xfrm>
            <a:off x="2359859" y="1502424"/>
            <a:ext cx="7374943" cy="4320734"/>
            <a:chOff x="135165" y="90519"/>
            <a:chExt cx="11892752" cy="6652893"/>
          </a:xfrm>
          <a:solidFill>
            <a:schemeClr val="tx2">
              <a:lumMod val="10000"/>
              <a:lumOff val="90000"/>
              <a:alpha val="83000"/>
            </a:schemeClr>
          </a:solidFill>
        </p:grpSpPr>
        <p:grpSp>
          <p:nvGrpSpPr>
            <p:cNvPr id="9" name="组合 99">
              <a:extLst>
                <a:ext uri="{FF2B5EF4-FFF2-40B4-BE49-F238E27FC236}">
                  <a16:creationId xmlns:a16="http://schemas.microsoft.com/office/drawing/2014/main" id="{6423A1D6-9B1A-3FFD-19DB-FD2F5294768B}"/>
                </a:ext>
              </a:extLst>
            </p:cNvPr>
            <p:cNvGrpSpPr/>
            <p:nvPr/>
          </p:nvGrpSpPr>
          <p:grpSpPr>
            <a:xfrm>
              <a:off x="135165" y="90519"/>
              <a:ext cx="11892752" cy="6652893"/>
              <a:chOff x="719138" y="2320925"/>
              <a:chExt cx="5994400" cy="3346451"/>
            </a:xfrm>
            <a:grpFill/>
          </p:grpSpPr>
          <p:sp>
            <p:nvSpPr>
              <p:cNvPr id="14" name="任意多边形 93">
                <a:extLst>
                  <a:ext uri="{FF2B5EF4-FFF2-40B4-BE49-F238E27FC236}">
                    <a16:creationId xmlns:a16="http://schemas.microsoft.com/office/drawing/2014/main" id="{51260313-D88E-EA19-B9F1-4F5DDE19C191}"/>
                  </a:ext>
                </a:extLst>
              </p:cNvPr>
              <p:cNvSpPr>
                <a:spLocks/>
              </p:cNvSpPr>
              <p:nvPr/>
            </p:nvSpPr>
            <p:spPr bwMode="auto">
              <a:xfrm>
                <a:off x="3622214" y="2320925"/>
                <a:ext cx="1061551" cy="680403"/>
              </a:xfrm>
              <a:custGeom>
                <a:avLst/>
                <a:gdLst/>
                <a:ahLst/>
                <a:cxnLst/>
                <a:rect l="0" t="0" r="r" b="b"/>
                <a:pathLst>
                  <a:path w="12998892" h="8330529">
                    <a:moveTo>
                      <a:pt x="56654" y="7407720"/>
                    </a:moveTo>
                    <a:lnTo>
                      <a:pt x="0" y="6577494"/>
                    </a:lnTo>
                    <a:lnTo>
                      <a:pt x="534863" y="6069743"/>
                    </a:lnTo>
                    <a:lnTo>
                      <a:pt x="401029" y="5783984"/>
                    </a:lnTo>
                    <a:lnTo>
                      <a:pt x="534867" y="5505456"/>
                    </a:lnTo>
                    <a:lnTo>
                      <a:pt x="390176" y="4955630"/>
                    </a:lnTo>
                    <a:lnTo>
                      <a:pt x="708496" y="4716894"/>
                    </a:lnTo>
                    <a:lnTo>
                      <a:pt x="136963" y="4120046"/>
                    </a:lnTo>
                    <a:lnTo>
                      <a:pt x="777226" y="3678742"/>
                    </a:lnTo>
                    <a:lnTo>
                      <a:pt x="263569" y="3411068"/>
                    </a:lnTo>
                    <a:lnTo>
                      <a:pt x="223777" y="3092748"/>
                    </a:lnTo>
                    <a:lnTo>
                      <a:pt x="650619" y="3027641"/>
                    </a:lnTo>
                    <a:lnTo>
                      <a:pt x="321446" y="2535692"/>
                    </a:lnTo>
                    <a:lnTo>
                      <a:pt x="419114" y="2268018"/>
                    </a:lnTo>
                    <a:lnTo>
                      <a:pt x="1099154" y="1909906"/>
                    </a:lnTo>
                    <a:lnTo>
                      <a:pt x="2083052" y="1555417"/>
                    </a:lnTo>
                    <a:lnTo>
                      <a:pt x="2958428" y="1229866"/>
                    </a:lnTo>
                    <a:lnTo>
                      <a:pt x="3435901" y="1327534"/>
                    </a:lnTo>
                    <a:lnTo>
                      <a:pt x="3511862" y="864523"/>
                    </a:lnTo>
                    <a:lnTo>
                      <a:pt x="4097856" y="314697"/>
                    </a:lnTo>
                    <a:lnTo>
                      <a:pt x="4752581" y="0"/>
                    </a:lnTo>
                    <a:lnTo>
                      <a:pt x="5728272" y="81578"/>
                    </a:lnTo>
                    <a:lnTo>
                      <a:pt x="6463541" y="694516"/>
                    </a:lnTo>
                    <a:lnTo>
                      <a:pt x="6987061" y="262437"/>
                    </a:lnTo>
                    <a:lnTo>
                      <a:pt x="7422109" y="231505"/>
                    </a:lnTo>
                    <a:lnTo>
                      <a:pt x="7816390" y="549826"/>
                    </a:lnTo>
                    <a:lnTo>
                      <a:pt x="7921289" y="1464994"/>
                    </a:lnTo>
                    <a:lnTo>
                      <a:pt x="8246840" y="1884590"/>
                    </a:lnTo>
                    <a:lnTo>
                      <a:pt x="8275778" y="2684005"/>
                    </a:lnTo>
                    <a:lnTo>
                      <a:pt x="7888728" y="3085517"/>
                    </a:lnTo>
                    <a:lnTo>
                      <a:pt x="8333655" y="3530443"/>
                    </a:lnTo>
                    <a:lnTo>
                      <a:pt x="8756874" y="3114455"/>
                    </a:lnTo>
                    <a:lnTo>
                      <a:pt x="8908795" y="3327876"/>
                    </a:lnTo>
                    <a:lnTo>
                      <a:pt x="9899924" y="2698467"/>
                    </a:lnTo>
                    <a:lnTo>
                      <a:pt x="10301436" y="3114455"/>
                    </a:lnTo>
                    <a:cubicBezTo>
                      <a:pt x="10303846" y="3332697"/>
                      <a:pt x="10306257" y="3550938"/>
                      <a:pt x="10308667" y="3769180"/>
                    </a:cubicBezTo>
                    <a:lnTo>
                      <a:pt x="10731886" y="3700450"/>
                    </a:lnTo>
                    <a:lnTo>
                      <a:pt x="10876577" y="3150624"/>
                    </a:lnTo>
                    <a:lnTo>
                      <a:pt x="11173189" y="3063810"/>
                    </a:lnTo>
                    <a:lnTo>
                      <a:pt x="11607262" y="3508736"/>
                    </a:lnTo>
                    <a:lnTo>
                      <a:pt x="12081127" y="3664281"/>
                    </a:lnTo>
                    <a:lnTo>
                      <a:pt x="12475408" y="3237439"/>
                    </a:lnTo>
                    <a:lnTo>
                      <a:pt x="12714144" y="3682365"/>
                    </a:lnTo>
                    <a:lnTo>
                      <a:pt x="12583930" y="3874079"/>
                    </a:lnTo>
                    <a:lnTo>
                      <a:pt x="12160711" y="4036854"/>
                    </a:lnTo>
                    <a:lnTo>
                      <a:pt x="11864098" y="4402197"/>
                    </a:lnTo>
                    <a:lnTo>
                      <a:pt x="11889413" y="4915838"/>
                    </a:lnTo>
                    <a:lnTo>
                      <a:pt x="11940051" y="5440349"/>
                    </a:lnTo>
                    <a:lnTo>
                      <a:pt x="12374124" y="5132875"/>
                    </a:lnTo>
                    <a:lnTo>
                      <a:pt x="12536899" y="5548867"/>
                    </a:lnTo>
                    <a:lnTo>
                      <a:pt x="12066654" y="5783984"/>
                    </a:lnTo>
                    <a:lnTo>
                      <a:pt x="12482642" y="6037197"/>
                    </a:lnTo>
                    <a:lnTo>
                      <a:pt x="12998892" y="6082556"/>
                    </a:lnTo>
                    <a:lnTo>
                      <a:pt x="12934799" y="6507438"/>
                    </a:lnTo>
                    <a:lnTo>
                      <a:pt x="12573072" y="6579784"/>
                    </a:lnTo>
                    <a:lnTo>
                      <a:pt x="12756883" y="7003998"/>
                    </a:lnTo>
                    <a:lnTo>
                      <a:pt x="12012393" y="6822136"/>
                    </a:lnTo>
                    <a:lnTo>
                      <a:pt x="11270854" y="6775113"/>
                    </a:lnTo>
                    <a:lnTo>
                      <a:pt x="10934449" y="6185496"/>
                    </a:lnTo>
                    <a:lnTo>
                      <a:pt x="9697353" y="6496585"/>
                    </a:lnTo>
                    <a:lnTo>
                      <a:pt x="9284988" y="6026343"/>
                    </a:lnTo>
                    <a:lnTo>
                      <a:pt x="8872623" y="5476518"/>
                    </a:lnTo>
                    <a:lnTo>
                      <a:pt x="8304713" y="5534394"/>
                    </a:lnTo>
                    <a:lnTo>
                      <a:pt x="7527005" y="5349911"/>
                    </a:lnTo>
                    <a:lnTo>
                      <a:pt x="7114639" y="5718877"/>
                    </a:lnTo>
                    <a:lnTo>
                      <a:pt x="6393600" y="5132882"/>
                    </a:lnTo>
                    <a:lnTo>
                      <a:pt x="6122302" y="4698810"/>
                    </a:lnTo>
                    <a:lnTo>
                      <a:pt x="5808813" y="4602349"/>
                    </a:lnTo>
                    <a:lnTo>
                      <a:pt x="5374740" y="4861585"/>
                    </a:lnTo>
                    <a:lnTo>
                      <a:pt x="4904499" y="4765124"/>
                    </a:lnTo>
                    <a:lnTo>
                      <a:pt x="4241336" y="4849523"/>
                    </a:lnTo>
                    <a:lnTo>
                      <a:pt x="3885624" y="5458414"/>
                    </a:lnTo>
                    <a:lnTo>
                      <a:pt x="4408942" y="6438708"/>
                    </a:lnTo>
                    <a:lnTo>
                      <a:pt x="4246166" y="6919804"/>
                    </a:lnTo>
                    <a:lnTo>
                      <a:pt x="3573357" y="7429837"/>
                    </a:lnTo>
                    <a:lnTo>
                      <a:pt x="2658189" y="8211168"/>
                    </a:lnTo>
                    <a:lnTo>
                      <a:pt x="2114648" y="7963508"/>
                    </a:lnTo>
                    <a:lnTo>
                      <a:pt x="1891335" y="8330529"/>
                    </a:lnTo>
                    <a:lnTo>
                      <a:pt x="1294486" y="8330529"/>
                    </a:lnTo>
                    <a:lnTo>
                      <a:pt x="668700" y="8185838"/>
                    </a:lnTo>
                    <a:lnTo>
                      <a:pt x="130594" y="8324958"/>
                    </a:lnTo>
                    <a:cubicBezTo>
                      <a:pt x="133152" y="8054892"/>
                      <a:pt x="54096" y="7677786"/>
                      <a:pt x="56654" y="7407720"/>
                    </a:cubicBez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13" name="任意多边形 92">
                <a:extLst>
                  <a:ext uri="{FF2B5EF4-FFF2-40B4-BE49-F238E27FC236}">
                    <a16:creationId xmlns:a16="http://schemas.microsoft.com/office/drawing/2014/main" id="{895AEC71-DAEC-3015-7246-479EDCC07A32}"/>
                  </a:ext>
                </a:extLst>
              </p:cNvPr>
              <p:cNvSpPr>
                <a:spLocks/>
              </p:cNvSpPr>
              <p:nvPr/>
            </p:nvSpPr>
            <p:spPr bwMode="auto">
              <a:xfrm>
                <a:off x="3513012" y="2697163"/>
                <a:ext cx="1196785" cy="801688"/>
              </a:xfrm>
              <a:custGeom>
                <a:avLst/>
                <a:gdLst/>
                <a:ahLst/>
                <a:cxnLst/>
                <a:rect l="0" t="0" r="r" b="b"/>
                <a:pathLst>
                  <a:path w="14655896" h="9814804">
                    <a:moveTo>
                      <a:pt x="405571" y="5899247"/>
                    </a:moveTo>
                    <a:lnTo>
                      <a:pt x="458180" y="7258616"/>
                    </a:lnTo>
                    <a:lnTo>
                      <a:pt x="1272065" y="7252586"/>
                    </a:lnTo>
                    <a:lnTo>
                      <a:pt x="1645846" y="7927810"/>
                    </a:lnTo>
                    <a:lnTo>
                      <a:pt x="2586337" y="7921779"/>
                    </a:lnTo>
                    <a:lnTo>
                      <a:pt x="2773228" y="8259392"/>
                    </a:lnTo>
                    <a:lnTo>
                      <a:pt x="3159070" y="8518628"/>
                    </a:lnTo>
                    <a:lnTo>
                      <a:pt x="3629312" y="8789925"/>
                    </a:lnTo>
                    <a:lnTo>
                      <a:pt x="4618282" y="8729735"/>
                    </a:lnTo>
                    <a:lnTo>
                      <a:pt x="5401768" y="8042348"/>
                    </a:lnTo>
                    <a:lnTo>
                      <a:pt x="5884064" y="7957948"/>
                    </a:lnTo>
                    <a:lnTo>
                      <a:pt x="6119185" y="8416136"/>
                    </a:lnTo>
                    <a:lnTo>
                      <a:pt x="6450766" y="8795948"/>
                    </a:lnTo>
                    <a:lnTo>
                      <a:pt x="7059919" y="8883564"/>
                    </a:lnTo>
                    <a:lnTo>
                      <a:pt x="7373165" y="9543518"/>
                    </a:lnTo>
                    <a:lnTo>
                      <a:pt x="7825322" y="9356616"/>
                    </a:lnTo>
                    <a:lnTo>
                      <a:pt x="8301595" y="9603798"/>
                    </a:lnTo>
                    <a:lnTo>
                      <a:pt x="8747721" y="9814804"/>
                    </a:lnTo>
                    <a:lnTo>
                      <a:pt x="9175763" y="9519391"/>
                    </a:lnTo>
                    <a:lnTo>
                      <a:pt x="9314424" y="8946658"/>
                    </a:lnTo>
                    <a:lnTo>
                      <a:pt x="9947441" y="8301587"/>
                    </a:lnTo>
                    <a:lnTo>
                      <a:pt x="10839702" y="7740908"/>
                    </a:lnTo>
                    <a:lnTo>
                      <a:pt x="11086876" y="8235273"/>
                    </a:lnTo>
                    <a:lnTo>
                      <a:pt x="11075024" y="8696571"/>
                    </a:lnTo>
                    <a:lnTo>
                      <a:pt x="11611379" y="8801975"/>
                    </a:lnTo>
                    <a:lnTo>
                      <a:pt x="11912815" y="8295557"/>
                    </a:lnTo>
                    <a:lnTo>
                      <a:pt x="12461432" y="7957945"/>
                    </a:lnTo>
                    <a:lnTo>
                      <a:pt x="12690522" y="7409327"/>
                    </a:lnTo>
                    <a:lnTo>
                      <a:pt x="13184879" y="7373158"/>
                    </a:lnTo>
                    <a:lnTo>
                      <a:pt x="13263248" y="7089807"/>
                    </a:lnTo>
                    <a:lnTo>
                      <a:pt x="13817896" y="6655734"/>
                    </a:lnTo>
                    <a:lnTo>
                      <a:pt x="14523274" y="6535166"/>
                    </a:lnTo>
                    <a:lnTo>
                      <a:pt x="14149478" y="6101093"/>
                    </a:lnTo>
                    <a:lnTo>
                      <a:pt x="14276084" y="5558506"/>
                    </a:lnTo>
                    <a:lnTo>
                      <a:pt x="14655896" y="5383676"/>
                    </a:lnTo>
                    <a:lnTo>
                      <a:pt x="14270054" y="4714483"/>
                    </a:lnTo>
                    <a:lnTo>
                      <a:pt x="14541351" y="4171895"/>
                    </a:lnTo>
                    <a:lnTo>
                      <a:pt x="14462975" y="3116859"/>
                    </a:lnTo>
                    <a:lnTo>
                      <a:pt x="14092141" y="2401649"/>
                    </a:lnTo>
                    <a:lnTo>
                      <a:pt x="13347651" y="2219787"/>
                    </a:lnTo>
                    <a:lnTo>
                      <a:pt x="12606112" y="2172764"/>
                    </a:lnTo>
                    <a:lnTo>
                      <a:pt x="12269707" y="1583147"/>
                    </a:lnTo>
                    <a:lnTo>
                      <a:pt x="11032611" y="1894236"/>
                    </a:lnTo>
                    <a:lnTo>
                      <a:pt x="10620246" y="1423994"/>
                    </a:lnTo>
                    <a:lnTo>
                      <a:pt x="10207881" y="874169"/>
                    </a:lnTo>
                    <a:lnTo>
                      <a:pt x="9639971" y="932045"/>
                    </a:lnTo>
                    <a:lnTo>
                      <a:pt x="8862263" y="747562"/>
                    </a:lnTo>
                    <a:lnTo>
                      <a:pt x="8449897" y="1116528"/>
                    </a:lnTo>
                    <a:lnTo>
                      <a:pt x="7728858" y="530533"/>
                    </a:lnTo>
                    <a:lnTo>
                      <a:pt x="7457560" y="96461"/>
                    </a:lnTo>
                    <a:lnTo>
                      <a:pt x="7144071" y="0"/>
                    </a:lnTo>
                    <a:lnTo>
                      <a:pt x="6709998" y="259236"/>
                    </a:lnTo>
                    <a:lnTo>
                      <a:pt x="6239757" y="162775"/>
                    </a:lnTo>
                    <a:lnTo>
                      <a:pt x="5576594" y="247174"/>
                    </a:lnTo>
                    <a:lnTo>
                      <a:pt x="5220882" y="856065"/>
                    </a:lnTo>
                    <a:lnTo>
                      <a:pt x="5744200" y="1836359"/>
                    </a:lnTo>
                    <a:lnTo>
                      <a:pt x="5581424" y="2317455"/>
                    </a:lnTo>
                    <a:lnTo>
                      <a:pt x="4908615" y="2827488"/>
                    </a:lnTo>
                    <a:lnTo>
                      <a:pt x="3993447" y="3608819"/>
                    </a:lnTo>
                    <a:lnTo>
                      <a:pt x="3449906" y="3361159"/>
                    </a:lnTo>
                    <a:lnTo>
                      <a:pt x="3226593" y="3728180"/>
                    </a:lnTo>
                    <a:lnTo>
                      <a:pt x="2629744" y="3728180"/>
                    </a:lnTo>
                    <a:lnTo>
                      <a:pt x="2003958" y="3583489"/>
                    </a:lnTo>
                    <a:lnTo>
                      <a:pt x="1465852" y="3722609"/>
                    </a:lnTo>
                    <a:lnTo>
                      <a:pt x="753604" y="4804916"/>
                    </a:lnTo>
                    <a:lnTo>
                      <a:pt x="0" y="5443964"/>
                    </a:lnTo>
                    <a:lnTo>
                      <a:pt x="405571" y="5899247"/>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15" name="任意多边形 94">
                <a:extLst>
                  <a:ext uri="{FF2B5EF4-FFF2-40B4-BE49-F238E27FC236}">
                    <a16:creationId xmlns:a16="http://schemas.microsoft.com/office/drawing/2014/main" id="{8596B492-1B3C-1ACE-B20E-93894165D8F8}"/>
                  </a:ext>
                </a:extLst>
              </p:cNvPr>
              <p:cNvSpPr>
                <a:spLocks/>
              </p:cNvSpPr>
              <p:nvPr/>
            </p:nvSpPr>
            <p:spPr bwMode="auto">
              <a:xfrm>
                <a:off x="771835" y="3539490"/>
                <a:ext cx="1323130" cy="793750"/>
              </a:xfrm>
              <a:custGeom>
                <a:avLst/>
                <a:gdLst/>
                <a:ahLst/>
                <a:cxnLst/>
                <a:rect l="0" t="0" r="r" b="b"/>
                <a:pathLst>
                  <a:path w="16203348" h="9718224">
                    <a:moveTo>
                      <a:pt x="375091" y="608910"/>
                    </a:moveTo>
                    <a:lnTo>
                      <a:pt x="39792" y="995215"/>
                    </a:lnTo>
                    <a:lnTo>
                      <a:pt x="0" y="1552271"/>
                    </a:lnTo>
                    <a:lnTo>
                      <a:pt x="202567" y="1743985"/>
                    </a:lnTo>
                    <a:lnTo>
                      <a:pt x="694516" y="1396727"/>
                    </a:lnTo>
                    <a:lnTo>
                      <a:pt x="962191" y="1830800"/>
                    </a:lnTo>
                    <a:lnTo>
                      <a:pt x="1569893" y="1762069"/>
                    </a:lnTo>
                    <a:lnTo>
                      <a:pt x="1975027" y="2282957"/>
                    </a:lnTo>
                    <a:lnTo>
                      <a:pt x="2040134" y="2789367"/>
                    </a:lnTo>
                    <a:lnTo>
                      <a:pt x="2387392" y="3223440"/>
                    </a:lnTo>
                    <a:lnTo>
                      <a:pt x="2329516" y="3646659"/>
                    </a:lnTo>
                    <a:lnTo>
                      <a:pt x="2376539" y="4243507"/>
                    </a:lnTo>
                    <a:lnTo>
                      <a:pt x="2890195" y="5100799"/>
                    </a:lnTo>
                    <a:lnTo>
                      <a:pt x="2405477" y="5270805"/>
                    </a:lnTo>
                    <a:lnTo>
                      <a:pt x="2003965" y="4869294"/>
                    </a:lnTo>
                    <a:lnTo>
                      <a:pt x="1598831" y="4887378"/>
                    </a:lnTo>
                    <a:lnTo>
                      <a:pt x="1663938" y="5252721"/>
                    </a:lnTo>
                    <a:lnTo>
                      <a:pt x="2603631" y="6079544"/>
                    </a:lnTo>
                    <a:lnTo>
                      <a:pt x="3248292" y="5853177"/>
                    </a:lnTo>
                    <a:lnTo>
                      <a:pt x="4047708" y="5921907"/>
                    </a:lnTo>
                    <a:lnTo>
                      <a:pt x="5161820" y="5419104"/>
                    </a:lnTo>
                    <a:lnTo>
                      <a:pt x="6362747" y="5006739"/>
                    </a:lnTo>
                    <a:lnTo>
                      <a:pt x="7006618" y="4970570"/>
                    </a:lnTo>
                    <a:lnTo>
                      <a:pt x="7513029" y="5346766"/>
                    </a:lnTo>
                    <a:lnTo>
                      <a:pt x="8406489" y="6019575"/>
                    </a:lnTo>
                    <a:lnTo>
                      <a:pt x="8974399" y="5939991"/>
                    </a:lnTo>
                    <a:lnTo>
                      <a:pt x="9364309" y="5717573"/>
                    </a:lnTo>
                    <a:lnTo>
                      <a:pt x="10280226" y="6171497"/>
                    </a:lnTo>
                    <a:lnTo>
                      <a:pt x="10229580" y="6941974"/>
                    </a:lnTo>
                    <a:lnTo>
                      <a:pt x="10421293" y="7922249"/>
                    </a:lnTo>
                    <a:lnTo>
                      <a:pt x="10102973" y="8468451"/>
                    </a:lnTo>
                    <a:lnTo>
                      <a:pt x="10808344" y="8573351"/>
                    </a:lnTo>
                    <a:lnTo>
                      <a:pt x="11423276" y="8244177"/>
                    </a:lnTo>
                    <a:lnTo>
                      <a:pt x="11958625" y="8475682"/>
                    </a:lnTo>
                    <a:lnTo>
                      <a:pt x="12237153" y="8215239"/>
                    </a:lnTo>
                    <a:lnTo>
                      <a:pt x="13054653" y="8226092"/>
                    </a:lnTo>
                    <a:lnTo>
                      <a:pt x="13564687" y="8631227"/>
                    </a:lnTo>
                    <a:lnTo>
                      <a:pt x="13973429" y="8135655"/>
                    </a:lnTo>
                    <a:lnTo>
                      <a:pt x="15282878" y="9275098"/>
                    </a:lnTo>
                    <a:lnTo>
                      <a:pt x="16203348" y="9718224"/>
                    </a:lnTo>
                    <a:lnTo>
                      <a:pt x="16024417" y="8265884"/>
                    </a:lnTo>
                    <a:lnTo>
                      <a:pt x="15677159" y="7893311"/>
                    </a:lnTo>
                    <a:lnTo>
                      <a:pt x="15206917" y="7770327"/>
                    </a:lnTo>
                    <a:lnTo>
                      <a:pt x="14320687" y="7249440"/>
                    </a:lnTo>
                    <a:lnTo>
                      <a:pt x="14353249" y="6547693"/>
                    </a:lnTo>
                    <a:lnTo>
                      <a:pt x="14005990" y="5856800"/>
                    </a:lnTo>
                    <a:lnTo>
                      <a:pt x="14277288" y="5183991"/>
                    </a:lnTo>
                    <a:lnTo>
                      <a:pt x="14758383" y="4326699"/>
                    </a:lnTo>
                    <a:lnTo>
                      <a:pt x="14429209" y="3889018"/>
                    </a:lnTo>
                    <a:lnTo>
                      <a:pt x="14382187" y="2395087"/>
                    </a:lnTo>
                    <a:lnTo>
                      <a:pt x="14584754" y="1877822"/>
                    </a:lnTo>
                    <a:lnTo>
                      <a:pt x="14139828" y="1570356"/>
                    </a:lnTo>
                    <a:lnTo>
                      <a:pt x="13467019" y="1754839"/>
                    </a:lnTo>
                    <a:lnTo>
                      <a:pt x="13177637" y="1425665"/>
                    </a:lnTo>
                    <a:lnTo>
                      <a:pt x="13004008" y="948193"/>
                    </a:lnTo>
                    <a:lnTo>
                      <a:pt x="13344035" y="398367"/>
                    </a:lnTo>
                    <a:lnTo>
                      <a:pt x="12534905" y="0"/>
                    </a:lnTo>
                    <a:lnTo>
                      <a:pt x="12027355" y="479159"/>
                    </a:lnTo>
                    <a:lnTo>
                      <a:pt x="11141125" y="177715"/>
                    </a:lnTo>
                    <a:lnTo>
                      <a:pt x="10652799" y="1082030"/>
                    </a:lnTo>
                    <a:lnTo>
                      <a:pt x="10146388" y="1654770"/>
                    </a:lnTo>
                    <a:lnTo>
                      <a:pt x="9019466" y="675175"/>
                    </a:lnTo>
                    <a:lnTo>
                      <a:pt x="7994124" y="340491"/>
                    </a:lnTo>
                    <a:lnTo>
                      <a:pt x="7608756" y="988664"/>
                    </a:lnTo>
                    <a:lnTo>
                      <a:pt x="6306078" y="907193"/>
                    </a:lnTo>
                    <a:lnTo>
                      <a:pt x="5226927" y="1437726"/>
                    </a:lnTo>
                    <a:lnTo>
                      <a:pt x="4618018" y="1389496"/>
                    </a:lnTo>
                    <a:lnTo>
                      <a:pt x="4214091" y="1624625"/>
                    </a:lnTo>
                    <a:lnTo>
                      <a:pt x="2984241" y="744418"/>
                    </a:lnTo>
                    <a:lnTo>
                      <a:pt x="375091" y="608910"/>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16" name="任意多边形 98">
                <a:extLst>
                  <a:ext uri="{FF2B5EF4-FFF2-40B4-BE49-F238E27FC236}">
                    <a16:creationId xmlns:a16="http://schemas.microsoft.com/office/drawing/2014/main" id="{E146A752-8843-B6CF-83DE-955C55ECBB02}"/>
                  </a:ext>
                </a:extLst>
              </p:cNvPr>
              <p:cNvSpPr>
                <a:spLocks/>
              </p:cNvSpPr>
              <p:nvPr/>
            </p:nvSpPr>
            <p:spPr bwMode="auto">
              <a:xfrm>
                <a:off x="719138" y="2930525"/>
                <a:ext cx="1264719" cy="744538"/>
              </a:xfrm>
              <a:custGeom>
                <a:avLst/>
                <a:gdLst>
                  <a:gd name="T0" fmla="*/ 268633 w 2569"/>
                  <a:gd name="T1" fmla="*/ 2124829 h 1512"/>
                  <a:gd name="T2" fmla="*/ 228602 w 2569"/>
                  <a:gd name="T3" fmla="*/ 1992205 h 1512"/>
                  <a:gd name="T4" fmla="*/ 0 w 2569"/>
                  <a:gd name="T5" fmla="*/ 1788951 h 1512"/>
                  <a:gd name="T6" fmla="*/ 186057 w 2569"/>
                  <a:gd name="T7" fmla="*/ 1506302 h 1512"/>
                  <a:gd name="T8" fmla="*/ 376558 w 2569"/>
                  <a:gd name="T9" fmla="*/ 1437704 h 1512"/>
                  <a:gd name="T10" fmla="*/ 406085 w 2569"/>
                  <a:gd name="T11" fmla="*/ 1350051 h 1512"/>
                  <a:gd name="T12" fmla="*/ 307024 w 2569"/>
                  <a:gd name="T13" fmla="*/ 1246201 h 1512"/>
                  <a:gd name="T14" fmla="*/ 430849 w 2569"/>
                  <a:gd name="T15" fmla="*/ 883201 h 1512"/>
                  <a:gd name="T16" fmla="*/ 572771 w 2569"/>
                  <a:gd name="T17" fmla="*/ 868912 h 1512"/>
                  <a:gd name="T18" fmla="*/ 699454 w 2569"/>
                  <a:gd name="T19" fmla="*/ 780305 h 1512"/>
                  <a:gd name="T20" fmla="*/ 681356 w 2569"/>
                  <a:gd name="T21" fmla="*/ 676455 h 1512"/>
                  <a:gd name="T22" fmla="*/ 819392 w 2569"/>
                  <a:gd name="T23" fmla="*/ 496787 h 1512"/>
                  <a:gd name="T24" fmla="*/ 947104 w 2569"/>
                  <a:gd name="T25" fmla="*/ 583086 h 1512"/>
                  <a:gd name="T26" fmla="*/ 1032828 w 2569"/>
                  <a:gd name="T27" fmla="*/ 717424 h 1512"/>
                  <a:gd name="T28" fmla="*/ 1063309 w 2569"/>
                  <a:gd name="T29" fmla="*/ 826038 h 1512"/>
                  <a:gd name="T30" fmla="*/ 1029970 w 2569"/>
                  <a:gd name="T31" fmla="*/ 990864 h 1512"/>
                  <a:gd name="T32" fmla="*/ 1106171 w 2569"/>
                  <a:gd name="T33" fmla="*/ 1091856 h 1512"/>
                  <a:gd name="T34" fmla="*/ 1263334 w 2569"/>
                  <a:gd name="T35" fmla="*/ 1028020 h 1512"/>
                  <a:gd name="T36" fmla="*/ 1405257 w 2569"/>
                  <a:gd name="T37" fmla="*/ 1043264 h 1512"/>
                  <a:gd name="T38" fmla="*/ 1427163 w 2569"/>
                  <a:gd name="T39" fmla="*/ 913690 h 1512"/>
                  <a:gd name="T40" fmla="*/ 1338391 w 2569"/>
                  <a:gd name="T41" fmla="*/ 826543 h 1512"/>
                  <a:gd name="T42" fmla="*/ 1369061 w 2569"/>
                  <a:gd name="T43" fmla="*/ 533541 h 1512"/>
                  <a:gd name="T44" fmla="*/ 1457643 w 2569"/>
                  <a:gd name="T45" fmla="*/ 567842 h 1512"/>
                  <a:gd name="T46" fmla="*/ 1599566 w 2569"/>
                  <a:gd name="T47" fmla="*/ 496385 h 1512"/>
                  <a:gd name="T48" fmla="*/ 1728152 w 2569"/>
                  <a:gd name="T49" fmla="*/ 453511 h 1512"/>
                  <a:gd name="T50" fmla="*/ 1748155 w 2569"/>
                  <a:gd name="T51" fmla="*/ 258196 h 1512"/>
                  <a:gd name="T52" fmla="*/ 1996758 w 2569"/>
                  <a:gd name="T53" fmla="*/ 309646 h 1512"/>
                  <a:gd name="T54" fmla="*/ 2018664 w 2569"/>
                  <a:gd name="T55" fmla="*/ 248670 h 1512"/>
                  <a:gd name="T56" fmla="*/ 2209165 w 2569"/>
                  <a:gd name="T57" fmla="*/ 233425 h 1512"/>
                  <a:gd name="T58" fmla="*/ 2458718 w 2569"/>
                  <a:gd name="T59" fmla="*/ 0 h 1512"/>
                  <a:gd name="T60" fmla="*/ 2649220 w 2569"/>
                  <a:gd name="T61" fmla="*/ 20962 h 1512"/>
                  <a:gd name="T62" fmla="*/ 2726371 w 2569"/>
                  <a:gd name="T63" fmla="*/ 208655 h 1512"/>
                  <a:gd name="T64" fmla="*/ 2861428 w 2569"/>
                  <a:gd name="T65" fmla="*/ 217740 h 1512"/>
                  <a:gd name="T66" fmla="*/ 3020695 w 2569"/>
                  <a:gd name="T67" fmla="*/ 68599 h 1512"/>
                  <a:gd name="T68" fmla="*/ 3157538 w 2569"/>
                  <a:gd name="T69" fmla="*/ 107341 h 1512"/>
                  <a:gd name="T70" fmla="*/ 3279772 w 2569"/>
                  <a:gd name="T71" fmla="*/ 262959 h 1512"/>
                  <a:gd name="T72" fmla="*/ 3495674 w 2569"/>
                  <a:gd name="T73" fmla="*/ 305833 h 1512"/>
                  <a:gd name="T74" fmla="*/ 3678236 w 2569"/>
                  <a:gd name="T75" fmla="*/ 420164 h 1512"/>
                  <a:gd name="T76" fmla="*/ 3708398 w 2569"/>
                  <a:gd name="T77" fmla="*/ 595471 h 1512"/>
                  <a:gd name="T78" fmla="*/ 3835399 w 2569"/>
                  <a:gd name="T79" fmla="*/ 663116 h 1512"/>
                  <a:gd name="T80" fmla="*/ 3913618 w 2569"/>
                  <a:gd name="T81" fmla="*/ 717293 h 1512"/>
                  <a:gd name="T82" fmla="*/ 3920806 w 2569"/>
                  <a:gd name="T83" fmla="*/ 843186 h 1512"/>
                  <a:gd name="T84" fmla="*/ 4030664 w 2569"/>
                  <a:gd name="T85" fmla="*/ 890187 h 1512"/>
                  <a:gd name="T86" fmla="*/ 4076701 w 2569"/>
                  <a:gd name="T87" fmla="*/ 1123613 h 1512"/>
                  <a:gd name="T88" fmla="*/ 3982318 w 2569"/>
                  <a:gd name="T89" fmla="*/ 1208414 h 1512"/>
                  <a:gd name="T90" fmla="*/ 4078287 w 2569"/>
                  <a:gd name="T91" fmla="*/ 1514242 h 1512"/>
                  <a:gd name="T92" fmla="*/ 3890962 w 2569"/>
                  <a:gd name="T93" fmla="*/ 1714320 h 1512"/>
                  <a:gd name="T94" fmla="*/ 3551235 w 2569"/>
                  <a:gd name="T95" fmla="*/ 1787364 h 1512"/>
                  <a:gd name="T96" fmla="*/ 3470575 w 2569"/>
                  <a:gd name="T97" fmla="*/ 1964448 h 1512"/>
                  <a:gd name="T98" fmla="*/ 3336925 w 2569"/>
                  <a:gd name="T99" fmla="*/ 2090655 h 1512"/>
                  <a:gd name="T100" fmla="*/ 3103561 w 2569"/>
                  <a:gd name="T101" fmla="*/ 2011257 h 1512"/>
                  <a:gd name="T102" fmla="*/ 2974974 w 2569"/>
                  <a:gd name="T103" fmla="*/ 2249444 h 1512"/>
                  <a:gd name="T104" fmla="*/ 2841626 w 2569"/>
                  <a:gd name="T105" fmla="*/ 2400300 h 1512"/>
                  <a:gd name="T106" fmla="*/ 2544884 w 2569"/>
                  <a:gd name="T107" fmla="*/ 2142284 h 1512"/>
                  <a:gd name="T108" fmla="*/ 2274888 w 2569"/>
                  <a:gd name="T109" fmla="*/ 2054131 h 1512"/>
                  <a:gd name="T110" fmla="*/ 2173412 w 2569"/>
                  <a:gd name="T111" fmla="*/ 2224854 h 1512"/>
                  <a:gd name="T112" fmla="*/ 1830390 w 2569"/>
                  <a:gd name="T113" fmla="*/ 2203395 h 1512"/>
                  <a:gd name="T114" fmla="*/ 1546226 w 2569"/>
                  <a:gd name="T115" fmla="*/ 2343131 h 1512"/>
                  <a:gd name="T116" fmla="*/ 1385887 w 2569"/>
                  <a:gd name="T117" fmla="*/ 2330430 h 1512"/>
                  <a:gd name="T118" fmla="*/ 1279524 w 2569"/>
                  <a:gd name="T119" fmla="*/ 2392360 h 1512"/>
                  <a:gd name="T120" fmla="*/ 955678 w 2569"/>
                  <a:gd name="T121" fmla="*/ 2160521 h 1512"/>
                  <a:gd name="T122" fmla="*/ 268633 w 2569"/>
                  <a:gd name="T123" fmla="*/ 2124829 h 151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569" h="1512">
                    <a:moveTo>
                      <a:pt x="169" y="1338"/>
                    </a:moveTo>
                    <a:lnTo>
                      <a:pt x="144" y="1255"/>
                    </a:lnTo>
                    <a:lnTo>
                      <a:pt x="0" y="1127"/>
                    </a:lnTo>
                    <a:lnTo>
                      <a:pt x="117" y="949"/>
                    </a:lnTo>
                    <a:lnTo>
                      <a:pt x="237" y="906"/>
                    </a:lnTo>
                    <a:lnTo>
                      <a:pt x="256" y="850"/>
                    </a:lnTo>
                    <a:lnTo>
                      <a:pt x="193" y="785"/>
                    </a:lnTo>
                    <a:lnTo>
                      <a:pt x="271" y="556"/>
                    </a:lnTo>
                    <a:lnTo>
                      <a:pt x="361" y="547"/>
                    </a:lnTo>
                    <a:lnTo>
                      <a:pt x="441" y="492"/>
                    </a:lnTo>
                    <a:lnTo>
                      <a:pt x="429" y="426"/>
                    </a:lnTo>
                    <a:lnTo>
                      <a:pt x="516" y="313"/>
                    </a:lnTo>
                    <a:lnTo>
                      <a:pt x="597" y="367"/>
                    </a:lnTo>
                    <a:lnTo>
                      <a:pt x="651" y="452"/>
                    </a:lnTo>
                    <a:lnTo>
                      <a:pt x="670" y="520"/>
                    </a:lnTo>
                    <a:lnTo>
                      <a:pt x="649" y="624"/>
                    </a:lnTo>
                    <a:lnTo>
                      <a:pt x="697" y="688"/>
                    </a:lnTo>
                    <a:lnTo>
                      <a:pt x="796" y="648"/>
                    </a:lnTo>
                    <a:lnTo>
                      <a:pt x="885" y="657"/>
                    </a:lnTo>
                    <a:lnTo>
                      <a:pt x="899" y="576"/>
                    </a:lnTo>
                    <a:lnTo>
                      <a:pt x="843" y="521"/>
                    </a:lnTo>
                    <a:lnTo>
                      <a:pt x="862" y="336"/>
                    </a:lnTo>
                    <a:lnTo>
                      <a:pt x="918" y="358"/>
                    </a:lnTo>
                    <a:lnTo>
                      <a:pt x="1008" y="313"/>
                    </a:lnTo>
                    <a:lnTo>
                      <a:pt x="1089" y="286"/>
                    </a:lnTo>
                    <a:lnTo>
                      <a:pt x="1101" y="163"/>
                    </a:lnTo>
                    <a:lnTo>
                      <a:pt x="1258" y="195"/>
                    </a:lnTo>
                    <a:lnTo>
                      <a:pt x="1272" y="157"/>
                    </a:lnTo>
                    <a:lnTo>
                      <a:pt x="1392" y="147"/>
                    </a:lnTo>
                    <a:lnTo>
                      <a:pt x="1549" y="0"/>
                    </a:lnTo>
                    <a:lnTo>
                      <a:pt x="1669" y="13"/>
                    </a:lnTo>
                    <a:lnTo>
                      <a:pt x="1717" y="131"/>
                    </a:lnTo>
                    <a:lnTo>
                      <a:pt x="1802" y="137"/>
                    </a:lnTo>
                    <a:lnTo>
                      <a:pt x="1903" y="43"/>
                    </a:lnTo>
                    <a:lnTo>
                      <a:pt x="1989" y="68"/>
                    </a:lnTo>
                    <a:lnTo>
                      <a:pt x="2066" y="166"/>
                    </a:lnTo>
                    <a:lnTo>
                      <a:pt x="2202" y="193"/>
                    </a:lnTo>
                    <a:lnTo>
                      <a:pt x="2317" y="265"/>
                    </a:lnTo>
                    <a:lnTo>
                      <a:pt x="2336" y="375"/>
                    </a:lnTo>
                    <a:lnTo>
                      <a:pt x="2416" y="418"/>
                    </a:lnTo>
                    <a:lnTo>
                      <a:pt x="2465" y="452"/>
                    </a:lnTo>
                    <a:lnTo>
                      <a:pt x="2470" y="531"/>
                    </a:lnTo>
                    <a:lnTo>
                      <a:pt x="2539" y="561"/>
                    </a:lnTo>
                    <a:lnTo>
                      <a:pt x="2568" y="708"/>
                    </a:lnTo>
                    <a:lnTo>
                      <a:pt x="2509" y="761"/>
                    </a:lnTo>
                    <a:lnTo>
                      <a:pt x="2569" y="954"/>
                    </a:lnTo>
                    <a:lnTo>
                      <a:pt x="2451" y="1080"/>
                    </a:lnTo>
                    <a:lnTo>
                      <a:pt x="2237" y="1126"/>
                    </a:lnTo>
                    <a:lnTo>
                      <a:pt x="2186" y="1237"/>
                    </a:lnTo>
                    <a:lnTo>
                      <a:pt x="2102" y="1317"/>
                    </a:lnTo>
                    <a:lnTo>
                      <a:pt x="1955" y="1267"/>
                    </a:lnTo>
                    <a:lnTo>
                      <a:pt x="1874" y="1417"/>
                    </a:lnTo>
                    <a:lnTo>
                      <a:pt x="1790" y="1512"/>
                    </a:lnTo>
                    <a:lnTo>
                      <a:pt x="1603" y="1349"/>
                    </a:lnTo>
                    <a:lnTo>
                      <a:pt x="1433" y="1294"/>
                    </a:lnTo>
                    <a:lnTo>
                      <a:pt x="1369" y="1401"/>
                    </a:lnTo>
                    <a:lnTo>
                      <a:pt x="1153" y="1388"/>
                    </a:lnTo>
                    <a:lnTo>
                      <a:pt x="974" y="1476"/>
                    </a:lnTo>
                    <a:lnTo>
                      <a:pt x="873" y="1468"/>
                    </a:lnTo>
                    <a:lnTo>
                      <a:pt x="806" y="1507"/>
                    </a:lnTo>
                    <a:lnTo>
                      <a:pt x="602" y="1361"/>
                    </a:lnTo>
                    <a:lnTo>
                      <a:pt x="169" y="1338"/>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17" name="任意多边形 100">
                <a:extLst>
                  <a:ext uri="{FF2B5EF4-FFF2-40B4-BE49-F238E27FC236}">
                    <a16:creationId xmlns:a16="http://schemas.microsoft.com/office/drawing/2014/main" id="{0E29460C-C2E5-677A-2C07-BEF1373C621D}"/>
                  </a:ext>
                </a:extLst>
              </p:cNvPr>
              <p:cNvSpPr>
                <a:spLocks/>
              </p:cNvSpPr>
              <p:nvPr/>
            </p:nvSpPr>
            <p:spPr bwMode="auto">
              <a:xfrm>
                <a:off x="5207240" y="2977198"/>
                <a:ext cx="1506298" cy="1302385"/>
              </a:xfrm>
              <a:custGeom>
                <a:avLst/>
                <a:gdLst/>
                <a:ahLst/>
                <a:cxnLst/>
                <a:rect l="0" t="0" r="r" b="b"/>
                <a:pathLst>
                  <a:path w="18447968" h="15946069">
                    <a:moveTo>
                      <a:pt x="477776" y="7436569"/>
                    </a:moveTo>
                    <a:lnTo>
                      <a:pt x="271294" y="8060457"/>
                    </a:lnTo>
                    <a:lnTo>
                      <a:pt x="379812" y="8675382"/>
                    </a:lnTo>
                    <a:lnTo>
                      <a:pt x="759624" y="9217969"/>
                    </a:lnTo>
                    <a:lnTo>
                      <a:pt x="687278" y="9670126"/>
                    </a:lnTo>
                    <a:lnTo>
                      <a:pt x="144687" y="9941420"/>
                    </a:lnTo>
                    <a:lnTo>
                      <a:pt x="343643" y="10592536"/>
                    </a:lnTo>
                    <a:lnTo>
                      <a:pt x="940487" y="10954252"/>
                    </a:lnTo>
                    <a:lnTo>
                      <a:pt x="596844" y="11786221"/>
                    </a:lnTo>
                    <a:lnTo>
                      <a:pt x="633017" y="12780969"/>
                    </a:lnTo>
                    <a:lnTo>
                      <a:pt x="198944" y="13341645"/>
                    </a:lnTo>
                    <a:lnTo>
                      <a:pt x="723451" y="13757629"/>
                    </a:lnTo>
                    <a:lnTo>
                      <a:pt x="1640036" y="13197151"/>
                    </a:lnTo>
                    <a:lnTo>
                      <a:pt x="1880971" y="13395906"/>
                    </a:lnTo>
                    <a:lnTo>
                      <a:pt x="2930086" y="12952832"/>
                    </a:lnTo>
                    <a:lnTo>
                      <a:pt x="3828256" y="13245188"/>
                    </a:lnTo>
                    <a:lnTo>
                      <a:pt x="4768739" y="13040205"/>
                    </a:lnTo>
                    <a:lnTo>
                      <a:pt x="5190751" y="13649115"/>
                    </a:lnTo>
                    <a:lnTo>
                      <a:pt x="5932290" y="13444132"/>
                    </a:lnTo>
                    <a:lnTo>
                      <a:pt x="6498992" y="12991975"/>
                    </a:lnTo>
                    <a:lnTo>
                      <a:pt x="7373161" y="13582800"/>
                    </a:lnTo>
                    <a:lnTo>
                      <a:pt x="8512588" y="13570738"/>
                    </a:lnTo>
                    <a:lnTo>
                      <a:pt x="9416903" y="13281357"/>
                    </a:lnTo>
                    <a:lnTo>
                      <a:pt x="9742454" y="14004811"/>
                    </a:lnTo>
                    <a:lnTo>
                      <a:pt x="10080066" y="14716204"/>
                    </a:lnTo>
                    <a:lnTo>
                      <a:pt x="10616683" y="15358294"/>
                    </a:lnTo>
                    <a:lnTo>
                      <a:pt x="11117010" y="15946069"/>
                    </a:lnTo>
                    <a:lnTo>
                      <a:pt x="11593335" y="15822497"/>
                    </a:lnTo>
                    <a:lnTo>
                      <a:pt x="11780218" y="13579811"/>
                    </a:lnTo>
                    <a:lnTo>
                      <a:pt x="11954994" y="12135890"/>
                    </a:lnTo>
                    <a:lnTo>
                      <a:pt x="12196146" y="11388328"/>
                    </a:lnTo>
                    <a:lnTo>
                      <a:pt x="13166775" y="11707856"/>
                    </a:lnTo>
                    <a:lnTo>
                      <a:pt x="14004775" y="11611395"/>
                    </a:lnTo>
                    <a:lnTo>
                      <a:pt x="14939235" y="11322014"/>
                    </a:lnTo>
                    <a:lnTo>
                      <a:pt x="15409477" y="11882693"/>
                    </a:lnTo>
                    <a:lnTo>
                      <a:pt x="15861634" y="11273783"/>
                    </a:lnTo>
                    <a:lnTo>
                      <a:pt x="16413199" y="10920339"/>
                    </a:lnTo>
                    <a:lnTo>
                      <a:pt x="16765948" y="10200671"/>
                    </a:lnTo>
                    <a:lnTo>
                      <a:pt x="16428336" y="9374732"/>
                    </a:lnTo>
                    <a:lnTo>
                      <a:pt x="15946033" y="8440272"/>
                    </a:lnTo>
                    <a:lnTo>
                      <a:pt x="16024409" y="7433474"/>
                    </a:lnTo>
                    <a:lnTo>
                      <a:pt x="16958870" y="6776350"/>
                    </a:lnTo>
                    <a:lnTo>
                      <a:pt x="17911414" y="6083041"/>
                    </a:lnTo>
                    <a:lnTo>
                      <a:pt x="17694370" y="5570592"/>
                    </a:lnTo>
                    <a:lnTo>
                      <a:pt x="17385711" y="5219213"/>
                    </a:lnTo>
                    <a:lnTo>
                      <a:pt x="17637701" y="4819407"/>
                    </a:lnTo>
                    <a:lnTo>
                      <a:pt x="18171858" y="4701949"/>
                    </a:lnTo>
                    <a:lnTo>
                      <a:pt x="18447970" y="4316604"/>
                    </a:lnTo>
                    <a:lnTo>
                      <a:pt x="17814953" y="4117660"/>
                    </a:lnTo>
                    <a:lnTo>
                      <a:pt x="17067422" y="3472551"/>
                    </a:lnTo>
                    <a:lnTo>
                      <a:pt x="16852763" y="3282076"/>
                    </a:lnTo>
                    <a:lnTo>
                      <a:pt x="16161870" y="4063407"/>
                    </a:lnTo>
                    <a:lnTo>
                      <a:pt x="14429201" y="4027238"/>
                    </a:lnTo>
                    <a:lnTo>
                      <a:pt x="13854061" y="3658272"/>
                    </a:lnTo>
                    <a:lnTo>
                      <a:pt x="13383819" y="2963756"/>
                    </a:lnTo>
                    <a:lnTo>
                      <a:pt x="12493981" y="2927587"/>
                    </a:lnTo>
                    <a:lnTo>
                      <a:pt x="11976717" y="2139025"/>
                    </a:lnTo>
                    <a:lnTo>
                      <a:pt x="11484768" y="1495155"/>
                    </a:lnTo>
                    <a:lnTo>
                      <a:pt x="10830043" y="1256418"/>
                    </a:lnTo>
                    <a:lnTo>
                      <a:pt x="10323633" y="1220249"/>
                    </a:lnTo>
                    <a:lnTo>
                      <a:pt x="9802745" y="1603676"/>
                    </a:lnTo>
                    <a:lnTo>
                      <a:pt x="9223982" y="1621761"/>
                    </a:lnTo>
                    <a:lnTo>
                      <a:pt x="8782678" y="2171586"/>
                    </a:lnTo>
                    <a:lnTo>
                      <a:pt x="8272645" y="2102856"/>
                    </a:lnTo>
                    <a:lnTo>
                      <a:pt x="7853048" y="2526075"/>
                    </a:lnTo>
                    <a:lnTo>
                      <a:pt x="7323799" y="2632907"/>
                    </a:lnTo>
                    <a:lnTo>
                      <a:pt x="6977672" y="2178817"/>
                    </a:lnTo>
                    <a:lnTo>
                      <a:pt x="6594245" y="2055834"/>
                    </a:lnTo>
                    <a:lnTo>
                      <a:pt x="6431470" y="1314295"/>
                    </a:lnTo>
                    <a:lnTo>
                      <a:pt x="5642908" y="1343233"/>
                    </a:lnTo>
                    <a:lnTo>
                      <a:pt x="5150959" y="1610907"/>
                    </a:lnTo>
                    <a:lnTo>
                      <a:pt x="5480133" y="2167963"/>
                    </a:lnTo>
                    <a:lnTo>
                      <a:pt x="4742216" y="2862495"/>
                    </a:lnTo>
                    <a:lnTo>
                      <a:pt x="2658667" y="0"/>
                    </a:lnTo>
                    <a:lnTo>
                      <a:pt x="2658682" y="1018890"/>
                    </a:lnTo>
                    <a:lnTo>
                      <a:pt x="1850829" y="1730283"/>
                    </a:lnTo>
                    <a:lnTo>
                      <a:pt x="1404694" y="2272862"/>
                    </a:lnTo>
                    <a:lnTo>
                      <a:pt x="2351216" y="3388182"/>
                    </a:lnTo>
                    <a:lnTo>
                      <a:pt x="2658682" y="4286458"/>
                    </a:lnTo>
                    <a:lnTo>
                      <a:pt x="1935228" y="5220918"/>
                    </a:lnTo>
                    <a:lnTo>
                      <a:pt x="875281" y="5166646"/>
                    </a:lnTo>
                    <a:lnTo>
                      <a:pt x="0" y="5890112"/>
                    </a:lnTo>
                    <a:lnTo>
                      <a:pt x="72345" y="6921032"/>
                    </a:lnTo>
                    <a:lnTo>
                      <a:pt x="477776" y="7436569"/>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18" name="任意多边形 101">
                <a:extLst>
                  <a:ext uri="{FF2B5EF4-FFF2-40B4-BE49-F238E27FC236}">
                    <a16:creationId xmlns:a16="http://schemas.microsoft.com/office/drawing/2014/main" id="{FCC6F9BF-DAD3-E9B2-E509-B8A6508D9F61}"/>
                  </a:ext>
                </a:extLst>
              </p:cNvPr>
              <p:cNvSpPr>
                <a:spLocks/>
              </p:cNvSpPr>
              <p:nvPr/>
            </p:nvSpPr>
            <p:spPr bwMode="auto">
              <a:xfrm>
                <a:off x="1796244" y="3167380"/>
                <a:ext cx="1550424" cy="1358583"/>
              </a:xfrm>
              <a:custGeom>
                <a:avLst/>
                <a:gdLst/>
                <a:ahLst/>
                <a:cxnLst/>
                <a:rect l="0" t="0" r="r" b="b"/>
                <a:pathLst>
                  <a:path w="4884" h="4279">
                    <a:moveTo>
                      <a:pt x="544" y="127"/>
                    </a:moveTo>
                    <a:lnTo>
                      <a:pt x="590" y="351"/>
                    </a:lnTo>
                    <a:lnTo>
                      <a:pt x="499" y="437"/>
                    </a:lnTo>
                    <a:lnTo>
                      <a:pt x="590" y="732"/>
                    </a:lnTo>
                    <a:lnTo>
                      <a:pt x="403" y="934"/>
                    </a:lnTo>
                    <a:lnTo>
                      <a:pt x="79" y="1000"/>
                    </a:lnTo>
                    <a:lnTo>
                      <a:pt x="0" y="1172"/>
                    </a:lnTo>
                    <a:lnTo>
                      <a:pt x="204" y="1276"/>
                    </a:lnTo>
                    <a:lnTo>
                      <a:pt x="120" y="1417"/>
                    </a:lnTo>
                    <a:lnTo>
                      <a:pt x="161" y="1538"/>
                    </a:lnTo>
                    <a:lnTo>
                      <a:pt x="239" y="1624"/>
                    </a:lnTo>
                    <a:lnTo>
                      <a:pt x="410" y="1577"/>
                    </a:lnTo>
                    <a:lnTo>
                      <a:pt x="523" y="1653"/>
                    </a:lnTo>
                    <a:lnTo>
                      <a:pt x="476" y="1787"/>
                    </a:lnTo>
                    <a:lnTo>
                      <a:pt x="486" y="2172"/>
                    </a:lnTo>
                    <a:lnTo>
                      <a:pt x="568" y="2287"/>
                    </a:lnTo>
                    <a:lnTo>
                      <a:pt x="448" y="2508"/>
                    </a:lnTo>
                    <a:lnTo>
                      <a:pt x="377" y="2683"/>
                    </a:lnTo>
                    <a:lnTo>
                      <a:pt x="464" y="2859"/>
                    </a:lnTo>
                    <a:lnTo>
                      <a:pt x="457" y="3038"/>
                    </a:lnTo>
                    <a:lnTo>
                      <a:pt x="685" y="3172"/>
                    </a:lnTo>
                    <a:lnTo>
                      <a:pt x="811" y="3206"/>
                    </a:lnTo>
                    <a:lnTo>
                      <a:pt x="898" y="3302"/>
                    </a:lnTo>
                    <a:lnTo>
                      <a:pt x="943" y="3673"/>
                    </a:lnTo>
                    <a:lnTo>
                      <a:pt x="1043" y="4279"/>
                    </a:lnTo>
                    <a:lnTo>
                      <a:pt x="1904" y="4098"/>
                    </a:lnTo>
                    <a:lnTo>
                      <a:pt x="2021" y="4051"/>
                    </a:lnTo>
                    <a:lnTo>
                      <a:pt x="1989" y="3979"/>
                    </a:lnTo>
                    <a:lnTo>
                      <a:pt x="2056" y="3893"/>
                    </a:lnTo>
                    <a:lnTo>
                      <a:pt x="2060" y="3814"/>
                    </a:lnTo>
                    <a:lnTo>
                      <a:pt x="2224" y="3774"/>
                    </a:lnTo>
                    <a:lnTo>
                      <a:pt x="2369" y="3651"/>
                    </a:lnTo>
                    <a:lnTo>
                      <a:pt x="2705" y="3438"/>
                    </a:lnTo>
                    <a:lnTo>
                      <a:pt x="2798" y="3396"/>
                    </a:lnTo>
                    <a:lnTo>
                      <a:pt x="2854" y="3305"/>
                    </a:lnTo>
                    <a:lnTo>
                      <a:pt x="2914" y="3215"/>
                    </a:lnTo>
                    <a:lnTo>
                      <a:pt x="3007" y="3248"/>
                    </a:lnTo>
                    <a:lnTo>
                      <a:pt x="3139" y="3230"/>
                    </a:lnTo>
                    <a:lnTo>
                      <a:pt x="3218" y="3147"/>
                    </a:lnTo>
                    <a:lnTo>
                      <a:pt x="3406" y="2847"/>
                    </a:lnTo>
                    <a:lnTo>
                      <a:pt x="3620" y="2846"/>
                    </a:lnTo>
                    <a:lnTo>
                      <a:pt x="3751" y="2933"/>
                    </a:lnTo>
                    <a:lnTo>
                      <a:pt x="3818" y="3038"/>
                    </a:lnTo>
                    <a:lnTo>
                      <a:pt x="3991" y="3096"/>
                    </a:lnTo>
                    <a:lnTo>
                      <a:pt x="4140" y="3230"/>
                    </a:lnTo>
                    <a:lnTo>
                      <a:pt x="4400" y="3032"/>
                    </a:lnTo>
                    <a:lnTo>
                      <a:pt x="4884" y="2731"/>
                    </a:lnTo>
                    <a:lnTo>
                      <a:pt x="4794" y="2593"/>
                    </a:lnTo>
                    <a:lnTo>
                      <a:pt x="4755" y="2422"/>
                    </a:lnTo>
                    <a:lnTo>
                      <a:pt x="4673" y="2234"/>
                    </a:lnTo>
                    <a:lnTo>
                      <a:pt x="4452" y="2187"/>
                    </a:lnTo>
                    <a:lnTo>
                      <a:pt x="4314" y="2026"/>
                    </a:lnTo>
                    <a:lnTo>
                      <a:pt x="4318" y="1915"/>
                    </a:lnTo>
                    <a:lnTo>
                      <a:pt x="4274" y="1878"/>
                    </a:lnTo>
                    <a:lnTo>
                      <a:pt x="4179" y="2007"/>
                    </a:lnTo>
                    <a:lnTo>
                      <a:pt x="4021" y="1780"/>
                    </a:lnTo>
                    <a:lnTo>
                      <a:pt x="4065" y="1572"/>
                    </a:lnTo>
                    <a:lnTo>
                      <a:pt x="3994" y="1448"/>
                    </a:lnTo>
                    <a:lnTo>
                      <a:pt x="4140" y="1294"/>
                    </a:lnTo>
                    <a:lnTo>
                      <a:pt x="4322" y="1231"/>
                    </a:lnTo>
                    <a:lnTo>
                      <a:pt x="4284" y="1073"/>
                    </a:lnTo>
                    <a:lnTo>
                      <a:pt x="4242" y="877"/>
                    </a:lnTo>
                    <a:lnTo>
                      <a:pt x="4159" y="719"/>
                    </a:lnTo>
                    <a:lnTo>
                      <a:pt x="4032" y="548"/>
                    </a:lnTo>
                    <a:lnTo>
                      <a:pt x="4153" y="494"/>
                    </a:lnTo>
                    <a:lnTo>
                      <a:pt x="4003" y="289"/>
                    </a:lnTo>
                    <a:lnTo>
                      <a:pt x="3896" y="364"/>
                    </a:lnTo>
                    <a:lnTo>
                      <a:pt x="3946" y="187"/>
                    </a:lnTo>
                    <a:lnTo>
                      <a:pt x="3763" y="204"/>
                    </a:lnTo>
                    <a:lnTo>
                      <a:pt x="3711" y="337"/>
                    </a:lnTo>
                    <a:lnTo>
                      <a:pt x="3647" y="498"/>
                    </a:lnTo>
                    <a:lnTo>
                      <a:pt x="3455" y="547"/>
                    </a:lnTo>
                    <a:lnTo>
                      <a:pt x="3142" y="565"/>
                    </a:lnTo>
                    <a:lnTo>
                      <a:pt x="3095" y="451"/>
                    </a:lnTo>
                    <a:lnTo>
                      <a:pt x="2977" y="482"/>
                    </a:lnTo>
                    <a:lnTo>
                      <a:pt x="2950" y="569"/>
                    </a:lnTo>
                    <a:lnTo>
                      <a:pt x="2906" y="668"/>
                    </a:lnTo>
                    <a:lnTo>
                      <a:pt x="2733" y="567"/>
                    </a:lnTo>
                    <a:lnTo>
                      <a:pt x="2545" y="570"/>
                    </a:lnTo>
                    <a:lnTo>
                      <a:pt x="2411" y="407"/>
                    </a:lnTo>
                    <a:lnTo>
                      <a:pt x="2357" y="213"/>
                    </a:lnTo>
                    <a:lnTo>
                      <a:pt x="2071" y="181"/>
                    </a:lnTo>
                    <a:lnTo>
                      <a:pt x="1947" y="285"/>
                    </a:lnTo>
                    <a:lnTo>
                      <a:pt x="1819" y="280"/>
                    </a:lnTo>
                    <a:lnTo>
                      <a:pt x="1769" y="164"/>
                    </a:lnTo>
                    <a:lnTo>
                      <a:pt x="1490" y="146"/>
                    </a:lnTo>
                    <a:lnTo>
                      <a:pt x="1403" y="221"/>
                    </a:lnTo>
                    <a:lnTo>
                      <a:pt x="1275" y="237"/>
                    </a:lnTo>
                    <a:lnTo>
                      <a:pt x="1211" y="354"/>
                    </a:lnTo>
                    <a:lnTo>
                      <a:pt x="1021" y="417"/>
                    </a:lnTo>
                    <a:lnTo>
                      <a:pt x="796" y="140"/>
                    </a:lnTo>
                    <a:lnTo>
                      <a:pt x="615" y="0"/>
                    </a:lnTo>
                    <a:lnTo>
                      <a:pt x="544" y="127"/>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19" name="任意多边形 109">
                <a:extLst>
                  <a:ext uri="{FF2B5EF4-FFF2-40B4-BE49-F238E27FC236}">
                    <a16:creationId xmlns:a16="http://schemas.microsoft.com/office/drawing/2014/main" id="{90135311-AA72-4856-EFC0-9A103F04113D}"/>
                  </a:ext>
                </a:extLst>
              </p:cNvPr>
              <p:cNvSpPr>
                <a:spLocks/>
              </p:cNvSpPr>
              <p:nvPr/>
            </p:nvSpPr>
            <p:spPr bwMode="auto">
              <a:xfrm>
                <a:off x="2788274" y="2490788"/>
                <a:ext cx="1112343" cy="1445260"/>
              </a:xfrm>
              <a:custGeom>
                <a:avLst/>
                <a:gdLst/>
                <a:ahLst/>
                <a:cxnLst/>
                <a:rect l="0" t="0" r="r" b="b"/>
                <a:pathLst>
                  <a:path w="13622565" h="17699749">
                    <a:moveTo>
                      <a:pt x="10642295" y="190148"/>
                    </a:moveTo>
                    <a:lnTo>
                      <a:pt x="10541327" y="440405"/>
                    </a:lnTo>
                    <a:lnTo>
                      <a:pt x="10876011" y="946970"/>
                    </a:lnTo>
                    <a:lnTo>
                      <a:pt x="10454429" y="1010619"/>
                    </a:lnTo>
                    <a:lnTo>
                      <a:pt x="10487052" y="1326891"/>
                    </a:lnTo>
                    <a:lnTo>
                      <a:pt x="11002646" y="1598265"/>
                    </a:lnTo>
                    <a:lnTo>
                      <a:pt x="10369457" y="2041512"/>
                    </a:lnTo>
                    <a:lnTo>
                      <a:pt x="10948375" y="2647578"/>
                    </a:lnTo>
                    <a:lnTo>
                      <a:pt x="10622736" y="2882765"/>
                    </a:lnTo>
                    <a:lnTo>
                      <a:pt x="10752935" y="3452960"/>
                    </a:lnTo>
                    <a:lnTo>
                      <a:pt x="10626295" y="3697184"/>
                    </a:lnTo>
                    <a:lnTo>
                      <a:pt x="10758424" y="4004449"/>
                    </a:lnTo>
                    <a:lnTo>
                      <a:pt x="10215688" y="4529111"/>
                    </a:lnTo>
                    <a:lnTo>
                      <a:pt x="10282575" y="5542511"/>
                    </a:lnTo>
                    <a:lnTo>
                      <a:pt x="10362483" y="6248949"/>
                    </a:lnTo>
                    <a:lnTo>
                      <a:pt x="9654875" y="7324261"/>
                    </a:lnTo>
                    <a:lnTo>
                      <a:pt x="8885999" y="7975560"/>
                    </a:lnTo>
                    <a:lnTo>
                      <a:pt x="9293054" y="8427848"/>
                    </a:lnTo>
                    <a:lnTo>
                      <a:pt x="9342463" y="9786535"/>
                    </a:lnTo>
                    <a:lnTo>
                      <a:pt x="10161417" y="9793764"/>
                    </a:lnTo>
                    <a:lnTo>
                      <a:pt x="10532279" y="10454115"/>
                    </a:lnTo>
                    <a:lnTo>
                      <a:pt x="11482058" y="10463152"/>
                    </a:lnTo>
                    <a:lnTo>
                      <a:pt x="11653917" y="10779759"/>
                    </a:lnTo>
                    <a:lnTo>
                      <a:pt x="12033827" y="11051133"/>
                    </a:lnTo>
                    <a:lnTo>
                      <a:pt x="12531328" y="11331556"/>
                    </a:lnTo>
                    <a:lnTo>
                      <a:pt x="13525033" y="11264884"/>
                    </a:lnTo>
                    <a:lnTo>
                      <a:pt x="13622565" y="11784996"/>
                    </a:lnTo>
                    <a:lnTo>
                      <a:pt x="13072739" y="12075586"/>
                    </a:lnTo>
                    <a:lnTo>
                      <a:pt x="12397515" y="12497597"/>
                    </a:lnTo>
                    <a:lnTo>
                      <a:pt x="12090048" y="13287367"/>
                    </a:lnTo>
                    <a:lnTo>
                      <a:pt x="11571576" y="13691294"/>
                    </a:lnTo>
                    <a:lnTo>
                      <a:pt x="10824014" y="14318273"/>
                    </a:lnTo>
                    <a:lnTo>
                      <a:pt x="10691385" y="15186418"/>
                    </a:lnTo>
                    <a:lnTo>
                      <a:pt x="10076452" y="15753121"/>
                    </a:lnTo>
                    <a:lnTo>
                      <a:pt x="9690609" y="15897811"/>
                    </a:lnTo>
                    <a:lnTo>
                      <a:pt x="9316828" y="16253508"/>
                    </a:lnTo>
                    <a:lnTo>
                      <a:pt x="8762187" y="16349969"/>
                    </a:lnTo>
                    <a:lnTo>
                      <a:pt x="8117109" y="15867666"/>
                    </a:lnTo>
                    <a:lnTo>
                      <a:pt x="7616721" y="15873689"/>
                    </a:lnTo>
                    <a:lnTo>
                      <a:pt x="7435861" y="16741834"/>
                    </a:lnTo>
                    <a:lnTo>
                      <a:pt x="6887243" y="17181930"/>
                    </a:lnTo>
                    <a:lnTo>
                      <a:pt x="6676238" y="17664233"/>
                    </a:lnTo>
                    <a:lnTo>
                      <a:pt x="6335576" y="17699749"/>
                    </a:lnTo>
                    <a:lnTo>
                      <a:pt x="6015490" y="16968505"/>
                    </a:lnTo>
                    <a:lnTo>
                      <a:pt x="5158198" y="16787645"/>
                    </a:lnTo>
                    <a:lnTo>
                      <a:pt x="4619226" y="16161859"/>
                    </a:lnTo>
                    <a:lnTo>
                      <a:pt x="4637311" y="15727786"/>
                    </a:lnTo>
                    <a:lnTo>
                      <a:pt x="4467305" y="15583095"/>
                    </a:lnTo>
                    <a:lnTo>
                      <a:pt x="4097454" y="16087770"/>
                    </a:lnTo>
                    <a:lnTo>
                      <a:pt x="3482522" y="15203956"/>
                    </a:lnTo>
                    <a:lnTo>
                      <a:pt x="3653428" y="14396645"/>
                    </a:lnTo>
                    <a:lnTo>
                      <a:pt x="3378507" y="13914342"/>
                    </a:lnTo>
                    <a:lnTo>
                      <a:pt x="3945210" y="13317494"/>
                    </a:lnTo>
                    <a:lnTo>
                      <a:pt x="4650580" y="13070319"/>
                    </a:lnTo>
                    <a:lnTo>
                      <a:pt x="4505889" y="12455386"/>
                    </a:lnTo>
                    <a:lnTo>
                      <a:pt x="4343114" y="11695763"/>
                    </a:lnTo>
                    <a:lnTo>
                      <a:pt x="4017563" y="11080830"/>
                    </a:lnTo>
                    <a:lnTo>
                      <a:pt x="3523198" y="10417667"/>
                    </a:lnTo>
                    <a:lnTo>
                      <a:pt x="3996178" y="10206164"/>
                    </a:lnTo>
                    <a:lnTo>
                      <a:pt x="3411391" y="9409164"/>
                    </a:lnTo>
                    <a:lnTo>
                      <a:pt x="2997818" y="9699753"/>
                    </a:lnTo>
                    <a:lnTo>
                      <a:pt x="3191625" y="9012965"/>
                    </a:lnTo>
                    <a:lnTo>
                      <a:pt x="2481120" y="9079257"/>
                    </a:lnTo>
                    <a:lnTo>
                      <a:pt x="2307810" y="8862270"/>
                    </a:lnTo>
                    <a:lnTo>
                      <a:pt x="1902675" y="8435428"/>
                    </a:lnTo>
                    <a:lnTo>
                      <a:pt x="1461371" y="8522243"/>
                    </a:lnTo>
                    <a:lnTo>
                      <a:pt x="1211781" y="8156900"/>
                    </a:lnTo>
                    <a:lnTo>
                      <a:pt x="528118" y="8099024"/>
                    </a:lnTo>
                    <a:lnTo>
                      <a:pt x="549825" y="7444299"/>
                    </a:lnTo>
                    <a:lnTo>
                      <a:pt x="0" y="7252585"/>
                    </a:lnTo>
                    <a:lnTo>
                      <a:pt x="79584" y="6858305"/>
                    </a:lnTo>
                    <a:lnTo>
                      <a:pt x="745162" y="6648506"/>
                    </a:lnTo>
                    <a:lnTo>
                      <a:pt x="1291365" y="6409770"/>
                    </a:lnTo>
                    <a:lnTo>
                      <a:pt x="1645854" y="6207203"/>
                    </a:lnTo>
                    <a:lnTo>
                      <a:pt x="1663938" y="5650147"/>
                    </a:lnTo>
                    <a:lnTo>
                      <a:pt x="1171989" y="5140113"/>
                    </a:lnTo>
                    <a:lnTo>
                      <a:pt x="1848421" y="4217714"/>
                    </a:lnTo>
                    <a:lnTo>
                      <a:pt x="2492292" y="4441989"/>
                    </a:lnTo>
                    <a:lnTo>
                      <a:pt x="3280854" y="4470927"/>
                    </a:lnTo>
                    <a:lnTo>
                      <a:pt x="3761949" y="4152607"/>
                    </a:lnTo>
                    <a:lnTo>
                      <a:pt x="3114455" y="3606404"/>
                    </a:lnTo>
                    <a:lnTo>
                      <a:pt x="2673152" y="3541297"/>
                    </a:lnTo>
                    <a:lnTo>
                      <a:pt x="1989489" y="3570235"/>
                    </a:lnTo>
                    <a:lnTo>
                      <a:pt x="2018427" y="3063810"/>
                    </a:lnTo>
                    <a:lnTo>
                      <a:pt x="2831435" y="3080250"/>
                    </a:lnTo>
                    <a:lnTo>
                      <a:pt x="2904657" y="2857635"/>
                    </a:lnTo>
                    <a:lnTo>
                      <a:pt x="2307809" y="2694859"/>
                    </a:lnTo>
                    <a:lnTo>
                      <a:pt x="1757984" y="2579106"/>
                    </a:lnTo>
                    <a:lnTo>
                      <a:pt x="2376539" y="2040135"/>
                    </a:lnTo>
                    <a:lnTo>
                      <a:pt x="1786922" y="1692876"/>
                    </a:lnTo>
                    <a:lnTo>
                      <a:pt x="2353928" y="1376505"/>
                    </a:lnTo>
                    <a:lnTo>
                      <a:pt x="3392984" y="1616916"/>
                    </a:lnTo>
                    <a:lnTo>
                      <a:pt x="4807332" y="1461371"/>
                    </a:lnTo>
                    <a:lnTo>
                      <a:pt x="5613078" y="1412704"/>
                    </a:lnTo>
                    <a:lnTo>
                      <a:pt x="6427855" y="1211781"/>
                    </a:lnTo>
                    <a:lnTo>
                      <a:pt x="7110603" y="895439"/>
                    </a:lnTo>
                    <a:lnTo>
                      <a:pt x="8674165" y="1059859"/>
                    </a:lnTo>
                    <a:lnTo>
                      <a:pt x="8850487" y="790540"/>
                    </a:lnTo>
                    <a:lnTo>
                      <a:pt x="8804379" y="405135"/>
                    </a:lnTo>
                    <a:lnTo>
                      <a:pt x="9412081" y="144691"/>
                    </a:lnTo>
                    <a:lnTo>
                      <a:pt x="10153621" y="0"/>
                    </a:lnTo>
                    <a:lnTo>
                      <a:pt x="10642295" y="190148"/>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0" name="任意多边形 110">
                <a:extLst>
                  <a:ext uri="{FF2B5EF4-FFF2-40B4-BE49-F238E27FC236}">
                    <a16:creationId xmlns:a16="http://schemas.microsoft.com/office/drawing/2014/main" id="{FE263F98-CB3B-8CA8-A619-8FDAA391B377}"/>
                  </a:ext>
                </a:extLst>
              </p:cNvPr>
              <p:cNvSpPr>
                <a:spLocks/>
              </p:cNvSpPr>
              <p:nvPr/>
            </p:nvSpPr>
            <p:spPr bwMode="auto">
              <a:xfrm>
                <a:off x="3109851" y="3231198"/>
                <a:ext cx="2250717" cy="1237933"/>
              </a:xfrm>
              <a:custGeom>
                <a:avLst/>
                <a:gdLst/>
                <a:ahLst/>
                <a:cxnLst/>
                <a:rect l="0" t="0" r="r" b="b"/>
                <a:pathLst>
                  <a:path w="27560432" h="15152939">
                    <a:moveTo>
                      <a:pt x="26157237" y="4322377"/>
                    </a:moveTo>
                    <a:lnTo>
                      <a:pt x="25950755" y="4946265"/>
                    </a:lnTo>
                    <a:lnTo>
                      <a:pt x="26059273" y="5561190"/>
                    </a:lnTo>
                    <a:lnTo>
                      <a:pt x="26439085" y="6103777"/>
                    </a:lnTo>
                    <a:lnTo>
                      <a:pt x="26366739" y="6555934"/>
                    </a:lnTo>
                    <a:lnTo>
                      <a:pt x="25824148" y="6827228"/>
                    </a:lnTo>
                    <a:lnTo>
                      <a:pt x="26023104" y="7478344"/>
                    </a:lnTo>
                    <a:lnTo>
                      <a:pt x="26619948" y="7840060"/>
                    </a:lnTo>
                    <a:lnTo>
                      <a:pt x="26276305" y="8672029"/>
                    </a:lnTo>
                    <a:lnTo>
                      <a:pt x="26312478" y="9666777"/>
                    </a:lnTo>
                    <a:lnTo>
                      <a:pt x="25878405" y="10227453"/>
                    </a:lnTo>
                    <a:lnTo>
                      <a:pt x="26402912" y="10643437"/>
                    </a:lnTo>
                    <a:lnTo>
                      <a:pt x="27319497" y="10082959"/>
                    </a:lnTo>
                    <a:lnTo>
                      <a:pt x="27560432" y="10281714"/>
                    </a:lnTo>
                    <a:lnTo>
                      <a:pt x="27325315" y="10860465"/>
                    </a:lnTo>
                    <a:lnTo>
                      <a:pt x="27542355" y="12005935"/>
                    </a:lnTo>
                    <a:lnTo>
                      <a:pt x="26089423" y="11975789"/>
                    </a:lnTo>
                    <a:lnTo>
                      <a:pt x="24473715" y="12090334"/>
                    </a:lnTo>
                    <a:lnTo>
                      <a:pt x="23135328" y="12222964"/>
                    </a:lnTo>
                    <a:lnTo>
                      <a:pt x="22261159" y="12934357"/>
                    </a:lnTo>
                    <a:lnTo>
                      <a:pt x="20826342" y="14369204"/>
                    </a:lnTo>
                    <a:lnTo>
                      <a:pt x="12952786" y="14960014"/>
                    </a:lnTo>
                    <a:lnTo>
                      <a:pt x="11934663" y="15008264"/>
                    </a:lnTo>
                    <a:lnTo>
                      <a:pt x="8506848" y="15152939"/>
                    </a:lnTo>
                    <a:lnTo>
                      <a:pt x="7985095" y="14507857"/>
                    </a:lnTo>
                    <a:lnTo>
                      <a:pt x="7400308" y="14477712"/>
                    </a:lnTo>
                    <a:lnTo>
                      <a:pt x="6972273" y="14749009"/>
                    </a:lnTo>
                    <a:lnTo>
                      <a:pt x="5181729" y="14664610"/>
                    </a:lnTo>
                    <a:lnTo>
                      <a:pt x="4397998" y="14031593"/>
                    </a:lnTo>
                    <a:lnTo>
                      <a:pt x="2908896" y="13223739"/>
                    </a:lnTo>
                    <a:lnTo>
                      <a:pt x="1263043" y="12512346"/>
                    </a:lnTo>
                    <a:lnTo>
                      <a:pt x="485320" y="12060189"/>
                    </a:lnTo>
                    <a:lnTo>
                      <a:pt x="0" y="11767077"/>
                    </a:lnTo>
                    <a:lnTo>
                      <a:pt x="1003686" y="11021112"/>
                    </a:lnTo>
                    <a:lnTo>
                      <a:pt x="2902551" y="9836713"/>
                    </a:lnTo>
                    <a:lnTo>
                      <a:pt x="2558940" y="9303282"/>
                    </a:lnTo>
                    <a:lnTo>
                      <a:pt x="2402508" y="8616199"/>
                    </a:lnTo>
                    <a:lnTo>
                      <a:pt x="2730740" y="8589028"/>
                    </a:lnTo>
                    <a:lnTo>
                      <a:pt x="2947754" y="8118883"/>
                    </a:lnTo>
                    <a:lnTo>
                      <a:pt x="3499325" y="7675866"/>
                    </a:lnTo>
                    <a:lnTo>
                      <a:pt x="3680166" y="6798868"/>
                    </a:lnTo>
                    <a:lnTo>
                      <a:pt x="4186528" y="6807904"/>
                    </a:lnTo>
                    <a:lnTo>
                      <a:pt x="4837569" y="7278054"/>
                    </a:lnTo>
                    <a:lnTo>
                      <a:pt x="5352976" y="7196687"/>
                    </a:lnTo>
                    <a:lnTo>
                      <a:pt x="5741786" y="6825992"/>
                    </a:lnTo>
                    <a:lnTo>
                      <a:pt x="6157723" y="6663251"/>
                    </a:lnTo>
                    <a:lnTo>
                      <a:pt x="6745471" y="6093658"/>
                    </a:lnTo>
                    <a:lnTo>
                      <a:pt x="6890140" y="5243782"/>
                    </a:lnTo>
                    <a:lnTo>
                      <a:pt x="7568305" y="4674188"/>
                    </a:lnTo>
                    <a:lnTo>
                      <a:pt x="8137967" y="4231167"/>
                    </a:lnTo>
                    <a:lnTo>
                      <a:pt x="8463480" y="3426500"/>
                    </a:lnTo>
                    <a:lnTo>
                      <a:pt x="9024093" y="3073893"/>
                    </a:lnTo>
                    <a:lnTo>
                      <a:pt x="9675138" y="2721291"/>
                    </a:lnTo>
                    <a:lnTo>
                      <a:pt x="9558580" y="2173007"/>
                    </a:lnTo>
                    <a:lnTo>
                      <a:pt x="10353296" y="1500723"/>
                    </a:lnTo>
                    <a:lnTo>
                      <a:pt x="10832530" y="1428389"/>
                    </a:lnTo>
                    <a:lnTo>
                      <a:pt x="11058585" y="1880458"/>
                    </a:lnTo>
                    <a:lnTo>
                      <a:pt x="11411229" y="2260189"/>
                    </a:lnTo>
                    <a:lnTo>
                      <a:pt x="11998974" y="2341559"/>
                    </a:lnTo>
                    <a:lnTo>
                      <a:pt x="12315449" y="3001571"/>
                    </a:lnTo>
                    <a:lnTo>
                      <a:pt x="12785642" y="2820742"/>
                    </a:lnTo>
                    <a:lnTo>
                      <a:pt x="13671776" y="3272803"/>
                    </a:lnTo>
                    <a:lnTo>
                      <a:pt x="14123886" y="2974450"/>
                    </a:lnTo>
                    <a:lnTo>
                      <a:pt x="14259509" y="2404849"/>
                    </a:lnTo>
                    <a:lnTo>
                      <a:pt x="14892468" y="1762918"/>
                    </a:lnTo>
                    <a:lnTo>
                      <a:pt x="15778605" y="1211398"/>
                    </a:lnTo>
                    <a:lnTo>
                      <a:pt x="16022739" y="1681548"/>
                    </a:lnTo>
                    <a:lnTo>
                      <a:pt x="16013694" y="2169778"/>
                    </a:lnTo>
                    <a:lnTo>
                      <a:pt x="16556232" y="2260200"/>
                    </a:lnTo>
                    <a:lnTo>
                      <a:pt x="16863663" y="1744834"/>
                    </a:lnTo>
                    <a:lnTo>
                      <a:pt x="17406193" y="1410312"/>
                    </a:lnTo>
                    <a:lnTo>
                      <a:pt x="17623203" y="867840"/>
                    </a:lnTo>
                    <a:lnTo>
                      <a:pt x="18120524" y="831675"/>
                    </a:lnTo>
                    <a:lnTo>
                      <a:pt x="18201903" y="542358"/>
                    </a:lnTo>
                    <a:lnTo>
                      <a:pt x="18744437" y="117414"/>
                    </a:lnTo>
                    <a:lnTo>
                      <a:pt x="19443290" y="0"/>
                    </a:lnTo>
                    <a:lnTo>
                      <a:pt x="19982300" y="460880"/>
                    </a:lnTo>
                    <a:lnTo>
                      <a:pt x="19530143" y="913038"/>
                    </a:lnTo>
                    <a:lnTo>
                      <a:pt x="19837609" y="1238588"/>
                    </a:lnTo>
                    <a:lnTo>
                      <a:pt x="20886614" y="1546055"/>
                    </a:lnTo>
                    <a:lnTo>
                      <a:pt x="21881359" y="1889694"/>
                    </a:lnTo>
                    <a:lnTo>
                      <a:pt x="21772837" y="2269505"/>
                    </a:lnTo>
                    <a:lnTo>
                      <a:pt x="21537712" y="2884438"/>
                    </a:lnTo>
                    <a:lnTo>
                      <a:pt x="21996067" y="2911656"/>
                    </a:lnTo>
                    <a:lnTo>
                      <a:pt x="22478203" y="2414189"/>
                    </a:lnTo>
                    <a:lnTo>
                      <a:pt x="23292084" y="2016293"/>
                    </a:lnTo>
                    <a:lnTo>
                      <a:pt x="23888932" y="1998212"/>
                    </a:lnTo>
                    <a:lnTo>
                      <a:pt x="24612383" y="1582227"/>
                    </a:lnTo>
                    <a:lnTo>
                      <a:pt x="25010275" y="695990"/>
                    </a:lnTo>
                    <a:lnTo>
                      <a:pt x="25769899" y="840685"/>
                    </a:lnTo>
                    <a:lnTo>
                      <a:pt x="26402920" y="876857"/>
                    </a:lnTo>
                    <a:lnTo>
                      <a:pt x="26240141" y="1491794"/>
                    </a:lnTo>
                    <a:lnTo>
                      <a:pt x="26554742" y="2052454"/>
                    </a:lnTo>
                    <a:lnTo>
                      <a:pt x="25679461" y="2775920"/>
                    </a:lnTo>
                    <a:lnTo>
                      <a:pt x="25751806" y="3806840"/>
                    </a:lnTo>
                    <a:lnTo>
                      <a:pt x="26157237" y="4322377"/>
                    </a:lnTo>
                    <a:close/>
                  </a:path>
                </a:pathLst>
              </a:custGeom>
              <a:grpFill/>
              <a:ln w="12700" cap="flat">
                <a:solidFill>
                  <a:schemeClr val="bg1"/>
                </a:solidFill>
                <a:prstDash val="solid"/>
                <a:miter/>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1" name="任意多边形 111">
                <a:extLst>
                  <a:ext uri="{FF2B5EF4-FFF2-40B4-BE49-F238E27FC236}">
                    <a16:creationId xmlns:a16="http://schemas.microsoft.com/office/drawing/2014/main" id="{22788162-0B7B-89BA-1A59-1167EE61430C}"/>
                  </a:ext>
                </a:extLst>
              </p:cNvPr>
              <p:cNvSpPr>
                <a:spLocks/>
              </p:cNvSpPr>
              <p:nvPr/>
            </p:nvSpPr>
            <p:spPr bwMode="auto">
              <a:xfrm>
                <a:off x="4595197" y="2461260"/>
                <a:ext cx="830131" cy="1007110"/>
              </a:xfrm>
              <a:custGeom>
                <a:avLst/>
                <a:gdLst>
                  <a:gd name="T0" fmla="*/ 0 w 2615"/>
                  <a:gd name="T1" fmla="*/ 877971 h 3172"/>
                  <a:gd name="T2" fmla="*/ 9526 w 2615"/>
                  <a:gd name="T3" fmla="*/ 982701 h 3172"/>
                  <a:gd name="T4" fmla="*/ 123826 w 2615"/>
                  <a:gd name="T5" fmla="*/ 901738 h 3172"/>
                  <a:gd name="T6" fmla="*/ 164307 w 2615"/>
                  <a:gd name="T7" fmla="*/ 1013658 h 3172"/>
                  <a:gd name="T8" fmla="*/ 45243 w 2615"/>
                  <a:gd name="T9" fmla="*/ 1070806 h 3172"/>
                  <a:gd name="T10" fmla="*/ 150019 w 2615"/>
                  <a:gd name="T11" fmla="*/ 1139863 h 3172"/>
                  <a:gd name="T12" fmla="*/ 288132 w 2615"/>
                  <a:gd name="T13" fmla="*/ 1149388 h 3172"/>
                  <a:gd name="T14" fmla="*/ 269080 w 2615"/>
                  <a:gd name="T15" fmla="*/ 1258924 h 3172"/>
                  <a:gd name="T16" fmla="*/ 178593 w 2615"/>
                  <a:gd name="T17" fmla="*/ 1282737 h 3172"/>
                  <a:gd name="T18" fmla="*/ 228600 w 2615"/>
                  <a:gd name="T19" fmla="*/ 1401799 h 3172"/>
                  <a:gd name="T20" fmla="*/ 319086 w 2615"/>
                  <a:gd name="T21" fmla="*/ 1589915 h 3172"/>
                  <a:gd name="T22" fmla="*/ 340517 w 2615"/>
                  <a:gd name="T23" fmla="*/ 1861376 h 3172"/>
                  <a:gd name="T24" fmla="*/ 269079 w 2615"/>
                  <a:gd name="T25" fmla="*/ 2001869 h 3172"/>
                  <a:gd name="T26" fmla="*/ 371473 w 2615"/>
                  <a:gd name="T27" fmla="*/ 2180463 h 3172"/>
                  <a:gd name="T28" fmla="*/ 271460 w 2615"/>
                  <a:gd name="T29" fmla="*/ 2225705 h 3172"/>
                  <a:gd name="T30" fmla="*/ 238123 w 2615"/>
                  <a:gd name="T31" fmla="*/ 2368579 h 3172"/>
                  <a:gd name="T32" fmla="*/ 334487 w 2615"/>
                  <a:gd name="T33" fmla="*/ 2484765 h 3172"/>
                  <a:gd name="T34" fmla="*/ 471485 w 2615"/>
                  <a:gd name="T35" fmla="*/ 2606703 h 3172"/>
                  <a:gd name="T36" fmla="*/ 357185 w 2615"/>
                  <a:gd name="T37" fmla="*/ 2723382 h 3172"/>
                  <a:gd name="T38" fmla="*/ 440527 w 2615"/>
                  <a:gd name="T39" fmla="*/ 2811489 h 3172"/>
                  <a:gd name="T40" fmla="*/ 769139 w 2615"/>
                  <a:gd name="T41" fmla="*/ 2906739 h 3172"/>
                  <a:gd name="T42" fmla="*/ 973926 w 2615"/>
                  <a:gd name="T43" fmla="*/ 2985319 h 3172"/>
                  <a:gd name="T44" fmla="*/ 950112 w 2615"/>
                  <a:gd name="T45" fmla="*/ 3075806 h 3172"/>
                  <a:gd name="T46" fmla="*/ 885818 w 2615"/>
                  <a:gd name="T47" fmla="*/ 3242493 h 3172"/>
                  <a:gd name="T48" fmla="*/ 1007259 w 2615"/>
                  <a:gd name="T49" fmla="*/ 3249638 h 3172"/>
                  <a:gd name="T50" fmla="*/ 1131085 w 2615"/>
                  <a:gd name="T51" fmla="*/ 3121049 h 3172"/>
                  <a:gd name="T52" fmla="*/ 1345398 w 2615"/>
                  <a:gd name="T53" fmla="*/ 3013894 h 3172"/>
                  <a:gd name="T54" fmla="*/ 1502558 w 2615"/>
                  <a:gd name="T55" fmla="*/ 3009131 h 3172"/>
                  <a:gd name="T56" fmla="*/ 1697821 w 2615"/>
                  <a:gd name="T57" fmla="*/ 2899594 h 3172"/>
                  <a:gd name="T58" fmla="*/ 1800212 w 2615"/>
                  <a:gd name="T59" fmla="*/ 2668613 h 3172"/>
                  <a:gd name="T60" fmla="*/ 2016905 w 2615"/>
                  <a:gd name="T61" fmla="*/ 2709095 h 3172"/>
                  <a:gd name="T62" fmla="*/ 2164543 w 2615"/>
                  <a:gd name="T63" fmla="*/ 2713858 h 3172"/>
                  <a:gd name="T64" fmla="*/ 2121679 w 2615"/>
                  <a:gd name="T65" fmla="*/ 2871020 h 3172"/>
                  <a:gd name="T66" fmla="*/ 2207907 w 2615"/>
                  <a:gd name="T67" fmla="*/ 3025008 h 3172"/>
                  <a:gd name="T68" fmla="*/ 2488389 w 2615"/>
                  <a:gd name="T69" fmla="*/ 3037709 h 3172"/>
                  <a:gd name="T70" fmla="*/ 2676509 w 2615"/>
                  <a:gd name="T71" fmla="*/ 2792441 h 3172"/>
                  <a:gd name="T72" fmla="*/ 2595546 w 2615"/>
                  <a:gd name="T73" fmla="*/ 2559078 h 3172"/>
                  <a:gd name="T74" fmla="*/ 2347133 w 2615"/>
                  <a:gd name="T75" fmla="*/ 2261454 h 3172"/>
                  <a:gd name="T76" fmla="*/ 2464577 w 2615"/>
                  <a:gd name="T77" fmla="*/ 2116168 h 3172"/>
                  <a:gd name="T78" fmla="*/ 2678889 w 2615"/>
                  <a:gd name="T79" fmla="*/ 1930432 h 3172"/>
                  <a:gd name="T80" fmla="*/ 2678093 w 2615"/>
                  <a:gd name="T81" fmla="*/ 1666453 h 3172"/>
                  <a:gd name="T82" fmla="*/ 2048418 w 2615"/>
                  <a:gd name="T83" fmla="*/ 889742 h 3172"/>
                  <a:gd name="T84" fmla="*/ 1796250 w 2615"/>
                  <a:gd name="T85" fmla="*/ 626836 h 3172"/>
                  <a:gd name="T86" fmla="*/ 1502649 w 2615"/>
                  <a:gd name="T87" fmla="*/ 460378 h 3172"/>
                  <a:gd name="T88" fmla="*/ 1364578 w 2615"/>
                  <a:gd name="T89" fmla="*/ 395289 h 3172"/>
                  <a:gd name="T90" fmla="*/ 1264594 w 2615"/>
                  <a:gd name="T91" fmla="*/ 266701 h 3172"/>
                  <a:gd name="T92" fmla="*/ 1435995 w 2615"/>
                  <a:gd name="T93" fmla="*/ 190501 h 3172"/>
                  <a:gd name="T94" fmla="*/ 1469322 w 2615"/>
                  <a:gd name="T95" fmla="*/ 0 h 3172"/>
                  <a:gd name="T96" fmla="*/ 1231267 w 2615"/>
                  <a:gd name="T97" fmla="*/ 104775 h 3172"/>
                  <a:gd name="T98" fmla="*/ 1144255 w 2615"/>
                  <a:gd name="T99" fmla="*/ 92908 h 3172"/>
                  <a:gd name="T100" fmla="*/ 1102720 w 2615"/>
                  <a:gd name="T101" fmla="*/ 257179 h 3172"/>
                  <a:gd name="T102" fmla="*/ 888470 w 2615"/>
                  <a:gd name="T103" fmla="*/ 357191 h 3172"/>
                  <a:gd name="T104" fmla="*/ 755159 w 2615"/>
                  <a:gd name="T105" fmla="*/ 528641 h 3172"/>
                  <a:gd name="T106" fmla="*/ 531389 w 2615"/>
                  <a:gd name="T107" fmla="*/ 623889 h 3172"/>
                  <a:gd name="T108" fmla="*/ 459972 w 2615"/>
                  <a:gd name="T109" fmla="*/ 766766 h 3172"/>
                  <a:gd name="T110" fmla="*/ 264769 w 2615"/>
                  <a:gd name="T111" fmla="*/ 728663 h 3172"/>
                  <a:gd name="T112" fmla="*/ 0 w 2615"/>
                  <a:gd name="T113" fmla="*/ 877971 h 31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615" h="3172">
                    <a:moveTo>
                      <a:pt x="0" y="858"/>
                    </a:moveTo>
                    <a:lnTo>
                      <a:pt x="7" y="955"/>
                    </a:lnTo>
                    <a:lnTo>
                      <a:pt x="119" y="880"/>
                    </a:lnTo>
                    <a:lnTo>
                      <a:pt x="160" y="990"/>
                    </a:lnTo>
                    <a:lnTo>
                      <a:pt x="44" y="1046"/>
                    </a:lnTo>
                    <a:lnTo>
                      <a:pt x="146" y="1114"/>
                    </a:lnTo>
                    <a:lnTo>
                      <a:pt x="281" y="1123"/>
                    </a:lnTo>
                    <a:lnTo>
                      <a:pt x="263" y="1230"/>
                    </a:lnTo>
                    <a:lnTo>
                      <a:pt x="174" y="1253"/>
                    </a:lnTo>
                    <a:lnTo>
                      <a:pt x="223" y="1370"/>
                    </a:lnTo>
                    <a:lnTo>
                      <a:pt x="312" y="1553"/>
                    </a:lnTo>
                    <a:lnTo>
                      <a:pt x="333" y="1819"/>
                    </a:lnTo>
                    <a:lnTo>
                      <a:pt x="263" y="1956"/>
                    </a:lnTo>
                    <a:lnTo>
                      <a:pt x="363" y="2130"/>
                    </a:lnTo>
                    <a:lnTo>
                      <a:pt x="265" y="2175"/>
                    </a:lnTo>
                    <a:lnTo>
                      <a:pt x="233" y="2314"/>
                    </a:lnTo>
                    <a:lnTo>
                      <a:pt x="327" y="2428"/>
                    </a:lnTo>
                    <a:lnTo>
                      <a:pt x="460" y="2547"/>
                    </a:lnTo>
                    <a:lnTo>
                      <a:pt x="349" y="2661"/>
                    </a:lnTo>
                    <a:lnTo>
                      <a:pt x="430" y="2747"/>
                    </a:lnTo>
                    <a:lnTo>
                      <a:pt x="751" y="2840"/>
                    </a:lnTo>
                    <a:lnTo>
                      <a:pt x="952" y="2913"/>
                    </a:lnTo>
                    <a:lnTo>
                      <a:pt x="922" y="3013"/>
                    </a:lnTo>
                    <a:lnTo>
                      <a:pt x="863" y="3165"/>
                    </a:lnTo>
                    <a:lnTo>
                      <a:pt x="977" y="3172"/>
                    </a:lnTo>
                    <a:lnTo>
                      <a:pt x="1105" y="3049"/>
                    </a:lnTo>
                    <a:lnTo>
                      <a:pt x="1314" y="2945"/>
                    </a:lnTo>
                    <a:lnTo>
                      <a:pt x="1467" y="2940"/>
                    </a:lnTo>
                    <a:lnTo>
                      <a:pt x="1651" y="2835"/>
                    </a:lnTo>
                    <a:lnTo>
                      <a:pt x="1756" y="2602"/>
                    </a:lnTo>
                    <a:lnTo>
                      <a:pt x="1948" y="2641"/>
                    </a:lnTo>
                    <a:lnTo>
                      <a:pt x="2114" y="2652"/>
                    </a:lnTo>
                    <a:lnTo>
                      <a:pt x="2072" y="2805"/>
                    </a:lnTo>
                    <a:lnTo>
                      <a:pt x="2156" y="2956"/>
                    </a:lnTo>
                    <a:lnTo>
                      <a:pt x="2430" y="2968"/>
                    </a:lnTo>
                    <a:lnTo>
                      <a:pt x="2614" y="2728"/>
                    </a:lnTo>
                    <a:lnTo>
                      <a:pt x="2535" y="2500"/>
                    </a:lnTo>
                    <a:lnTo>
                      <a:pt x="2292" y="2210"/>
                    </a:lnTo>
                    <a:lnTo>
                      <a:pt x="2407" y="2068"/>
                    </a:lnTo>
                    <a:lnTo>
                      <a:pt x="2609" y="1891"/>
                    </a:lnTo>
                    <a:lnTo>
                      <a:pt x="2615" y="1628"/>
                    </a:lnTo>
                    <a:lnTo>
                      <a:pt x="2000" y="869"/>
                    </a:lnTo>
                    <a:lnTo>
                      <a:pt x="1754" y="612"/>
                    </a:lnTo>
                    <a:lnTo>
                      <a:pt x="1467" y="450"/>
                    </a:lnTo>
                    <a:lnTo>
                      <a:pt x="1333" y="386"/>
                    </a:lnTo>
                    <a:lnTo>
                      <a:pt x="1235" y="261"/>
                    </a:lnTo>
                    <a:lnTo>
                      <a:pt x="1402" y="186"/>
                    </a:lnTo>
                    <a:lnTo>
                      <a:pt x="1435" y="0"/>
                    </a:lnTo>
                    <a:lnTo>
                      <a:pt x="1207" y="97"/>
                    </a:lnTo>
                    <a:lnTo>
                      <a:pt x="1123" y="94"/>
                    </a:lnTo>
                    <a:lnTo>
                      <a:pt x="1077" y="251"/>
                    </a:lnTo>
                    <a:lnTo>
                      <a:pt x="868" y="349"/>
                    </a:lnTo>
                    <a:lnTo>
                      <a:pt x="737" y="516"/>
                    </a:lnTo>
                    <a:lnTo>
                      <a:pt x="519" y="610"/>
                    </a:lnTo>
                    <a:lnTo>
                      <a:pt x="449" y="749"/>
                    </a:lnTo>
                    <a:lnTo>
                      <a:pt x="259" y="712"/>
                    </a:lnTo>
                    <a:lnTo>
                      <a:pt x="0" y="858"/>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2" name="任意多边形 112">
                <a:extLst>
                  <a:ext uri="{FF2B5EF4-FFF2-40B4-BE49-F238E27FC236}">
                    <a16:creationId xmlns:a16="http://schemas.microsoft.com/office/drawing/2014/main" id="{42B32FFC-957B-EB8E-0142-5ED1469CD26C}"/>
                  </a:ext>
                </a:extLst>
              </p:cNvPr>
              <p:cNvSpPr>
                <a:spLocks/>
              </p:cNvSpPr>
              <p:nvPr/>
            </p:nvSpPr>
            <p:spPr bwMode="auto">
              <a:xfrm>
                <a:off x="4082516" y="4405630"/>
                <a:ext cx="1070440" cy="855980"/>
              </a:xfrm>
              <a:custGeom>
                <a:avLst/>
                <a:gdLst>
                  <a:gd name="T0" fmla="*/ 215558 w 13103724"/>
                  <a:gd name="T1" fmla="*/ 1849899 h 10479261"/>
                  <a:gd name="T2" fmla="*/ 264663 w 13103724"/>
                  <a:gd name="T3" fmla="*/ 2011576 h 10479261"/>
                  <a:gd name="T4" fmla="*/ 339518 w 13103724"/>
                  <a:gd name="T5" fmla="*/ 2103213 h 10479261"/>
                  <a:gd name="T6" fmla="*/ 499210 w 13103724"/>
                  <a:gd name="T7" fmla="*/ 2104344 h 10479261"/>
                  <a:gd name="T8" fmla="*/ 617617 w 13103724"/>
                  <a:gd name="T9" fmla="*/ 2307580 h 10479261"/>
                  <a:gd name="T10" fmla="*/ 633269 w 13103724"/>
                  <a:gd name="T11" fmla="*/ 2513082 h 10479261"/>
                  <a:gd name="T12" fmla="*/ 773543 w 13103724"/>
                  <a:gd name="T13" fmla="*/ 2644339 h 10479261"/>
                  <a:gd name="T14" fmla="*/ 1027507 w 13103724"/>
                  <a:gd name="T15" fmla="*/ 2759865 h 10479261"/>
                  <a:gd name="T16" fmla="*/ 1051685 w 13103724"/>
                  <a:gd name="T17" fmla="*/ 2610750 h 10479261"/>
                  <a:gd name="T18" fmla="*/ 1166964 w 13103724"/>
                  <a:gd name="T19" fmla="*/ 2547876 h 10479261"/>
                  <a:gd name="T20" fmla="*/ 1146003 w 13103724"/>
                  <a:gd name="T21" fmla="*/ 2436415 h 10479261"/>
                  <a:gd name="T22" fmla="*/ 1506126 w 13103724"/>
                  <a:gd name="T23" fmla="*/ 2365920 h 10479261"/>
                  <a:gd name="T24" fmla="*/ 1740489 w 13103724"/>
                  <a:gd name="T25" fmla="*/ 2396405 h 10479261"/>
                  <a:gd name="T26" fmla="*/ 1973903 w 13103724"/>
                  <a:gd name="T27" fmla="*/ 2426890 h 10479261"/>
                  <a:gd name="T28" fmla="*/ 2112996 w 13103724"/>
                  <a:gd name="T29" fmla="*/ 2515488 h 10479261"/>
                  <a:gd name="T30" fmla="*/ 2225144 w 13103724"/>
                  <a:gd name="T31" fmla="*/ 2500704 h 10479261"/>
                  <a:gd name="T32" fmla="*/ 2314968 w 13103724"/>
                  <a:gd name="T33" fmla="*/ 2588842 h 10479261"/>
                  <a:gd name="T34" fmla="*/ 2423577 w 13103724"/>
                  <a:gd name="T35" fmla="*/ 2555498 h 10479261"/>
                  <a:gd name="T36" fmla="*/ 2370225 w 13103724"/>
                  <a:gd name="T37" fmla="*/ 2466900 h 10479261"/>
                  <a:gd name="T38" fmla="*/ 2377846 w 13103724"/>
                  <a:gd name="T39" fmla="*/ 2324955 h 10479261"/>
                  <a:gd name="T40" fmla="*/ 2454063 w 13103724"/>
                  <a:gd name="T41" fmla="*/ 2147761 h 10479261"/>
                  <a:gd name="T42" fmla="*/ 2550287 w 13103724"/>
                  <a:gd name="T43" fmla="*/ 2046780 h 10479261"/>
                  <a:gd name="T44" fmla="*/ 2727489 w 13103724"/>
                  <a:gd name="T45" fmla="*/ 1942940 h 10479261"/>
                  <a:gd name="T46" fmla="*/ 2885636 w 13103724"/>
                  <a:gd name="T47" fmla="*/ 2026775 h 10479261"/>
                  <a:gd name="T48" fmla="*/ 3164778 w 13103724"/>
                  <a:gd name="T49" fmla="*/ 2145856 h 10479261"/>
                  <a:gd name="T50" fmla="*/ 3450477 w 13103724"/>
                  <a:gd name="T51" fmla="*/ 2203796 h 10479261"/>
                  <a:gd name="T52" fmla="*/ 3451225 w 13103724"/>
                  <a:gd name="T53" fmla="*/ 1928333 h 10479261"/>
                  <a:gd name="T54" fmla="*/ 3260683 w 13103724"/>
                  <a:gd name="T55" fmla="*/ 1567910 h 10479261"/>
                  <a:gd name="T56" fmla="*/ 3182087 w 13103724"/>
                  <a:gd name="T57" fmla="*/ 1211289 h 10479261"/>
                  <a:gd name="T58" fmla="*/ 2804975 w 13103724"/>
                  <a:gd name="T59" fmla="*/ 1066182 h 10479261"/>
                  <a:gd name="T60" fmla="*/ 2749400 w 13103724"/>
                  <a:gd name="T61" fmla="*/ 853422 h 10479261"/>
                  <a:gd name="T62" fmla="*/ 2511225 w 13103724"/>
                  <a:gd name="T63" fmla="*/ 615257 h 10479261"/>
                  <a:gd name="T64" fmla="*/ 2442947 w 13103724"/>
                  <a:gd name="T65" fmla="*/ 336606 h 10479261"/>
                  <a:gd name="T66" fmla="*/ 2352490 w 13103724"/>
                  <a:gd name="T67" fmla="*/ 0 h 10479261"/>
                  <a:gd name="T68" fmla="*/ 420012 w 13103724"/>
                  <a:gd name="T69" fmla="*/ 146051 h 10479261"/>
                  <a:gd name="T70" fmla="*/ 0 w 13103724"/>
                  <a:gd name="T71" fmla="*/ 165957 h 10479261"/>
                  <a:gd name="T72" fmla="*/ 420954 w 13103724"/>
                  <a:gd name="T73" fmla="*/ 1212935 h 10479261"/>
                  <a:gd name="T74" fmla="*/ 391919 w 13103724"/>
                  <a:gd name="T75" fmla="*/ 1419571 h 10479261"/>
                  <a:gd name="T76" fmla="*/ 331583 w 13103724"/>
                  <a:gd name="T77" fmla="*/ 1649571 h 10479261"/>
                  <a:gd name="T78" fmla="*/ 215558 w 13103724"/>
                  <a:gd name="T79" fmla="*/ 1849899 h 1047926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3103724" h="10479261">
                    <a:moveTo>
                      <a:pt x="818438" y="7024103"/>
                    </a:moveTo>
                    <a:lnTo>
                      <a:pt x="1004880" y="7637995"/>
                    </a:lnTo>
                    <a:lnTo>
                      <a:pt x="1289094" y="7985936"/>
                    </a:lnTo>
                    <a:lnTo>
                      <a:pt x="1895417" y="7990235"/>
                    </a:lnTo>
                    <a:lnTo>
                      <a:pt x="2344988" y="8761920"/>
                    </a:lnTo>
                    <a:lnTo>
                      <a:pt x="2404414" y="9542218"/>
                    </a:lnTo>
                    <a:lnTo>
                      <a:pt x="2937013" y="10040601"/>
                    </a:lnTo>
                    <a:lnTo>
                      <a:pt x="3901270" y="10479261"/>
                    </a:lnTo>
                    <a:lnTo>
                      <a:pt x="3993071" y="9913071"/>
                    </a:lnTo>
                    <a:lnTo>
                      <a:pt x="4430767" y="9674335"/>
                    </a:lnTo>
                    <a:lnTo>
                      <a:pt x="4351183" y="9251116"/>
                    </a:lnTo>
                    <a:lnTo>
                      <a:pt x="5718509" y="8983442"/>
                    </a:lnTo>
                    <a:lnTo>
                      <a:pt x="6608347" y="9099194"/>
                    </a:lnTo>
                    <a:lnTo>
                      <a:pt x="7494577" y="9214947"/>
                    </a:lnTo>
                    <a:lnTo>
                      <a:pt x="8022695" y="9551352"/>
                    </a:lnTo>
                    <a:lnTo>
                      <a:pt x="8448500" y="9495222"/>
                    </a:lnTo>
                    <a:lnTo>
                      <a:pt x="8789549" y="9829880"/>
                    </a:lnTo>
                    <a:lnTo>
                      <a:pt x="9201915" y="9703273"/>
                    </a:lnTo>
                    <a:lnTo>
                      <a:pt x="8999347" y="9366869"/>
                    </a:lnTo>
                    <a:lnTo>
                      <a:pt x="9028285" y="8827897"/>
                    </a:lnTo>
                    <a:lnTo>
                      <a:pt x="9317667" y="8155088"/>
                    </a:lnTo>
                    <a:lnTo>
                      <a:pt x="9683010" y="7771661"/>
                    </a:lnTo>
                    <a:lnTo>
                      <a:pt x="10355819" y="7377380"/>
                    </a:lnTo>
                    <a:lnTo>
                      <a:pt x="10956275" y="7695700"/>
                    </a:lnTo>
                    <a:lnTo>
                      <a:pt x="12016134" y="8147857"/>
                    </a:lnTo>
                    <a:lnTo>
                      <a:pt x="13100884" y="8367852"/>
                    </a:lnTo>
                    <a:cubicBezTo>
                      <a:pt x="13101831" y="8019208"/>
                      <a:pt x="13102777" y="7670563"/>
                      <a:pt x="13103724" y="7321919"/>
                    </a:cubicBezTo>
                    <a:lnTo>
                      <a:pt x="12380269" y="5953386"/>
                    </a:lnTo>
                    <a:lnTo>
                      <a:pt x="12081849" y="4599284"/>
                    </a:lnTo>
                    <a:lnTo>
                      <a:pt x="10650016" y="4048312"/>
                    </a:lnTo>
                    <a:lnTo>
                      <a:pt x="10439011" y="3240458"/>
                    </a:lnTo>
                    <a:lnTo>
                      <a:pt x="9534696" y="2336143"/>
                    </a:lnTo>
                    <a:lnTo>
                      <a:pt x="9275460" y="1278099"/>
                    </a:lnTo>
                    <a:lnTo>
                      <a:pt x="8932015" y="0"/>
                    </a:lnTo>
                    <a:lnTo>
                      <a:pt x="1594715" y="554558"/>
                    </a:lnTo>
                    <a:lnTo>
                      <a:pt x="0" y="630142"/>
                    </a:lnTo>
                    <a:lnTo>
                      <a:pt x="1598292" y="4605539"/>
                    </a:lnTo>
                    <a:lnTo>
                      <a:pt x="1488049" y="5390136"/>
                    </a:lnTo>
                    <a:lnTo>
                      <a:pt x="1258963" y="6263454"/>
                    </a:lnTo>
                    <a:lnTo>
                      <a:pt x="818438" y="7024103"/>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3" name="任意多边形 113">
                <a:extLst>
                  <a:ext uri="{FF2B5EF4-FFF2-40B4-BE49-F238E27FC236}">
                    <a16:creationId xmlns:a16="http://schemas.microsoft.com/office/drawing/2014/main" id="{56D0F0CA-2EFC-BB34-C11F-6AA777733070}"/>
                  </a:ext>
                </a:extLst>
              </p:cNvPr>
              <p:cNvSpPr>
                <a:spLocks/>
              </p:cNvSpPr>
              <p:nvPr/>
            </p:nvSpPr>
            <p:spPr bwMode="auto">
              <a:xfrm>
                <a:off x="3578406" y="4457383"/>
                <a:ext cx="830765" cy="1209993"/>
              </a:xfrm>
              <a:custGeom>
                <a:avLst/>
                <a:gdLst>
                  <a:gd name="T0" fmla="*/ 1841986 w 10172266"/>
                  <a:gd name="T1" fmla="*/ 1683352 h 14815417"/>
                  <a:gd name="T2" fmla="*/ 1891073 w 10172266"/>
                  <a:gd name="T3" fmla="*/ 1844973 h 14815417"/>
                  <a:gd name="T4" fmla="*/ 1965899 w 10172266"/>
                  <a:gd name="T5" fmla="*/ 1936575 h 14815417"/>
                  <a:gd name="T6" fmla="*/ 2125529 w 10172266"/>
                  <a:gd name="T7" fmla="*/ 1937708 h 14815417"/>
                  <a:gd name="T8" fmla="*/ 2243890 w 10172266"/>
                  <a:gd name="T9" fmla="*/ 2140870 h 14815417"/>
                  <a:gd name="T10" fmla="*/ 2259535 w 10172266"/>
                  <a:gd name="T11" fmla="*/ 2346301 h 14815417"/>
                  <a:gd name="T12" fmla="*/ 2399756 w 10172266"/>
                  <a:gd name="T13" fmla="*/ 2477512 h 14815417"/>
                  <a:gd name="T14" fmla="*/ 2653621 w 10172266"/>
                  <a:gd name="T15" fmla="*/ 2592998 h 14815417"/>
                  <a:gd name="T16" fmla="*/ 2678112 w 10172266"/>
                  <a:gd name="T17" fmla="*/ 2693443 h 14815417"/>
                  <a:gd name="T18" fmla="*/ 2565419 w 10172266"/>
                  <a:gd name="T19" fmla="*/ 2728360 h 14815417"/>
                  <a:gd name="T20" fmla="*/ 2479707 w 10172266"/>
                  <a:gd name="T21" fmla="*/ 2874385 h 14815417"/>
                  <a:gd name="T22" fmla="*/ 2355905 w 10172266"/>
                  <a:gd name="T23" fmla="*/ 2798198 h 14815417"/>
                  <a:gd name="T24" fmla="*/ 2194007 w 10172266"/>
                  <a:gd name="T25" fmla="*/ 3021994 h 14815417"/>
                  <a:gd name="T26" fmla="*/ 1917831 w 10172266"/>
                  <a:gd name="T27" fmla="*/ 3136271 h 14815417"/>
                  <a:gd name="T28" fmla="*/ 1746412 w 10172266"/>
                  <a:gd name="T29" fmla="*/ 3312451 h 14815417"/>
                  <a:gd name="T30" fmla="*/ 1427378 w 10172266"/>
                  <a:gd name="T31" fmla="*/ 3664810 h 14815417"/>
                  <a:gd name="T32" fmla="*/ 1451188 w 10172266"/>
                  <a:gd name="T33" fmla="*/ 3850512 h 14815417"/>
                  <a:gd name="T34" fmla="*/ 1243325 w 10172266"/>
                  <a:gd name="T35" fmla="*/ 3900487 h 14815417"/>
                  <a:gd name="T36" fmla="*/ 1103584 w 10172266"/>
                  <a:gd name="T37" fmla="*/ 3764805 h 14815417"/>
                  <a:gd name="T38" fmla="*/ 1203582 w 10172266"/>
                  <a:gd name="T39" fmla="*/ 3588625 h 14815417"/>
                  <a:gd name="T40" fmla="*/ 998830 w 10172266"/>
                  <a:gd name="T41" fmla="*/ 3464824 h 14815417"/>
                  <a:gd name="T42" fmla="*/ 379810 w 10172266"/>
                  <a:gd name="T43" fmla="*/ 3493399 h 14815417"/>
                  <a:gd name="T44" fmla="*/ 256009 w 10172266"/>
                  <a:gd name="T45" fmla="*/ 2874383 h 14815417"/>
                  <a:gd name="T46" fmla="*/ 0 w 10172266"/>
                  <a:gd name="T47" fmla="*/ 2870986 h 14815417"/>
                  <a:gd name="T48" fmla="*/ 21025 w 10172266"/>
                  <a:gd name="T49" fmla="*/ 2662512 h 14815417"/>
                  <a:gd name="T50" fmla="*/ 189345 w 10172266"/>
                  <a:gd name="T51" fmla="*/ 2512504 h 14815417"/>
                  <a:gd name="T52" fmla="*/ 379813 w 10172266"/>
                  <a:gd name="T53" fmla="*/ 2369657 h 14815417"/>
                  <a:gd name="T54" fmla="*/ 598850 w 10172266"/>
                  <a:gd name="T55" fmla="*/ 2217285 h 14815417"/>
                  <a:gd name="T56" fmla="*/ 770270 w 10172266"/>
                  <a:gd name="T57" fmla="*/ 2164907 h 14815417"/>
                  <a:gd name="T58" fmla="*/ 967152 w 10172266"/>
                  <a:gd name="T59" fmla="*/ 2010141 h 14815417"/>
                  <a:gd name="T60" fmla="*/ 865501 w 10172266"/>
                  <a:gd name="T61" fmla="*/ 1864925 h 14815417"/>
                  <a:gd name="T62" fmla="*/ 1046447 w 10172266"/>
                  <a:gd name="T63" fmla="*/ 1669700 h 14815417"/>
                  <a:gd name="T64" fmla="*/ 1003590 w 10172266"/>
                  <a:gd name="T65" fmla="*/ 1550660 h 14815417"/>
                  <a:gd name="T66" fmla="*/ 1070254 w 10172266"/>
                  <a:gd name="T67" fmla="*/ 1379243 h 14815417"/>
                  <a:gd name="T68" fmla="*/ 832169 w 10172266"/>
                  <a:gd name="T69" fmla="*/ 1160207 h 14815417"/>
                  <a:gd name="T70" fmla="*/ 813123 w 10172266"/>
                  <a:gd name="T71" fmla="*/ 712616 h 14815417"/>
                  <a:gd name="T72" fmla="*/ 675034 w 10172266"/>
                  <a:gd name="T73" fmla="*/ 455490 h 14815417"/>
                  <a:gd name="T74" fmla="*/ 703605 w 10172266"/>
                  <a:gd name="T75" fmla="*/ 322166 h 14815417"/>
                  <a:gd name="T76" fmla="*/ 732174 w 10172266"/>
                  <a:gd name="T77" fmla="*/ 40437 h 14815417"/>
                  <a:gd name="T78" fmla="*/ 1626512 w 10172266"/>
                  <a:gd name="T79" fmla="*/ 0 h 14815417"/>
                  <a:gd name="T80" fmla="*/ 2047304 w 10172266"/>
                  <a:gd name="T81" fmla="*/ 1046611 h 14815417"/>
                  <a:gd name="T82" fmla="*/ 2018279 w 10172266"/>
                  <a:gd name="T83" fmla="*/ 1253174 h 14815417"/>
                  <a:gd name="T84" fmla="*/ 1957966 w 10172266"/>
                  <a:gd name="T85" fmla="*/ 1483095 h 14815417"/>
                  <a:gd name="T86" fmla="*/ 1841986 w 10172266"/>
                  <a:gd name="T87" fmla="*/ 1683352 h 1481541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0172266" h="14815417">
                    <a:moveTo>
                      <a:pt x="6996414" y="6393961"/>
                    </a:moveTo>
                    <a:lnTo>
                      <a:pt x="7182856" y="7007853"/>
                    </a:lnTo>
                    <a:lnTo>
                      <a:pt x="7467070" y="7355794"/>
                    </a:lnTo>
                    <a:lnTo>
                      <a:pt x="8073393" y="7360093"/>
                    </a:lnTo>
                    <a:lnTo>
                      <a:pt x="8522964" y="8131778"/>
                    </a:lnTo>
                    <a:lnTo>
                      <a:pt x="8582390" y="8912076"/>
                    </a:lnTo>
                    <a:lnTo>
                      <a:pt x="9114989" y="9410459"/>
                    </a:lnTo>
                    <a:lnTo>
                      <a:pt x="10079246" y="9849119"/>
                    </a:lnTo>
                    <a:lnTo>
                      <a:pt x="10172266" y="10230640"/>
                    </a:lnTo>
                    <a:lnTo>
                      <a:pt x="9744224" y="10363269"/>
                    </a:lnTo>
                    <a:lnTo>
                      <a:pt x="9418669" y="10917922"/>
                    </a:lnTo>
                    <a:lnTo>
                      <a:pt x="8948428" y="10628536"/>
                    </a:lnTo>
                    <a:lnTo>
                      <a:pt x="8333495" y="11478594"/>
                    </a:lnTo>
                    <a:lnTo>
                      <a:pt x="7284493" y="11912659"/>
                    </a:lnTo>
                    <a:lnTo>
                      <a:pt x="6633392" y="12581849"/>
                    </a:lnTo>
                    <a:lnTo>
                      <a:pt x="5421607" y="13920232"/>
                    </a:lnTo>
                    <a:lnTo>
                      <a:pt x="5512045" y="14625598"/>
                    </a:lnTo>
                    <a:lnTo>
                      <a:pt x="4722518" y="14815417"/>
                    </a:lnTo>
                    <a:lnTo>
                      <a:pt x="4191742" y="14300055"/>
                    </a:lnTo>
                    <a:lnTo>
                      <a:pt x="4571561" y="13630861"/>
                    </a:lnTo>
                    <a:lnTo>
                      <a:pt x="3793853" y="13160620"/>
                    </a:lnTo>
                    <a:lnTo>
                      <a:pt x="1442633" y="13269153"/>
                    </a:lnTo>
                    <a:lnTo>
                      <a:pt x="972399" y="10917914"/>
                    </a:lnTo>
                    <a:lnTo>
                      <a:pt x="0" y="10905013"/>
                    </a:lnTo>
                    <a:lnTo>
                      <a:pt x="79861" y="10113155"/>
                    </a:lnTo>
                    <a:lnTo>
                      <a:pt x="719190" y="9543373"/>
                    </a:lnTo>
                    <a:lnTo>
                      <a:pt x="1442641" y="9000786"/>
                    </a:lnTo>
                    <a:lnTo>
                      <a:pt x="2274610" y="8422026"/>
                    </a:lnTo>
                    <a:lnTo>
                      <a:pt x="2925715" y="8223078"/>
                    </a:lnTo>
                    <a:lnTo>
                      <a:pt x="3673532" y="7635222"/>
                    </a:lnTo>
                    <a:lnTo>
                      <a:pt x="3287431" y="7083642"/>
                    </a:lnTo>
                    <a:lnTo>
                      <a:pt x="3974717" y="6342107"/>
                    </a:lnTo>
                    <a:lnTo>
                      <a:pt x="3811934" y="5889950"/>
                    </a:lnTo>
                    <a:lnTo>
                      <a:pt x="4065143" y="5238848"/>
                    </a:lnTo>
                    <a:lnTo>
                      <a:pt x="3160825" y="4406875"/>
                    </a:lnTo>
                    <a:lnTo>
                      <a:pt x="3088483" y="2706765"/>
                    </a:lnTo>
                    <a:lnTo>
                      <a:pt x="2563980" y="1730112"/>
                    </a:lnTo>
                    <a:lnTo>
                      <a:pt x="2672502" y="1223698"/>
                    </a:lnTo>
                    <a:lnTo>
                      <a:pt x="2781017" y="153593"/>
                    </a:lnTo>
                    <a:lnTo>
                      <a:pt x="6177976" y="0"/>
                    </a:lnTo>
                    <a:lnTo>
                      <a:pt x="7776268" y="3975397"/>
                    </a:lnTo>
                    <a:lnTo>
                      <a:pt x="7666025" y="4759994"/>
                    </a:lnTo>
                    <a:lnTo>
                      <a:pt x="7436939" y="5633312"/>
                    </a:lnTo>
                    <a:lnTo>
                      <a:pt x="6996414" y="6393961"/>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4" name="任意多边形 114">
                <a:extLst>
                  <a:ext uri="{FF2B5EF4-FFF2-40B4-BE49-F238E27FC236}">
                    <a16:creationId xmlns:a16="http://schemas.microsoft.com/office/drawing/2014/main" id="{E7D35882-D881-99BD-BF8F-A520A332374F}"/>
                  </a:ext>
                </a:extLst>
              </p:cNvPr>
              <p:cNvSpPr>
                <a:spLocks/>
              </p:cNvSpPr>
              <p:nvPr/>
            </p:nvSpPr>
            <p:spPr bwMode="auto">
              <a:xfrm>
                <a:off x="4812333" y="4036060"/>
                <a:ext cx="1400587" cy="1052195"/>
              </a:xfrm>
              <a:custGeom>
                <a:avLst/>
                <a:gdLst/>
                <a:ahLst/>
                <a:cxnLst/>
                <a:rect l="0" t="0" r="r" b="b"/>
                <a:pathLst>
                  <a:path w="17157070" h="12886678">
                    <a:moveTo>
                      <a:pt x="0" y="4521645"/>
                    </a:moveTo>
                    <a:lnTo>
                      <a:pt x="613837" y="6900003"/>
                    </a:lnTo>
                    <a:lnTo>
                      <a:pt x="1518338" y="7768153"/>
                    </a:lnTo>
                    <a:lnTo>
                      <a:pt x="1735898" y="8600077"/>
                    </a:lnTo>
                    <a:lnTo>
                      <a:pt x="3137400" y="9124637"/>
                    </a:lnTo>
                    <a:lnTo>
                      <a:pt x="3453963" y="10481128"/>
                    </a:lnTo>
                    <a:lnTo>
                      <a:pt x="4168520" y="11855697"/>
                    </a:lnTo>
                    <a:lnTo>
                      <a:pt x="4162343" y="12886678"/>
                    </a:lnTo>
                    <a:lnTo>
                      <a:pt x="4605215" y="12802514"/>
                    </a:lnTo>
                    <a:lnTo>
                      <a:pt x="4840336" y="12513132"/>
                    </a:lnTo>
                    <a:lnTo>
                      <a:pt x="6070201" y="12531224"/>
                    </a:lnTo>
                    <a:lnTo>
                      <a:pt x="6884082" y="11934372"/>
                    </a:lnTo>
                    <a:lnTo>
                      <a:pt x="7716051" y="12259931"/>
                    </a:lnTo>
                    <a:lnTo>
                      <a:pt x="8584189" y="12060979"/>
                    </a:lnTo>
                    <a:lnTo>
                      <a:pt x="9289552" y="12259931"/>
                    </a:lnTo>
                    <a:lnTo>
                      <a:pt x="10139605" y="11862031"/>
                    </a:lnTo>
                    <a:lnTo>
                      <a:pt x="10664108" y="12079067"/>
                    </a:lnTo>
                    <a:lnTo>
                      <a:pt x="11387555" y="11988637"/>
                    </a:lnTo>
                    <a:lnTo>
                      <a:pt x="11966315" y="12712092"/>
                    </a:lnTo>
                    <a:lnTo>
                      <a:pt x="12942975" y="12476963"/>
                    </a:lnTo>
                    <a:lnTo>
                      <a:pt x="13575992" y="12874863"/>
                    </a:lnTo>
                    <a:lnTo>
                      <a:pt x="13973888" y="12784430"/>
                    </a:lnTo>
                    <a:lnTo>
                      <a:pt x="14028146" y="12241839"/>
                    </a:lnTo>
                    <a:lnTo>
                      <a:pt x="13594073" y="12187582"/>
                    </a:lnTo>
                    <a:lnTo>
                      <a:pt x="13612161" y="11500303"/>
                    </a:lnTo>
                    <a:lnTo>
                      <a:pt x="14190925" y="11355616"/>
                    </a:lnTo>
                    <a:lnTo>
                      <a:pt x="13865366" y="10885371"/>
                    </a:lnTo>
                    <a:lnTo>
                      <a:pt x="14136664" y="10487475"/>
                    </a:lnTo>
                    <a:lnTo>
                      <a:pt x="14703435" y="10514571"/>
                    </a:lnTo>
                    <a:lnTo>
                      <a:pt x="14661163" y="10342787"/>
                    </a:lnTo>
                    <a:lnTo>
                      <a:pt x="14335608" y="10180012"/>
                    </a:lnTo>
                    <a:lnTo>
                      <a:pt x="14498387" y="9601248"/>
                    </a:lnTo>
                    <a:lnTo>
                      <a:pt x="13847278" y="8696934"/>
                    </a:lnTo>
                    <a:lnTo>
                      <a:pt x="13340864" y="7991571"/>
                    </a:lnTo>
                    <a:lnTo>
                      <a:pt x="13123831" y="6906393"/>
                    </a:lnTo>
                    <a:lnTo>
                      <a:pt x="13232349" y="6219119"/>
                    </a:lnTo>
                    <a:lnTo>
                      <a:pt x="12273778" y="6252280"/>
                    </a:lnTo>
                    <a:lnTo>
                      <a:pt x="12201432" y="5854380"/>
                    </a:lnTo>
                    <a:lnTo>
                      <a:pt x="12508887" y="5350985"/>
                    </a:lnTo>
                    <a:lnTo>
                      <a:pt x="13774933" y="4573269"/>
                    </a:lnTo>
                    <a:lnTo>
                      <a:pt x="15294184" y="4066854"/>
                    </a:lnTo>
                    <a:lnTo>
                      <a:pt x="15746333" y="4392409"/>
                    </a:lnTo>
                    <a:lnTo>
                      <a:pt x="16578306" y="4103027"/>
                    </a:lnTo>
                    <a:lnTo>
                      <a:pt x="17084732" y="4500935"/>
                    </a:lnTo>
                    <a:lnTo>
                      <a:pt x="17157070" y="3560444"/>
                    </a:lnTo>
                    <a:lnTo>
                      <a:pt x="16433615" y="3470014"/>
                    </a:lnTo>
                    <a:lnTo>
                      <a:pt x="16415865" y="2853862"/>
                    </a:lnTo>
                    <a:lnTo>
                      <a:pt x="15963191" y="2993318"/>
                    </a:lnTo>
                    <a:lnTo>
                      <a:pt x="14923009" y="1763435"/>
                    </a:lnTo>
                    <a:lnTo>
                      <a:pt x="14244644" y="325540"/>
                    </a:lnTo>
                    <a:lnTo>
                      <a:pt x="13367278" y="614945"/>
                    </a:lnTo>
                    <a:lnTo>
                      <a:pt x="12218563" y="623988"/>
                    </a:lnTo>
                    <a:lnTo>
                      <a:pt x="11323109" y="36169"/>
                    </a:lnTo>
                    <a:lnTo>
                      <a:pt x="10780410" y="488337"/>
                    </a:lnTo>
                    <a:lnTo>
                      <a:pt x="10038717" y="687288"/>
                    </a:lnTo>
                    <a:lnTo>
                      <a:pt x="9622651" y="81389"/>
                    </a:lnTo>
                    <a:lnTo>
                      <a:pt x="8672925" y="280344"/>
                    </a:lnTo>
                    <a:lnTo>
                      <a:pt x="7759379" y="0"/>
                    </a:lnTo>
                    <a:lnTo>
                      <a:pt x="6729494" y="443189"/>
                    </a:lnTo>
                    <a:lnTo>
                      <a:pt x="6493079" y="1012843"/>
                    </a:lnTo>
                    <a:lnTo>
                      <a:pt x="6710175" y="2161345"/>
                    </a:lnTo>
                    <a:lnTo>
                      <a:pt x="5290099" y="2134207"/>
                    </a:lnTo>
                    <a:lnTo>
                      <a:pt x="2314296" y="2369327"/>
                    </a:lnTo>
                    <a:lnTo>
                      <a:pt x="1334589" y="3174199"/>
                    </a:lnTo>
                    <a:lnTo>
                      <a:pt x="0" y="4521645"/>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5" name="任意多边形 115">
                <a:extLst>
                  <a:ext uri="{FF2B5EF4-FFF2-40B4-BE49-F238E27FC236}">
                    <a16:creationId xmlns:a16="http://schemas.microsoft.com/office/drawing/2014/main" id="{E0296CFA-EFF0-F8B5-9177-912B7080DA3D}"/>
                  </a:ext>
                </a:extLst>
              </p:cNvPr>
              <p:cNvSpPr>
                <a:spLocks/>
              </p:cNvSpPr>
              <p:nvPr/>
            </p:nvSpPr>
            <p:spPr bwMode="auto">
              <a:xfrm>
                <a:off x="1061349" y="4204335"/>
                <a:ext cx="1065678" cy="1160145"/>
              </a:xfrm>
              <a:custGeom>
                <a:avLst/>
                <a:gdLst>
                  <a:gd name="T0" fmla="*/ 610215 w 2165"/>
                  <a:gd name="T1" fmla="*/ 867849 h 2356"/>
                  <a:gd name="T2" fmla="*/ 666918 w 2165"/>
                  <a:gd name="T3" fmla="*/ 1036045 h 2356"/>
                  <a:gd name="T4" fmla="*/ 466843 w 2165"/>
                  <a:gd name="T5" fmla="*/ 978906 h 2356"/>
                  <a:gd name="T6" fmla="*/ 414444 w 2165"/>
                  <a:gd name="T7" fmla="*/ 874947 h 2356"/>
                  <a:gd name="T8" fmla="*/ 85749 w 2165"/>
                  <a:gd name="T9" fmla="*/ 789239 h 2356"/>
                  <a:gd name="T10" fmla="*/ 4766 w 2165"/>
                  <a:gd name="T11" fmla="*/ 826537 h 2356"/>
                  <a:gd name="T12" fmla="*/ 0 w 2165"/>
                  <a:gd name="T13" fmla="*/ 1017789 h 2356"/>
                  <a:gd name="T14" fmla="*/ 238190 w 2165"/>
                  <a:gd name="T15" fmla="*/ 1117782 h 2356"/>
                  <a:gd name="T16" fmla="*/ 257243 w 2165"/>
                  <a:gd name="T17" fmla="*/ 1370144 h 2356"/>
                  <a:gd name="T18" fmla="*/ 357280 w 2165"/>
                  <a:gd name="T19" fmla="*/ 1670119 h 2356"/>
                  <a:gd name="T20" fmla="*/ 400154 w 2165"/>
                  <a:gd name="T21" fmla="*/ 1812965 h 2356"/>
                  <a:gd name="T22" fmla="*/ 292304 w 2165"/>
                  <a:gd name="T23" fmla="*/ 1996277 h 2356"/>
                  <a:gd name="T24" fmla="*/ 540015 w 2165"/>
                  <a:gd name="T25" fmla="*/ 1981991 h 2356"/>
                  <a:gd name="T26" fmla="*/ 614518 w 2165"/>
                  <a:gd name="T27" fmla="*/ 2265306 h 2356"/>
                  <a:gd name="T28" fmla="*/ 766956 w 2165"/>
                  <a:gd name="T29" fmla="*/ 2274830 h 2356"/>
                  <a:gd name="T30" fmla="*/ 952739 w 2165"/>
                  <a:gd name="T31" fmla="*/ 2365299 h 2356"/>
                  <a:gd name="T32" fmla="*/ 1009903 w 2165"/>
                  <a:gd name="T33" fmla="*/ 2503384 h 2356"/>
                  <a:gd name="T34" fmla="*/ 771718 w 2165"/>
                  <a:gd name="T35" fmla="*/ 2831929 h 2356"/>
                  <a:gd name="T36" fmla="*/ 770098 w 2165"/>
                  <a:gd name="T37" fmla="*/ 3077228 h 2356"/>
                  <a:gd name="T38" fmla="*/ 1194094 w 2165"/>
                  <a:gd name="T39" fmla="*/ 2879544 h 2356"/>
                  <a:gd name="T40" fmla="*/ 1513260 w 2165"/>
                  <a:gd name="T41" fmla="*/ 2849389 h 2356"/>
                  <a:gd name="T42" fmla="*/ 1757794 w 2165"/>
                  <a:gd name="T43" fmla="*/ 2855736 h 2356"/>
                  <a:gd name="T44" fmla="*/ 2142066 w 2165"/>
                  <a:gd name="T45" fmla="*/ 3169997 h 2356"/>
                  <a:gd name="T46" fmla="*/ 2100779 w 2165"/>
                  <a:gd name="T47" fmla="*/ 3354108 h 2356"/>
                  <a:gd name="T48" fmla="*/ 2370719 w 2165"/>
                  <a:gd name="T49" fmla="*/ 3739792 h 2356"/>
                  <a:gd name="T50" fmla="*/ 2608902 w 2165"/>
                  <a:gd name="T51" fmla="*/ 3731869 h 2356"/>
                  <a:gd name="T52" fmla="*/ 2959820 w 2165"/>
                  <a:gd name="T53" fmla="*/ 1113016 h 2356"/>
                  <a:gd name="T54" fmla="*/ 3436938 w 2165"/>
                  <a:gd name="T55" fmla="*/ 1033503 h 2356"/>
                  <a:gd name="T56" fmla="*/ 3340126 w 2165"/>
                  <a:gd name="T57" fmla="*/ 413238 h 2356"/>
                  <a:gd name="T58" fmla="*/ 3090563 w 2165"/>
                  <a:gd name="T59" fmla="*/ 300724 h 2356"/>
                  <a:gd name="T60" fmla="*/ 2745757 w 2165"/>
                  <a:gd name="T61" fmla="*/ 0 h 2356"/>
                  <a:gd name="T62" fmla="*/ 2639556 w 2165"/>
                  <a:gd name="T63" fmla="*/ 131187 h 2356"/>
                  <a:gd name="T64" fmla="*/ 2503712 w 2165"/>
                  <a:gd name="T65" fmla="*/ 20629 h 2356"/>
                  <a:gd name="T66" fmla="*/ 2292074 w 2165"/>
                  <a:gd name="T67" fmla="*/ 23075 h 2356"/>
                  <a:gd name="T68" fmla="*/ 2214906 w 2165"/>
                  <a:gd name="T69" fmla="*/ 89622 h 2356"/>
                  <a:gd name="T70" fmla="*/ 2071192 w 2165"/>
                  <a:gd name="T71" fmla="*/ 30409 h 2356"/>
                  <a:gd name="T72" fmla="*/ 1918768 w 2165"/>
                  <a:gd name="T73" fmla="*/ 113536 h 2356"/>
                  <a:gd name="T74" fmla="*/ 1729255 w 2165"/>
                  <a:gd name="T75" fmla="*/ 88595 h 2356"/>
                  <a:gd name="T76" fmla="*/ 1648230 w 2165"/>
                  <a:gd name="T77" fmla="*/ 246426 h 2356"/>
                  <a:gd name="T78" fmla="*/ 1572011 w 2165"/>
                  <a:gd name="T79" fmla="*/ 351179 h 2356"/>
                  <a:gd name="T80" fmla="*/ 1643466 w 2165"/>
                  <a:gd name="T81" fmla="*/ 551163 h 2356"/>
                  <a:gd name="T82" fmla="*/ 1786377 w 2165"/>
                  <a:gd name="T83" fmla="*/ 617826 h 2356"/>
                  <a:gd name="T84" fmla="*/ 1938814 w 2165"/>
                  <a:gd name="T85" fmla="*/ 646395 h 2356"/>
                  <a:gd name="T86" fmla="*/ 2053143 w 2165"/>
                  <a:gd name="T87" fmla="*/ 551163 h 2356"/>
                  <a:gd name="T88" fmla="*/ 2157943 w 2165"/>
                  <a:gd name="T89" fmla="*/ 598778 h 2356"/>
                  <a:gd name="T90" fmla="*/ 2096015 w 2165"/>
                  <a:gd name="T91" fmla="*/ 722579 h 2356"/>
                  <a:gd name="T92" fmla="*/ 2191292 w 2165"/>
                  <a:gd name="T93" fmla="*/ 913044 h 2356"/>
                  <a:gd name="T94" fmla="*/ 1914995 w 2165"/>
                  <a:gd name="T95" fmla="*/ 979701 h 2356"/>
                  <a:gd name="T96" fmla="*/ 1891177 w 2165"/>
                  <a:gd name="T97" fmla="*/ 889232 h 2356"/>
                  <a:gd name="T98" fmla="*/ 2091252 w 2165"/>
                  <a:gd name="T99" fmla="*/ 803524 h 2356"/>
                  <a:gd name="T100" fmla="*/ 2015033 w 2165"/>
                  <a:gd name="T101" fmla="*/ 722578 h 2356"/>
                  <a:gd name="T102" fmla="*/ 1867359 w 2165"/>
                  <a:gd name="T103" fmla="*/ 736863 h 2356"/>
                  <a:gd name="T104" fmla="*/ 1714924 w 2165"/>
                  <a:gd name="T105" fmla="*/ 703536 h 2356"/>
                  <a:gd name="T106" fmla="*/ 1471977 w 2165"/>
                  <a:gd name="T107" fmla="*/ 608304 h 2356"/>
                  <a:gd name="T108" fmla="*/ 981317 w 2165"/>
                  <a:gd name="T109" fmla="*/ 398796 h 2356"/>
                  <a:gd name="T110" fmla="*/ 833647 w 2165"/>
                  <a:gd name="T111" fmla="*/ 422604 h 2356"/>
                  <a:gd name="T112" fmla="*/ 666918 w 2165"/>
                  <a:gd name="T113" fmla="*/ 408318 h 2356"/>
                  <a:gd name="T114" fmla="*/ 590700 w 2165"/>
                  <a:gd name="T115" fmla="*/ 608302 h 2356"/>
                  <a:gd name="T116" fmla="*/ 409678 w 2165"/>
                  <a:gd name="T117" fmla="*/ 679724 h 2356"/>
                  <a:gd name="T118" fmla="*/ 610215 w 2165"/>
                  <a:gd name="T119" fmla="*/ 867849 h 23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165" h="2356">
                    <a:moveTo>
                      <a:pt x="384" y="547"/>
                    </a:moveTo>
                    <a:lnTo>
                      <a:pt x="420" y="653"/>
                    </a:lnTo>
                    <a:lnTo>
                      <a:pt x="294" y="617"/>
                    </a:lnTo>
                    <a:lnTo>
                      <a:pt x="261" y="551"/>
                    </a:lnTo>
                    <a:lnTo>
                      <a:pt x="54" y="497"/>
                    </a:lnTo>
                    <a:lnTo>
                      <a:pt x="3" y="521"/>
                    </a:lnTo>
                    <a:lnTo>
                      <a:pt x="0" y="641"/>
                    </a:lnTo>
                    <a:lnTo>
                      <a:pt x="150" y="704"/>
                    </a:lnTo>
                    <a:lnTo>
                      <a:pt x="162" y="863"/>
                    </a:lnTo>
                    <a:lnTo>
                      <a:pt x="225" y="1052"/>
                    </a:lnTo>
                    <a:lnTo>
                      <a:pt x="252" y="1142"/>
                    </a:lnTo>
                    <a:lnTo>
                      <a:pt x="184" y="1258"/>
                    </a:lnTo>
                    <a:lnTo>
                      <a:pt x="340" y="1249"/>
                    </a:lnTo>
                    <a:lnTo>
                      <a:pt x="387" y="1427"/>
                    </a:lnTo>
                    <a:lnTo>
                      <a:pt x="483" y="1433"/>
                    </a:lnTo>
                    <a:lnTo>
                      <a:pt x="600" y="1490"/>
                    </a:lnTo>
                    <a:lnTo>
                      <a:pt x="636" y="1577"/>
                    </a:lnTo>
                    <a:lnTo>
                      <a:pt x="486" y="1784"/>
                    </a:lnTo>
                    <a:cubicBezTo>
                      <a:pt x="486" y="1836"/>
                      <a:pt x="485" y="1887"/>
                      <a:pt x="485" y="1939"/>
                    </a:cubicBezTo>
                    <a:lnTo>
                      <a:pt x="752" y="1814"/>
                    </a:lnTo>
                    <a:lnTo>
                      <a:pt x="953" y="1795"/>
                    </a:lnTo>
                    <a:lnTo>
                      <a:pt x="1107" y="1799"/>
                    </a:lnTo>
                    <a:lnTo>
                      <a:pt x="1349" y="1997"/>
                    </a:lnTo>
                    <a:lnTo>
                      <a:pt x="1323" y="2113"/>
                    </a:lnTo>
                    <a:lnTo>
                      <a:pt x="1493" y="2356"/>
                    </a:lnTo>
                    <a:lnTo>
                      <a:pt x="1643" y="2351"/>
                    </a:lnTo>
                    <a:lnTo>
                      <a:pt x="1864" y="701"/>
                    </a:lnTo>
                    <a:lnTo>
                      <a:pt x="2165" y="651"/>
                    </a:lnTo>
                    <a:lnTo>
                      <a:pt x="2104" y="260"/>
                    </a:lnTo>
                    <a:lnTo>
                      <a:pt x="1947" y="189"/>
                    </a:lnTo>
                    <a:lnTo>
                      <a:pt x="1730" y="0"/>
                    </a:lnTo>
                    <a:lnTo>
                      <a:pt x="1663" y="83"/>
                    </a:lnTo>
                    <a:lnTo>
                      <a:pt x="1577" y="13"/>
                    </a:lnTo>
                    <a:lnTo>
                      <a:pt x="1444" y="15"/>
                    </a:lnTo>
                    <a:lnTo>
                      <a:pt x="1395" y="56"/>
                    </a:lnTo>
                    <a:lnTo>
                      <a:pt x="1305" y="19"/>
                    </a:lnTo>
                    <a:lnTo>
                      <a:pt x="1209" y="72"/>
                    </a:lnTo>
                    <a:lnTo>
                      <a:pt x="1089" y="56"/>
                    </a:lnTo>
                    <a:lnTo>
                      <a:pt x="1038" y="155"/>
                    </a:lnTo>
                    <a:lnTo>
                      <a:pt x="990" y="221"/>
                    </a:lnTo>
                    <a:lnTo>
                      <a:pt x="1035" y="347"/>
                    </a:lnTo>
                    <a:lnTo>
                      <a:pt x="1125" y="389"/>
                    </a:lnTo>
                    <a:lnTo>
                      <a:pt x="1221" y="407"/>
                    </a:lnTo>
                    <a:lnTo>
                      <a:pt x="1293" y="347"/>
                    </a:lnTo>
                    <a:lnTo>
                      <a:pt x="1359" y="377"/>
                    </a:lnTo>
                    <a:lnTo>
                      <a:pt x="1320" y="455"/>
                    </a:lnTo>
                    <a:lnTo>
                      <a:pt x="1380" y="575"/>
                    </a:lnTo>
                    <a:lnTo>
                      <a:pt x="1206" y="617"/>
                    </a:lnTo>
                    <a:lnTo>
                      <a:pt x="1191" y="560"/>
                    </a:lnTo>
                    <a:lnTo>
                      <a:pt x="1317" y="506"/>
                    </a:lnTo>
                    <a:lnTo>
                      <a:pt x="1269" y="455"/>
                    </a:lnTo>
                    <a:lnTo>
                      <a:pt x="1176" y="464"/>
                    </a:lnTo>
                    <a:lnTo>
                      <a:pt x="1080" y="443"/>
                    </a:lnTo>
                    <a:lnTo>
                      <a:pt x="927" y="383"/>
                    </a:lnTo>
                    <a:lnTo>
                      <a:pt x="618" y="251"/>
                    </a:lnTo>
                    <a:lnTo>
                      <a:pt x="525" y="266"/>
                    </a:lnTo>
                    <a:lnTo>
                      <a:pt x="420" y="257"/>
                    </a:lnTo>
                    <a:lnTo>
                      <a:pt x="372" y="383"/>
                    </a:lnTo>
                    <a:lnTo>
                      <a:pt x="258" y="428"/>
                    </a:lnTo>
                    <a:lnTo>
                      <a:pt x="384" y="547"/>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6" name="任意多边形 116">
                <a:extLst>
                  <a:ext uri="{FF2B5EF4-FFF2-40B4-BE49-F238E27FC236}">
                    <a16:creationId xmlns:a16="http://schemas.microsoft.com/office/drawing/2014/main" id="{7C6779A7-4321-86EC-BA37-306BDCEAFE06}"/>
                  </a:ext>
                </a:extLst>
              </p:cNvPr>
              <p:cNvSpPr>
                <a:spLocks/>
              </p:cNvSpPr>
              <p:nvPr/>
            </p:nvSpPr>
            <p:spPr bwMode="auto">
              <a:xfrm>
                <a:off x="2488602" y="4070985"/>
                <a:ext cx="1421222" cy="1212215"/>
              </a:xfrm>
              <a:custGeom>
                <a:avLst/>
                <a:gdLst>
                  <a:gd name="T0" fmla="*/ 1155932 w 4477"/>
                  <a:gd name="T1" fmla="*/ 0 h 3818"/>
                  <a:gd name="T2" fmla="*/ 0 w 4477"/>
                  <a:gd name="T3" fmla="*/ 497666 h 3818"/>
                  <a:gd name="T4" fmla="*/ 1209770 w 4477"/>
                  <a:gd name="T5" fmla="*/ 1447800 h 3818"/>
                  <a:gd name="T6" fmla="*/ 1235166 w 4477"/>
                  <a:gd name="T7" fmla="*/ 1633535 h 3818"/>
                  <a:gd name="T8" fmla="*/ 1676486 w 4477"/>
                  <a:gd name="T9" fmla="*/ 2171696 h 3818"/>
                  <a:gd name="T10" fmla="*/ 2024148 w 4477"/>
                  <a:gd name="T11" fmla="*/ 2098668 h 3818"/>
                  <a:gd name="T12" fmla="*/ 2286081 w 4477"/>
                  <a:gd name="T13" fmla="*/ 2044692 h 3818"/>
                  <a:gd name="T14" fmla="*/ 2448006 w 4477"/>
                  <a:gd name="T15" fmla="*/ 2141530 h 3818"/>
                  <a:gd name="T16" fmla="*/ 2670254 w 4477"/>
                  <a:gd name="T17" fmla="*/ 2130416 h 3818"/>
                  <a:gd name="T18" fmla="*/ 2929015 w 4477"/>
                  <a:gd name="T19" fmla="*/ 2197092 h 3818"/>
                  <a:gd name="T20" fmla="*/ 3175077 w 4477"/>
                  <a:gd name="T21" fmla="*/ 2024055 h 3818"/>
                  <a:gd name="T22" fmla="*/ 3352877 w 4477"/>
                  <a:gd name="T23" fmla="*/ 2262181 h 3818"/>
                  <a:gd name="T24" fmla="*/ 3532265 w 4477"/>
                  <a:gd name="T25" fmla="*/ 2341555 h 3818"/>
                  <a:gd name="T26" fmla="*/ 3630687 w 4477"/>
                  <a:gd name="T27" fmla="*/ 2687631 h 3818"/>
                  <a:gd name="T28" fmla="*/ 3833889 w 4477"/>
                  <a:gd name="T29" fmla="*/ 2617778 h 3818"/>
                  <a:gd name="T30" fmla="*/ 3797351 w 4477"/>
                  <a:gd name="T31" fmla="*/ 3075550 h 3818"/>
                  <a:gd name="T32" fmla="*/ 4318074 w 4477"/>
                  <a:gd name="T33" fmla="*/ 2492368 h 3818"/>
                  <a:gd name="T34" fmla="*/ 3921210 w 4477"/>
                  <a:gd name="T35" fmla="*/ 695326 h 3818"/>
                  <a:gd name="T36" fmla="*/ 1186022 w 4477"/>
                  <a:gd name="T37" fmla="*/ 0 h 3818"/>
                  <a:gd name="T38" fmla="*/ 1155932 w 4477"/>
                  <a:gd name="T39" fmla="*/ 0 h 38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477" h="3818">
                    <a:moveTo>
                      <a:pt x="680" y="448"/>
                    </a:moveTo>
                    <a:lnTo>
                      <a:pt x="616" y="552"/>
                    </a:lnTo>
                    <a:lnTo>
                      <a:pt x="528" y="592"/>
                    </a:lnTo>
                    <a:lnTo>
                      <a:pt x="197" y="797"/>
                    </a:lnTo>
                    <a:lnTo>
                      <a:pt x="41" y="928"/>
                    </a:lnTo>
                    <a:lnTo>
                      <a:pt x="0" y="1032"/>
                    </a:lnTo>
                    <a:lnTo>
                      <a:pt x="120" y="1024"/>
                    </a:lnTo>
                    <a:lnTo>
                      <a:pt x="176" y="1056"/>
                    </a:lnTo>
                    <a:lnTo>
                      <a:pt x="152" y="1112"/>
                    </a:lnTo>
                    <a:lnTo>
                      <a:pt x="120" y="1184"/>
                    </a:lnTo>
                    <a:lnTo>
                      <a:pt x="240" y="1128"/>
                    </a:lnTo>
                    <a:lnTo>
                      <a:pt x="224" y="1008"/>
                    </a:lnTo>
                    <a:lnTo>
                      <a:pt x="272" y="920"/>
                    </a:lnTo>
                    <a:lnTo>
                      <a:pt x="232" y="800"/>
                    </a:lnTo>
                    <a:lnTo>
                      <a:pt x="336" y="824"/>
                    </a:lnTo>
                    <a:lnTo>
                      <a:pt x="392" y="864"/>
                    </a:lnTo>
                    <a:lnTo>
                      <a:pt x="400" y="984"/>
                    </a:lnTo>
                    <a:lnTo>
                      <a:pt x="488" y="936"/>
                    </a:lnTo>
                    <a:lnTo>
                      <a:pt x="560" y="936"/>
                    </a:lnTo>
                    <a:lnTo>
                      <a:pt x="632" y="968"/>
                    </a:lnTo>
                    <a:lnTo>
                      <a:pt x="696" y="960"/>
                    </a:lnTo>
                    <a:lnTo>
                      <a:pt x="776" y="984"/>
                    </a:lnTo>
                    <a:lnTo>
                      <a:pt x="832" y="984"/>
                    </a:lnTo>
                    <a:lnTo>
                      <a:pt x="816" y="912"/>
                    </a:lnTo>
                    <a:lnTo>
                      <a:pt x="656" y="904"/>
                    </a:lnTo>
                    <a:lnTo>
                      <a:pt x="552" y="888"/>
                    </a:lnTo>
                    <a:lnTo>
                      <a:pt x="512" y="800"/>
                    </a:lnTo>
                    <a:lnTo>
                      <a:pt x="480" y="760"/>
                    </a:lnTo>
                    <a:lnTo>
                      <a:pt x="456" y="704"/>
                    </a:lnTo>
                    <a:lnTo>
                      <a:pt x="520" y="640"/>
                    </a:lnTo>
                    <a:lnTo>
                      <a:pt x="648" y="600"/>
                    </a:lnTo>
                    <a:lnTo>
                      <a:pt x="768" y="648"/>
                    </a:lnTo>
                    <a:lnTo>
                      <a:pt x="832" y="680"/>
                    </a:lnTo>
                    <a:lnTo>
                      <a:pt x="816" y="616"/>
                    </a:lnTo>
                    <a:lnTo>
                      <a:pt x="760" y="552"/>
                    </a:lnTo>
                    <a:lnTo>
                      <a:pt x="864" y="552"/>
                    </a:lnTo>
                    <a:lnTo>
                      <a:pt x="920" y="608"/>
                    </a:lnTo>
                    <a:lnTo>
                      <a:pt x="912" y="680"/>
                    </a:lnTo>
                    <a:lnTo>
                      <a:pt x="952" y="720"/>
                    </a:lnTo>
                    <a:lnTo>
                      <a:pt x="1024" y="752"/>
                    </a:lnTo>
                    <a:lnTo>
                      <a:pt x="1080" y="720"/>
                    </a:lnTo>
                    <a:lnTo>
                      <a:pt x="1096" y="640"/>
                    </a:lnTo>
                    <a:lnTo>
                      <a:pt x="1184" y="584"/>
                    </a:lnTo>
                    <a:lnTo>
                      <a:pt x="1256" y="560"/>
                    </a:lnTo>
                    <a:lnTo>
                      <a:pt x="1360" y="616"/>
                    </a:lnTo>
                    <a:lnTo>
                      <a:pt x="1288" y="704"/>
                    </a:lnTo>
                    <a:lnTo>
                      <a:pt x="1200" y="784"/>
                    </a:lnTo>
                    <a:lnTo>
                      <a:pt x="1120" y="888"/>
                    </a:lnTo>
                    <a:lnTo>
                      <a:pt x="1048" y="1016"/>
                    </a:lnTo>
                    <a:lnTo>
                      <a:pt x="960" y="1000"/>
                    </a:lnTo>
                    <a:lnTo>
                      <a:pt x="920" y="1056"/>
                    </a:lnTo>
                    <a:lnTo>
                      <a:pt x="984" y="1128"/>
                    </a:lnTo>
                    <a:lnTo>
                      <a:pt x="992" y="1192"/>
                    </a:lnTo>
                    <a:lnTo>
                      <a:pt x="928" y="1264"/>
                    </a:lnTo>
                    <a:lnTo>
                      <a:pt x="896" y="1368"/>
                    </a:lnTo>
                    <a:lnTo>
                      <a:pt x="1008" y="1312"/>
                    </a:lnTo>
                    <a:lnTo>
                      <a:pt x="1080" y="1384"/>
                    </a:lnTo>
                    <a:lnTo>
                      <a:pt x="1040" y="1472"/>
                    </a:lnTo>
                    <a:lnTo>
                      <a:pt x="1144" y="1568"/>
                    </a:lnTo>
                    <a:lnTo>
                      <a:pt x="1176" y="1648"/>
                    </a:lnTo>
                    <a:lnTo>
                      <a:pt x="1208" y="1696"/>
                    </a:lnTo>
                    <a:lnTo>
                      <a:pt x="1296" y="1728"/>
                    </a:lnTo>
                    <a:lnTo>
                      <a:pt x="1280" y="1792"/>
                    </a:lnTo>
                    <a:lnTo>
                      <a:pt x="1384" y="1816"/>
                    </a:lnTo>
                    <a:lnTo>
                      <a:pt x="1312" y="1912"/>
                    </a:lnTo>
                    <a:lnTo>
                      <a:pt x="1128" y="2024"/>
                    </a:lnTo>
                    <a:lnTo>
                      <a:pt x="984" y="2072"/>
                    </a:lnTo>
                    <a:lnTo>
                      <a:pt x="946" y="2186"/>
                    </a:lnTo>
                    <a:lnTo>
                      <a:pt x="970" y="2368"/>
                    </a:lnTo>
                    <a:lnTo>
                      <a:pt x="1402" y="2894"/>
                    </a:lnTo>
                    <a:lnTo>
                      <a:pt x="1741" y="2822"/>
                    </a:lnTo>
                    <a:lnTo>
                      <a:pt x="1997" y="2769"/>
                    </a:lnTo>
                    <a:lnTo>
                      <a:pt x="2155" y="2864"/>
                    </a:lnTo>
                    <a:lnTo>
                      <a:pt x="2372" y="2853"/>
                    </a:lnTo>
                    <a:lnTo>
                      <a:pt x="2625" y="2918"/>
                    </a:lnTo>
                    <a:lnTo>
                      <a:pt x="2866" y="2749"/>
                    </a:lnTo>
                    <a:lnTo>
                      <a:pt x="3039" y="2982"/>
                    </a:lnTo>
                    <a:lnTo>
                      <a:pt x="3215" y="3060"/>
                    </a:lnTo>
                    <a:lnTo>
                      <a:pt x="3311" y="3399"/>
                    </a:lnTo>
                    <a:lnTo>
                      <a:pt x="3509" y="3331"/>
                    </a:lnTo>
                    <a:lnTo>
                      <a:pt x="3453" y="3818"/>
                    </a:lnTo>
                    <a:lnTo>
                      <a:pt x="3621" y="3669"/>
                    </a:lnTo>
                    <a:lnTo>
                      <a:pt x="3801" y="3534"/>
                    </a:lnTo>
                    <a:lnTo>
                      <a:pt x="4015" y="3385"/>
                    </a:lnTo>
                    <a:lnTo>
                      <a:pt x="4184" y="3329"/>
                    </a:lnTo>
                    <a:lnTo>
                      <a:pt x="4379" y="3184"/>
                    </a:lnTo>
                    <a:lnTo>
                      <a:pt x="4280" y="3041"/>
                    </a:lnTo>
                    <a:lnTo>
                      <a:pt x="4454" y="2849"/>
                    </a:lnTo>
                    <a:lnTo>
                      <a:pt x="4415" y="2734"/>
                    </a:lnTo>
                    <a:lnTo>
                      <a:pt x="4477" y="2566"/>
                    </a:lnTo>
                    <a:lnTo>
                      <a:pt x="4244" y="2348"/>
                    </a:lnTo>
                    <a:lnTo>
                      <a:pt x="4230" y="1913"/>
                    </a:lnTo>
                    <a:lnTo>
                      <a:pt x="4091" y="1662"/>
                    </a:lnTo>
                    <a:lnTo>
                      <a:pt x="4122" y="1533"/>
                    </a:lnTo>
                    <a:lnTo>
                      <a:pt x="4150" y="1254"/>
                    </a:lnTo>
                    <a:lnTo>
                      <a:pt x="4012" y="1090"/>
                    </a:lnTo>
                    <a:lnTo>
                      <a:pt x="3861" y="1082"/>
                    </a:lnTo>
                    <a:lnTo>
                      <a:pt x="3747" y="1152"/>
                    </a:lnTo>
                    <a:lnTo>
                      <a:pt x="3294" y="1127"/>
                    </a:lnTo>
                    <a:lnTo>
                      <a:pt x="3090" y="966"/>
                    </a:lnTo>
                    <a:lnTo>
                      <a:pt x="2717" y="761"/>
                    </a:lnTo>
                    <a:lnTo>
                      <a:pt x="2284" y="575"/>
                    </a:lnTo>
                    <a:lnTo>
                      <a:pt x="1960" y="382"/>
                    </a:lnTo>
                    <a:lnTo>
                      <a:pt x="1809" y="249"/>
                    </a:lnTo>
                    <a:lnTo>
                      <a:pt x="1640" y="192"/>
                    </a:lnTo>
                    <a:lnTo>
                      <a:pt x="1568" y="88"/>
                    </a:lnTo>
                    <a:lnTo>
                      <a:pt x="1440" y="0"/>
                    </a:lnTo>
                    <a:lnTo>
                      <a:pt x="1224" y="0"/>
                    </a:lnTo>
                    <a:lnTo>
                      <a:pt x="1040" y="296"/>
                    </a:lnTo>
                    <a:lnTo>
                      <a:pt x="960" y="384"/>
                    </a:lnTo>
                    <a:lnTo>
                      <a:pt x="824" y="400"/>
                    </a:lnTo>
                    <a:lnTo>
                      <a:pt x="736" y="368"/>
                    </a:lnTo>
                    <a:lnTo>
                      <a:pt x="680" y="448"/>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7" name="任意多边形 117">
                <a:extLst>
                  <a:ext uri="{FF2B5EF4-FFF2-40B4-BE49-F238E27FC236}">
                    <a16:creationId xmlns:a16="http://schemas.microsoft.com/office/drawing/2014/main" id="{FDFC11ED-BB75-0440-0543-5D7A1E6E026F}"/>
                  </a:ext>
                </a:extLst>
              </p:cNvPr>
              <p:cNvSpPr>
                <a:spLocks/>
              </p:cNvSpPr>
              <p:nvPr/>
            </p:nvSpPr>
            <p:spPr bwMode="auto">
              <a:xfrm>
                <a:off x="2591455" y="4479925"/>
                <a:ext cx="59681" cy="27940"/>
              </a:xfrm>
              <a:custGeom>
                <a:avLst/>
                <a:gdLst>
                  <a:gd name="T0" fmla="*/ 195587 w 188"/>
                  <a:gd name="T1" fmla="*/ 0 h 88"/>
                  <a:gd name="T2" fmla="*/ 0 w 188"/>
                  <a:gd name="T3" fmla="*/ 2919412 h 88"/>
                  <a:gd name="T4" fmla="*/ 3309938 w 188"/>
                  <a:gd name="T5" fmla="*/ 827669 h 88"/>
                  <a:gd name="T6" fmla="*/ 225678 w 188"/>
                  <a:gd name="T7" fmla="*/ 0 h 88"/>
                  <a:gd name="T8" fmla="*/ 195587 w 188"/>
                  <a:gd name="T9" fmla="*/ 0 h 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8" h="88">
                    <a:moveTo>
                      <a:pt x="32" y="32"/>
                    </a:moveTo>
                    <a:lnTo>
                      <a:pt x="0" y="60"/>
                    </a:lnTo>
                    <a:lnTo>
                      <a:pt x="64" y="88"/>
                    </a:lnTo>
                    <a:lnTo>
                      <a:pt x="108" y="60"/>
                    </a:lnTo>
                    <a:lnTo>
                      <a:pt x="188" y="12"/>
                    </a:lnTo>
                    <a:lnTo>
                      <a:pt x="152" y="12"/>
                    </a:lnTo>
                    <a:lnTo>
                      <a:pt x="76" y="0"/>
                    </a:lnTo>
                    <a:lnTo>
                      <a:pt x="48" y="0"/>
                    </a:lnTo>
                    <a:lnTo>
                      <a:pt x="32" y="32"/>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8" name="任意多边形 10">
                <a:extLst>
                  <a:ext uri="{FF2B5EF4-FFF2-40B4-BE49-F238E27FC236}">
                    <a16:creationId xmlns:a16="http://schemas.microsoft.com/office/drawing/2014/main" id="{A83A67AC-C088-F6E3-AC31-E39AFC39D57D}"/>
                  </a:ext>
                </a:extLst>
              </p:cNvPr>
              <p:cNvSpPr>
                <a:spLocks/>
              </p:cNvSpPr>
              <p:nvPr/>
            </p:nvSpPr>
            <p:spPr bwMode="auto">
              <a:xfrm>
                <a:off x="2454317" y="4485005"/>
                <a:ext cx="71109" cy="97790"/>
              </a:xfrm>
              <a:custGeom>
                <a:avLst/>
                <a:gdLst>
                  <a:gd name="T0" fmla="*/ 195587 w 224"/>
                  <a:gd name="T1" fmla="*/ 0 h 308"/>
                  <a:gd name="T2" fmla="*/ 0 w 224"/>
                  <a:gd name="T3" fmla="*/ 2919412 h 308"/>
                  <a:gd name="T4" fmla="*/ 3309938 w 224"/>
                  <a:gd name="T5" fmla="*/ 827669 h 308"/>
                  <a:gd name="T6" fmla="*/ 225678 w 224"/>
                  <a:gd name="T7" fmla="*/ 0 h 308"/>
                  <a:gd name="T8" fmla="*/ 195587 w 224"/>
                  <a:gd name="T9" fmla="*/ 0 h 30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4" h="308">
                    <a:moveTo>
                      <a:pt x="28" y="72"/>
                    </a:moveTo>
                    <a:lnTo>
                      <a:pt x="0" y="108"/>
                    </a:lnTo>
                    <a:lnTo>
                      <a:pt x="140" y="226"/>
                    </a:lnTo>
                    <a:lnTo>
                      <a:pt x="180" y="216"/>
                    </a:lnTo>
                    <a:lnTo>
                      <a:pt x="224" y="200"/>
                    </a:lnTo>
                    <a:lnTo>
                      <a:pt x="224" y="308"/>
                    </a:lnTo>
                    <a:lnTo>
                      <a:pt x="140" y="224"/>
                    </a:lnTo>
                    <a:lnTo>
                      <a:pt x="140" y="132"/>
                    </a:lnTo>
                    <a:lnTo>
                      <a:pt x="164" y="80"/>
                    </a:lnTo>
                    <a:lnTo>
                      <a:pt x="200" y="36"/>
                    </a:lnTo>
                    <a:lnTo>
                      <a:pt x="180" y="4"/>
                    </a:lnTo>
                    <a:lnTo>
                      <a:pt x="132" y="0"/>
                    </a:lnTo>
                    <a:lnTo>
                      <a:pt x="108" y="36"/>
                    </a:lnTo>
                    <a:lnTo>
                      <a:pt x="80" y="52"/>
                    </a:lnTo>
                    <a:lnTo>
                      <a:pt x="28" y="72"/>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grpSp>
        <p:sp>
          <p:nvSpPr>
            <p:cNvPr id="10" name="任意多边形 110">
              <a:extLst>
                <a:ext uri="{FF2B5EF4-FFF2-40B4-BE49-F238E27FC236}">
                  <a16:creationId xmlns:a16="http://schemas.microsoft.com/office/drawing/2014/main" id="{428F5AE2-E488-13B1-0374-4E7021210A6F}"/>
                </a:ext>
              </a:extLst>
            </p:cNvPr>
            <p:cNvSpPr>
              <a:spLocks/>
            </p:cNvSpPr>
            <p:nvPr/>
          </p:nvSpPr>
          <p:spPr bwMode="auto">
            <a:xfrm>
              <a:off x="4878284" y="2556792"/>
              <a:ext cx="2702928" cy="1810252"/>
            </a:xfrm>
            <a:custGeom>
              <a:avLst/>
              <a:gdLst>
                <a:gd name="connsiteX0" fmla="*/ 26157237 w 27560432"/>
                <a:gd name="connsiteY0" fmla="*/ 4322377 h 15152939"/>
                <a:gd name="connsiteX1" fmla="*/ 25950755 w 27560432"/>
                <a:gd name="connsiteY1" fmla="*/ 4946265 h 15152939"/>
                <a:gd name="connsiteX2" fmla="*/ 26059273 w 27560432"/>
                <a:gd name="connsiteY2" fmla="*/ 5561190 h 15152939"/>
                <a:gd name="connsiteX3" fmla="*/ 26439085 w 27560432"/>
                <a:gd name="connsiteY3" fmla="*/ 6103777 h 15152939"/>
                <a:gd name="connsiteX4" fmla="*/ 26366739 w 27560432"/>
                <a:gd name="connsiteY4" fmla="*/ 6555934 h 15152939"/>
                <a:gd name="connsiteX5" fmla="*/ 25824148 w 27560432"/>
                <a:gd name="connsiteY5" fmla="*/ 6827228 h 15152939"/>
                <a:gd name="connsiteX6" fmla="*/ 26023104 w 27560432"/>
                <a:gd name="connsiteY6" fmla="*/ 7478344 h 15152939"/>
                <a:gd name="connsiteX7" fmla="*/ 26619948 w 27560432"/>
                <a:gd name="connsiteY7" fmla="*/ 7840060 h 15152939"/>
                <a:gd name="connsiteX8" fmla="*/ 26276305 w 27560432"/>
                <a:gd name="connsiteY8" fmla="*/ 8672029 h 15152939"/>
                <a:gd name="connsiteX9" fmla="*/ 26312478 w 27560432"/>
                <a:gd name="connsiteY9" fmla="*/ 9666777 h 15152939"/>
                <a:gd name="connsiteX10" fmla="*/ 25878405 w 27560432"/>
                <a:gd name="connsiteY10" fmla="*/ 10227453 h 15152939"/>
                <a:gd name="connsiteX11" fmla="*/ 26402912 w 27560432"/>
                <a:gd name="connsiteY11" fmla="*/ 10643437 h 15152939"/>
                <a:gd name="connsiteX12" fmla="*/ 27319497 w 27560432"/>
                <a:gd name="connsiteY12" fmla="*/ 10082959 h 15152939"/>
                <a:gd name="connsiteX13" fmla="*/ 27560432 w 27560432"/>
                <a:gd name="connsiteY13" fmla="*/ 10281714 h 15152939"/>
                <a:gd name="connsiteX14" fmla="*/ 27542355 w 27560432"/>
                <a:gd name="connsiteY14" fmla="*/ 12005935 h 15152939"/>
                <a:gd name="connsiteX15" fmla="*/ 26089423 w 27560432"/>
                <a:gd name="connsiteY15" fmla="*/ 11975789 h 15152939"/>
                <a:gd name="connsiteX16" fmla="*/ 24473715 w 27560432"/>
                <a:gd name="connsiteY16" fmla="*/ 12090334 h 15152939"/>
                <a:gd name="connsiteX17" fmla="*/ 23135328 w 27560432"/>
                <a:gd name="connsiteY17" fmla="*/ 12222964 h 15152939"/>
                <a:gd name="connsiteX18" fmla="*/ 22261159 w 27560432"/>
                <a:gd name="connsiteY18" fmla="*/ 12934357 h 15152939"/>
                <a:gd name="connsiteX19" fmla="*/ 20826342 w 27560432"/>
                <a:gd name="connsiteY19" fmla="*/ 14369204 h 15152939"/>
                <a:gd name="connsiteX20" fmla="*/ 12952786 w 27560432"/>
                <a:gd name="connsiteY20" fmla="*/ 14960014 h 15152939"/>
                <a:gd name="connsiteX21" fmla="*/ 11934663 w 27560432"/>
                <a:gd name="connsiteY21" fmla="*/ 15008264 h 15152939"/>
                <a:gd name="connsiteX22" fmla="*/ 8506848 w 27560432"/>
                <a:gd name="connsiteY22" fmla="*/ 15152939 h 15152939"/>
                <a:gd name="connsiteX23" fmla="*/ 7985095 w 27560432"/>
                <a:gd name="connsiteY23" fmla="*/ 14507857 h 15152939"/>
                <a:gd name="connsiteX24" fmla="*/ 7400308 w 27560432"/>
                <a:gd name="connsiteY24" fmla="*/ 14477712 h 15152939"/>
                <a:gd name="connsiteX25" fmla="*/ 6972273 w 27560432"/>
                <a:gd name="connsiteY25" fmla="*/ 14749009 h 15152939"/>
                <a:gd name="connsiteX26" fmla="*/ 5181729 w 27560432"/>
                <a:gd name="connsiteY26" fmla="*/ 14664610 h 15152939"/>
                <a:gd name="connsiteX27" fmla="*/ 4397998 w 27560432"/>
                <a:gd name="connsiteY27" fmla="*/ 14031593 h 15152939"/>
                <a:gd name="connsiteX28" fmla="*/ 2908896 w 27560432"/>
                <a:gd name="connsiteY28" fmla="*/ 13223739 h 15152939"/>
                <a:gd name="connsiteX29" fmla="*/ 1263043 w 27560432"/>
                <a:gd name="connsiteY29" fmla="*/ 12512346 h 15152939"/>
                <a:gd name="connsiteX30" fmla="*/ 485320 w 27560432"/>
                <a:gd name="connsiteY30" fmla="*/ 12060189 h 15152939"/>
                <a:gd name="connsiteX31" fmla="*/ 0 w 27560432"/>
                <a:gd name="connsiteY31" fmla="*/ 11767077 h 15152939"/>
                <a:gd name="connsiteX32" fmla="*/ 1003686 w 27560432"/>
                <a:gd name="connsiteY32" fmla="*/ 11021112 h 15152939"/>
                <a:gd name="connsiteX33" fmla="*/ 2902551 w 27560432"/>
                <a:gd name="connsiteY33" fmla="*/ 9836713 h 15152939"/>
                <a:gd name="connsiteX34" fmla="*/ 2558940 w 27560432"/>
                <a:gd name="connsiteY34" fmla="*/ 9303282 h 15152939"/>
                <a:gd name="connsiteX35" fmla="*/ 2402508 w 27560432"/>
                <a:gd name="connsiteY35" fmla="*/ 8616199 h 15152939"/>
                <a:gd name="connsiteX36" fmla="*/ 2730740 w 27560432"/>
                <a:gd name="connsiteY36" fmla="*/ 8589028 h 15152939"/>
                <a:gd name="connsiteX37" fmla="*/ 2947754 w 27560432"/>
                <a:gd name="connsiteY37" fmla="*/ 8118883 h 15152939"/>
                <a:gd name="connsiteX38" fmla="*/ 3499325 w 27560432"/>
                <a:gd name="connsiteY38" fmla="*/ 7675866 h 15152939"/>
                <a:gd name="connsiteX39" fmla="*/ 3680166 w 27560432"/>
                <a:gd name="connsiteY39" fmla="*/ 6798868 h 15152939"/>
                <a:gd name="connsiteX40" fmla="*/ 4186528 w 27560432"/>
                <a:gd name="connsiteY40" fmla="*/ 6807904 h 15152939"/>
                <a:gd name="connsiteX41" fmla="*/ 4837569 w 27560432"/>
                <a:gd name="connsiteY41" fmla="*/ 7278054 h 15152939"/>
                <a:gd name="connsiteX42" fmla="*/ 5352976 w 27560432"/>
                <a:gd name="connsiteY42" fmla="*/ 7196687 h 15152939"/>
                <a:gd name="connsiteX43" fmla="*/ 5741786 w 27560432"/>
                <a:gd name="connsiteY43" fmla="*/ 6825992 h 15152939"/>
                <a:gd name="connsiteX44" fmla="*/ 6157723 w 27560432"/>
                <a:gd name="connsiteY44" fmla="*/ 6663251 h 15152939"/>
                <a:gd name="connsiteX45" fmla="*/ 6745471 w 27560432"/>
                <a:gd name="connsiteY45" fmla="*/ 6093658 h 15152939"/>
                <a:gd name="connsiteX46" fmla="*/ 6890140 w 27560432"/>
                <a:gd name="connsiteY46" fmla="*/ 5243782 h 15152939"/>
                <a:gd name="connsiteX47" fmla="*/ 7568305 w 27560432"/>
                <a:gd name="connsiteY47" fmla="*/ 4674188 h 15152939"/>
                <a:gd name="connsiteX48" fmla="*/ 8137967 w 27560432"/>
                <a:gd name="connsiteY48" fmla="*/ 4231167 h 15152939"/>
                <a:gd name="connsiteX49" fmla="*/ 8463480 w 27560432"/>
                <a:gd name="connsiteY49" fmla="*/ 3426500 h 15152939"/>
                <a:gd name="connsiteX50" fmla="*/ 9024093 w 27560432"/>
                <a:gd name="connsiteY50" fmla="*/ 3073893 h 15152939"/>
                <a:gd name="connsiteX51" fmla="*/ 9675138 w 27560432"/>
                <a:gd name="connsiteY51" fmla="*/ 2721291 h 15152939"/>
                <a:gd name="connsiteX52" fmla="*/ 9558580 w 27560432"/>
                <a:gd name="connsiteY52" fmla="*/ 2173007 h 15152939"/>
                <a:gd name="connsiteX53" fmla="*/ 10353296 w 27560432"/>
                <a:gd name="connsiteY53" fmla="*/ 1500723 h 15152939"/>
                <a:gd name="connsiteX54" fmla="*/ 10832530 w 27560432"/>
                <a:gd name="connsiteY54" fmla="*/ 1428389 h 15152939"/>
                <a:gd name="connsiteX55" fmla="*/ 11058585 w 27560432"/>
                <a:gd name="connsiteY55" fmla="*/ 1880458 h 15152939"/>
                <a:gd name="connsiteX56" fmla="*/ 11411229 w 27560432"/>
                <a:gd name="connsiteY56" fmla="*/ 2260189 h 15152939"/>
                <a:gd name="connsiteX57" fmla="*/ 11998974 w 27560432"/>
                <a:gd name="connsiteY57" fmla="*/ 2341559 h 15152939"/>
                <a:gd name="connsiteX58" fmla="*/ 12315449 w 27560432"/>
                <a:gd name="connsiteY58" fmla="*/ 3001571 h 15152939"/>
                <a:gd name="connsiteX59" fmla="*/ 12785642 w 27560432"/>
                <a:gd name="connsiteY59" fmla="*/ 2820742 h 15152939"/>
                <a:gd name="connsiteX60" fmla="*/ 13671776 w 27560432"/>
                <a:gd name="connsiteY60" fmla="*/ 3272803 h 15152939"/>
                <a:gd name="connsiteX61" fmla="*/ 14123886 w 27560432"/>
                <a:gd name="connsiteY61" fmla="*/ 2974450 h 15152939"/>
                <a:gd name="connsiteX62" fmla="*/ 14259509 w 27560432"/>
                <a:gd name="connsiteY62" fmla="*/ 2404849 h 15152939"/>
                <a:gd name="connsiteX63" fmla="*/ 14892468 w 27560432"/>
                <a:gd name="connsiteY63" fmla="*/ 1762918 h 15152939"/>
                <a:gd name="connsiteX64" fmla="*/ 15778605 w 27560432"/>
                <a:gd name="connsiteY64" fmla="*/ 1211398 h 15152939"/>
                <a:gd name="connsiteX65" fmla="*/ 16022739 w 27560432"/>
                <a:gd name="connsiteY65" fmla="*/ 1681548 h 15152939"/>
                <a:gd name="connsiteX66" fmla="*/ 16013694 w 27560432"/>
                <a:gd name="connsiteY66" fmla="*/ 2169778 h 15152939"/>
                <a:gd name="connsiteX67" fmla="*/ 16556232 w 27560432"/>
                <a:gd name="connsiteY67" fmla="*/ 2260200 h 15152939"/>
                <a:gd name="connsiteX68" fmla="*/ 16863663 w 27560432"/>
                <a:gd name="connsiteY68" fmla="*/ 1744834 h 15152939"/>
                <a:gd name="connsiteX69" fmla="*/ 17406193 w 27560432"/>
                <a:gd name="connsiteY69" fmla="*/ 1410312 h 15152939"/>
                <a:gd name="connsiteX70" fmla="*/ 17623203 w 27560432"/>
                <a:gd name="connsiteY70" fmla="*/ 867840 h 15152939"/>
                <a:gd name="connsiteX71" fmla="*/ 18120524 w 27560432"/>
                <a:gd name="connsiteY71" fmla="*/ 831675 h 15152939"/>
                <a:gd name="connsiteX72" fmla="*/ 18201903 w 27560432"/>
                <a:gd name="connsiteY72" fmla="*/ 542358 h 15152939"/>
                <a:gd name="connsiteX73" fmla="*/ 18744437 w 27560432"/>
                <a:gd name="connsiteY73" fmla="*/ 117414 h 15152939"/>
                <a:gd name="connsiteX74" fmla="*/ 19443290 w 27560432"/>
                <a:gd name="connsiteY74" fmla="*/ 0 h 15152939"/>
                <a:gd name="connsiteX75" fmla="*/ 19982300 w 27560432"/>
                <a:gd name="connsiteY75" fmla="*/ 460880 h 15152939"/>
                <a:gd name="connsiteX76" fmla="*/ 19530143 w 27560432"/>
                <a:gd name="connsiteY76" fmla="*/ 913038 h 15152939"/>
                <a:gd name="connsiteX77" fmla="*/ 19837609 w 27560432"/>
                <a:gd name="connsiteY77" fmla="*/ 1238588 h 15152939"/>
                <a:gd name="connsiteX78" fmla="*/ 20886614 w 27560432"/>
                <a:gd name="connsiteY78" fmla="*/ 1546055 h 15152939"/>
                <a:gd name="connsiteX79" fmla="*/ 21881359 w 27560432"/>
                <a:gd name="connsiteY79" fmla="*/ 1889694 h 15152939"/>
                <a:gd name="connsiteX80" fmla="*/ 21772837 w 27560432"/>
                <a:gd name="connsiteY80" fmla="*/ 2269505 h 15152939"/>
                <a:gd name="connsiteX81" fmla="*/ 21537712 w 27560432"/>
                <a:gd name="connsiteY81" fmla="*/ 2884438 h 15152939"/>
                <a:gd name="connsiteX82" fmla="*/ 21996067 w 27560432"/>
                <a:gd name="connsiteY82" fmla="*/ 2911656 h 15152939"/>
                <a:gd name="connsiteX83" fmla="*/ 22478203 w 27560432"/>
                <a:gd name="connsiteY83" fmla="*/ 2414189 h 15152939"/>
                <a:gd name="connsiteX84" fmla="*/ 23292084 w 27560432"/>
                <a:gd name="connsiteY84" fmla="*/ 2016293 h 15152939"/>
                <a:gd name="connsiteX85" fmla="*/ 23888932 w 27560432"/>
                <a:gd name="connsiteY85" fmla="*/ 1998212 h 15152939"/>
                <a:gd name="connsiteX86" fmla="*/ 24612383 w 27560432"/>
                <a:gd name="connsiteY86" fmla="*/ 1582227 h 15152939"/>
                <a:gd name="connsiteX87" fmla="*/ 25010275 w 27560432"/>
                <a:gd name="connsiteY87" fmla="*/ 695990 h 15152939"/>
                <a:gd name="connsiteX88" fmla="*/ 25769899 w 27560432"/>
                <a:gd name="connsiteY88" fmla="*/ 840685 h 15152939"/>
                <a:gd name="connsiteX89" fmla="*/ 26402920 w 27560432"/>
                <a:gd name="connsiteY89" fmla="*/ 876857 h 15152939"/>
                <a:gd name="connsiteX90" fmla="*/ 26240141 w 27560432"/>
                <a:gd name="connsiteY90" fmla="*/ 1491794 h 15152939"/>
                <a:gd name="connsiteX91" fmla="*/ 26554742 w 27560432"/>
                <a:gd name="connsiteY91" fmla="*/ 2052454 h 15152939"/>
                <a:gd name="connsiteX92" fmla="*/ 25679461 w 27560432"/>
                <a:gd name="connsiteY92" fmla="*/ 2775920 h 15152939"/>
                <a:gd name="connsiteX93" fmla="*/ 25751806 w 27560432"/>
                <a:gd name="connsiteY93" fmla="*/ 3806840 h 15152939"/>
                <a:gd name="connsiteX94" fmla="*/ 26157237 w 27560432"/>
                <a:gd name="connsiteY94"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023104 w 27542354"/>
                <a:gd name="connsiteY6" fmla="*/ 7478344 h 15152939"/>
                <a:gd name="connsiteX7" fmla="*/ 26619948 w 27542354"/>
                <a:gd name="connsiteY7" fmla="*/ 7840060 h 15152939"/>
                <a:gd name="connsiteX8" fmla="*/ 26276305 w 27542354"/>
                <a:gd name="connsiteY8" fmla="*/ 8672029 h 15152939"/>
                <a:gd name="connsiteX9" fmla="*/ 26312478 w 27542354"/>
                <a:gd name="connsiteY9" fmla="*/ 9666777 h 15152939"/>
                <a:gd name="connsiteX10" fmla="*/ 25878405 w 27542354"/>
                <a:gd name="connsiteY10" fmla="*/ 10227453 h 15152939"/>
                <a:gd name="connsiteX11" fmla="*/ 26402912 w 27542354"/>
                <a:gd name="connsiteY11" fmla="*/ 10643437 h 15152939"/>
                <a:gd name="connsiteX12" fmla="*/ 27319497 w 27542354"/>
                <a:gd name="connsiteY12" fmla="*/ 10082959 h 15152939"/>
                <a:gd name="connsiteX13" fmla="*/ 27542355 w 27542354"/>
                <a:gd name="connsiteY13" fmla="*/ 12005935 h 15152939"/>
                <a:gd name="connsiteX14" fmla="*/ 26089423 w 27542354"/>
                <a:gd name="connsiteY14" fmla="*/ 11975789 h 15152939"/>
                <a:gd name="connsiteX15" fmla="*/ 24473715 w 27542354"/>
                <a:gd name="connsiteY15" fmla="*/ 12090334 h 15152939"/>
                <a:gd name="connsiteX16" fmla="*/ 23135328 w 27542354"/>
                <a:gd name="connsiteY16" fmla="*/ 12222964 h 15152939"/>
                <a:gd name="connsiteX17" fmla="*/ 22261159 w 27542354"/>
                <a:gd name="connsiteY17" fmla="*/ 12934357 h 15152939"/>
                <a:gd name="connsiteX18" fmla="*/ 20826342 w 27542354"/>
                <a:gd name="connsiteY18" fmla="*/ 14369204 h 15152939"/>
                <a:gd name="connsiteX19" fmla="*/ 12952786 w 27542354"/>
                <a:gd name="connsiteY19" fmla="*/ 14960014 h 15152939"/>
                <a:gd name="connsiteX20" fmla="*/ 11934663 w 27542354"/>
                <a:gd name="connsiteY20" fmla="*/ 15008264 h 15152939"/>
                <a:gd name="connsiteX21" fmla="*/ 8506848 w 27542354"/>
                <a:gd name="connsiteY21" fmla="*/ 15152939 h 15152939"/>
                <a:gd name="connsiteX22" fmla="*/ 7985095 w 27542354"/>
                <a:gd name="connsiteY22" fmla="*/ 14507857 h 15152939"/>
                <a:gd name="connsiteX23" fmla="*/ 7400308 w 27542354"/>
                <a:gd name="connsiteY23" fmla="*/ 14477712 h 15152939"/>
                <a:gd name="connsiteX24" fmla="*/ 6972273 w 27542354"/>
                <a:gd name="connsiteY24" fmla="*/ 14749009 h 15152939"/>
                <a:gd name="connsiteX25" fmla="*/ 5181729 w 27542354"/>
                <a:gd name="connsiteY25" fmla="*/ 14664610 h 15152939"/>
                <a:gd name="connsiteX26" fmla="*/ 4397998 w 27542354"/>
                <a:gd name="connsiteY26" fmla="*/ 14031593 h 15152939"/>
                <a:gd name="connsiteX27" fmla="*/ 2908896 w 27542354"/>
                <a:gd name="connsiteY27" fmla="*/ 13223739 h 15152939"/>
                <a:gd name="connsiteX28" fmla="*/ 1263043 w 27542354"/>
                <a:gd name="connsiteY28" fmla="*/ 12512346 h 15152939"/>
                <a:gd name="connsiteX29" fmla="*/ 485320 w 27542354"/>
                <a:gd name="connsiteY29" fmla="*/ 12060189 h 15152939"/>
                <a:gd name="connsiteX30" fmla="*/ 0 w 27542354"/>
                <a:gd name="connsiteY30" fmla="*/ 11767077 h 15152939"/>
                <a:gd name="connsiteX31" fmla="*/ 1003686 w 27542354"/>
                <a:gd name="connsiteY31" fmla="*/ 11021112 h 15152939"/>
                <a:gd name="connsiteX32" fmla="*/ 2902551 w 27542354"/>
                <a:gd name="connsiteY32" fmla="*/ 9836713 h 15152939"/>
                <a:gd name="connsiteX33" fmla="*/ 2558940 w 27542354"/>
                <a:gd name="connsiteY33" fmla="*/ 9303282 h 15152939"/>
                <a:gd name="connsiteX34" fmla="*/ 2402508 w 27542354"/>
                <a:gd name="connsiteY34" fmla="*/ 8616199 h 15152939"/>
                <a:gd name="connsiteX35" fmla="*/ 2730740 w 27542354"/>
                <a:gd name="connsiteY35" fmla="*/ 8589028 h 15152939"/>
                <a:gd name="connsiteX36" fmla="*/ 2947754 w 27542354"/>
                <a:gd name="connsiteY36" fmla="*/ 8118883 h 15152939"/>
                <a:gd name="connsiteX37" fmla="*/ 3499325 w 27542354"/>
                <a:gd name="connsiteY37" fmla="*/ 7675866 h 15152939"/>
                <a:gd name="connsiteX38" fmla="*/ 3680166 w 27542354"/>
                <a:gd name="connsiteY38" fmla="*/ 6798868 h 15152939"/>
                <a:gd name="connsiteX39" fmla="*/ 4186528 w 27542354"/>
                <a:gd name="connsiteY39" fmla="*/ 6807904 h 15152939"/>
                <a:gd name="connsiteX40" fmla="*/ 4837569 w 27542354"/>
                <a:gd name="connsiteY40" fmla="*/ 7278054 h 15152939"/>
                <a:gd name="connsiteX41" fmla="*/ 5352976 w 27542354"/>
                <a:gd name="connsiteY41" fmla="*/ 7196687 h 15152939"/>
                <a:gd name="connsiteX42" fmla="*/ 5741786 w 27542354"/>
                <a:gd name="connsiteY42" fmla="*/ 6825992 h 15152939"/>
                <a:gd name="connsiteX43" fmla="*/ 6157723 w 27542354"/>
                <a:gd name="connsiteY43" fmla="*/ 6663251 h 15152939"/>
                <a:gd name="connsiteX44" fmla="*/ 6745471 w 27542354"/>
                <a:gd name="connsiteY44" fmla="*/ 6093658 h 15152939"/>
                <a:gd name="connsiteX45" fmla="*/ 6890140 w 27542354"/>
                <a:gd name="connsiteY45" fmla="*/ 5243782 h 15152939"/>
                <a:gd name="connsiteX46" fmla="*/ 7568305 w 27542354"/>
                <a:gd name="connsiteY46" fmla="*/ 4674188 h 15152939"/>
                <a:gd name="connsiteX47" fmla="*/ 8137967 w 27542354"/>
                <a:gd name="connsiteY47" fmla="*/ 4231167 h 15152939"/>
                <a:gd name="connsiteX48" fmla="*/ 8463480 w 27542354"/>
                <a:gd name="connsiteY48" fmla="*/ 3426500 h 15152939"/>
                <a:gd name="connsiteX49" fmla="*/ 9024093 w 27542354"/>
                <a:gd name="connsiteY49" fmla="*/ 3073893 h 15152939"/>
                <a:gd name="connsiteX50" fmla="*/ 9675138 w 27542354"/>
                <a:gd name="connsiteY50" fmla="*/ 2721291 h 15152939"/>
                <a:gd name="connsiteX51" fmla="*/ 9558580 w 27542354"/>
                <a:gd name="connsiteY51" fmla="*/ 2173007 h 15152939"/>
                <a:gd name="connsiteX52" fmla="*/ 10353296 w 27542354"/>
                <a:gd name="connsiteY52" fmla="*/ 1500723 h 15152939"/>
                <a:gd name="connsiteX53" fmla="*/ 10832530 w 27542354"/>
                <a:gd name="connsiteY53" fmla="*/ 1428389 h 15152939"/>
                <a:gd name="connsiteX54" fmla="*/ 11058585 w 27542354"/>
                <a:gd name="connsiteY54" fmla="*/ 1880458 h 15152939"/>
                <a:gd name="connsiteX55" fmla="*/ 11411229 w 27542354"/>
                <a:gd name="connsiteY55" fmla="*/ 2260189 h 15152939"/>
                <a:gd name="connsiteX56" fmla="*/ 11998974 w 27542354"/>
                <a:gd name="connsiteY56" fmla="*/ 2341559 h 15152939"/>
                <a:gd name="connsiteX57" fmla="*/ 12315449 w 27542354"/>
                <a:gd name="connsiteY57" fmla="*/ 3001571 h 15152939"/>
                <a:gd name="connsiteX58" fmla="*/ 12785642 w 27542354"/>
                <a:gd name="connsiteY58" fmla="*/ 2820742 h 15152939"/>
                <a:gd name="connsiteX59" fmla="*/ 13671776 w 27542354"/>
                <a:gd name="connsiteY59" fmla="*/ 3272803 h 15152939"/>
                <a:gd name="connsiteX60" fmla="*/ 14123886 w 27542354"/>
                <a:gd name="connsiteY60" fmla="*/ 2974450 h 15152939"/>
                <a:gd name="connsiteX61" fmla="*/ 14259509 w 27542354"/>
                <a:gd name="connsiteY61" fmla="*/ 2404849 h 15152939"/>
                <a:gd name="connsiteX62" fmla="*/ 14892468 w 27542354"/>
                <a:gd name="connsiteY62" fmla="*/ 1762918 h 15152939"/>
                <a:gd name="connsiteX63" fmla="*/ 15778605 w 27542354"/>
                <a:gd name="connsiteY63" fmla="*/ 1211398 h 15152939"/>
                <a:gd name="connsiteX64" fmla="*/ 16022739 w 27542354"/>
                <a:gd name="connsiteY64" fmla="*/ 1681548 h 15152939"/>
                <a:gd name="connsiteX65" fmla="*/ 16013694 w 27542354"/>
                <a:gd name="connsiteY65" fmla="*/ 2169778 h 15152939"/>
                <a:gd name="connsiteX66" fmla="*/ 16556232 w 27542354"/>
                <a:gd name="connsiteY66" fmla="*/ 2260200 h 15152939"/>
                <a:gd name="connsiteX67" fmla="*/ 16863663 w 27542354"/>
                <a:gd name="connsiteY67" fmla="*/ 1744834 h 15152939"/>
                <a:gd name="connsiteX68" fmla="*/ 17406193 w 27542354"/>
                <a:gd name="connsiteY68" fmla="*/ 1410312 h 15152939"/>
                <a:gd name="connsiteX69" fmla="*/ 17623203 w 27542354"/>
                <a:gd name="connsiteY69" fmla="*/ 867840 h 15152939"/>
                <a:gd name="connsiteX70" fmla="*/ 18120524 w 27542354"/>
                <a:gd name="connsiteY70" fmla="*/ 831675 h 15152939"/>
                <a:gd name="connsiteX71" fmla="*/ 18201903 w 27542354"/>
                <a:gd name="connsiteY71" fmla="*/ 542358 h 15152939"/>
                <a:gd name="connsiteX72" fmla="*/ 18744437 w 27542354"/>
                <a:gd name="connsiteY72" fmla="*/ 117414 h 15152939"/>
                <a:gd name="connsiteX73" fmla="*/ 19443290 w 27542354"/>
                <a:gd name="connsiteY73" fmla="*/ 0 h 15152939"/>
                <a:gd name="connsiteX74" fmla="*/ 19982300 w 27542354"/>
                <a:gd name="connsiteY74" fmla="*/ 460880 h 15152939"/>
                <a:gd name="connsiteX75" fmla="*/ 19530143 w 27542354"/>
                <a:gd name="connsiteY75" fmla="*/ 913038 h 15152939"/>
                <a:gd name="connsiteX76" fmla="*/ 19837609 w 27542354"/>
                <a:gd name="connsiteY76" fmla="*/ 1238588 h 15152939"/>
                <a:gd name="connsiteX77" fmla="*/ 20886614 w 27542354"/>
                <a:gd name="connsiteY77" fmla="*/ 1546055 h 15152939"/>
                <a:gd name="connsiteX78" fmla="*/ 21881359 w 27542354"/>
                <a:gd name="connsiteY78" fmla="*/ 1889694 h 15152939"/>
                <a:gd name="connsiteX79" fmla="*/ 21772837 w 27542354"/>
                <a:gd name="connsiteY79" fmla="*/ 2269505 h 15152939"/>
                <a:gd name="connsiteX80" fmla="*/ 21537712 w 27542354"/>
                <a:gd name="connsiteY80" fmla="*/ 2884438 h 15152939"/>
                <a:gd name="connsiteX81" fmla="*/ 21996067 w 27542354"/>
                <a:gd name="connsiteY81" fmla="*/ 2911656 h 15152939"/>
                <a:gd name="connsiteX82" fmla="*/ 22478203 w 27542354"/>
                <a:gd name="connsiteY82" fmla="*/ 2414189 h 15152939"/>
                <a:gd name="connsiteX83" fmla="*/ 23292084 w 27542354"/>
                <a:gd name="connsiteY83" fmla="*/ 2016293 h 15152939"/>
                <a:gd name="connsiteX84" fmla="*/ 23888932 w 27542354"/>
                <a:gd name="connsiteY84" fmla="*/ 1998212 h 15152939"/>
                <a:gd name="connsiteX85" fmla="*/ 24612383 w 27542354"/>
                <a:gd name="connsiteY85" fmla="*/ 1582227 h 15152939"/>
                <a:gd name="connsiteX86" fmla="*/ 25010275 w 27542354"/>
                <a:gd name="connsiteY86" fmla="*/ 695990 h 15152939"/>
                <a:gd name="connsiteX87" fmla="*/ 25769899 w 27542354"/>
                <a:gd name="connsiteY87" fmla="*/ 840685 h 15152939"/>
                <a:gd name="connsiteX88" fmla="*/ 26402920 w 27542354"/>
                <a:gd name="connsiteY88" fmla="*/ 876857 h 15152939"/>
                <a:gd name="connsiteX89" fmla="*/ 26240141 w 27542354"/>
                <a:gd name="connsiteY89" fmla="*/ 1491794 h 15152939"/>
                <a:gd name="connsiteX90" fmla="*/ 26554742 w 27542354"/>
                <a:gd name="connsiteY90" fmla="*/ 2052454 h 15152939"/>
                <a:gd name="connsiteX91" fmla="*/ 25679461 w 27542354"/>
                <a:gd name="connsiteY91" fmla="*/ 2775920 h 15152939"/>
                <a:gd name="connsiteX92" fmla="*/ 25751806 w 27542354"/>
                <a:gd name="connsiteY92" fmla="*/ 3806840 h 15152939"/>
                <a:gd name="connsiteX93" fmla="*/ 26157237 w 27542354"/>
                <a:gd name="connsiteY93"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023104 w 27542354"/>
                <a:gd name="connsiteY6" fmla="*/ 7478344 h 15152939"/>
                <a:gd name="connsiteX7" fmla="*/ 26619948 w 27542354"/>
                <a:gd name="connsiteY7" fmla="*/ 7840060 h 15152939"/>
                <a:gd name="connsiteX8" fmla="*/ 26276305 w 27542354"/>
                <a:gd name="connsiteY8" fmla="*/ 8672029 h 15152939"/>
                <a:gd name="connsiteX9" fmla="*/ 26312478 w 27542354"/>
                <a:gd name="connsiteY9" fmla="*/ 9666777 h 15152939"/>
                <a:gd name="connsiteX10" fmla="*/ 25878405 w 27542354"/>
                <a:gd name="connsiteY10" fmla="*/ 10227453 h 15152939"/>
                <a:gd name="connsiteX11" fmla="*/ 26402912 w 27542354"/>
                <a:gd name="connsiteY11" fmla="*/ 10643437 h 15152939"/>
                <a:gd name="connsiteX12" fmla="*/ 27542355 w 27542354"/>
                <a:gd name="connsiteY12" fmla="*/ 12005935 h 15152939"/>
                <a:gd name="connsiteX13" fmla="*/ 26089423 w 27542354"/>
                <a:gd name="connsiteY13" fmla="*/ 11975789 h 15152939"/>
                <a:gd name="connsiteX14" fmla="*/ 24473715 w 27542354"/>
                <a:gd name="connsiteY14" fmla="*/ 12090334 h 15152939"/>
                <a:gd name="connsiteX15" fmla="*/ 23135328 w 27542354"/>
                <a:gd name="connsiteY15" fmla="*/ 12222964 h 15152939"/>
                <a:gd name="connsiteX16" fmla="*/ 22261159 w 27542354"/>
                <a:gd name="connsiteY16" fmla="*/ 12934357 h 15152939"/>
                <a:gd name="connsiteX17" fmla="*/ 20826342 w 27542354"/>
                <a:gd name="connsiteY17" fmla="*/ 14369204 h 15152939"/>
                <a:gd name="connsiteX18" fmla="*/ 12952786 w 27542354"/>
                <a:gd name="connsiteY18" fmla="*/ 14960014 h 15152939"/>
                <a:gd name="connsiteX19" fmla="*/ 11934663 w 27542354"/>
                <a:gd name="connsiteY19" fmla="*/ 15008264 h 15152939"/>
                <a:gd name="connsiteX20" fmla="*/ 8506848 w 27542354"/>
                <a:gd name="connsiteY20" fmla="*/ 15152939 h 15152939"/>
                <a:gd name="connsiteX21" fmla="*/ 7985095 w 27542354"/>
                <a:gd name="connsiteY21" fmla="*/ 14507857 h 15152939"/>
                <a:gd name="connsiteX22" fmla="*/ 7400308 w 27542354"/>
                <a:gd name="connsiteY22" fmla="*/ 14477712 h 15152939"/>
                <a:gd name="connsiteX23" fmla="*/ 6972273 w 27542354"/>
                <a:gd name="connsiteY23" fmla="*/ 14749009 h 15152939"/>
                <a:gd name="connsiteX24" fmla="*/ 5181729 w 27542354"/>
                <a:gd name="connsiteY24" fmla="*/ 14664610 h 15152939"/>
                <a:gd name="connsiteX25" fmla="*/ 4397998 w 27542354"/>
                <a:gd name="connsiteY25" fmla="*/ 14031593 h 15152939"/>
                <a:gd name="connsiteX26" fmla="*/ 2908896 w 27542354"/>
                <a:gd name="connsiteY26" fmla="*/ 13223739 h 15152939"/>
                <a:gd name="connsiteX27" fmla="*/ 1263043 w 27542354"/>
                <a:gd name="connsiteY27" fmla="*/ 12512346 h 15152939"/>
                <a:gd name="connsiteX28" fmla="*/ 485320 w 27542354"/>
                <a:gd name="connsiteY28" fmla="*/ 12060189 h 15152939"/>
                <a:gd name="connsiteX29" fmla="*/ 0 w 27542354"/>
                <a:gd name="connsiteY29" fmla="*/ 11767077 h 15152939"/>
                <a:gd name="connsiteX30" fmla="*/ 1003686 w 27542354"/>
                <a:gd name="connsiteY30" fmla="*/ 11021112 h 15152939"/>
                <a:gd name="connsiteX31" fmla="*/ 2902551 w 27542354"/>
                <a:gd name="connsiteY31" fmla="*/ 9836713 h 15152939"/>
                <a:gd name="connsiteX32" fmla="*/ 2558940 w 27542354"/>
                <a:gd name="connsiteY32" fmla="*/ 9303282 h 15152939"/>
                <a:gd name="connsiteX33" fmla="*/ 2402508 w 27542354"/>
                <a:gd name="connsiteY33" fmla="*/ 8616199 h 15152939"/>
                <a:gd name="connsiteX34" fmla="*/ 2730740 w 27542354"/>
                <a:gd name="connsiteY34" fmla="*/ 8589028 h 15152939"/>
                <a:gd name="connsiteX35" fmla="*/ 2947754 w 27542354"/>
                <a:gd name="connsiteY35" fmla="*/ 8118883 h 15152939"/>
                <a:gd name="connsiteX36" fmla="*/ 3499325 w 27542354"/>
                <a:gd name="connsiteY36" fmla="*/ 7675866 h 15152939"/>
                <a:gd name="connsiteX37" fmla="*/ 3680166 w 27542354"/>
                <a:gd name="connsiteY37" fmla="*/ 6798868 h 15152939"/>
                <a:gd name="connsiteX38" fmla="*/ 4186528 w 27542354"/>
                <a:gd name="connsiteY38" fmla="*/ 6807904 h 15152939"/>
                <a:gd name="connsiteX39" fmla="*/ 4837569 w 27542354"/>
                <a:gd name="connsiteY39" fmla="*/ 7278054 h 15152939"/>
                <a:gd name="connsiteX40" fmla="*/ 5352976 w 27542354"/>
                <a:gd name="connsiteY40" fmla="*/ 7196687 h 15152939"/>
                <a:gd name="connsiteX41" fmla="*/ 5741786 w 27542354"/>
                <a:gd name="connsiteY41" fmla="*/ 6825992 h 15152939"/>
                <a:gd name="connsiteX42" fmla="*/ 6157723 w 27542354"/>
                <a:gd name="connsiteY42" fmla="*/ 6663251 h 15152939"/>
                <a:gd name="connsiteX43" fmla="*/ 6745471 w 27542354"/>
                <a:gd name="connsiteY43" fmla="*/ 6093658 h 15152939"/>
                <a:gd name="connsiteX44" fmla="*/ 6890140 w 27542354"/>
                <a:gd name="connsiteY44" fmla="*/ 5243782 h 15152939"/>
                <a:gd name="connsiteX45" fmla="*/ 7568305 w 27542354"/>
                <a:gd name="connsiteY45" fmla="*/ 4674188 h 15152939"/>
                <a:gd name="connsiteX46" fmla="*/ 8137967 w 27542354"/>
                <a:gd name="connsiteY46" fmla="*/ 4231167 h 15152939"/>
                <a:gd name="connsiteX47" fmla="*/ 8463480 w 27542354"/>
                <a:gd name="connsiteY47" fmla="*/ 3426500 h 15152939"/>
                <a:gd name="connsiteX48" fmla="*/ 9024093 w 27542354"/>
                <a:gd name="connsiteY48" fmla="*/ 3073893 h 15152939"/>
                <a:gd name="connsiteX49" fmla="*/ 9675138 w 27542354"/>
                <a:gd name="connsiteY49" fmla="*/ 2721291 h 15152939"/>
                <a:gd name="connsiteX50" fmla="*/ 9558580 w 27542354"/>
                <a:gd name="connsiteY50" fmla="*/ 2173007 h 15152939"/>
                <a:gd name="connsiteX51" fmla="*/ 10353296 w 27542354"/>
                <a:gd name="connsiteY51" fmla="*/ 1500723 h 15152939"/>
                <a:gd name="connsiteX52" fmla="*/ 10832530 w 27542354"/>
                <a:gd name="connsiteY52" fmla="*/ 1428389 h 15152939"/>
                <a:gd name="connsiteX53" fmla="*/ 11058585 w 27542354"/>
                <a:gd name="connsiteY53" fmla="*/ 1880458 h 15152939"/>
                <a:gd name="connsiteX54" fmla="*/ 11411229 w 27542354"/>
                <a:gd name="connsiteY54" fmla="*/ 2260189 h 15152939"/>
                <a:gd name="connsiteX55" fmla="*/ 11998974 w 27542354"/>
                <a:gd name="connsiteY55" fmla="*/ 2341559 h 15152939"/>
                <a:gd name="connsiteX56" fmla="*/ 12315449 w 27542354"/>
                <a:gd name="connsiteY56" fmla="*/ 3001571 h 15152939"/>
                <a:gd name="connsiteX57" fmla="*/ 12785642 w 27542354"/>
                <a:gd name="connsiteY57" fmla="*/ 2820742 h 15152939"/>
                <a:gd name="connsiteX58" fmla="*/ 13671776 w 27542354"/>
                <a:gd name="connsiteY58" fmla="*/ 3272803 h 15152939"/>
                <a:gd name="connsiteX59" fmla="*/ 14123886 w 27542354"/>
                <a:gd name="connsiteY59" fmla="*/ 2974450 h 15152939"/>
                <a:gd name="connsiteX60" fmla="*/ 14259509 w 27542354"/>
                <a:gd name="connsiteY60" fmla="*/ 2404849 h 15152939"/>
                <a:gd name="connsiteX61" fmla="*/ 14892468 w 27542354"/>
                <a:gd name="connsiteY61" fmla="*/ 1762918 h 15152939"/>
                <a:gd name="connsiteX62" fmla="*/ 15778605 w 27542354"/>
                <a:gd name="connsiteY62" fmla="*/ 1211398 h 15152939"/>
                <a:gd name="connsiteX63" fmla="*/ 16022739 w 27542354"/>
                <a:gd name="connsiteY63" fmla="*/ 1681548 h 15152939"/>
                <a:gd name="connsiteX64" fmla="*/ 16013694 w 27542354"/>
                <a:gd name="connsiteY64" fmla="*/ 2169778 h 15152939"/>
                <a:gd name="connsiteX65" fmla="*/ 16556232 w 27542354"/>
                <a:gd name="connsiteY65" fmla="*/ 2260200 h 15152939"/>
                <a:gd name="connsiteX66" fmla="*/ 16863663 w 27542354"/>
                <a:gd name="connsiteY66" fmla="*/ 1744834 h 15152939"/>
                <a:gd name="connsiteX67" fmla="*/ 17406193 w 27542354"/>
                <a:gd name="connsiteY67" fmla="*/ 1410312 h 15152939"/>
                <a:gd name="connsiteX68" fmla="*/ 17623203 w 27542354"/>
                <a:gd name="connsiteY68" fmla="*/ 867840 h 15152939"/>
                <a:gd name="connsiteX69" fmla="*/ 18120524 w 27542354"/>
                <a:gd name="connsiteY69" fmla="*/ 831675 h 15152939"/>
                <a:gd name="connsiteX70" fmla="*/ 18201903 w 27542354"/>
                <a:gd name="connsiteY70" fmla="*/ 542358 h 15152939"/>
                <a:gd name="connsiteX71" fmla="*/ 18744437 w 27542354"/>
                <a:gd name="connsiteY71" fmla="*/ 117414 h 15152939"/>
                <a:gd name="connsiteX72" fmla="*/ 19443290 w 27542354"/>
                <a:gd name="connsiteY72" fmla="*/ 0 h 15152939"/>
                <a:gd name="connsiteX73" fmla="*/ 19982300 w 27542354"/>
                <a:gd name="connsiteY73" fmla="*/ 460880 h 15152939"/>
                <a:gd name="connsiteX74" fmla="*/ 19530143 w 27542354"/>
                <a:gd name="connsiteY74" fmla="*/ 913038 h 15152939"/>
                <a:gd name="connsiteX75" fmla="*/ 19837609 w 27542354"/>
                <a:gd name="connsiteY75" fmla="*/ 1238588 h 15152939"/>
                <a:gd name="connsiteX76" fmla="*/ 20886614 w 27542354"/>
                <a:gd name="connsiteY76" fmla="*/ 1546055 h 15152939"/>
                <a:gd name="connsiteX77" fmla="*/ 21881359 w 27542354"/>
                <a:gd name="connsiteY77" fmla="*/ 1889694 h 15152939"/>
                <a:gd name="connsiteX78" fmla="*/ 21772837 w 27542354"/>
                <a:gd name="connsiteY78" fmla="*/ 2269505 h 15152939"/>
                <a:gd name="connsiteX79" fmla="*/ 21537712 w 27542354"/>
                <a:gd name="connsiteY79" fmla="*/ 2884438 h 15152939"/>
                <a:gd name="connsiteX80" fmla="*/ 21996067 w 27542354"/>
                <a:gd name="connsiteY80" fmla="*/ 2911656 h 15152939"/>
                <a:gd name="connsiteX81" fmla="*/ 22478203 w 27542354"/>
                <a:gd name="connsiteY81" fmla="*/ 2414189 h 15152939"/>
                <a:gd name="connsiteX82" fmla="*/ 23292084 w 27542354"/>
                <a:gd name="connsiteY82" fmla="*/ 2016293 h 15152939"/>
                <a:gd name="connsiteX83" fmla="*/ 23888932 w 27542354"/>
                <a:gd name="connsiteY83" fmla="*/ 1998212 h 15152939"/>
                <a:gd name="connsiteX84" fmla="*/ 24612383 w 27542354"/>
                <a:gd name="connsiteY84" fmla="*/ 1582227 h 15152939"/>
                <a:gd name="connsiteX85" fmla="*/ 25010275 w 27542354"/>
                <a:gd name="connsiteY85" fmla="*/ 695990 h 15152939"/>
                <a:gd name="connsiteX86" fmla="*/ 25769899 w 27542354"/>
                <a:gd name="connsiteY86" fmla="*/ 840685 h 15152939"/>
                <a:gd name="connsiteX87" fmla="*/ 26402920 w 27542354"/>
                <a:gd name="connsiteY87" fmla="*/ 876857 h 15152939"/>
                <a:gd name="connsiteX88" fmla="*/ 26240141 w 27542354"/>
                <a:gd name="connsiteY88" fmla="*/ 1491794 h 15152939"/>
                <a:gd name="connsiteX89" fmla="*/ 26554742 w 27542354"/>
                <a:gd name="connsiteY89" fmla="*/ 2052454 h 15152939"/>
                <a:gd name="connsiteX90" fmla="*/ 25679461 w 27542354"/>
                <a:gd name="connsiteY90" fmla="*/ 2775920 h 15152939"/>
                <a:gd name="connsiteX91" fmla="*/ 25751806 w 27542354"/>
                <a:gd name="connsiteY91" fmla="*/ 3806840 h 15152939"/>
                <a:gd name="connsiteX92" fmla="*/ 26157237 w 27542354"/>
                <a:gd name="connsiteY92"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023104 w 27542354"/>
                <a:gd name="connsiteY6" fmla="*/ 7478344 h 15152939"/>
                <a:gd name="connsiteX7" fmla="*/ 26619948 w 27542354"/>
                <a:gd name="connsiteY7" fmla="*/ 7840060 h 15152939"/>
                <a:gd name="connsiteX8" fmla="*/ 26276305 w 27542354"/>
                <a:gd name="connsiteY8" fmla="*/ 8672029 h 15152939"/>
                <a:gd name="connsiteX9" fmla="*/ 26312478 w 27542354"/>
                <a:gd name="connsiteY9" fmla="*/ 9666777 h 15152939"/>
                <a:gd name="connsiteX10" fmla="*/ 26402912 w 27542354"/>
                <a:gd name="connsiteY10" fmla="*/ 10643437 h 15152939"/>
                <a:gd name="connsiteX11" fmla="*/ 27542355 w 27542354"/>
                <a:gd name="connsiteY11" fmla="*/ 12005935 h 15152939"/>
                <a:gd name="connsiteX12" fmla="*/ 26089423 w 27542354"/>
                <a:gd name="connsiteY12" fmla="*/ 11975789 h 15152939"/>
                <a:gd name="connsiteX13" fmla="*/ 24473715 w 27542354"/>
                <a:gd name="connsiteY13" fmla="*/ 12090334 h 15152939"/>
                <a:gd name="connsiteX14" fmla="*/ 23135328 w 27542354"/>
                <a:gd name="connsiteY14" fmla="*/ 12222964 h 15152939"/>
                <a:gd name="connsiteX15" fmla="*/ 22261159 w 27542354"/>
                <a:gd name="connsiteY15" fmla="*/ 12934357 h 15152939"/>
                <a:gd name="connsiteX16" fmla="*/ 20826342 w 27542354"/>
                <a:gd name="connsiteY16" fmla="*/ 14369204 h 15152939"/>
                <a:gd name="connsiteX17" fmla="*/ 12952786 w 27542354"/>
                <a:gd name="connsiteY17" fmla="*/ 14960014 h 15152939"/>
                <a:gd name="connsiteX18" fmla="*/ 11934663 w 27542354"/>
                <a:gd name="connsiteY18" fmla="*/ 15008264 h 15152939"/>
                <a:gd name="connsiteX19" fmla="*/ 8506848 w 27542354"/>
                <a:gd name="connsiteY19" fmla="*/ 15152939 h 15152939"/>
                <a:gd name="connsiteX20" fmla="*/ 7985095 w 27542354"/>
                <a:gd name="connsiteY20" fmla="*/ 14507857 h 15152939"/>
                <a:gd name="connsiteX21" fmla="*/ 7400308 w 27542354"/>
                <a:gd name="connsiteY21" fmla="*/ 14477712 h 15152939"/>
                <a:gd name="connsiteX22" fmla="*/ 6972273 w 27542354"/>
                <a:gd name="connsiteY22" fmla="*/ 14749009 h 15152939"/>
                <a:gd name="connsiteX23" fmla="*/ 5181729 w 27542354"/>
                <a:gd name="connsiteY23" fmla="*/ 14664610 h 15152939"/>
                <a:gd name="connsiteX24" fmla="*/ 4397998 w 27542354"/>
                <a:gd name="connsiteY24" fmla="*/ 14031593 h 15152939"/>
                <a:gd name="connsiteX25" fmla="*/ 2908896 w 27542354"/>
                <a:gd name="connsiteY25" fmla="*/ 13223739 h 15152939"/>
                <a:gd name="connsiteX26" fmla="*/ 1263043 w 27542354"/>
                <a:gd name="connsiteY26" fmla="*/ 12512346 h 15152939"/>
                <a:gd name="connsiteX27" fmla="*/ 485320 w 27542354"/>
                <a:gd name="connsiteY27" fmla="*/ 12060189 h 15152939"/>
                <a:gd name="connsiteX28" fmla="*/ 0 w 27542354"/>
                <a:gd name="connsiteY28" fmla="*/ 11767077 h 15152939"/>
                <a:gd name="connsiteX29" fmla="*/ 1003686 w 27542354"/>
                <a:gd name="connsiteY29" fmla="*/ 11021112 h 15152939"/>
                <a:gd name="connsiteX30" fmla="*/ 2902551 w 27542354"/>
                <a:gd name="connsiteY30" fmla="*/ 9836713 h 15152939"/>
                <a:gd name="connsiteX31" fmla="*/ 2558940 w 27542354"/>
                <a:gd name="connsiteY31" fmla="*/ 9303282 h 15152939"/>
                <a:gd name="connsiteX32" fmla="*/ 2402508 w 27542354"/>
                <a:gd name="connsiteY32" fmla="*/ 8616199 h 15152939"/>
                <a:gd name="connsiteX33" fmla="*/ 2730740 w 27542354"/>
                <a:gd name="connsiteY33" fmla="*/ 8589028 h 15152939"/>
                <a:gd name="connsiteX34" fmla="*/ 2947754 w 27542354"/>
                <a:gd name="connsiteY34" fmla="*/ 8118883 h 15152939"/>
                <a:gd name="connsiteX35" fmla="*/ 3499325 w 27542354"/>
                <a:gd name="connsiteY35" fmla="*/ 7675866 h 15152939"/>
                <a:gd name="connsiteX36" fmla="*/ 3680166 w 27542354"/>
                <a:gd name="connsiteY36" fmla="*/ 6798868 h 15152939"/>
                <a:gd name="connsiteX37" fmla="*/ 4186528 w 27542354"/>
                <a:gd name="connsiteY37" fmla="*/ 6807904 h 15152939"/>
                <a:gd name="connsiteX38" fmla="*/ 4837569 w 27542354"/>
                <a:gd name="connsiteY38" fmla="*/ 7278054 h 15152939"/>
                <a:gd name="connsiteX39" fmla="*/ 5352976 w 27542354"/>
                <a:gd name="connsiteY39" fmla="*/ 7196687 h 15152939"/>
                <a:gd name="connsiteX40" fmla="*/ 5741786 w 27542354"/>
                <a:gd name="connsiteY40" fmla="*/ 6825992 h 15152939"/>
                <a:gd name="connsiteX41" fmla="*/ 6157723 w 27542354"/>
                <a:gd name="connsiteY41" fmla="*/ 6663251 h 15152939"/>
                <a:gd name="connsiteX42" fmla="*/ 6745471 w 27542354"/>
                <a:gd name="connsiteY42" fmla="*/ 6093658 h 15152939"/>
                <a:gd name="connsiteX43" fmla="*/ 6890140 w 27542354"/>
                <a:gd name="connsiteY43" fmla="*/ 5243782 h 15152939"/>
                <a:gd name="connsiteX44" fmla="*/ 7568305 w 27542354"/>
                <a:gd name="connsiteY44" fmla="*/ 4674188 h 15152939"/>
                <a:gd name="connsiteX45" fmla="*/ 8137967 w 27542354"/>
                <a:gd name="connsiteY45" fmla="*/ 4231167 h 15152939"/>
                <a:gd name="connsiteX46" fmla="*/ 8463480 w 27542354"/>
                <a:gd name="connsiteY46" fmla="*/ 3426500 h 15152939"/>
                <a:gd name="connsiteX47" fmla="*/ 9024093 w 27542354"/>
                <a:gd name="connsiteY47" fmla="*/ 3073893 h 15152939"/>
                <a:gd name="connsiteX48" fmla="*/ 9675138 w 27542354"/>
                <a:gd name="connsiteY48" fmla="*/ 2721291 h 15152939"/>
                <a:gd name="connsiteX49" fmla="*/ 9558580 w 27542354"/>
                <a:gd name="connsiteY49" fmla="*/ 2173007 h 15152939"/>
                <a:gd name="connsiteX50" fmla="*/ 10353296 w 27542354"/>
                <a:gd name="connsiteY50" fmla="*/ 1500723 h 15152939"/>
                <a:gd name="connsiteX51" fmla="*/ 10832530 w 27542354"/>
                <a:gd name="connsiteY51" fmla="*/ 1428389 h 15152939"/>
                <a:gd name="connsiteX52" fmla="*/ 11058585 w 27542354"/>
                <a:gd name="connsiteY52" fmla="*/ 1880458 h 15152939"/>
                <a:gd name="connsiteX53" fmla="*/ 11411229 w 27542354"/>
                <a:gd name="connsiteY53" fmla="*/ 2260189 h 15152939"/>
                <a:gd name="connsiteX54" fmla="*/ 11998974 w 27542354"/>
                <a:gd name="connsiteY54" fmla="*/ 2341559 h 15152939"/>
                <a:gd name="connsiteX55" fmla="*/ 12315449 w 27542354"/>
                <a:gd name="connsiteY55" fmla="*/ 3001571 h 15152939"/>
                <a:gd name="connsiteX56" fmla="*/ 12785642 w 27542354"/>
                <a:gd name="connsiteY56" fmla="*/ 2820742 h 15152939"/>
                <a:gd name="connsiteX57" fmla="*/ 13671776 w 27542354"/>
                <a:gd name="connsiteY57" fmla="*/ 3272803 h 15152939"/>
                <a:gd name="connsiteX58" fmla="*/ 14123886 w 27542354"/>
                <a:gd name="connsiteY58" fmla="*/ 2974450 h 15152939"/>
                <a:gd name="connsiteX59" fmla="*/ 14259509 w 27542354"/>
                <a:gd name="connsiteY59" fmla="*/ 2404849 h 15152939"/>
                <a:gd name="connsiteX60" fmla="*/ 14892468 w 27542354"/>
                <a:gd name="connsiteY60" fmla="*/ 1762918 h 15152939"/>
                <a:gd name="connsiteX61" fmla="*/ 15778605 w 27542354"/>
                <a:gd name="connsiteY61" fmla="*/ 1211398 h 15152939"/>
                <a:gd name="connsiteX62" fmla="*/ 16022739 w 27542354"/>
                <a:gd name="connsiteY62" fmla="*/ 1681548 h 15152939"/>
                <a:gd name="connsiteX63" fmla="*/ 16013694 w 27542354"/>
                <a:gd name="connsiteY63" fmla="*/ 2169778 h 15152939"/>
                <a:gd name="connsiteX64" fmla="*/ 16556232 w 27542354"/>
                <a:gd name="connsiteY64" fmla="*/ 2260200 h 15152939"/>
                <a:gd name="connsiteX65" fmla="*/ 16863663 w 27542354"/>
                <a:gd name="connsiteY65" fmla="*/ 1744834 h 15152939"/>
                <a:gd name="connsiteX66" fmla="*/ 17406193 w 27542354"/>
                <a:gd name="connsiteY66" fmla="*/ 1410312 h 15152939"/>
                <a:gd name="connsiteX67" fmla="*/ 17623203 w 27542354"/>
                <a:gd name="connsiteY67" fmla="*/ 867840 h 15152939"/>
                <a:gd name="connsiteX68" fmla="*/ 18120524 w 27542354"/>
                <a:gd name="connsiteY68" fmla="*/ 831675 h 15152939"/>
                <a:gd name="connsiteX69" fmla="*/ 18201903 w 27542354"/>
                <a:gd name="connsiteY69" fmla="*/ 542358 h 15152939"/>
                <a:gd name="connsiteX70" fmla="*/ 18744437 w 27542354"/>
                <a:gd name="connsiteY70" fmla="*/ 117414 h 15152939"/>
                <a:gd name="connsiteX71" fmla="*/ 19443290 w 27542354"/>
                <a:gd name="connsiteY71" fmla="*/ 0 h 15152939"/>
                <a:gd name="connsiteX72" fmla="*/ 19982300 w 27542354"/>
                <a:gd name="connsiteY72" fmla="*/ 460880 h 15152939"/>
                <a:gd name="connsiteX73" fmla="*/ 19530143 w 27542354"/>
                <a:gd name="connsiteY73" fmla="*/ 913038 h 15152939"/>
                <a:gd name="connsiteX74" fmla="*/ 19837609 w 27542354"/>
                <a:gd name="connsiteY74" fmla="*/ 1238588 h 15152939"/>
                <a:gd name="connsiteX75" fmla="*/ 20886614 w 27542354"/>
                <a:gd name="connsiteY75" fmla="*/ 1546055 h 15152939"/>
                <a:gd name="connsiteX76" fmla="*/ 21881359 w 27542354"/>
                <a:gd name="connsiteY76" fmla="*/ 1889694 h 15152939"/>
                <a:gd name="connsiteX77" fmla="*/ 21772837 w 27542354"/>
                <a:gd name="connsiteY77" fmla="*/ 2269505 h 15152939"/>
                <a:gd name="connsiteX78" fmla="*/ 21537712 w 27542354"/>
                <a:gd name="connsiteY78" fmla="*/ 2884438 h 15152939"/>
                <a:gd name="connsiteX79" fmla="*/ 21996067 w 27542354"/>
                <a:gd name="connsiteY79" fmla="*/ 2911656 h 15152939"/>
                <a:gd name="connsiteX80" fmla="*/ 22478203 w 27542354"/>
                <a:gd name="connsiteY80" fmla="*/ 2414189 h 15152939"/>
                <a:gd name="connsiteX81" fmla="*/ 23292084 w 27542354"/>
                <a:gd name="connsiteY81" fmla="*/ 2016293 h 15152939"/>
                <a:gd name="connsiteX82" fmla="*/ 23888932 w 27542354"/>
                <a:gd name="connsiteY82" fmla="*/ 1998212 h 15152939"/>
                <a:gd name="connsiteX83" fmla="*/ 24612383 w 27542354"/>
                <a:gd name="connsiteY83" fmla="*/ 1582227 h 15152939"/>
                <a:gd name="connsiteX84" fmla="*/ 25010275 w 27542354"/>
                <a:gd name="connsiteY84" fmla="*/ 695990 h 15152939"/>
                <a:gd name="connsiteX85" fmla="*/ 25769899 w 27542354"/>
                <a:gd name="connsiteY85" fmla="*/ 840685 h 15152939"/>
                <a:gd name="connsiteX86" fmla="*/ 26402920 w 27542354"/>
                <a:gd name="connsiteY86" fmla="*/ 876857 h 15152939"/>
                <a:gd name="connsiteX87" fmla="*/ 26240141 w 27542354"/>
                <a:gd name="connsiteY87" fmla="*/ 1491794 h 15152939"/>
                <a:gd name="connsiteX88" fmla="*/ 26554742 w 27542354"/>
                <a:gd name="connsiteY88" fmla="*/ 2052454 h 15152939"/>
                <a:gd name="connsiteX89" fmla="*/ 25679461 w 27542354"/>
                <a:gd name="connsiteY89" fmla="*/ 2775920 h 15152939"/>
                <a:gd name="connsiteX90" fmla="*/ 25751806 w 27542354"/>
                <a:gd name="connsiteY90" fmla="*/ 3806840 h 15152939"/>
                <a:gd name="connsiteX91" fmla="*/ 26157237 w 27542354"/>
                <a:gd name="connsiteY91"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023104 w 27542354"/>
                <a:gd name="connsiteY6" fmla="*/ 7478344 h 15152939"/>
                <a:gd name="connsiteX7" fmla="*/ 26619948 w 27542354"/>
                <a:gd name="connsiteY7" fmla="*/ 7840060 h 15152939"/>
                <a:gd name="connsiteX8" fmla="*/ 26312478 w 27542354"/>
                <a:gd name="connsiteY8" fmla="*/ 9666777 h 15152939"/>
                <a:gd name="connsiteX9" fmla="*/ 26402912 w 27542354"/>
                <a:gd name="connsiteY9" fmla="*/ 10643437 h 15152939"/>
                <a:gd name="connsiteX10" fmla="*/ 27542355 w 27542354"/>
                <a:gd name="connsiteY10" fmla="*/ 12005935 h 15152939"/>
                <a:gd name="connsiteX11" fmla="*/ 26089423 w 27542354"/>
                <a:gd name="connsiteY11" fmla="*/ 11975789 h 15152939"/>
                <a:gd name="connsiteX12" fmla="*/ 24473715 w 27542354"/>
                <a:gd name="connsiteY12" fmla="*/ 12090334 h 15152939"/>
                <a:gd name="connsiteX13" fmla="*/ 23135328 w 27542354"/>
                <a:gd name="connsiteY13" fmla="*/ 12222964 h 15152939"/>
                <a:gd name="connsiteX14" fmla="*/ 22261159 w 27542354"/>
                <a:gd name="connsiteY14" fmla="*/ 12934357 h 15152939"/>
                <a:gd name="connsiteX15" fmla="*/ 20826342 w 27542354"/>
                <a:gd name="connsiteY15" fmla="*/ 14369204 h 15152939"/>
                <a:gd name="connsiteX16" fmla="*/ 12952786 w 27542354"/>
                <a:gd name="connsiteY16" fmla="*/ 14960014 h 15152939"/>
                <a:gd name="connsiteX17" fmla="*/ 11934663 w 27542354"/>
                <a:gd name="connsiteY17" fmla="*/ 15008264 h 15152939"/>
                <a:gd name="connsiteX18" fmla="*/ 8506848 w 27542354"/>
                <a:gd name="connsiteY18" fmla="*/ 15152939 h 15152939"/>
                <a:gd name="connsiteX19" fmla="*/ 7985095 w 27542354"/>
                <a:gd name="connsiteY19" fmla="*/ 14507857 h 15152939"/>
                <a:gd name="connsiteX20" fmla="*/ 7400308 w 27542354"/>
                <a:gd name="connsiteY20" fmla="*/ 14477712 h 15152939"/>
                <a:gd name="connsiteX21" fmla="*/ 6972273 w 27542354"/>
                <a:gd name="connsiteY21" fmla="*/ 14749009 h 15152939"/>
                <a:gd name="connsiteX22" fmla="*/ 5181729 w 27542354"/>
                <a:gd name="connsiteY22" fmla="*/ 14664610 h 15152939"/>
                <a:gd name="connsiteX23" fmla="*/ 4397998 w 27542354"/>
                <a:gd name="connsiteY23" fmla="*/ 14031593 h 15152939"/>
                <a:gd name="connsiteX24" fmla="*/ 2908896 w 27542354"/>
                <a:gd name="connsiteY24" fmla="*/ 13223739 h 15152939"/>
                <a:gd name="connsiteX25" fmla="*/ 1263043 w 27542354"/>
                <a:gd name="connsiteY25" fmla="*/ 12512346 h 15152939"/>
                <a:gd name="connsiteX26" fmla="*/ 485320 w 27542354"/>
                <a:gd name="connsiteY26" fmla="*/ 12060189 h 15152939"/>
                <a:gd name="connsiteX27" fmla="*/ 0 w 27542354"/>
                <a:gd name="connsiteY27" fmla="*/ 11767077 h 15152939"/>
                <a:gd name="connsiteX28" fmla="*/ 1003686 w 27542354"/>
                <a:gd name="connsiteY28" fmla="*/ 11021112 h 15152939"/>
                <a:gd name="connsiteX29" fmla="*/ 2902551 w 27542354"/>
                <a:gd name="connsiteY29" fmla="*/ 9836713 h 15152939"/>
                <a:gd name="connsiteX30" fmla="*/ 2558940 w 27542354"/>
                <a:gd name="connsiteY30" fmla="*/ 9303282 h 15152939"/>
                <a:gd name="connsiteX31" fmla="*/ 2402508 w 27542354"/>
                <a:gd name="connsiteY31" fmla="*/ 8616199 h 15152939"/>
                <a:gd name="connsiteX32" fmla="*/ 2730740 w 27542354"/>
                <a:gd name="connsiteY32" fmla="*/ 8589028 h 15152939"/>
                <a:gd name="connsiteX33" fmla="*/ 2947754 w 27542354"/>
                <a:gd name="connsiteY33" fmla="*/ 8118883 h 15152939"/>
                <a:gd name="connsiteX34" fmla="*/ 3499325 w 27542354"/>
                <a:gd name="connsiteY34" fmla="*/ 7675866 h 15152939"/>
                <a:gd name="connsiteX35" fmla="*/ 3680166 w 27542354"/>
                <a:gd name="connsiteY35" fmla="*/ 6798868 h 15152939"/>
                <a:gd name="connsiteX36" fmla="*/ 4186528 w 27542354"/>
                <a:gd name="connsiteY36" fmla="*/ 6807904 h 15152939"/>
                <a:gd name="connsiteX37" fmla="*/ 4837569 w 27542354"/>
                <a:gd name="connsiteY37" fmla="*/ 7278054 h 15152939"/>
                <a:gd name="connsiteX38" fmla="*/ 5352976 w 27542354"/>
                <a:gd name="connsiteY38" fmla="*/ 7196687 h 15152939"/>
                <a:gd name="connsiteX39" fmla="*/ 5741786 w 27542354"/>
                <a:gd name="connsiteY39" fmla="*/ 6825992 h 15152939"/>
                <a:gd name="connsiteX40" fmla="*/ 6157723 w 27542354"/>
                <a:gd name="connsiteY40" fmla="*/ 6663251 h 15152939"/>
                <a:gd name="connsiteX41" fmla="*/ 6745471 w 27542354"/>
                <a:gd name="connsiteY41" fmla="*/ 6093658 h 15152939"/>
                <a:gd name="connsiteX42" fmla="*/ 6890140 w 27542354"/>
                <a:gd name="connsiteY42" fmla="*/ 5243782 h 15152939"/>
                <a:gd name="connsiteX43" fmla="*/ 7568305 w 27542354"/>
                <a:gd name="connsiteY43" fmla="*/ 4674188 h 15152939"/>
                <a:gd name="connsiteX44" fmla="*/ 8137967 w 27542354"/>
                <a:gd name="connsiteY44" fmla="*/ 4231167 h 15152939"/>
                <a:gd name="connsiteX45" fmla="*/ 8463480 w 27542354"/>
                <a:gd name="connsiteY45" fmla="*/ 3426500 h 15152939"/>
                <a:gd name="connsiteX46" fmla="*/ 9024093 w 27542354"/>
                <a:gd name="connsiteY46" fmla="*/ 3073893 h 15152939"/>
                <a:gd name="connsiteX47" fmla="*/ 9675138 w 27542354"/>
                <a:gd name="connsiteY47" fmla="*/ 2721291 h 15152939"/>
                <a:gd name="connsiteX48" fmla="*/ 9558580 w 27542354"/>
                <a:gd name="connsiteY48" fmla="*/ 2173007 h 15152939"/>
                <a:gd name="connsiteX49" fmla="*/ 10353296 w 27542354"/>
                <a:gd name="connsiteY49" fmla="*/ 1500723 h 15152939"/>
                <a:gd name="connsiteX50" fmla="*/ 10832530 w 27542354"/>
                <a:gd name="connsiteY50" fmla="*/ 1428389 h 15152939"/>
                <a:gd name="connsiteX51" fmla="*/ 11058585 w 27542354"/>
                <a:gd name="connsiteY51" fmla="*/ 1880458 h 15152939"/>
                <a:gd name="connsiteX52" fmla="*/ 11411229 w 27542354"/>
                <a:gd name="connsiteY52" fmla="*/ 2260189 h 15152939"/>
                <a:gd name="connsiteX53" fmla="*/ 11998974 w 27542354"/>
                <a:gd name="connsiteY53" fmla="*/ 2341559 h 15152939"/>
                <a:gd name="connsiteX54" fmla="*/ 12315449 w 27542354"/>
                <a:gd name="connsiteY54" fmla="*/ 3001571 h 15152939"/>
                <a:gd name="connsiteX55" fmla="*/ 12785642 w 27542354"/>
                <a:gd name="connsiteY55" fmla="*/ 2820742 h 15152939"/>
                <a:gd name="connsiteX56" fmla="*/ 13671776 w 27542354"/>
                <a:gd name="connsiteY56" fmla="*/ 3272803 h 15152939"/>
                <a:gd name="connsiteX57" fmla="*/ 14123886 w 27542354"/>
                <a:gd name="connsiteY57" fmla="*/ 2974450 h 15152939"/>
                <a:gd name="connsiteX58" fmla="*/ 14259509 w 27542354"/>
                <a:gd name="connsiteY58" fmla="*/ 2404849 h 15152939"/>
                <a:gd name="connsiteX59" fmla="*/ 14892468 w 27542354"/>
                <a:gd name="connsiteY59" fmla="*/ 1762918 h 15152939"/>
                <a:gd name="connsiteX60" fmla="*/ 15778605 w 27542354"/>
                <a:gd name="connsiteY60" fmla="*/ 1211398 h 15152939"/>
                <a:gd name="connsiteX61" fmla="*/ 16022739 w 27542354"/>
                <a:gd name="connsiteY61" fmla="*/ 1681548 h 15152939"/>
                <a:gd name="connsiteX62" fmla="*/ 16013694 w 27542354"/>
                <a:gd name="connsiteY62" fmla="*/ 2169778 h 15152939"/>
                <a:gd name="connsiteX63" fmla="*/ 16556232 w 27542354"/>
                <a:gd name="connsiteY63" fmla="*/ 2260200 h 15152939"/>
                <a:gd name="connsiteX64" fmla="*/ 16863663 w 27542354"/>
                <a:gd name="connsiteY64" fmla="*/ 1744834 h 15152939"/>
                <a:gd name="connsiteX65" fmla="*/ 17406193 w 27542354"/>
                <a:gd name="connsiteY65" fmla="*/ 1410312 h 15152939"/>
                <a:gd name="connsiteX66" fmla="*/ 17623203 w 27542354"/>
                <a:gd name="connsiteY66" fmla="*/ 867840 h 15152939"/>
                <a:gd name="connsiteX67" fmla="*/ 18120524 w 27542354"/>
                <a:gd name="connsiteY67" fmla="*/ 831675 h 15152939"/>
                <a:gd name="connsiteX68" fmla="*/ 18201903 w 27542354"/>
                <a:gd name="connsiteY68" fmla="*/ 542358 h 15152939"/>
                <a:gd name="connsiteX69" fmla="*/ 18744437 w 27542354"/>
                <a:gd name="connsiteY69" fmla="*/ 117414 h 15152939"/>
                <a:gd name="connsiteX70" fmla="*/ 19443290 w 27542354"/>
                <a:gd name="connsiteY70" fmla="*/ 0 h 15152939"/>
                <a:gd name="connsiteX71" fmla="*/ 19982300 w 27542354"/>
                <a:gd name="connsiteY71" fmla="*/ 460880 h 15152939"/>
                <a:gd name="connsiteX72" fmla="*/ 19530143 w 27542354"/>
                <a:gd name="connsiteY72" fmla="*/ 913038 h 15152939"/>
                <a:gd name="connsiteX73" fmla="*/ 19837609 w 27542354"/>
                <a:gd name="connsiteY73" fmla="*/ 1238588 h 15152939"/>
                <a:gd name="connsiteX74" fmla="*/ 20886614 w 27542354"/>
                <a:gd name="connsiteY74" fmla="*/ 1546055 h 15152939"/>
                <a:gd name="connsiteX75" fmla="*/ 21881359 w 27542354"/>
                <a:gd name="connsiteY75" fmla="*/ 1889694 h 15152939"/>
                <a:gd name="connsiteX76" fmla="*/ 21772837 w 27542354"/>
                <a:gd name="connsiteY76" fmla="*/ 2269505 h 15152939"/>
                <a:gd name="connsiteX77" fmla="*/ 21537712 w 27542354"/>
                <a:gd name="connsiteY77" fmla="*/ 2884438 h 15152939"/>
                <a:gd name="connsiteX78" fmla="*/ 21996067 w 27542354"/>
                <a:gd name="connsiteY78" fmla="*/ 2911656 h 15152939"/>
                <a:gd name="connsiteX79" fmla="*/ 22478203 w 27542354"/>
                <a:gd name="connsiteY79" fmla="*/ 2414189 h 15152939"/>
                <a:gd name="connsiteX80" fmla="*/ 23292084 w 27542354"/>
                <a:gd name="connsiteY80" fmla="*/ 2016293 h 15152939"/>
                <a:gd name="connsiteX81" fmla="*/ 23888932 w 27542354"/>
                <a:gd name="connsiteY81" fmla="*/ 1998212 h 15152939"/>
                <a:gd name="connsiteX82" fmla="*/ 24612383 w 27542354"/>
                <a:gd name="connsiteY82" fmla="*/ 1582227 h 15152939"/>
                <a:gd name="connsiteX83" fmla="*/ 25010275 w 27542354"/>
                <a:gd name="connsiteY83" fmla="*/ 695990 h 15152939"/>
                <a:gd name="connsiteX84" fmla="*/ 25769899 w 27542354"/>
                <a:gd name="connsiteY84" fmla="*/ 840685 h 15152939"/>
                <a:gd name="connsiteX85" fmla="*/ 26402920 w 27542354"/>
                <a:gd name="connsiteY85" fmla="*/ 876857 h 15152939"/>
                <a:gd name="connsiteX86" fmla="*/ 26240141 w 27542354"/>
                <a:gd name="connsiteY86" fmla="*/ 1491794 h 15152939"/>
                <a:gd name="connsiteX87" fmla="*/ 26554742 w 27542354"/>
                <a:gd name="connsiteY87" fmla="*/ 2052454 h 15152939"/>
                <a:gd name="connsiteX88" fmla="*/ 25679461 w 27542354"/>
                <a:gd name="connsiteY88" fmla="*/ 2775920 h 15152939"/>
                <a:gd name="connsiteX89" fmla="*/ 25751806 w 27542354"/>
                <a:gd name="connsiteY89" fmla="*/ 3806840 h 15152939"/>
                <a:gd name="connsiteX90" fmla="*/ 26157237 w 27542354"/>
                <a:gd name="connsiteY90"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619948 w 27542354"/>
                <a:gd name="connsiteY6" fmla="*/ 7840060 h 15152939"/>
                <a:gd name="connsiteX7" fmla="*/ 26312478 w 27542354"/>
                <a:gd name="connsiteY7" fmla="*/ 9666777 h 15152939"/>
                <a:gd name="connsiteX8" fmla="*/ 26402912 w 27542354"/>
                <a:gd name="connsiteY8" fmla="*/ 10643437 h 15152939"/>
                <a:gd name="connsiteX9" fmla="*/ 27542355 w 27542354"/>
                <a:gd name="connsiteY9" fmla="*/ 12005935 h 15152939"/>
                <a:gd name="connsiteX10" fmla="*/ 26089423 w 27542354"/>
                <a:gd name="connsiteY10" fmla="*/ 11975789 h 15152939"/>
                <a:gd name="connsiteX11" fmla="*/ 24473715 w 27542354"/>
                <a:gd name="connsiteY11" fmla="*/ 12090334 h 15152939"/>
                <a:gd name="connsiteX12" fmla="*/ 23135328 w 27542354"/>
                <a:gd name="connsiteY12" fmla="*/ 12222964 h 15152939"/>
                <a:gd name="connsiteX13" fmla="*/ 22261159 w 27542354"/>
                <a:gd name="connsiteY13" fmla="*/ 12934357 h 15152939"/>
                <a:gd name="connsiteX14" fmla="*/ 20826342 w 27542354"/>
                <a:gd name="connsiteY14" fmla="*/ 14369204 h 15152939"/>
                <a:gd name="connsiteX15" fmla="*/ 12952786 w 27542354"/>
                <a:gd name="connsiteY15" fmla="*/ 14960014 h 15152939"/>
                <a:gd name="connsiteX16" fmla="*/ 11934663 w 27542354"/>
                <a:gd name="connsiteY16" fmla="*/ 15008264 h 15152939"/>
                <a:gd name="connsiteX17" fmla="*/ 8506848 w 27542354"/>
                <a:gd name="connsiteY17" fmla="*/ 15152939 h 15152939"/>
                <a:gd name="connsiteX18" fmla="*/ 7985095 w 27542354"/>
                <a:gd name="connsiteY18" fmla="*/ 14507857 h 15152939"/>
                <a:gd name="connsiteX19" fmla="*/ 7400308 w 27542354"/>
                <a:gd name="connsiteY19" fmla="*/ 14477712 h 15152939"/>
                <a:gd name="connsiteX20" fmla="*/ 6972273 w 27542354"/>
                <a:gd name="connsiteY20" fmla="*/ 14749009 h 15152939"/>
                <a:gd name="connsiteX21" fmla="*/ 5181729 w 27542354"/>
                <a:gd name="connsiteY21" fmla="*/ 14664610 h 15152939"/>
                <a:gd name="connsiteX22" fmla="*/ 4397998 w 27542354"/>
                <a:gd name="connsiteY22" fmla="*/ 14031593 h 15152939"/>
                <a:gd name="connsiteX23" fmla="*/ 2908896 w 27542354"/>
                <a:gd name="connsiteY23" fmla="*/ 13223739 h 15152939"/>
                <a:gd name="connsiteX24" fmla="*/ 1263043 w 27542354"/>
                <a:gd name="connsiteY24" fmla="*/ 12512346 h 15152939"/>
                <a:gd name="connsiteX25" fmla="*/ 485320 w 27542354"/>
                <a:gd name="connsiteY25" fmla="*/ 12060189 h 15152939"/>
                <a:gd name="connsiteX26" fmla="*/ 0 w 27542354"/>
                <a:gd name="connsiteY26" fmla="*/ 11767077 h 15152939"/>
                <a:gd name="connsiteX27" fmla="*/ 1003686 w 27542354"/>
                <a:gd name="connsiteY27" fmla="*/ 11021112 h 15152939"/>
                <a:gd name="connsiteX28" fmla="*/ 2902551 w 27542354"/>
                <a:gd name="connsiteY28" fmla="*/ 9836713 h 15152939"/>
                <a:gd name="connsiteX29" fmla="*/ 2558940 w 27542354"/>
                <a:gd name="connsiteY29" fmla="*/ 9303282 h 15152939"/>
                <a:gd name="connsiteX30" fmla="*/ 2402508 w 27542354"/>
                <a:gd name="connsiteY30" fmla="*/ 8616199 h 15152939"/>
                <a:gd name="connsiteX31" fmla="*/ 2730740 w 27542354"/>
                <a:gd name="connsiteY31" fmla="*/ 8589028 h 15152939"/>
                <a:gd name="connsiteX32" fmla="*/ 2947754 w 27542354"/>
                <a:gd name="connsiteY32" fmla="*/ 8118883 h 15152939"/>
                <a:gd name="connsiteX33" fmla="*/ 3499325 w 27542354"/>
                <a:gd name="connsiteY33" fmla="*/ 7675866 h 15152939"/>
                <a:gd name="connsiteX34" fmla="*/ 3680166 w 27542354"/>
                <a:gd name="connsiteY34" fmla="*/ 6798868 h 15152939"/>
                <a:gd name="connsiteX35" fmla="*/ 4186528 w 27542354"/>
                <a:gd name="connsiteY35" fmla="*/ 6807904 h 15152939"/>
                <a:gd name="connsiteX36" fmla="*/ 4837569 w 27542354"/>
                <a:gd name="connsiteY36" fmla="*/ 7278054 h 15152939"/>
                <a:gd name="connsiteX37" fmla="*/ 5352976 w 27542354"/>
                <a:gd name="connsiteY37" fmla="*/ 7196687 h 15152939"/>
                <a:gd name="connsiteX38" fmla="*/ 5741786 w 27542354"/>
                <a:gd name="connsiteY38" fmla="*/ 6825992 h 15152939"/>
                <a:gd name="connsiteX39" fmla="*/ 6157723 w 27542354"/>
                <a:gd name="connsiteY39" fmla="*/ 6663251 h 15152939"/>
                <a:gd name="connsiteX40" fmla="*/ 6745471 w 27542354"/>
                <a:gd name="connsiteY40" fmla="*/ 6093658 h 15152939"/>
                <a:gd name="connsiteX41" fmla="*/ 6890140 w 27542354"/>
                <a:gd name="connsiteY41" fmla="*/ 5243782 h 15152939"/>
                <a:gd name="connsiteX42" fmla="*/ 7568305 w 27542354"/>
                <a:gd name="connsiteY42" fmla="*/ 4674188 h 15152939"/>
                <a:gd name="connsiteX43" fmla="*/ 8137967 w 27542354"/>
                <a:gd name="connsiteY43" fmla="*/ 4231167 h 15152939"/>
                <a:gd name="connsiteX44" fmla="*/ 8463480 w 27542354"/>
                <a:gd name="connsiteY44" fmla="*/ 3426500 h 15152939"/>
                <a:gd name="connsiteX45" fmla="*/ 9024093 w 27542354"/>
                <a:gd name="connsiteY45" fmla="*/ 3073893 h 15152939"/>
                <a:gd name="connsiteX46" fmla="*/ 9675138 w 27542354"/>
                <a:gd name="connsiteY46" fmla="*/ 2721291 h 15152939"/>
                <a:gd name="connsiteX47" fmla="*/ 9558580 w 27542354"/>
                <a:gd name="connsiteY47" fmla="*/ 2173007 h 15152939"/>
                <a:gd name="connsiteX48" fmla="*/ 10353296 w 27542354"/>
                <a:gd name="connsiteY48" fmla="*/ 1500723 h 15152939"/>
                <a:gd name="connsiteX49" fmla="*/ 10832530 w 27542354"/>
                <a:gd name="connsiteY49" fmla="*/ 1428389 h 15152939"/>
                <a:gd name="connsiteX50" fmla="*/ 11058585 w 27542354"/>
                <a:gd name="connsiteY50" fmla="*/ 1880458 h 15152939"/>
                <a:gd name="connsiteX51" fmla="*/ 11411229 w 27542354"/>
                <a:gd name="connsiteY51" fmla="*/ 2260189 h 15152939"/>
                <a:gd name="connsiteX52" fmla="*/ 11998974 w 27542354"/>
                <a:gd name="connsiteY52" fmla="*/ 2341559 h 15152939"/>
                <a:gd name="connsiteX53" fmla="*/ 12315449 w 27542354"/>
                <a:gd name="connsiteY53" fmla="*/ 3001571 h 15152939"/>
                <a:gd name="connsiteX54" fmla="*/ 12785642 w 27542354"/>
                <a:gd name="connsiteY54" fmla="*/ 2820742 h 15152939"/>
                <a:gd name="connsiteX55" fmla="*/ 13671776 w 27542354"/>
                <a:gd name="connsiteY55" fmla="*/ 3272803 h 15152939"/>
                <a:gd name="connsiteX56" fmla="*/ 14123886 w 27542354"/>
                <a:gd name="connsiteY56" fmla="*/ 2974450 h 15152939"/>
                <a:gd name="connsiteX57" fmla="*/ 14259509 w 27542354"/>
                <a:gd name="connsiteY57" fmla="*/ 2404849 h 15152939"/>
                <a:gd name="connsiteX58" fmla="*/ 14892468 w 27542354"/>
                <a:gd name="connsiteY58" fmla="*/ 1762918 h 15152939"/>
                <a:gd name="connsiteX59" fmla="*/ 15778605 w 27542354"/>
                <a:gd name="connsiteY59" fmla="*/ 1211398 h 15152939"/>
                <a:gd name="connsiteX60" fmla="*/ 16022739 w 27542354"/>
                <a:gd name="connsiteY60" fmla="*/ 1681548 h 15152939"/>
                <a:gd name="connsiteX61" fmla="*/ 16013694 w 27542354"/>
                <a:gd name="connsiteY61" fmla="*/ 2169778 h 15152939"/>
                <a:gd name="connsiteX62" fmla="*/ 16556232 w 27542354"/>
                <a:gd name="connsiteY62" fmla="*/ 2260200 h 15152939"/>
                <a:gd name="connsiteX63" fmla="*/ 16863663 w 27542354"/>
                <a:gd name="connsiteY63" fmla="*/ 1744834 h 15152939"/>
                <a:gd name="connsiteX64" fmla="*/ 17406193 w 27542354"/>
                <a:gd name="connsiteY64" fmla="*/ 1410312 h 15152939"/>
                <a:gd name="connsiteX65" fmla="*/ 17623203 w 27542354"/>
                <a:gd name="connsiteY65" fmla="*/ 867840 h 15152939"/>
                <a:gd name="connsiteX66" fmla="*/ 18120524 w 27542354"/>
                <a:gd name="connsiteY66" fmla="*/ 831675 h 15152939"/>
                <a:gd name="connsiteX67" fmla="*/ 18201903 w 27542354"/>
                <a:gd name="connsiteY67" fmla="*/ 542358 h 15152939"/>
                <a:gd name="connsiteX68" fmla="*/ 18744437 w 27542354"/>
                <a:gd name="connsiteY68" fmla="*/ 117414 h 15152939"/>
                <a:gd name="connsiteX69" fmla="*/ 19443290 w 27542354"/>
                <a:gd name="connsiteY69" fmla="*/ 0 h 15152939"/>
                <a:gd name="connsiteX70" fmla="*/ 19982300 w 27542354"/>
                <a:gd name="connsiteY70" fmla="*/ 460880 h 15152939"/>
                <a:gd name="connsiteX71" fmla="*/ 19530143 w 27542354"/>
                <a:gd name="connsiteY71" fmla="*/ 913038 h 15152939"/>
                <a:gd name="connsiteX72" fmla="*/ 19837609 w 27542354"/>
                <a:gd name="connsiteY72" fmla="*/ 1238588 h 15152939"/>
                <a:gd name="connsiteX73" fmla="*/ 20886614 w 27542354"/>
                <a:gd name="connsiteY73" fmla="*/ 1546055 h 15152939"/>
                <a:gd name="connsiteX74" fmla="*/ 21881359 w 27542354"/>
                <a:gd name="connsiteY74" fmla="*/ 1889694 h 15152939"/>
                <a:gd name="connsiteX75" fmla="*/ 21772837 w 27542354"/>
                <a:gd name="connsiteY75" fmla="*/ 2269505 h 15152939"/>
                <a:gd name="connsiteX76" fmla="*/ 21537712 w 27542354"/>
                <a:gd name="connsiteY76" fmla="*/ 2884438 h 15152939"/>
                <a:gd name="connsiteX77" fmla="*/ 21996067 w 27542354"/>
                <a:gd name="connsiteY77" fmla="*/ 2911656 h 15152939"/>
                <a:gd name="connsiteX78" fmla="*/ 22478203 w 27542354"/>
                <a:gd name="connsiteY78" fmla="*/ 2414189 h 15152939"/>
                <a:gd name="connsiteX79" fmla="*/ 23292084 w 27542354"/>
                <a:gd name="connsiteY79" fmla="*/ 2016293 h 15152939"/>
                <a:gd name="connsiteX80" fmla="*/ 23888932 w 27542354"/>
                <a:gd name="connsiteY80" fmla="*/ 1998212 h 15152939"/>
                <a:gd name="connsiteX81" fmla="*/ 24612383 w 27542354"/>
                <a:gd name="connsiteY81" fmla="*/ 1582227 h 15152939"/>
                <a:gd name="connsiteX82" fmla="*/ 25010275 w 27542354"/>
                <a:gd name="connsiteY82" fmla="*/ 695990 h 15152939"/>
                <a:gd name="connsiteX83" fmla="*/ 25769899 w 27542354"/>
                <a:gd name="connsiteY83" fmla="*/ 840685 h 15152939"/>
                <a:gd name="connsiteX84" fmla="*/ 26402920 w 27542354"/>
                <a:gd name="connsiteY84" fmla="*/ 876857 h 15152939"/>
                <a:gd name="connsiteX85" fmla="*/ 26240141 w 27542354"/>
                <a:gd name="connsiteY85" fmla="*/ 1491794 h 15152939"/>
                <a:gd name="connsiteX86" fmla="*/ 26554742 w 27542354"/>
                <a:gd name="connsiteY86" fmla="*/ 2052454 h 15152939"/>
                <a:gd name="connsiteX87" fmla="*/ 25679461 w 27542354"/>
                <a:gd name="connsiteY87" fmla="*/ 2775920 h 15152939"/>
                <a:gd name="connsiteX88" fmla="*/ 25751806 w 27542354"/>
                <a:gd name="connsiteY88" fmla="*/ 3806840 h 15152939"/>
                <a:gd name="connsiteX89" fmla="*/ 26157237 w 27542354"/>
                <a:gd name="connsiteY89"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5824148 w 27542354"/>
                <a:gd name="connsiteY4" fmla="*/ 6827228 h 15152939"/>
                <a:gd name="connsiteX5" fmla="*/ 26619948 w 27542354"/>
                <a:gd name="connsiteY5" fmla="*/ 7840060 h 15152939"/>
                <a:gd name="connsiteX6" fmla="*/ 26312478 w 27542354"/>
                <a:gd name="connsiteY6" fmla="*/ 9666777 h 15152939"/>
                <a:gd name="connsiteX7" fmla="*/ 26402912 w 27542354"/>
                <a:gd name="connsiteY7" fmla="*/ 10643437 h 15152939"/>
                <a:gd name="connsiteX8" fmla="*/ 27542355 w 27542354"/>
                <a:gd name="connsiteY8" fmla="*/ 12005935 h 15152939"/>
                <a:gd name="connsiteX9" fmla="*/ 26089423 w 27542354"/>
                <a:gd name="connsiteY9" fmla="*/ 11975789 h 15152939"/>
                <a:gd name="connsiteX10" fmla="*/ 24473715 w 27542354"/>
                <a:gd name="connsiteY10" fmla="*/ 12090334 h 15152939"/>
                <a:gd name="connsiteX11" fmla="*/ 23135328 w 27542354"/>
                <a:gd name="connsiteY11" fmla="*/ 12222964 h 15152939"/>
                <a:gd name="connsiteX12" fmla="*/ 22261159 w 27542354"/>
                <a:gd name="connsiteY12" fmla="*/ 12934357 h 15152939"/>
                <a:gd name="connsiteX13" fmla="*/ 20826342 w 27542354"/>
                <a:gd name="connsiteY13" fmla="*/ 14369204 h 15152939"/>
                <a:gd name="connsiteX14" fmla="*/ 12952786 w 27542354"/>
                <a:gd name="connsiteY14" fmla="*/ 14960014 h 15152939"/>
                <a:gd name="connsiteX15" fmla="*/ 11934663 w 27542354"/>
                <a:gd name="connsiteY15" fmla="*/ 15008264 h 15152939"/>
                <a:gd name="connsiteX16" fmla="*/ 8506848 w 27542354"/>
                <a:gd name="connsiteY16" fmla="*/ 15152939 h 15152939"/>
                <a:gd name="connsiteX17" fmla="*/ 7985095 w 27542354"/>
                <a:gd name="connsiteY17" fmla="*/ 14507857 h 15152939"/>
                <a:gd name="connsiteX18" fmla="*/ 7400308 w 27542354"/>
                <a:gd name="connsiteY18" fmla="*/ 14477712 h 15152939"/>
                <a:gd name="connsiteX19" fmla="*/ 6972273 w 27542354"/>
                <a:gd name="connsiteY19" fmla="*/ 14749009 h 15152939"/>
                <a:gd name="connsiteX20" fmla="*/ 5181729 w 27542354"/>
                <a:gd name="connsiteY20" fmla="*/ 14664610 h 15152939"/>
                <a:gd name="connsiteX21" fmla="*/ 4397998 w 27542354"/>
                <a:gd name="connsiteY21" fmla="*/ 14031593 h 15152939"/>
                <a:gd name="connsiteX22" fmla="*/ 2908896 w 27542354"/>
                <a:gd name="connsiteY22" fmla="*/ 13223739 h 15152939"/>
                <a:gd name="connsiteX23" fmla="*/ 1263043 w 27542354"/>
                <a:gd name="connsiteY23" fmla="*/ 12512346 h 15152939"/>
                <a:gd name="connsiteX24" fmla="*/ 485320 w 27542354"/>
                <a:gd name="connsiteY24" fmla="*/ 12060189 h 15152939"/>
                <a:gd name="connsiteX25" fmla="*/ 0 w 27542354"/>
                <a:gd name="connsiteY25" fmla="*/ 11767077 h 15152939"/>
                <a:gd name="connsiteX26" fmla="*/ 1003686 w 27542354"/>
                <a:gd name="connsiteY26" fmla="*/ 11021112 h 15152939"/>
                <a:gd name="connsiteX27" fmla="*/ 2902551 w 27542354"/>
                <a:gd name="connsiteY27" fmla="*/ 9836713 h 15152939"/>
                <a:gd name="connsiteX28" fmla="*/ 2558940 w 27542354"/>
                <a:gd name="connsiteY28" fmla="*/ 9303282 h 15152939"/>
                <a:gd name="connsiteX29" fmla="*/ 2402508 w 27542354"/>
                <a:gd name="connsiteY29" fmla="*/ 8616199 h 15152939"/>
                <a:gd name="connsiteX30" fmla="*/ 2730740 w 27542354"/>
                <a:gd name="connsiteY30" fmla="*/ 8589028 h 15152939"/>
                <a:gd name="connsiteX31" fmla="*/ 2947754 w 27542354"/>
                <a:gd name="connsiteY31" fmla="*/ 8118883 h 15152939"/>
                <a:gd name="connsiteX32" fmla="*/ 3499325 w 27542354"/>
                <a:gd name="connsiteY32" fmla="*/ 7675866 h 15152939"/>
                <a:gd name="connsiteX33" fmla="*/ 3680166 w 27542354"/>
                <a:gd name="connsiteY33" fmla="*/ 6798868 h 15152939"/>
                <a:gd name="connsiteX34" fmla="*/ 4186528 w 27542354"/>
                <a:gd name="connsiteY34" fmla="*/ 6807904 h 15152939"/>
                <a:gd name="connsiteX35" fmla="*/ 4837569 w 27542354"/>
                <a:gd name="connsiteY35" fmla="*/ 7278054 h 15152939"/>
                <a:gd name="connsiteX36" fmla="*/ 5352976 w 27542354"/>
                <a:gd name="connsiteY36" fmla="*/ 7196687 h 15152939"/>
                <a:gd name="connsiteX37" fmla="*/ 5741786 w 27542354"/>
                <a:gd name="connsiteY37" fmla="*/ 6825992 h 15152939"/>
                <a:gd name="connsiteX38" fmla="*/ 6157723 w 27542354"/>
                <a:gd name="connsiteY38" fmla="*/ 6663251 h 15152939"/>
                <a:gd name="connsiteX39" fmla="*/ 6745471 w 27542354"/>
                <a:gd name="connsiteY39" fmla="*/ 6093658 h 15152939"/>
                <a:gd name="connsiteX40" fmla="*/ 6890140 w 27542354"/>
                <a:gd name="connsiteY40" fmla="*/ 5243782 h 15152939"/>
                <a:gd name="connsiteX41" fmla="*/ 7568305 w 27542354"/>
                <a:gd name="connsiteY41" fmla="*/ 4674188 h 15152939"/>
                <a:gd name="connsiteX42" fmla="*/ 8137967 w 27542354"/>
                <a:gd name="connsiteY42" fmla="*/ 4231167 h 15152939"/>
                <a:gd name="connsiteX43" fmla="*/ 8463480 w 27542354"/>
                <a:gd name="connsiteY43" fmla="*/ 3426500 h 15152939"/>
                <a:gd name="connsiteX44" fmla="*/ 9024093 w 27542354"/>
                <a:gd name="connsiteY44" fmla="*/ 3073893 h 15152939"/>
                <a:gd name="connsiteX45" fmla="*/ 9675138 w 27542354"/>
                <a:gd name="connsiteY45" fmla="*/ 2721291 h 15152939"/>
                <a:gd name="connsiteX46" fmla="*/ 9558580 w 27542354"/>
                <a:gd name="connsiteY46" fmla="*/ 2173007 h 15152939"/>
                <a:gd name="connsiteX47" fmla="*/ 10353296 w 27542354"/>
                <a:gd name="connsiteY47" fmla="*/ 1500723 h 15152939"/>
                <a:gd name="connsiteX48" fmla="*/ 10832530 w 27542354"/>
                <a:gd name="connsiteY48" fmla="*/ 1428389 h 15152939"/>
                <a:gd name="connsiteX49" fmla="*/ 11058585 w 27542354"/>
                <a:gd name="connsiteY49" fmla="*/ 1880458 h 15152939"/>
                <a:gd name="connsiteX50" fmla="*/ 11411229 w 27542354"/>
                <a:gd name="connsiteY50" fmla="*/ 2260189 h 15152939"/>
                <a:gd name="connsiteX51" fmla="*/ 11998974 w 27542354"/>
                <a:gd name="connsiteY51" fmla="*/ 2341559 h 15152939"/>
                <a:gd name="connsiteX52" fmla="*/ 12315449 w 27542354"/>
                <a:gd name="connsiteY52" fmla="*/ 3001571 h 15152939"/>
                <a:gd name="connsiteX53" fmla="*/ 12785642 w 27542354"/>
                <a:gd name="connsiteY53" fmla="*/ 2820742 h 15152939"/>
                <a:gd name="connsiteX54" fmla="*/ 13671776 w 27542354"/>
                <a:gd name="connsiteY54" fmla="*/ 3272803 h 15152939"/>
                <a:gd name="connsiteX55" fmla="*/ 14123886 w 27542354"/>
                <a:gd name="connsiteY55" fmla="*/ 2974450 h 15152939"/>
                <a:gd name="connsiteX56" fmla="*/ 14259509 w 27542354"/>
                <a:gd name="connsiteY56" fmla="*/ 2404849 h 15152939"/>
                <a:gd name="connsiteX57" fmla="*/ 14892468 w 27542354"/>
                <a:gd name="connsiteY57" fmla="*/ 1762918 h 15152939"/>
                <a:gd name="connsiteX58" fmla="*/ 15778605 w 27542354"/>
                <a:gd name="connsiteY58" fmla="*/ 1211398 h 15152939"/>
                <a:gd name="connsiteX59" fmla="*/ 16022739 w 27542354"/>
                <a:gd name="connsiteY59" fmla="*/ 1681548 h 15152939"/>
                <a:gd name="connsiteX60" fmla="*/ 16013694 w 27542354"/>
                <a:gd name="connsiteY60" fmla="*/ 2169778 h 15152939"/>
                <a:gd name="connsiteX61" fmla="*/ 16556232 w 27542354"/>
                <a:gd name="connsiteY61" fmla="*/ 2260200 h 15152939"/>
                <a:gd name="connsiteX62" fmla="*/ 16863663 w 27542354"/>
                <a:gd name="connsiteY62" fmla="*/ 1744834 h 15152939"/>
                <a:gd name="connsiteX63" fmla="*/ 17406193 w 27542354"/>
                <a:gd name="connsiteY63" fmla="*/ 1410312 h 15152939"/>
                <a:gd name="connsiteX64" fmla="*/ 17623203 w 27542354"/>
                <a:gd name="connsiteY64" fmla="*/ 867840 h 15152939"/>
                <a:gd name="connsiteX65" fmla="*/ 18120524 w 27542354"/>
                <a:gd name="connsiteY65" fmla="*/ 831675 h 15152939"/>
                <a:gd name="connsiteX66" fmla="*/ 18201903 w 27542354"/>
                <a:gd name="connsiteY66" fmla="*/ 542358 h 15152939"/>
                <a:gd name="connsiteX67" fmla="*/ 18744437 w 27542354"/>
                <a:gd name="connsiteY67" fmla="*/ 117414 h 15152939"/>
                <a:gd name="connsiteX68" fmla="*/ 19443290 w 27542354"/>
                <a:gd name="connsiteY68" fmla="*/ 0 h 15152939"/>
                <a:gd name="connsiteX69" fmla="*/ 19982300 w 27542354"/>
                <a:gd name="connsiteY69" fmla="*/ 460880 h 15152939"/>
                <a:gd name="connsiteX70" fmla="*/ 19530143 w 27542354"/>
                <a:gd name="connsiteY70" fmla="*/ 913038 h 15152939"/>
                <a:gd name="connsiteX71" fmla="*/ 19837609 w 27542354"/>
                <a:gd name="connsiteY71" fmla="*/ 1238588 h 15152939"/>
                <a:gd name="connsiteX72" fmla="*/ 20886614 w 27542354"/>
                <a:gd name="connsiteY72" fmla="*/ 1546055 h 15152939"/>
                <a:gd name="connsiteX73" fmla="*/ 21881359 w 27542354"/>
                <a:gd name="connsiteY73" fmla="*/ 1889694 h 15152939"/>
                <a:gd name="connsiteX74" fmla="*/ 21772837 w 27542354"/>
                <a:gd name="connsiteY74" fmla="*/ 2269505 h 15152939"/>
                <a:gd name="connsiteX75" fmla="*/ 21537712 w 27542354"/>
                <a:gd name="connsiteY75" fmla="*/ 2884438 h 15152939"/>
                <a:gd name="connsiteX76" fmla="*/ 21996067 w 27542354"/>
                <a:gd name="connsiteY76" fmla="*/ 2911656 h 15152939"/>
                <a:gd name="connsiteX77" fmla="*/ 22478203 w 27542354"/>
                <a:gd name="connsiteY77" fmla="*/ 2414189 h 15152939"/>
                <a:gd name="connsiteX78" fmla="*/ 23292084 w 27542354"/>
                <a:gd name="connsiteY78" fmla="*/ 2016293 h 15152939"/>
                <a:gd name="connsiteX79" fmla="*/ 23888932 w 27542354"/>
                <a:gd name="connsiteY79" fmla="*/ 1998212 h 15152939"/>
                <a:gd name="connsiteX80" fmla="*/ 24612383 w 27542354"/>
                <a:gd name="connsiteY80" fmla="*/ 1582227 h 15152939"/>
                <a:gd name="connsiteX81" fmla="*/ 25010275 w 27542354"/>
                <a:gd name="connsiteY81" fmla="*/ 695990 h 15152939"/>
                <a:gd name="connsiteX82" fmla="*/ 25769899 w 27542354"/>
                <a:gd name="connsiteY82" fmla="*/ 840685 h 15152939"/>
                <a:gd name="connsiteX83" fmla="*/ 26402920 w 27542354"/>
                <a:gd name="connsiteY83" fmla="*/ 876857 h 15152939"/>
                <a:gd name="connsiteX84" fmla="*/ 26240141 w 27542354"/>
                <a:gd name="connsiteY84" fmla="*/ 1491794 h 15152939"/>
                <a:gd name="connsiteX85" fmla="*/ 26554742 w 27542354"/>
                <a:gd name="connsiteY85" fmla="*/ 2052454 h 15152939"/>
                <a:gd name="connsiteX86" fmla="*/ 25679461 w 27542354"/>
                <a:gd name="connsiteY86" fmla="*/ 2775920 h 15152939"/>
                <a:gd name="connsiteX87" fmla="*/ 25751806 w 27542354"/>
                <a:gd name="connsiteY87" fmla="*/ 3806840 h 15152939"/>
                <a:gd name="connsiteX88" fmla="*/ 26157237 w 27542354"/>
                <a:gd name="connsiteY88" fmla="*/ 4322377 h 15152939"/>
                <a:gd name="connsiteX0" fmla="*/ 26157237 w 27542354"/>
                <a:gd name="connsiteY0" fmla="*/ 4322377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5769899 w 27542354"/>
                <a:gd name="connsiteY81" fmla="*/ 840685 h 15152939"/>
                <a:gd name="connsiteX82" fmla="*/ 26402920 w 27542354"/>
                <a:gd name="connsiteY82" fmla="*/ 876857 h 15152939"/>
                <a:gd name="connsiteX83" fmla="*/ 26240141 w 27542354"/>
                <a:gd name="connsiteY83" fmla="*/ 1491794 h 15152939"/>
                <a:gd name="connsiteX84" fmla="*/ 26554742 w 27542354"/>
                <a:gd name="connsiteY84" fmla="*/ 2052454 h 15152939"/>
                <a:gd name="connsiteX85" fmla="*/ 25679461 w 27542354"/>
                <a:gd name="connsiteY85" fmla="*/ 2775920 h 15152939"/>
                <a:gd name="connsiteX86" fmla="*/ 25751806 w 27542354"/>
                <a:gd name="connsiteY86" fmla="*/ 3806840 h 15152939"/>
                <a:gd name="connsiteX87" fmla="*/ 26157237 w 27542354"/>
                <a:gd name="connsiteY87" fmla="*/ 4322377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5769899 w 27542354"/>
                <a:gd name="connsiteY81" fmla="*/ 840685 h 15152939"/>
                <a:gd name="connsiteX82" fmla="*/ 26402920 w 27542354"/>
                <a:gd name="connsiteY82" fmla="*/ 876857 h 15152939"/>
                <a:gd name="connsiteX83" fmla="*/ 26240141 w 27542354"/>
                <a:gd name="connsiteY83" fmla="*/ 1491794 h 15152939"/>
                <a:gd name="connsiteX84" fmla="*/ 26554742 w 27542354"/>
                <a:gd name="connsiteY84" fmla="*/ 2052454 h 15152939"/>
                <a:gd name="connsiteX85" fmla="*/ 25679461 w 27542354"/>
                <a:gd name="connsiteY85" fmla="*/ 2775920 h 15152939"/>
                <a:gd name="connsiteX86" fmla="*/ 25751806 w 27542354"/>
                <a:gd name="connsiteY86"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5769899 w 27542354"/>
                <a:gd name="connsiteY81" fmla="*/ 840685 h 15152939"/>
                <a:gd name="connsiteX82" fmla="*/ 26402920 w 27542354"/>
                <a:gd name="connsiteY82" fmla="*/ 876857 h 15152939"/>
                <a:gd name="connsiteX83" fmla="*/ 26240141 w 27542354"/>
                <a:gd name="connsiteY83" fmla="*/ 1491794 h 15152939"/>
                <a:gd name="connsiteX84" fmla="*/ 26554742 w 27542354"/>
                <a:gd name="connsiteY84" fmla="*/ 2052454 h 15152939"/>
                <a:gd name="connsiteX85" fmla="*/ 25751806 w 27542354"/>
                <a:gd name="connsiteY85"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5769899 w 27542354"/>
                <a:gd name="connsiteY81" fmla="*/ 840685 h 15152939"/>
                <a:gd name="connsiteX82" fmla="*/ 26402920 w 27542354"/>
                <a:gd name="connsiteY82" fmla="*/ 876857 h 15152939"/>
                <a:gd name="connsiteX83" fmla="*/ 26554742 w 27542354"/>
                <a:gd name="connsiteY83" fmla="*/ 2052454 h 15152939"/>
                <a:gd name="connsiteX84" fmla="*/ 25751806 w 27542354"/>
                <a:gd name="connsiteY84"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6402920 w 27542354"/>
                <a:gd name="connsiteY81" fmla="*/ 876857 h 15152939"/>
                <a:gd name="connsiteX82" fmla="*/ 26554742 w 27542354"/>
                <a:gd name="connsiteY82" fmla="*/ 2052454 h 15152939"/>
                <a:gd name="connsiteX83" fmla="*/ 25751806 w 27542354"/>
                <a:gd name="connsiteY83"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5010275 w 27542354"/>
                <a:gd name="connsiteY79" fmla="*/ 695990 h 15152939"/>
                <a:gd name="connsiteX80" fmla="*/ 26402920 w 27542354"/>
                <a:gd name="connsiteY80" fmla="*/ 876857 h 15152939"/>
                <a:gd name="connsiteX81" fmla="*/ 26554742 w 27542354"/>
                <a:gd name="connsiteY81" fmla="*/ 2052454 h 15152939"/>
                <a:gd name="connsiteX82" fmla="*/ 25751806 w 27542354"/>
                <a:gd name="connsiteY82"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888932 w 27542354"/>
                <a:gd name="connsiteY77" fmla="*/ 1998212 h 15152939"/>
                <a:gd name="connsiteX78" fmla="*/ 25010275 w 27542354"/>
                <a:gd name="connsiteY78" fmla="*/ 695990 h 15152939"/>
                <a:gd name="connsiteX79" fmla="*/ 26402920 w 27542354"/>
                <a:gd name="connsiteY79" fmla="*/ 876857 h 15152939"/>
                <a:gd name="connsiteX80" fmla="*/ 26554742 w 27542354"/>
                <a:gd name="connsiteY80" fmla="*/ 2052454 h 15152939"/>
                <a:gd name="connsiteX81" fmla="*/ 25751806 w 27542354"/>
                <a:gd name="connsiteY81"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2478203 w 27542354"/>
                <a:gd name="connsiteY75" fmla="*/ 2414189 h 15152939"/>
                <a:gd name="connsiteX76" fmla="*/ 23888932 w 27542354"/>
                <a:gd name="connsiteY76" fmla="*/ 1998212 h 15152939"/>
                <a:gd name="connsiteX77" fmla="*/ 25010275 w 27542354"/>
                <a:gd name="connsiteY77" fmla="*/ 695990 h 15152939"/>
                <a:gd name="connsiteX78" fmla="*/ 26402920 w 27542354"/>
                <a:gd name="connsiteY78" fmla="*/ 876857 h 15152939"/>
                <a:gd name="connsiteX79" fmla="*/ 26554742 w 27542354"/>
                <a:gd name="connsiteY79" fmla="*/ 2052454 h 15152939"/>
                <a:gd name="connsiteX80" fmla="*/ 25751806 w 27542354"/>
                <a:gd name="connsiteY80"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537712 w 27542354"/>
                <a:gd name="connsiteY73" fmla="*/ 2884438 h 15152939"/>
                <a:gd name="connsiteX74" fmla="*/ 22478203 w 27542354"/>
                <a:gd name="connsiteY74" fmla="*/ 2414189 h 15152939"/>
                <a:gd name="connsiteX75" fmla="*/ 23888932 w 27542354"/>
                <a:gd name="connsiteY75" fmla="*/ 1998212 h 15152939"/>
                <a:gd name="connsiteX76" fmla="*/ 25010275 w 27542354"/>
                <a:gd name="connsiteY76" fmla="*/ 695990 h 15152939"/>
                <a:gd name="connsiteX77" fmla="*/ 26402920 w 27542354"/>
                <a:gd name="connsiteY77" fmla="*/ 876857 h 15152939"/>
                <a:gd name="connsiteX78" fmla="*/ 26554742 w 27542354"/>
                <a:gd name="connsiteY78" fmla="*/ 2052454 h 15152939"/>
                <a:gd name="connsiteX79" fmla="*/ 25751806 w 27542354"/>
                <a:gd name="connsiteY79"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1881359 w 27542354"/>
                <a:gd name="connsiteY71" fmla="*/ 1889694 h 15152939"/>
                <a:gd name="connsiteX72" fmla="*/ 21537712 w 27542354"/>
                <a:gd name="connsiteY72" fmla="*/ 2884438 h 15152939"/>
                <a:gd name="connsiteX73" fmla="*/ 22478203 w 27542354"/>
                <a:gd name="connsiteY73" fmla="*/ 2414189 h 15152939"/>
                <a:gd name="connsiteX74" fmla="*/ 23888932 w 27542354"/>
                <a:gd name="connsiteY74" fmla="*/ 1998212 h 15152939"/>
                <a:gd name="connsiteX75" fmla="*/ 25010275 w 27542354"/>
                <a:gd name="connsiteY75" fmla="*/ 695990 h 15152939"/>
                <a:gd name="connsiteX76" fmla="*/ 26402920 w 27542354"/>
                <a:gd name="connsiteY76" fmla="*/ 876857 h 15152939"/>
                <a:gd name="connsiteX77" fmla="*/ 26554742 w 27542354"/>
                <a:gd name="connsiteY77" fmla="*/ 2052454 h 15152939"/>
                <a:gd name="connsiteX78" fmla="*/ 25751806 w 27542354"/>
                <a:gd name="connsiteY78"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837609 w 27542354"/>
                <a:gd name="connsiteY69" fmla="*/ 1238588 h 15152939"/>
                <a:gd name="connsiteX70" fmla="*/ 21881359 w 27542354"/>
                <a:gd name="connsiteY70" fmla="*/ 1889694 h 15152939"/>
                <a:gd name="connsiteX71" fmla="*/ 21537712 w 27542354"/>
                <a:gd name="connsiteY71" fmla="*/ 2884438 h 15152939"/>
                <a:gd name="connsiteX72" fmla="*/ 22478203 w 27542354"/>
                <a:gd name="connsiteY72" fmla="*/ 2414189 h 15152939"/>
                <a:gd name="connsiteX73" fmla="*/ 23888932 w 27542354"/>
                <a:gd name="connsiteY73" fmla="*/ 1998212 h 15152939"/>
                <a:gd name="connsiteX74" fmla="*/ 25010275 w 27542354"/>
                <a:gd name="connsiteY74" fmla="*/ 695990 h 15152939"/>
                <a:gd name="connsiteX75" fmla="*/ 26402920 w 27542354"/>
                <a:gd name="connsiteY75" fmla="*/ 876857 h 15152939"/>
                <a:gd name="connsiteX76" fmla="*/ 26554742 w 27542354"/>
                <a:gd name="connsiteY76" fmla="*/ 2052454 h 15152939"/>
                <a:gd name="connsiteX77" fmla="*/ 25751806 w 27542354"/>
                <a:gd name="connsiteY77" fmla="*/ 3806840 h 15152939"/>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013694 w 27542354"/>
                <a:gd name="connsiteY59" fmla="*/ 2052363 h 15035524"/>
                <a:gd name="connsiteX60" fmla="*/ 16556232 w 27542354"/>
                <a:gd name="connsiteY60" fmla="*/ 2142785 h 15035524"/>
                <a:gd name="connsiteX61" fmla="*/ 16863663 w 27542354"/>
                <a:gd name="connsiteY61" fmla="*/ 1627419 h 15035524"/>
                <a:gd name="connsiteX62" fmla="*/ 17406193 w 27542354"/>
                <a:gd name="connsiteY62" fmla="*/ 1292897 h 15035524"/>
                <a:gd name="connsiteX63" fmla="*/ 17623203 w 27542354"/>
                <a:gd name="connsiteY63" fmla="*/ 750425 h 15035524"/>
                <a:gd name="connsiteX64" fmla="*/ 18120524 w 27542354"/>
                <a:gd name="connsiteY64" fmla="*/ 714260 h 15035524"/>
                <a:gd name="connsiteX65" fmla="*/ 18201903 w 27542354"/>
                <a:gd name="connsiteY65" fmla="*/ 424943 h 15035524"/>
                <a:gd name="connsiteX66" fmla="*/ 18744437 w 27542354"/>
                <a:gd name="connsiteY66" fmla="*/ -1 h 15035524"/>
                <a:gd name="connsiteX67" fmla="*/ 19982300 w 27542354"/>
                <a:gd name="connsiteY67" fmla="*/ 343465 h 15035524"/>
                <a:gd name="connsiteX68" fmla="*/ 19837609 w 27542354"/>
                <a:gd name="connsiteY68" fmla="*/ 1121173 h 15035524"/>
                <a:gd name="connsiteX69" fmla="*/ 21881359 w 27542354"/>
                <a:gd name="connsiteY69" fmla="*/ 1772279 h 15035524"/>
                <a:gd name="connsiteX70" fmla="*/ 21537712 w 27542354"/>
                <a:gd name="connsiteY70" fmla="*/ 2767023 h 15035524"/>
                <a:gd name="connsiteX71" fmla="*/ 22478203 w 27542354"/>
                <a:gd name="connsiteY71" fmla="*/ 2296774 h 15035524"/>
                <a:gd name="connsiteX72" fmla="*/ 23888932 w 27542354"/>
                <a:gd name="connsiteY72" fmla="*/ 1880797 h 15035524"/>
                <a:gd name="connsiteX73" fmla="*/ 25010275 w 27542354"/>
                <a:gd name="connsiteY73" fmla="*/ 578575 h 15035524"/>
                <a:gd name="connsiteX74" fmla="*/ 26402920 w 27542354"/>
                <a:gd name="connsiteY74" fmla="*/ 759442 h 15035524"/>
                <a:gd name="connsiteX75" fmla="*/ 26554742 w 27542354"/>
                <a:gd name="connsiteY75" fmla="*/ 1935039 h 15035524"/>
                <a:gd name="connsiteX76" fmla="*/ 25751806 w 27542354"/>
                <a:gd name="connsiteY76"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013694 w 27542354"/>
                <a:gd name="connsiteY59" fmla="*/ 2052363 h 15035524"/>
                <a:gd name="connsiteX60" fmla="*/ 16556232 w 27542354"/>
                <a:gd name="connsiteY60" fmla="*/ 2142785 h 15035524"/>
                <a:gd name="connsiteX61" fmla="*/ 16863663 w 27542354"/>
                <a:gd name="connsiteY61" fmla="*/ 1627419 h 15035524"/>
                <a:gd name="connsiteX62" fmla="*/ 17406193 w 27542354"/>
                <a:gd name="connsiteY62" fmla="*/ 1292897 h 15035524"/>
                <a:gd name="connsiteX63" fmla="*/ 17623203 w 27542354"/>
                <a:gd name="connsiteY63" fmla="*/ 750425 h 15035524"/>
                <a:gd name="connsiteX64" fmla="*/ 18120524 w 27542354"/>
                <a:gd name="connsiteY64" fmla="*/ 714260 h 15035524"/>
                <a:gd name="connsiteX65" fmla="*/ 18744437 w 27542354"/>
                <a:gd name="connsiteY65" fmla="*/ -1 h 15035524"/>
                <a:gd name="connsiteX66" fmla="*/ 19982300 w 27542354"/>
                <a:gd name="connsiteY66" fmla="*/ 343465 h 15035524"/>
                <a:gd name="connsiteX67" fmla="*/ 19837609 w 27542354"/>
                <a:gd name="connsiteY67" fmla="*/ 1121173 h 15035524"/>
                <a:gd name="connsiteX68" fmla="*/ 21881359 w 27542354"/>
                <a:gd name="connsiteY68" fmla="*/ 1772279 h 15035524"/>
                <a:gd name="connsiteX69" fmla="*/ 21537712 w 27542354"/>
                <a:gd name="connsiteY69" fmla="*/ 2767023 h 15035524"/>
                <a:gd name="connsiteX70" fmla="*/ 22478203 w 27542354"/>
                <a:gd name="connsiteY70" fmla="*/ 2296774 h 15035524"/>
                <a:gd name="connsiteX71" fmla="*/ 23888932 w 27542354"/>
                <a:gd name="connsiteY71" fmla="*/ 1880797 h 15035524"/>
                <a:gd name="connsiteX72" fmla="*/ 25010275 w 27542354"/>
                <a:gd name="connsiteY72" fmla="*/ 578575 h 15035524"/>
                <a:gd name="connsiteX73" fmla="*/ 26402920 w 27542354"/>
                <a:gd name="connsiteY73" fmla="*/ 759442 h 15035524"/>
                <a:gd name="connsiteX74" fmla="*/ 26554742 w 27542354"/>
                <a:gd name="connsiteY74" fmla="*/ 1935039 h 15035524"/>
                <a:gd name="connsiteX75" fmla="*/ 25751806 w 27542354"/>
                <a:gd name="connsiteY75"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013694 w 27542354"/>
                <a:gd name="connsiteY59" fmla="*/ 2052363 h 15035524"/>
                <a:gd name="connsiteX60" fmla="*/ 16556232 w 27542354"/>
                <a:gd name="connsiteY60" fmla="*/ 2142785 h 15035524"/>
                <a:gd name="connsiteX61" fmla="*/ 16863663 w 27542354"/>
                <a:gd name="connsiteY61" fmla="*/ 1627419 h 15035524"/>
                <a:gd name="connsiteX62" fmla="*/ 17406193 w 27542354"/>
                <a:gd name="connsiteY62" fmla="*/ 1292897 h 15035524"/>
                <a:gd name="connsiteX63" fmla="*/ 18120524 w 27542354"/>
                <a:gd name="connsiteY63" fmla="*/ 714260 h 15035524"/>
                <a:gd name="connsiteX64" fmla="*/ 18744437 w 27542354"/>
                <a:gd name="connsiteY64" fmla="*/ -1 h 15035524"/>
                <a:gd name="connsiteX65" fmla="*/ 19982300 w 27542354"/>
                <a:gd name="connsiteY65" fmla="*/ 343465 h 15035524"/>
                <a:gd name="connsiteX66" fmla="*/ 19837609 w 27542354"/>
                <a:gd name="connsiteY66" fmla="*/ 1121173 h 15035524"/>
                <a:gd name="connsiteX67" fmla="*/ 21881359 w 27542354"/>
                <a:gd name="connsiteY67" fmla="*/ 1772279 h 15035524"/>
                <a:gd name="connsiteX68" fmla="*/ 21537712 w 27542354"/>
                <a:gd name="connsiteY68" fmla="*/ 2767023 h 15035524"/>
                <a:gd name="connsiteX69" fmla="*/ 22478203 w 27542354"/>
                <a:gd name="connsiteY69" fmla="*/ 2296774 h 15035524"/>
                <a:gd name="connsiteX70" fmla="*/ 23888932 w 27542354"/>
                <a:gd name="connsiteY70" fmla="*/ 1880797 h 15035524"/>
                <a:gd name="connsiteX71" fmla="*/ 25010275 w 27542354"/>
                <a:gd name="connsiteY71" fmla="*/ 578575 h 15035524"/>
                <a:gd name="connsiteX72" fmla="*/ 26402920 w 27542354"/>
                <a:gd name="connsiteY72" fmla="*/ 759442 h 15035524"/>
                <a:gd name="connsiteX73" fmla="*/ 26554742 w 27542354"/>
                <a:gd name="connsiteY73" fmla="*/ 1935039 h 15035524"/>
                <a:gd name="connsiteX74" fmla="*/ 25751806 w 27542354"/>
                <a:gd name="connsiteY74"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013694 w 27542354"/>
                <a:gd name="connsiteY59" fmla="*/ 2052363 h 15035524"/>
                <a:gd name="connsiteX60" fmla="*/ 16556232 w 27542354"/>
                <a:gd name="connsiteY60" fmla="*/ 2142785 h 15035524"/>
                <a:gd name="connsiteX61" fmla="*/ 17406193 w 27542354"/>
                <a:gd name="connsiteY61" fmla="*/ 1292897 h 15035524"/>
                <a:gd name="connsiteX62" fmla="*/ 18120524 w 27542354"/>
                <a:gd name="connsiteY62" fmla="*/ 714260 h 15035524"/>
                <a:gd name="connsiteX63" fmla="*/ 18744437 w 27542354"/>
                <a:gd name="connsiteY63" fmla="*/ -1 h 15035524"/>
                <a:gd name="connsiteX64" fmla="*/ 19982300 w 27542354"/>
                <a:gd name="connsiteY64" fmla="*/ 343465 h 15035524"/>
                <a:gd name="connsiteX65" fmla="*/ 19837609 w 27542354"/>
                <a:gd name="connsiteY65" fmla="*/ 1121173 h 15035524"/>
                <a:gd name="connsiteX66" fmla="*/ 21881359 w 27542354"/>
                <a:gd name="connsiteY66" fmla="*/ 1772279 h 15035524"/>
                <a:gd name="connsiteX67" fmla="*/ 21537712 w 27542354"/>
                <a:gd name="connsiteY67" fmla="*/ 2767023 h 15035524"/>
                <a:gd name="connsiteX68" fmla="*/ 22478203 w 27542354"/>
                <a:gd name="connsiteY68" fmla="*/ 2296774 h 15035524"/>
                <a:gd name="connsiteX69" fmla="*/ 23888932 w 27542354"/>
                <a:gd name="connsiteY69" fmla="*/ 1880797 h 15035524"/>
                <a:gd name="connsiteX70" fmla="*/ 25010275 w 27542354"/>
                <a:gd name="connsiteY70" fmla="*/ 578575 h 15035524"/>
                <a:gd name="connsiteX71" fmla="*/ 26402920 w 27542354"/>
                <a:gd name="connsiteY71" fmla="*/ 759442 h 15035524"/>
                <a:gd name="connsiteX72" fmla="*/ 26554742 w 27542354"/>
                <a:gd name="connsiteY72" fmla="*/ 1935039 h 15035524"/>
                <a:gd name="connsiteX73" fmla="*/ 25751806 w 27542354"/>
                <a:gd name="connsiteY73"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16081136 w 27542354"/>
                <a:gd name="connsiteY12" fmla="*/ 11254718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13276149 w 27542354"/>
                <a:gd name="connsiteY11" fmla="*/ 11528479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14150319 w 27542354"/>
                <a:gd name="connsiteY10" fmla="*/ 11405301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14618283 w 27542354"/>
                <a:gd name="connsiteY9" fmla="*/ 10516400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15011380 w 27542354"/>
                <a:gd name="connsiteY9" fmla="*/ 11048592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13482332 w 27542354"/>
                <a:gd name="connsiteY8" fmla="*/ 8749261 h 15035524"/>
                <a:gd name="connsiteX9" fmla="*/ 15011380 w 27542354"/>
                <a:gd name="connsiteY9" fmla="*/ 11048592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15195097 w 27542354"/>
                <a:gd name="connsiteY8" fmla="*/ 10093742 h 15035524"/>
                <a:gd name="connsiteX9" fmla="*/ 15011380 w 27542354"/>
                <a:gd name="connsiteY9" fmla="*/ 11048592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26312478 w 26619949"/>
                <a:gd name="connsiteY5" fmla="*/ 9549362 h 15035524"/>
                <a:gd name="connsiteX6" fmla="*/ 26402912 w 26619949"/>
                <a:gd name="connsiteY6" fmla="*/ 10526022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26312478 w 26619949"/>
                <a:gd name="connsiteY5" fmla="*/ 9549362 h 15035524"/>
                <a:gd name="connsiteX6" fmla="*/ 14862794 w 26619949"/>
                <a:gd name="connsiteY6" fmla="*/ 7108798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26312478 w 26619949"/>
                <a:gd name="connsiteY5" fmla="*/ 9549362 h 15035524"/>
                <a:gd name="connsiteX6" fmla="*/ 16070155 w 26619949"/>
                <a:gd name="connsiteY6" fmla="*/ 9937808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15193523 w 26619949"/>
                <a:gd name="connsiteY5" fmla="*/ 6720348 h 15035524"/>
                <a:gd name="connsiteX6" fmla="*/ 16070155 w 26619949"/>
                <a:gd name="connsiteY6" fmla="*/ 9937808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16372801 w 26619949"/>
                <a:gd name="connsiteY5" fmla="*/ 9717422 h 15035524"/>
                <a:gd name="connsiteX6" fmla="*/ 16070155 w 26619949"/>
                <a:gd name="connsiteY6" fmla="*/ 9937808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554741"/>
                <a:gd name="connsiteY0" fmla="*/ 3689425 h 15035524"/>
                <a:gd name="connsiteX1" fmla="*/ 25950755 w 26554741"/>
                <a:gd name="connsiteY1" fmla="*/ 4828850 h 15035524"/>
                <a:gd name="connsiteX2" fmla="*/ 26439085 w 26554741"/>
                <a:gd name="connsiteY2" fmla="*/ 5986362 h 15035524"/>
                <a:gd name="connsiteX3" fmla="*/ 25824148 w 26554741"/>
                <a:gd name="connsiteY3" fmla="*/ 6709813 h 15035524"/>
                <a:gd name="connsiteX4" fmla="*/ 14321716 w 26554741"/>
                <a:gd name="connsiteY4" fmla="*/ 6574229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26439085 w 26554741"/>
                <a:gd name="connsiteY2" fmla="*/ 5986362 h 15035524"/>
                <a:gd name="connsiteX3" fmla="*/ 25824148 w 26554741"/>
                <a:gd name="connsiteY3" fmla="*/ 6709813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26439085 w 26554741"/>
                <a:gd name="connsiteY2" fmla="*/ 5986362 h 15035524"/>
                <a:gd name="connsiteX3" fmla="*/ 14340183 w 26554741"/>
                <a:gd name="connsiteY3" fmla="*/ 7354046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26439085 w 26554741"/>
                <a:gd name="connsiteY2" fmla="*/ 5986362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15179740 w 26554741"/>
                <a:gd name="connsiteY2" fmla="*/ 7863038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15505685 w 26554741"/>
                <a:gd name="connsiteY1" fmla="*/ 7181691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16432262 w 26554741"/>
                <a:gd name="connsiteY1" fmla="*/ 7825917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15138264 w 26554741"/>
                <a:gd name="connsiteY0" fmla="*/ 6406394 h 15035524"/>
                <a:gd name="connsiteX1" fmla="*/ 16432262 w 26554741"/>
                <a:gd name="connsiteY1" fmla="*/ 7825917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15138264 w 26554741"/>
                <a:gd name="connsiteY72" fmla="*/ 6406394 h 15035524"/>
                <a:gd name="connsiteX0" fmla="*/ 16682563 w 26554741"/>
                <a:gd name="connsiteY0" fmla="*/ 6798531 h 15035524"/>
                <a:gd name="connsiteX1" fmla="*/ 16432262 w 26554741"/>
                <a:gd name="connsiteY1" fmla="*/ 7825917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16682563 w 26554741"/>
                <a:gd name="connsiteY72" fmla="*/ 6798531 h 15035524"/>
                <a:gd name="connsiteX0" fmla="*/ 16682563 w 26402921"/>
                <a:gd name="connsiteY0" fmla="*/ 6798531 h 15035524"/>
                <a:gd name="connsiteX1" fmla="*/ 16432262 w 26402921"/>
                <a:gd name="connsiteY1" fmla="*/ 7825917 h 15035524"/>
                <a:gd name="connsiteX2" fmla="*/ 16106317 w 26402921"/>
                <a:gd name="connsiteY2" fmla="*/ 8367221 h 15035524"/>
                <a:gd name="connsiteX3" fmla="*/ 16305649 w 26402921"/>
                <a:gd name="connsiteY3" fmla="*/ 8754550 h 15035524"/>
                <a:gd name="connsiteX4" fmla="*/ 16287189 w 26402921"/>
                <a:gd name="connsiteY4" fmla="*/ 9151157 h 15035524"/>
                <a:gd name="connsiteX5" fmla="*/ 16372801 w 26402921"/>
                <a:gd name="connsiteY5" fmla="*/ 9717422 h 15035524"/>
                <a:gd name="connsiteX6" fmla="*/ 16070155 w 26402921"/>
                <a:gd name="connsiteY6" fmla="*/ 9937808 h 15035524"/>
                <a:gd name="connsiteX7" fmla="*/ 15805690 w 26402921"/>
                <a:gd name="connsiteY7" fmla="*/ 10431999 h 15035524"/>
                <a:gd name="connsiteX8" fmla="*/ 15195097 w 26402921"/>
                <a:gd name="connsiteY8" fmla="*/ 10093742 h 15035524"/>
                <a:gd name="connsiteX9" fmla="*/ 15011380 w 26402921"/>
                <a:gd name="connsiteY9" fmla="*/ 11048592 h 15035524"/>
                <a:gd name="connsiteX10" fmla="*/ 14908430 w 26402921"/>
                <a:gd name="connsiteY10" fmla="*/ 11937487 h 15035524"/>
                <a:gd name="connsiteX11" fmla="*/ 14904684 w 26402921"/>
                <a:gd name="connsiteY11" fmla="*/ 12760926 h 15035524"/>
                <a:gd name="connsiteX12" fmla="*/ 14929927 w 26402921"/>
                <a:gd name="connsiteY12" fmla="*/ 14391846 h 15035524"/>
                <a:gd name="connsiteX13" fmla="*/ 12952786 w 26402921"/>
                <a:gd name="connsiteY13" fmla="*/ 14842599 h 15035524"/>
                <a:gd name="connsiteX14" fmla="*/ 11934663 w 26402921"/>
                <a:gd name="connsiteY14" fmla="*/ 14890849 h 15035524"/>
                <a:gd name="connsiteX15" fmla="*/ 8506848 w 26402921"/>
                <a:gd name="connsiteY15" fmla="*/ 15035524 h 15035524"/>
                <a:gd name="connsiteX16" fmla="*/ 7985095 w 26402921"/>
                <a:gd name="connsiteY16" fmla="*/ 14390442 h 15035524"/>
                <a:gd name="connsiteX17" fmla="*/ 7400308 w 26402921"/>
                <a:gd name="connsiteY17" fmla="*/ 14360297 h 15035524"/>
                <a:gd name="connsiteX18" fmla="*/ 6972273 w 26402921"/>
                <a:gd name="connsiteY18" fmla="*/ 14631594 h 15035524"/>
                <a:gd name="connsiteX19" fmla="*/ 5181729 w 26402921"/>
                <a:gd name="connsiteY19" fmla="*/ 14547195 h 15035524"/>
                <a:gd name="connsiteX20" fmla="*/ 4397998 w 26402921"/>
                <a:gd name="connsiteY20" fmla="*/ 13914178 h 15035524"/>
                <a:gd name="connsiteX21" fmla="*/ 2908896 w 26402921"/>
                <a:gd name="connsiteY21" fmla="*/ 13106324 h 15035524"/>
                <a:gd name="connsiteX22" fmla="*/ 1263043 w 26402921"/>
                <a:gd name="connsiteY22" fmla="*/ 12394931 h 15035524"/>
                <a:gd name="connsiteX23" fmla="*/ 485320 w 26402921"/>
                <a:gd name="connsiteY23" fmla="*/ 11942774 h 15035524"/>
                <a:gd name="connsiteX24" fmla="*/ 0 w 26402921"/>
                <a:gd name="connsiteY24" fmla="*/ 11649662 h 15035524"/>
                <a:gd name="connsiteX25" fmla="*/ 1003686 w 26402921"/>
                <a:gd name="connsiteY25" fmla="*/ 10903697 h 15035524"/>
                <a:gd name="connsiteX26" fmla="*/ 2902551 w 26402921"/>
                <a:gd name="connsiteY26" fmla="*/ 9719298 h 15035524"/>
                <a:gd name="connsiteX27" fmla="*/ 2558940 w 26402921"/>
                <a:gd name="connsiteY27" fmla="*/ 9185867 h 15035524"/>
                <a:gd name="connsiteX28" fmla="*/ 2402508 w 26402921"/>
                <a:gd name="connsiteY28" fmla="*/ 8498784 h 15035524"/>
                <a:gd name="connsiteX29" fmla="*/ 2730740 w 26402921"/>
                <a:gd name="connsiteY29" fmla="*/ 8471613 h 15035524"/>
                <a:gd name="connsiteX30" fmla="*/ 2947754 w 26402921"/>
                <a:gd name="connsiteY30" fmla="*/ 8001468 h 15035524"/>
                <a:gd name="connsiteX31" fmla="*/ 3499325 w 26402921"/>
                <a:gd name="connsiteY31" fmla="*/ 7558451 h 15035524"/>
                <a:gd name="connsiteX32" fmla="*/ 3680166 w 26402921"/>
                <a:gd name="connsiteY32" fmla="*/ 6681453 h 15035524"/>
                <a:gd name="connsiteX33" fmla="*/ 4186528 w 26402921"/>
                <a:gd name="connsiteY33" fmla="*/ 6690489 h 15035524"/>
                <a:gd name="connsiteX34" fmla="*/ 4837569 w 26402921"/>
                <a:gd name="connsiteY34" fmla="*/ 7160639 h 15035524"/>
                <a:gd name="connsiteX35" fmla="*/ 5352976 w 26402921"/>
                <a:gd name="connsiteY35" fmla="*/ 7079272 h 15035524"/>
                <a:gd name="connsiteX36" fmla="*/ 5741786 w 26402921"/>
                <a:gd name="connsiteY36" fmla="*/ 6708577 h 15035524"/>
                <a:gd name="connsiteX37" fmla="*/ 6157723 w 26402921"/>
                <a:gd name="connsiteY37" fmla="*/ 6545836 h 15035524"/>
                <a:gd name="connsiteX38" fmla="*/ 6745471 w 26402921"/>
                <a:gd name="connsiteY38" fmla="*/ 5976243 h 15035524"/>
                <a:gd name="connsiteX39" fmla="*/ 6890140 w 26402921"/>
                <a:gd name="connsiteY39" fmla="*/ 5126367 h 15035524"/>
                <a:gd name="connsiteX40" fmla="*/ 7568305 w 26402921"/>
                <a:gd name="connsiteY40" fmla="*/ 4556773 h 15035524"/>
                <a:gd name="connsiteX41" fmla="*/ 8137967 w 26402921"/>
                <a:gd name="connsiteY41" fmla="*/ 4113752 h 15035524"/>
                <a:gd name="connsiteX42" fmla="*/ 8463480 w 26402921"/>
                <a:gd name="connsiteY42" fmla="*/ 3309085 h 15035524"/>
                <a:gd name="connsiteX43" fmla="*/ 9024093 w 26402921"/>
                <a:gd name="connsiteY43" fmla="*/ 2956478 h 15035524"/>
                <a:gd name="connsiteX44" fmla="*/ 9675138 w 26402921"/>
                <a:gd name="connsiteY44" fmla="*/ 2603876 h 15035524"/>
                <a:gd name="connsiteX45" fmla="*/ 9558580 w 26402921"/>
                <a:gd name="connsiteY45" fmla="*/ 2055592 h 15035524"/>
                <a:gd name="connsiteX46" fmla="*/ 10353296 w 26402921"/>
                <a:gd name="connsiteY46" fmla="*/ 1383308 h 15035524"/>
                <a:gd name="connsiteX47" fmla="*/ 10832530 w 26402921"/>
                <a:gd name="connsiteY47" fmla="*/ 1310974 h 15035524"/>
                <a:gd name="connsiteX48" fmla="*/ 11058585 w 26402921"/>
                <a:gd name="connsiteY48" fmla="*/ 1763043 h 15035524"/>
                <a:gd name="connsiteX49" fmla="*/ 11411229 w 26402921"/>
                <a:gd name="connsiteY49" fmla="*/ 2142774 h 15035524"/>
                <a:gd name="connsiteX50" fmla="*/ 11998974 w 26402921"/>
                <a:gd name="connsiteY50" fmla="*/ 2224144 h 15035524"/>
                <a:gd name="connsiteX51" fmla="*/ 12315449 w 26402921"/>
                <a:gd name="connsiteY51" fmla="*/ 2884156 h 15035524"/>
                <a:gd name="connsiteX52" fmla="*/ 12785642 w 26402921"/>
                <a:gd name="connsiteY52" fmla="*/ 2703327 h 15035524"/>
                <a:gd name="connsiteX53" fmla="*/ 13671776 w 26402921"/>
                <a:gd name="connsiteY53" fmla="*/ 3155388 h 15035524"/>
                <a:gd name="connsiteX54" fmla="*/ 14123886 w 26402921"/>
                <a:gd name="connsiteY54" fmla="*/ 2857035 h 15035524"/>
                <a:gd name="connsiteX55" fmla="*/ 14259509 w 26402921"/>
                <a:gd name="connsiteY55" fmla="*/ 2287434 h 15035524"/>
                <a:gd name="connsiteX56" fmla="*/ 14892468 w 26402921"/>
                <a:gd name="connsiteY56" fmla="*/ 1645503 h 15035524"/>
                <a:gd name="connsiteX57" fmla="*/ 15778605 w 26402921"/>
                <a:gd name="connsiteY57" fmla="*/ 1093983 h 15035524"/>
                <a:gd name="connsiteX58" fmla="*/ 16022739 w 26402921"/>
                <a:gd name="connsiteY58" fmla="*/ 1564133 h 15035524"/>
                <a:gd name="connsiteX59" fmla="*/ 16556232 w 26402921"/>
                <a:gd name="connsiteY59" fmla="*/ 2142785 h 15035524"/>
                <a:gd name="connsiteX60" fmla="*/ 17406193 w 26402921"/>
                <a:gd name="connsiteY60" fmla="*/ 1292897 h 15035524"/>
                <a:gd name="connsiteX61" fmla="*/ 18120524 w 26402921"/>
                <a:gd name="connsiteY61" fmla="*/ 714260 h 15035524"/>
                <a:gd name="connsiteX62" fmla="*/ 18744437 w 26402921"/>
                <a:gd name="connsiteY62" fmla="*/ -1 h 15035524"/>
                <a:gd name="connsiteX63" fmla="*/ 19982300 w 26402921"/>
                <a:gd name="connsiteY63" fmla="*/ 343465 h 15035524"/>
                <a:gd name="connsiteX64" fmla="*/ 19837609 w 26402921"/>
                <a:gd name="connsiteY64" fmla="*/ 1121173 h 15035524"/>
                <a:gd name="connsiteX65" fmla="*/ 21881359 w 26402921"/>
                <a:gd name="connsiteY65" fmla="*/ 1772279 h 15035524"/>
                <a:gd name="connsiteX66" fmla="*/ 21537712 w 26402921"/>
                <a:gd name="connsiteY66" fmla="*/ 2767023 h 15035524"/>
                <a:gd name="connsiteX67" fmla="*/ 22478203 w 26402921"/>
                <a:gd name="connsiteY67" fmla="*/ 2296774 h 15035524"/>
                <a:gd name="connsiteX68" fmla="*/ 23888932 w 26402921"/>
                <a:gd name="connsiteY68" fmla="*/ 1880797 h 15035524"/>
                <a:gd name="connsiteX69" fmla="*/ 25010275 w 26402921"/>
                <a:gd name="connsiteY69" fmla="*/ 578575 h 15035524"/>
                <a:gd name="connsiteX70" fmla="*/ 26402920 w 26402921"/>
                <a:gd name="connsiteY70" fmla="*/ 759442 h 15035524"/>
                <a:gd name="connsiteX71" fmla="*/ 14902301 w 26402921"/>
                <a:gd name="connsiteY71" fmla="*/ 5604356 h 15035524"/>
                <a:gd name="connsiteX72" fmla="*/ 16682563 w 26402921"/>
                <a:gd name="connsiteY72" fmla="*/ 6798531 h 15035524"/>
                <a:gd name="connsiteX0" fmla="*/ 16682563 w 26402921"/>
                <a:gd name="connsiteY0" fmla="*/ 6798531 h 15035524"/>
                <a:gd name="connsiteX1" fmla="*/ 16432262 w 26402921"/>
                <a:gd name="connsiteY1" fmla="*/ 7825917 h 15035524"/>
                <a:gd name="connsiteX2" fmla="*/ 16106317 w 26402921"/>
                <a:gd name="connsiteY2" fmla="*/ 8367221 h 15035524"/>
                <a:gd name="connsiteX3" fmla="*/ 16305649 w 26402921"/>
                <a:gd name="connsiteY3" fmla="*/ 8754550 h 15035524"/>
                <a:gd name="connsiteX4" fmla="*/ 16287189 w 26402921"/>
                <a:gd name="connsiteY4" fmla="*/ 9151157 h 15035524"/>
                <a:gd name="connsiteX5" fmla="*/ 16372801 w 26402921"/>
                <a:gd name="connsiteY5" fmla="*/ 9717422 h 15035524"/>
                <a:gd name="connsiteX6" fmla="*/ 16070155 w 26402921"/>
                <a:gd name="connsiteY6" fmla="*/ 9937808 h 15035524"/>
                <a:gd name="connsiteX7" fmla="*/ 15805690 w 26402921"/>
                <a:gd name="connsiteY7" fmla="*/ 10431999 h 15035524"/>
                <a:gd name="connsiteX8" fmla="*/ 15195097 w 26402921"/>
                <a:gd name="connsiteY8" fmla="*/ 10093742 h 15035524"/>
                <a:gd name="connsiteX9" fmla="*/ 15011380 w 26402921"/>
                <a:gd name="connsiteY9" fmla="*/ 11048592 h 15035524"/>
                <a:gd name="connsiteX10" fmla="*/ 14908430 w 26402921"/>
                <a:gd name="connsiteY10" fmla="*/ 11937487 h 15035524"/>
                <a:gd name="connsiteX11" fmla="*/ 14904684 w 26402921"/>
                <a:gd name="connsiteY11" fmla="*/ 12760926 h 15035524"/>
                <a:gd name="connsiteX12" fmla="*/ 14929927 w 26402921"/>
                <a:gd name="connsiteY12" fmla="*/ 14391846 h 15035524"/>
                <a:gd name="connsiteX13" fmla="*/ 12952786 w 26402921"/>
                <a:gd name="connsiteY13" fmla="*/ 14842599 h 15035524"/>
                <a:gd name="connsiteX14" fmla="*/ 11934663 w 26402921"/>
                <a:gd name="connsiteY14" fmla="*/ 14890849 h 15035524"/>
                <a:gd name="connsiteX15" fmla="*/ 8506848 w 26402921"/>
                <a:gd name="connsiteY15" fmla="*/ 15035524 h 15035524"/>
                <a:gd name="connsiteX16" fmla="*/ 7985095 w 26402921"/>
                <a:gd name="connsiteY16" fmla="*/ 14390442 h 15035524"/>
                <a:gd name="connsiteX17" fmla="*/ 7400308 w 26402921"/>
                <a:gd name="connsiteY17" fmla="*/ 14360297 h 15035524"/>
                <a:gd name="connsiteX18" fmla="*/ 6972273 w 26402921"/>
                <a:gd name="connsiteY18" fmla="*/ 14631594 h 15035524"/>
                <a:gd name="connsiteX19" fmla="*/ 5181729 w 26402921"/>
                <a:gd name="connsiteY19" fmla="*/ 14547195 h 15035524"/>
                <a:gd name="connsiteX20" fmla="*/ 4397998 w 26402921"/>
                <a:gd name="connsiteY20" fmla="*/ 13914178 h 15035524"/>
                <a:gd name="connsiteX21" fmla="*/ 2908896 w 26402921"/>
                <a:gd name="connsiteY21" fmla="*/ 13106324 h 15035524"/>
                <a:gd name="connsiteX22" fmla="*/ 1263043 w 26402921"/>
                <a:gd name="connsiteY22" fmla="*/ 12394931 h 15035524"/>
                <a:gd name="connsiteX23" fmla="*/ 485320 w 26402921"/>
                <a:gd name="connsiteY23" fmla="*/ 11942774 h 15035524"/>
                <a:gd name="connsiteX24" fmla="*/ 0 w 26402921"/>
                <a:gd name="connsiteY24" fmla="*/ 11649662 h 15035524"/>
                <a:gd name="connsiteX25" fmla="*/ 1003686 w 26402921"/>
                <a:gd name="connsiteY25" fmla="*/ 10903697 h 15035524"/>
                <a:gd name="connsiteX26" fmla="*/ 2902551 w 26402921"/>
                <a:gd name="connsiteY26" fmla="*/ 9719298 h 15035524"/>
                <a:gd name="connsiteX27" fmla="*/ 2558940 w 26402921"/>
                <a:gd name="connsiteY27" fmla="*/ 9185867 h 15035524"/>
                <a:gd name="connsiteX28" fmla="*/ 2402508 w 26402921"/>
                <a:gd name="connsiteY28" fmla="*/ 8498784 h 15035524"/>
                <a:gd name="connsiteX29" fmla="*/ 2730740 w 26402921"/>
                <a:gd name="connsiteY29" fmla="*/ 8471613 h 15035524"/>
                <a:gd name="connsiteX30" fmla="*/ 2947754 w 26402921"/>
                <a:gd name="connsiteY30" fmla="*/ 8001468 h 15035524"/>
                <a:gd name="connsiteX31" fmla="*/ 3499325 w 26402921"/>
                <a:gd name="connsiteY31" fmla="*/ 7558451 h 15035524"/>
                <a:gd name="connsiteX32" fmla="*/ 3680166 w 26402921"/>
                <a:gd name="connsiteY32" fmla="*/ 6681453 h 15035524"/>
                <a:gd name="connsiteX33" fmla="*/ 4186528 w 26402921"/>
                <a:gd name="connsiteY33" fmla="*/ 6690489 h 15035524"/>
                <a:gd name="connsiteX34" fmla="*/ 4837569 w 26402921"/>
                <a:gd name="connsiteY34" fmla="*/ 7160639 h 15035524"/>
                <a:gd name="connsiteX35" fmla="*/ 5352976 w 26402921"/>
                <a:gd name="connsiteY35" fmla="*/ 7079272 h 15035524"/>
                <a:gd name="connsiteX36" fmla="*/ 5741786 w 26402921"/>
                <a:gd name="connsiteY36" fmla="*/ 6708577 h 15035524"/>
                <a:gd name="connsiteX37" fmla="*/ 6157723 w 26402921"/>
                <a:gd name="connsiteY37" fmla="*/ 6545836 h 15035524"/>
                <a:gd name="connsiteX38" fmla="*/ 6745471 w 26402921"/>
                <a:gd name="connsiteY38" fmla="*/ 5976243 h 15035524"/>
                <a:gd name="connsiteX39" fmla="*/ 6890140 w 26402921"/>
                <a:gd name="connsiteY39" fmla="*/ 5126367 h 15035524"/>
                <a:gd name="connsiteX40" fmla="*/ 7568305 w 26402921"/>
                <a:gd name="connsiteY40" fmla="*/ 4556773 h 15035524"/>
                <a:gd name="connsiteX41" fmla="*/ 8137967 w 26402921"/>
                <a:gd name="connsiteY41" fmla="*/ 4113752 h 15035524"/>
                <a:gd name="connsiteX42" fmla="*/ 8463480 w 26402921"/>
                <a:gd name="connsiteY42" fmla="*/ 3309085 h 15035524"/>
                <a:gd name="connsiteX43" fmla="*/ 9024093 w 26402921"/>
                <a:gd name="connsiteY43" fmla="*/ 2956478 h 15035524"/>
                <a:gd name="connsiteX44" fmla="*/ 9675138 w 26402921"/>
                <a:gd name="connsiteY44" fmla="*/ 2603876 h 15035524"/>
                <a:gd name="connsiteX45" fmla="*/ 9558580 w 26402921"/>
                <a:gd name="connsiteY45" fmla="*/ 2055592 h 15035524"/>
                <a:gd name="connsiteX46" fmla="*/ 10353296 w 26402921"/>
                <a:gd name="connsiteY46" fmla="*/ 1383308 h 15035524"/>
                <a:gd name="connsiteX47" fmla="*/ 10832530 w 26402921"/>
                <a:gd name="connsiteY47" fmla="*/ 1310974 h 15035524"/>
                <a:gd name="connsiteX48" fmla="*/ 11058585 w 26402921"/>
                <a:gd name="connsiteY48" fmla="*/ 1763043 h 15035524"/>
                <a:gd name="connsiteX49" fmla="*/ 11411229 w 26402921"/>
                <a:gd name="connsiteY49" fmla="*/ 2142774 h 15035524"/>
                <a:gd name="connsiteX50" fmla="*/ 11998974 w 26402921"/>
                <a:gd name="connsiteY50" fmla="*/ 2224144 h 15035524"/>
                <a:gd name="connsiteX51" fmla="*/ 12315449 w 26402921"/>
                <a:gd name="connsiteY51" fmla="*/ 2884156 h 15035524"/>
                <a:gd name="connsiteX52" fmla="*/ 12785642 w 26402921"/>
                <a:gd name="connsiteY52" fmla="*/ 2703327 h 15035524"/>
                <a:gd name="connsiteX53" fmla="*/ 13671776 w 26402921"/>
                <a:gd name="connsiteY53" fmla="*/ 3155388 h 15035524"/>
                <a:gd name="connsiteX54" fmla="*/ 14123886 w 26402921"/>
                <a:gd name="connsiteY54" fmla="*/ 2857035 h 15035524"/>
                <a:gd name="connsiteX55" fmla="*/ 14259509 w 26402921"/>
                <a:gd name="connsiteY55" fmla="*/ 2287434 h 15035524"/>
                <a:gd name="connsiteX56" fmla="*/ 14892468 w 26402921"/>
                <a:gd name="connsiteY56" fmla="*/ 1645503 h 15035524"/>
                <a:gd name="connsiteX57" fmla="*/ 15778605 w 26402921"/>
                <a:gd name="connsiteY57" fmla="*/ 1093983 h 15035524"/>
                <a:gd name="connsiteX58" fmla="*/ 16022739 w 26402921"/>
                <a:gd name="connsiteY58" fmla="*/ 1564133 h 15035524"/>
                <a:gd name="connsiteX59" fmla="*/ 16556232 w 26402921"/>
                <a:gd name="connsiteY59" fmla="*/ 2142785 h 15035524"/>
                <a:gd name="connsiteX60" fmla="*/ 17406193 w 26402921"/>
                <a:gd name="connsiteY60" fmla="*/ 1292897 h 15035524"/>
                <a:gd name="connsiteX61" fmla="*/ 18120524 w 26402921"/>
                <a:gd name="connsiteY61" fmla="*/ 714260 h 15035524"/>
                <a:gd name="connsiteX62" fmla="*/ 18744437 w 26402921"/>
                <a:gd name="connsiteY62" fmla="*/ -1 h 15035524"/>
                <a:gd name="connsiteX63" fmla="*/ 19982300 w 26402921"/>
                <a:gd name="connsiteY63" fmla="*/ 343465 h 15035524"/>
                <a:gd name="connsiteX64" fmla="*/ 19837609 w 26402921"/>
                <a:gd name="connsiteY64" fmla="*/ 1121173 h 15035524"/>
                <a:gd name="connsiteX65" fmla="*/ 21881359 w 26402921"/>
                <a:gd name="connsiteY65" fmla="*/ 1772279 h 15035524"/>
                <a:gd name="connsiteX66" fmla="*/ 21537712 w 26402921"/>
                <a:gd name="connsiteY66" fmla="*/ 2767023 h 15035524"/>
                <a:gd name="connsiteX67" fmla="*/ 22478203 w 26402921"/>
                <a:gd name="connsiteY67" fmla="*/ 2296774 h 15035524"/>
                <a:gd name="connsiteX68" fmla="*/ 23888932 w 26402921"/>
                <a:gd name="connsiteY68" fmla="*/ 1880797 h 15035524"/>
                <a:gd name="connsiteX69" fmla="*/ 25010275 w 26402921"/>
                <a:gd name="connsiteY69" fmla="*/ 578575 h 15035524"/>
                <a:gd name="connsiteX70" fmla="*/ 26402920 w 26402921"/>
                <a:gd name="connsiteY70" fmla="*/ 759442 h 15035524"/>
                <a:gd name="connsiteX71" fmla="*/ 16362364 w 26402921"/>
                <a:gd name="connsiteY71" fmla="*/ 6360628 h 15035524"/>
                <a:gd name="connsiteX72" fmla="*/ 16682563 w 26402921"/>
                <a:gd name="connsiteY72" fmla="*/ 6798531 h 15035524"/>
                <a:gd name="connsiteX0" fmla="*/ 16682563 w 25010275"/>
                <a:gd name="connsiteY0" fmla="*/ 6798531 h 15035524"/>
                <a:gd name="connsiteX1" fmla="*/ 16432262 w 25010275"/>
                <a:gd name="connsiteY1" fmla="*/ 7825917 h 15035524"/>
                <a:gd name="connsiteX2" fmla="*/ 16106317 w 25010275"/>
                <a:gd name="connsiteY2" fmla="*/ 8367221 h 15035524"/>
                <a:gd name="connsiteX3" fmla="*/ 16305649 w 25010275"/>
                <a:gd name="connsiteY3" fmla="*/ 8754550 h 15035524"/>
                <a:gd name="connsiteX4" fmla="*/ 16287189 w 25010275"/>
                <a:gd name="connsiteY4" fmla="*/ 9151157 h 15035524"/>
                <a:gd name="connsiteX5" fmla="*/ 16372801 w 25010275"/>
                <a:gd name="connsiteY5" fmla="*/ 9717422 h 15035524"/>
                <a:gd name="connsiteX6" fmla="*/ 16070155 w 25010275"/>
                <a:gd name="connsiteY6" fmla="*/ 9937808 h 15035524"/>
                <a:gd name="connsiteX7" fmla="*/ 15805690 w 25010275"/>
                <a:gd name="connsiteY7" fmla="*/ 10431999 h 15035524"/>
                <a:gd name="connsiteX8" fmla="*/ 15195097 w 25010275"/>
                <a:gd name="connsiteY8" fmla="*/ 10093742 h 15035524"/>
                <a:gd name="connsiteX9" fmla="*/ 15011380 w 25010275"/>
                <a:gd name="connsiteY9" fmla="*/ 11048592 h 15035524"/>
                <a:gd name="connsiteX10" fmla="*/ 14908430 w 25010275"/>
                <a:gd name="connsiteY10" fmla="*/ 11937487 h 15035524"/>
                <a:gd name="connsiteX11" fmla="*/ 14904684 w 25010275"/>
                <a:gd name="connsiteY11" fmla="*/ 12760926 h 15035524"/>
                <a:gd name="connsiteX12" fmla="*/ 14929927 w 25010275"/>
                <a:gd name="connsiteY12" fmla="*/ 14391846 h 15035524"/>
                <a:gd name="connsiteX13" fmla="*/ 12952786 w 25010275"/>
                <a:gd name="connsiteY13" fmla="*/ 14842599 h 15035524"/>
                <a:gd name="connsiteX14" fmla="*/ 11934663 w 25010275"/>
                <a:gd name="connsiteY14" fmla="*/ 14890849 h 15035524"/>
                <a:gd name="connsiteX15" fmla="*/ 8506848 w 25010275"/>
                <a:gd name="connsiteY15" fmla="*/ 15035524 h 15035524"/>
                <a:gd name="connsiteX16" fmla="*/ 7985095 w 25010275"/>
                <a:gd name="connsiteY16" fmla="*/ 14390442 h 15035524"/>
                <a:gd name="connsiteX17" fmla="*/ 7400308 w 25010275"/>
                <a:gd name="connsiteY17" fmla="*/ 14360297 h 15035524"/>
                <a:gd name="connsiteX18" fmla="*/ 6972273 w 25010275"/>
                <a:gd name="connsiteY18" fmla="*/ 14631594 h 15035524"/>
                <a:gd name="connsiteX19" fmla="*/ 5181729 w 25010275"/>
                <a:gd name="connsiteY19" fmla="*/ 14547195 h 15035524"/>
                <a:gd name="connsiteX20" fmla="*/ 4397998 w 25010275"/>
                <a:gd name="connsiteY20" fmla="*/ 13914178 h 15035524"/>
                <a:gd name="connsiteX21" fmla="*/ 2908896 w 25010275"/>
                <a:gd name="connsiteY21" fmla="*/ 13106324 h 15035524"/>
                <a:gd name="connsiteX22" fmla="*/ 1263043 w 25010275"/>
                <a:gd name="connsiteY22" fmla="*/ 12394931 h 15035524"/>
                <a:gd name="connsiteX23" fmla="*/ 485320 w 25010275"/>
                <a:gd name="connsiteY23" fmla="*/ 11942774 h 15035524"/>
                <a:gd name="connsiteX24" fmla="*/ 0 w 25010275"/>
                <a:gd name="connsiteY24" fmla="*/ 11649662 h 15035524"/>
                <a:gd name="connsiteX25" fmla="*/ 1003686 w 25010275"/>
                <a:gd name="connsiteY25" fmla="*/ 10903697 h 15035524"/>
                <a:gd name="connsiteX26" fmla="*/ 2902551 w 25010275"/>
                <a:gd name="connsiteY26" fmla="*/ 9719298 h 15035524"/>
                <a:gd name="connsiteX27" fmla="*/ 2558940 w 25010275"/>
                <a:gd name="connsiteY27" fmla="*/ 9185867 h 15035524"/>
                <a:gd name="connsiteX28" fmla="*/ 2402508 w 25010275"/>
                <a:gd name="connsiteY28" fmla="*/ 8498784 h 15035524"/>
                <a:gd name="connsiteX29" fmla="*/ 2730740 w 25010275"/>
                <a:gd name="connsiteY29" fmla="*/ 8471613 h 15035524"/>
                <a:gd name="connsiteX30" fmla="*/ 2947754 w 25010275"/>
                <a:gd name="connsiteY30" fmla="*/ 8001468 h 15035524"/>
                <a:gd name="connsiteX31" fmla="*/ 3499325 w 25010275"/>
                <a:gd name="connsiteY31" fmla="*/ 7558451 h 15035524"/>
                <a:gd name="connsiteX32" fmla="*/ 3680166 w 25010275"/>
                <a:gd name="connsiteY32" fmla="*/ 6681453 h 15035524"/>
                <a:gd name="connsiteX33" fmla="*/ 4186528 w 25010275"/>
                <a:gd name="connsiteY33" fmla="*/ 6690489 h 15035524"/>
                <a:gd name="connsiteX34" fmla="*/ 4837569 w 25010275"/>
                <a:gd name="connsiteY34" fmla="*/ 7160639 h 15035524"/>
                <a:gd name="connsiteX35" fmla="*/ 5352976 w 25010275"/>
                <a:gd name="connsiteY35" fmla="*/ 7079272 h 15035524"/>
                <a:gd name="connsiteX36" fmla="*/ 5741786 w 25010275"/>
                <a:gd name="connsiteY36" fmla="*/ 6708577 h 15035524"/>
                <a:gd name="connsiteX37" fmla="*/ 6157723 w 25010275"/>
                <a:gd name="connsiteY37" fmla="*/ 6545836 h 15035524"/>
                <a:gd name="connsiteX38" fmla="*/ 6745471 w 25010275"/>
                <a:gd name="connsiteY38" fmla="*/ 5976243 h 15035524"/>
                <a:gd name="connsiteX39" fmla="*/ 6890140 w 25010275"/>
                <a:gd name="connsiteY39" fmla="*/ 5126367 h 15035524"/>
                <a:gd name="connsiteX40" fmla="*/ 7568305 w 25010275"/>
                <a:gd name="connsiteY40" fmla="*/ 4556773 h 15035524"/>
                <a:gd name="connsiteX41" fmla="*/ 8137967 w 25010275"/>
                <a:gd name="connsiteY41" fmla="*/ 4113752 h 15035524"/>
                <a:gd name="connsiteX42" fmla="*/ 8463480 w 25010275"/>
                <a:gd name="connsiteY42" fmla="*/ 3309085 h 15035524"/>
                <a:gd name="connsiteX43" fmla="*/ 9024093 w 25010275"/>
                <a:gd name="connsiteY43" fmla="*/ 2956478 h 15035524"/>
                <a:gd name="connsiteX44" fmla="*/ 9675138 w 25010275"/>
                <a:gd name="connsiteY44" fmla="*/ 2603876 h 15035524"/>
                <a:gd name="connsiteX45" fmla="*/ 9558580 w 25010275"/>
                <a:gd name="connsiteY45" fmla="*/ 2055592 h 15035524"/>
                <a:gd name="connsiteX46" fmla="*/ 10353296 w 25010275"/>
                <a:gd name="connsiteY46" fmla="*/ 1383308 h 15035524"/>
                <a:gd name="connsiteX47" fmla="*/ 10832530 w 25010275"/>
                <a:gd name="connsiteY47" fmla="*/ 1310974 h 15035524"/>
                <a:gd name="connsiteX48" fmla="*/ 11058585 w 25010275"/>
                <a:gd name="connsiteY48" fmla="*/ 1763043 h 15035524"/>
                <a:gd name="connsiteX49" fmla="*/ 11411229 w 25010275"/>
                <a:gd name="connsiteY49" fmla="*/ 2142774 h 15035524"/>
                <a:gd name="connsiteX50" fmla="*/ 11998974 w 25010275"/>
                <a:gd name="connsiteY50" fmla="*/ 2224144 h 15035524"/>
                <a:gd name="connsiteX51" fmla="*/ 12315449 w 25010275"/>
                <a:gd name="connsiteY51" fmla="*/ 2884156 h 15035524"/>
                <a:gd name="connsiteX52" fmla="*/ 12785642 w 25010275"/>
                <a:gd name="connsiteY52" fmla="*/ 2703327 h 15035524"/>
                <a:gd name="connsiteX53" fmla="*/ 13671776 w 25010275"/>
                <a:gd name="connsiteY53" fmla="*/ 3155388 h 15035524"/>
                <a:gd name="connsiteX54" fmla="*/ 14123886 w 25010275"/>
                <a:gd name="connsiteY54" fmla="*/ 2857035 h 15035524"/>
                <a:gd name="connsiteX55" fmla="*/ 14259509 w 25010275"/>
                <a:gd name="connsiteY55" fmla="*/ 2287434 h 15035524"/>
                <a:gd name="connsiteX56" fmla="*/ 14892468 w 25010275"/>
                <a:gd name="connsiteY56" fmla="*/ 1645503 h 15035524"/>
                <a:gd name="connsiteX57" fmla="*/ 15778605 w 25010275"/>
                <a:gd name="connsiteY57" fmla="*/ 1093983 h 15035524"/>
                <a:gd name="connsiteX58" fmla="*/ 16022739 w 25010275"/>
                <a:gd name="connsiteY58" fmla="*/ 1564133 h 15035524"/>
                <a:gd name="connsiteX59" fmla="*/ 16556232 w 25010275"/>
                <a:gd name="connsiteY59" fmla="*/ 2142785 h 15035524"/>
                <a:gd name="connsiteX60" fmla="*/ 17406193 w 25010275"/>
                <a:gd name="connsiteY60" fmla="*/ 1292897 h 15035524"/>
                <a:gd name="connsiteX61" fmla="*/ 18120524 w 25010275"/>
                <a:gd name="connsiteY61" fmla="*/ 714260 h 15035524"/>
                <a:gd name="connsiteX62" fmla="*/ 18744437 w 25010275"/>
                <a:gd name="connsiteY62" fmla="*/ -1 h 15035524"/>
                <a:gd name="connsiteX63" fmla="*/ 19982300 w 25010275"/>
                <a:gd name="connsiteY63" fmla="*/ 343465 h 15035524"/>
                <a:gd name="connsiteX64" fmla="*/ 19837609 w 25010275"/>
                <a:gd name="connsiteY64" fmla="*/ 1121173 h 15035524"/>
                <a:gd name="connsiteX65" fmla="*/ 21881359 w 25010275"/>
                <a:gd name="connsiteY65" fmla="*/ 1772279 h 15035524"/>
                <a:gd name="connsiteX66" fmla="*/ 21537712 w 25010275"/>
                <a:gd name="connsiteY66" fmla="*/ 2767023 h 15035524"/>
                <a:gd name="connsiteX67" fmla="*/ 22478203 w 25010275"/>
                <a:gd name="connsiteY67" fmla="*/ 2296774 h 15035524"/>
                <a:gd name="connsiteX68" fmla="*/ 23888932 w 25010275"/>
                <a:gd name="connsiteY68" fmla="*/ 1880797 h 15035524"/>
                <a:gd name="connsiteX69" fmla="*/ 25010275 w 25010275"/>
                <a:gd name="connsiteY69" fmla="*/ 578575 h 15035524"/>
                <a:gd name="connsiteX70" fmla="*/ 14750481 w 25010275"/>
                <a:gd name="connsiteY70" fmla="*/ 5913293 h 15035524"/>
                <a:gd name="connsiteX71" fmla="*/ 16362364 w 25010275"/>
                <a:gd name="connsiteY71" fmla="*/ 6360628 h 15035524"/>
                <a:gd name="connsiteX72" fmla="*/ 16682563 w 25010275"/>
                <a:gd name="connsiteY72" fmla="*/ 6798531 h 15035524"/>
                <a:gd name="connsiteX0" fmla="*/ 16682563 w 25010275"/>
                <a:gd name="connsiteY0" fmla="*/ 6798531 h 15035524"/>
                <a:gd name="connsiteX1" fmla="*/ 16432262 w 25010275"/>
                <a:gd name="connsiteY1" fmla="*/ 7825917 h 15035524"/>
                <a:gd name="connsiteX2" fmla="*/ 16106317 w 25010275"/>
                <a:gd name="connsiteY2" fmla="*/ 8367221 h 15035524"/>
                <a:gd name="connsiteX3" fmla="*/ 16305649 w 25010275"/>
                <a:gd name="connsiteY3" fmla="*/ 8754550 h 15035524"/>
                <a:gd name="connsiteX4" fmla="*/ 16287189 w 25010275"/>
                <a:gd name="connsiteY4" fmla="*/ 9151157 h 15035524"/>
                <a:gd name="connsiteX5" fmla="*/ 16372801 w 25010275"/>
                <a:gd name="connsiteY5" fmla="*/ 9717422 h 15035524"/>
                <a:gd name="connsiteX6" fmla="*/ 16070155 w 25010275"/>
                <a:gd name="connsiteY6" fmla="*/ 9937808 h 15035524"/>
                <a:gd name="connsiteX7" fmla="*/ 15805690 w 25010275"/>
                <a:gd name="connsiteY7" fmla="*/ 10431999 h 15035524"/>
                <a:gd name="connsiteX8" fmla="*/ 15195097 w 25010275"/>
                <a:gd name="connsiteY8" fmla="*/ 10093742 h 15035524"/>
                <a:gd name="connsiteX9" fmla="*/ 15011380 w 25010275"/>
                <a:gd name="connsiteY9" fmla="*/ 11048592 h 15035524"/>
                <a:gd name="connsiteX10" fmla="*/ 14908430 w 25010275"/>
                <a:gd name="connsiteY10" fmla="*/ 11937487 h 15035524"/>
                <a:gd name="connsiteX11" fmla="*/ 14904684 w 25010275"/>
                <a:gd name="connsiteY11" fmla="*/ 12760926 h 15035524"/>
                <a:gd name="connsiteX12" fmla="*/ 14929927 w 25010275"/>
                <a:gd name="connsiteY12" fmla="*/ 14391846 h 15035524"/>
                <a:gd name="connsiteX13" fmla="*/ 12952786 w 25010275"/>
                <a:gd name="connsiteY13" fmla="*/ 14842599 h 15035524"/>
                <a:gd name="connsiteX14" fmla="*/ 11934663 w 25010275"/>
                <a:gd name="connsiteY14" fmla="*/ 14890849 h 15035524"/>
                <a:gd name="connsiteX15" fmla="*/ 8506848 w 25010275"/>
                <a:gd name="connsiteY15" fmla="*/ 15035524 h 15035524"/>
                <a:gd name="connsiteX16" fmla="*/ 7985095 w 25010275"/>
                <a:gd name="connsiteY16" fmla="*/ 14390442 h 15035524"/>
                <a:gd name="connsiteX17" fmla="*/ 7400308 w 25010275"/>
                <a:gd name="connsiteY17" fmla="*/ 14360297 h 15035524"/>
                <a:gd name="connsiteX18" fmla="*/ 6972273 w 25010275"/>
                <a:gd name="connsiteY18" fmla="*/ 14631594 h 15035524"/>
                <a:gd name="connsiteX19" fmla="*/ 5181729 w 25010275"/>
                <a:gd name="connsiteY19" fmla="*/ 14547195 h 15035524"/>
                <a:gd name="connsiteX20" fmla="*/ 4397998 w 25010275"/>
                <a:gd name="connsiteY20" fmla="*/ 13914178 h 15035524"/>
                <a:gd name="connsiteX21" fmla="*/ 2908896 w 25010275"/>
                <a:gd name="connsiteY21" fmla="*/ 13106324 h 15035524"/>
                <a:gd name="connsiteX22" fmla="*/ 1263043 w 25010275"/>
                <a:gd name="connsiteY22" fmla="*/ 12394931 h 15035524"/>
                <a:gd name="connsiteX23" fmla="*/ 485320 w 25010275"/>
                <a:gd name="connsiteY23" fmla="*/ 11942774 h 15035524"/>
                <a:gd name="connsiteX24" fmla="*/ 0 w 25010275"/>
                <a:gd name="connsiteY24" fmla="*/ 11649662 h 15035524"/>
                <a:gd name="connsiteX25" fmla="*/ 1003686 w 25010275"/>
                <a:gd name="connsiteY25" fmla="*/ 10903697 h 15035524"/>
                <a:gd name="connsiteX26" fmla="*/ 2902551 w 25010275"/>
                <a:gd name="connsiteY26" fmla="*/ 9719298 h 15035524"/>
                <a:gd name="connsiteX27" fmla="*/ 2558940 w 25010275"/>
                <a:gd name="connsiteY27" fmla="*/ 9185867 h 15035524"/>
                <a:gd name="connsiteX28" fmla="*/ 2402508 w 25010275"/>
                <a:gd name="connsiteY28" fmla="*/ 8498784 h 15035524"/>
                <a:gd name="connsiteX29" fmla="*/ 2730740 w 25010275"/>
                <a:gd name="connsiteY29" fmla="*/ 8471613 h 15035524"/>
                <a:gd name="connsiteX30" fmla="*/ 2947754 w 25010275"/>
                <a:gd name="connsiteY30" fmla="*/ 8001468 h 15035524"/>
                <a:gd name="connsiteX31" fmla="*/ 3499325 w 25010275"/>
                <a:gd name="connsiteY31" fmla="*/ 7558451 h 15035524"/>
                <a:gd name="connsiteX32" fmla="*/ 3680166 w 25010275"/>
                <a:gd name="connsiteY32" fmla="*/ 6681453 h 15035524"/>
                <a:gd name="connsiteX33" fmla="*/ 4186528 w 25010275"/>
                <a:gd name="connsiteY33" fmla="*/ 6690489 h 15035524"/>
                <a:gd name="connsiteX34" fmla="*/ 4837569 w 25010275"/>
                <a:gd name="connsiteY34" fmla="*/ 7160639 h 15035524"/>
                <a:gd name="connsiteX35" fmla="*/ 5352976 w 25010275"/>
                <a:gd name="connsiteY35" fmla="*/ 7079272 h 15035524"/>
                <a:gd name="connsiteX36" fmla="*/ 5741786 w 25010275"/>
                <a:gd name="connsiteY36" fmla="*/ 6708577 h 15035524"/>
                <a:gd name="connsiteX37" fmla="*/ 6157723 w 25010275"/>
                <a:gd name="connsiteY37" fmla="*/ 6545836 h 15035524"/>
                <a:gd name="connsiteX38" fmla="*/ 6745471 w 25010275"/>
                <a:gd name="connsiteY38" fmla="*/ 5976243 h 15035524"/>
                <a:gd name="connsiteX39" fmla="*/ 6890140 w 25010275"/>
                <a:gd name="connsiteY39" fmla="*/ 5126367 h 15035524"/>
                <a:gd name="connsiteX40" fmla="*/ 7568305 w 25010275"/>
                <a:gd name="connsiteY40" fmla="*/ 4556773 h 15035524"/>
                <a:gd name="connsiteX41" fmla="*/ 8137967 w 25010275"/>
                <a:gd name="connsiteY41" fmla="*/ 4113752 h 15035524"/>
                <a:gd name="connsiteX42" fmla="*/ 8463480 w 25010275"/>
                <a:gd name="connsiteY42" fmla="*/ 3309085 h 15035524"/>
                <a:gd name="connsiteX43" fmla="*/ 9024093 w 25010275"/>
                <a:gd name="connsiteY43" fmla="*/ 2956478 h 15035524"/>
                <a:gd name="connsiteX44" fmla="*/ 9675138 w 25010275"/>
                <a:gd name="connsiteY44" fmla="*/ 2603876 h 15035524"/>
                <a:gd name="connsiteX45" fmla="*/ 9558580 w 25010275"/>
                <a:gd name="connsiteY45" fmla="*/ 2055592 h 15035524"/>
                <a:gd name="connsiteX46" fmla="*/ 10353296 w 25010275"/>
                <a:gd name="connsiteY46" fmla="*/ 1383308 h 15035524"/>
                <a:gd name="connsiteX47" fmla="*/ 10832530 w 25010275"/>
                <a:gd name="connsiteY47" fmla="*/ 1310974 h 15035524"/>
                <a:gd name="connsiteX48" fmla="*/ 11058585 w 25010275"/>
                <a:gd name="connsiteY48" fmla="*/ 1763043 h 15035524"/>
                <a:gd name="connsiteX49" fmla="*/ 11411229 w 25010275"/>
                <a:gd name="connsiteY49" fmla="*/ 2142774 h 15035524"/>
                <a:gd name="connsiteX50" fmla="*/ 11998974 w 25010275"/>
                <a:gd name="connsiteY50" fmla="*/ 2224144 h 15035524"/>
                <a:gd name="connsiteX51" fmla="*/ 12315449 w 25010275"/>
                <a:gd name="connsiteY51" fmla="*/ 2884156 h 15035524"/>
                <a:gd name="connsiteX52" fmla="*/ 12785642 w 25010275"/>
                <a:gd name="connsiteY52" fmla="*/ 2703327 h 15035524"/>
                <a:gd name="connsiteX53" fmla="*/ 13671776 w 25010275"/>
                <a:gd name="connsiteY53" fmla="*/ 3155388 h 15035524"/>
                <a:gd name="connsiteX54" fmla="*/ 14123886 w 25010275"/>
                <a:gd name="connsiteY54" fmla="*/ 2857035 h 15035524"/>
                <a:gd name="connsiteX55" fmla="*/ 14259509 w 25010275"/>
                <a:gd name="connsiteY55" fmla="*/ 2287434 h 15035524"/>
                <a:gd name="connsiteX56" fmla="*/ 14892468 w 25010275"/>
                <a:gd name="connsiteY56" fmla="*/ 1645503 h 15035524"/>
                <a:gd name="connsiteX57" fmla="*/ 15778605 w 25010275"/>
                <a:gd name="connsiteY57" fmla="*/ 1093983 h 15035524"/>
                <a:gd name="connsiteX58" fmla="*/ 16022739 w 25010275"/>
                <a:gd name="connsiteY58" fmla="*/ 1564133 h 15035524"/>
                <a:gd name="connsiteX59" fmla="*/ 16556232 w 25010275"/>
                <a:gd name="connsiteY59" fmla="*/ 2142785 h 15035524"/>
                <a:gd name="connsiteX60" fmla="*/ 17406193 w 25010275"/>
                <a:gd name="connsiteY60" fmla="*/ 1292897 h 15035524"/>
                <a:gd name="connsiteX61" fmla="*/ 18120524 w 25010275"/>
                <a:gd name="connsiteY61" fmla="*/ 714260 h 15035524"/>
                <a:gd name="connsiteX62" fmla="*/ 18744437 w 25010275"/>
                <a:gd name="connsiteY62" fmla="*/ -1 h 15035524"/>
                <a:gd name="connsiteX63" fmla="*/ 19982300 w 25010275"/>
                <a:gd name="connsiteY63" fmla="*/ 343465 h 15035524"/>
                <a:gd name="connsiteX64" fmla="*/ 19837609 w 25010275"/>
                <a:gd name="connsiteY64" fmla="*/ 1121173 h 15035524"/>
                <a:gd name="connsiteX65" fmla="*/ 21881359 w 25010275"/>
                <a:gd name="connsiteY65" fmla="*/ 1772279 h 15035524"/>
                <a:gd name="connsiteX66" fmla="*/ 21537712 w 25010275"/>
                <a:gd name="connsiteY66" fmla="*/ 2767023 h 15035524"/>
                <a:gd name="connsiteX67" fmla="*/ 22478203 w 25010275"/>
                <a:gd name="connsiteY67" fmla="*/ 2296774 h 15035524"/>
                <a:gd name="connsiteX68" fmla="*/ 23888932 w 25010275"/>
                <a:gd name="connsiteY68" fmla="*/ 1880797 h 15035524"/>
                <a:gd name="connsiteX69" fmla="*/ 25010275 w 25010275"/>
                <a:gd name="connsiteY69" fmla="*/ 578575 h 15035524"/>
                <a:gd name="connsiteX70" fmla="*/ 16350939 w 25010275"/>
                <a:gd name="connsiteY70" fmla="*/ 6053348 h 15035524"/>
                <a:gd name="connsiteX71" fmla="*/ 16362364 w 25010275"/>
                <a:gd name="connsiteY71" fmla="*/ 6360628 h 15035524"/>
                <a:gd name="connsiteX72" fmla="*/ 16682563 w 25010275"/>
                <a:gd name="connsiteY72" fmla="*/ 6798531 h 15035524"/>
                <a:gd name="connsiteX0" fmla="*/ 16682563 w 23888933"/>
                <a:gd name="connsiteY0" fmla="*/ 6798531 h 15035524"/>
                <a:gd name="connsiteX1" fmla="*/ 16432262 w 23888933"/>
                <a:gd name="connsiteY1" fmla="*/ 7825917 h 15035524"/>
                <a:gd name="connsiteX2" fmla="*/ 16106317 w 23888933"/>
                <a:gd name="connsiteY2" fmla="*/ 8367221 h 15035524"/>
                <a:gd name="connsiteX3" fmla="*/ 16305649 w 23888933"/>
                <a:gd name="connsiteY3" fmla="*/ 8754550 h 15035524"/>
                <a:gd name="connsiteX4" fmla="*/ 16287189 w 23888933"/>
                <a:gd name="connsiteY4" fmla="*/ 9151157 h 15035524"/>
                <a:gd name="connsiteX5" fmla="*/ 16372801 w 23888933"/>
                <a:gd name="connsiteY5" fmla="*/ 9717422 h 15035524"/>
                <a:gd name="connsiteX6" fmla="*/ 16070155 w 23888933"/>
                <a:gd name="connsiteY6" fmla="*/ 9937808 h 15035524"/>
                <a:gd name="connsiteX7" fmla="*/ 15805690 w 23888933"/>
                <a:gd name="connsiteY7" fmla="*/ 10431999 h 15035524"/>
                <a:gd name="connsiteX8" fmla="*/ 15195097 w 23888933"/>
                <a:gd name="connsiteY8" fmla="*/ 10093742 h 15035524"/>
                <a:gd name="connsiteX9" fmla="*/ 15011380 w 23888933"/>
                <a:gd name="connsiteY9" fmla="*/ 11048592 h 15035524"/>
                <a:gd name="connsiteX10" fmla="*/ 14908430 w 23888933"/>
                <a:gd name="connsiteY10" fmla="*/ 11937487 h 15035524"/>
                <a:gd name="connsiteX11" fmla="*/ 14904684 w 23888933"/>
                <a:gd name="connsiteY11" fmla="*/ 12760926 h 15035524"/>
                <a:gd name="connsiteX12" fmla="*/ 14929927 w 23888933"/>
                <a:gd name="connsiteY12" fmla="*/ 14391846 h 15035524"/>
                <a:gd name="connsiteX13" fmla="*/ 12952786 w 23888933"/>
                <a:gd name="connsiteY13" fmla="*/ 14842599 h 15035524"/>
                <a:gd name="connsiteX14" fmla="*/ 11934663 w 23888933"/>
                <a:gd name="connsiteY14" fmla="*/ 14890849 h 15035524"/>
                <a:gd name="connsiteX15" fmla="*/ 8506848 w 23888933"/>
                <a:gd name="connsiteY15" fmla="*/ 15035524 h 15035524"/>
                <a:gd name="connsiteX16" fmla="*/ 7985095 w 23888933"/>
                <a:gd name="connsiteY16" fmla="*/ 14390442 h 15035524"/>
                <a:gd name="connsiteX17" fmla="*/ 7400308 w 23888933"/>
                <a:gd name="connsiteY17" fmla="*/ 14360297 h 15035524"/>
                <a:gd name="connsiteX18" fmla="*/ 6972273 w 23888933"/>
                <a:gd name="connsiteY18" fmla="*/ 14631594 h 15035524"/>
                <a:gd name="connsiteX19" fmla="*/ 5181729 w 23888933"/>
                <a:gd name="connsiteY19" fmla="*/ 14547195 h 15035524"/>
                <a:gd name="connsiteX20" fmla="*/ 4397998 w 23888933"/>
                <a:gd name="connsiteY20" fmla="*/ 13914178 h 15035524"/>
                <a:gd name="connsiteX21" fmla="*/ 2908896 w 23888933"/>
                <a:gd name="connsiteY21" fmla="*/ 13106324 h 15035524"/>
                <a:gd name="connsiteX22" fmla="*/ 1263043 w 23888933"/>
                <a:gd name="connsiteY22" fmla="*/ 12394931 h 15035524"/>
                <a:gd name="connsiteX23" fmla="*/ 485320 w 23888933"/>
                <a:gd name="connsiteY23" fmla="*/ 11942774 h 15035524"/>
                <a:gd name="connsiteX24" fmla="*/ 0 w 23888933"/>
                <a:gd name="connsiteY24" fmla="*/ 11649662 h 15035524"/>
                <a:gd name="connsiteX25" fmla="*/ 1003686 w 23888933"/>
                <a:gd name="connsiteY25" fmla="*/ 10903697 h 15035524"/>
                <a:gd name="connsiteX26" fmla="*/ 2902551 w 23888933"/>
                <a:gd name="connsiteY26" fmla="*/ 9719298 h 15035524"/>
                <a:gd name="connsiteX27" fmla="*/ 2558940 w 23888933"/>
                <a:gd name="connsiteY27" fmla="*/ 9185867 h 15035524"/>
                <a:gd name="connsiteX28" fmla="*/ 2402508 w 23888933"/>
                <a:gd name="connsiteY28" fmla="*/ 8498784 h 15035524"/>
                <a:gd name="connsiteX29" fmla="*/ 2730740 w 23888933"/>
                <a:gd name="connsiteY29" fmla="*/ 8471613 h 15035524"/>
                <a:gd name="connsiteX30" fmla="*/ 2947754 w 23888933"/>
                <a:gd name="connsiteY30" fmla="*/ 8001468 h 15035524"/>
                <a:gd name="connsiteX31" fmla="*/ 3499325 w 23888933"/>
                <a:gd name="connsiteY31" fmla="*/ 7558451 h 15035524"/>
                <a:gd name="connsiteX32" fmla="*/ 3680166 w 23888933"/>
                <a:gd name="connsiteY32" fmla="*/ 6681453 h 15035524"/>
                <a:gd name="connsiteX33" fmla="*/ 4186528 w 23888933"/>
                <a:gd name="connsiteY33" fmla="*/ 6690489 h 15035524"/>
                <a:gd name="connsiteX34" fmla="*/ 4837569 w 23888933"/>
                <a:gd name="connsiteY34" fmla="*/ 7160639 h 15035524"/>
                <a:gd name="connsiteX35" fmla="*/ 5352976 w 23888933"/>
                <a:gd name="connsiteY35" fmla="*/ 7079272 h 15035524"/>
                <a:gd name="connsiteX36" fmla="*/ 5741786 w 23888933"/>
                <a:gd name="connsiteY36" fmla="*/ 6708577 h 15035524"/>
                <a:gd name="connsiteX37" fmla="*/ 6157723 w 23888933"/>
                <a:gd name="connsiteY37" fmla="*/ 6545836 h 15035524"/>
                <a:gd name="connsiteX38" fmla="*/ 6745471 w 23888933"/>
                <a:gd name="connsiteY38" fmla="*/ 5976243 h 15035524"/>
                <a:gd name="connsiteX39" fmla="*/ 6890140 w 23888933"/>
                <a:gd name="connsiteY39" fmla="*/ 5126367 h 15035524"/>
                <a:gd name="connsiteX40" fmla="*/ 7568305 w 23888933"/>
                <a:gd name="connsiteY40" fmla="*/ 4556773 h 15035524"/>
                <a:gd name="connsiteX41" fmla="*/ 8137967 w 23888933"/>
                <a:gd name="connsiteY41" fmla="*/ 4113752 h 15035524"/>
                <a:gd name="connsiteX42" fmla="*/ 8463480 w 23888933"/>
                <a:gd name="connsiteY42" fmla="*/ 3309085 h 15035524"/>
                <a:gd name="connsiteX43" fmla="*/ 9024093 w 23888933"/>
                <a:gd name="connsiteY43" fmla="*/ 2956478 h 15035524"/>
                <a:gd name="connsiteX44" fmla="*/ 9675138 w 23888933"/>
                <a:gd name="connsiteY44" fmla="*/ 2603876 h 15035524"/>
                <a:gd name="connsiteX45" fmla="*/ 9558580 w 23888933"/>
                <a:gd name="connsiteY45" fmla="*/ 2055592 h 15035524"/>
                <a:gd name="connsiteX46" fmla="*/ 10353296 w 23888933"/>
                <a:gd name="connsiteY46" fmla="*/ 1383308 h 15035524"/>
                <a:gd name="connsiteX47" fmla="*/ 10832530 w 23888933"/>
                <a:gd name="connsiteY47" fmla="*/ 1310974 h 15035524"/>
                <a:gd name="connsiteX48" fmla="*/ 11058585 w 23888933"/>
                <a:gd name="connsiteY48" fmla="*/ 1763043 h 15035524"/>
                <a:gd name="connsiteX49" fmla="*/ 11411229 w 23888933"/>
                <a:gd name="connsiteY49" fmla="*/ 2142774 h 15035524"/>
                <a:gd name="connsiteX50" fmla="*/ 11998974 w 23888933"/>
                <a:gd name="connsiteY50" fmla="*/ 2224144 h 15035524"/>
                <a:gd name="connsiteX51" fmla="*/ 12315449 w 23888933"/>
                <a:gd name="connsiteY51" fmla="*/ 2884156 h 15035524"/>
                <a:gd name="connsiteX52" fmla="*/ 12785642 w 23888933"/>
                <a:gd name="connsiteY52" fmla="*/ 2703327 h 15035524"/>
                <a:gd name="connsiteX53" fmla="*/ 13671776 w 23888933"/>
                <a:gd name="connsiteY53" fmla="*/ 3155388 h 15035524"/>
                <a:gd name="connsiteX54" fmla="*/ 14123886 w 23888933"/>
                <a:gd name="connsiteY54" fmla="*/ 2857035 h 15035524"/>
                <a:gd name="connsiteX55" fmla="*/ 14259509 w 23888933"/>
                <a:gd name="connsiteY55" fmla="*/ 2287434 h 15035524"/>
                <a:gd name="connsiteX56" fmla="*/ 14892468 w 23888933"/>
                <a:gd name="connsiteY56" fmla="*/ 1645503 h 15035524"/>
                <a:gd name="connsiteX57" fmla="*/ 15778605 w 23888933"/>
                <a:gd name="connsiteY57" fmla="*/ 1093983 h 15035524"/>
                <a:gd name="connsiteX58" fmla="*/ 16022739 w 23888933"/>
                <a:gd name="connsiteY58" fmla="*/ 1564133 h 15035524"/>
                <a:gd name="connsiteX59" fmla="*/ 16556232 w 23888933"/>
                <a:gd name="connsiteY59" fmla="*/ 2142785 h 15035524"/>
                <a:gd name="connsiteX60" fmla="*/ 17406193 w 23888933"/>
                <a:gd name="connsiteY60" fmla="*/ 1292897 h 15035524"/>
                <a:gd name="connsiteX61" fmla="*/ 18120524 w 23888933"/>
                <a:gd name="connsiteY61" fmla="*/ 714260 h 15035524"/>
                <a:gd name="connsiteX62" fmla="*/ 18744437 w 23888933"/>
                <a:gd name="connsiteY62" fmla="*/ -1 h 15035524"/>
                <a:gd name="connsiteX63" fmla="*/ 19982300 w 23888933"/>
                <a:gd name="connsiteY63" fmla="*/ 343465 h 15035524"/>
                <a:gd name="connsiteX64" fmla="*/ 19837609 w 23888933"/>
                <a:gd name="connsiteY64" fmla="*/ 1121173 h 15035524"/>
                <a:gd name="connsiteX65" fmla="*/ 21881359 w 23888933"/>
                <a:gd name="connsiteY65" fmla="*/ 1772279 h 15035524"/>
                <a:gd name="connsiteX66" fmla="*/ 21537712 w 23888933"/>
                <a:gd name="connsiteY66" fmla="*/ 2767023 h 15035524"/>
                <a:gd name="connsiteX67" fmla="*/ 22478203 w 23888933"/>
                <a:gd name="connsiteY67" fmla="*/ 2296774 h 15035524"/>
                <a:gd name="connsiteX68" fmla="*/ 23888932 w 23888933"/>
                <a:gd name="connsiteY68" fmla="*/ 1880797 h 15035524"/>
                <a:gd name="connsiteX69" fmla="*/ 17541488 w 23888933"/>
                <a:gd name="connsiteY69" fmla="*/ 3715695 h 15035524"/>
                <a:gd name="connsiteX70" fmla="*/ 16350939 w 23888933"/>
                <a:gd name="connsiteY70" fmla="*/ 6053348 h 15035524"/>
                <a:gd name="connsiteX71" fmla="*/ 16362364 w 23888933"/>
                <a:gd name="connsiteY71" fmla="*/ 6360628 h 15035524"/>
                <a:gd name="connsiteX72" fmla="*/ 16682563 w 23888933"/>
                <a:gd name="connsiteY72" fmla="*/ 6798531 h 15035524"/>
                <a:gd name="connsiteX0" fmla="*/ 16682563 w 23888933"/>
                <a:gd name="connsiteY0" fmla="*/ 6798531 h 15035524"/>
                <a:gd name="connsiteX1" fmla="*/ 16432262 w 23888933"/>
                <a:gd name="connsiteY1" fmla="*/ 7825917 h 15035524"/>
                <a:gd name="connsiteX2" fmla="*/ 16106317 w 23888933"/>
                <a:gd name="connsiteY2" fmla="*/ 8367221 h 15035524"/>
                <a:gd name="connsiteX3" fmla="*/ 16305649 w 23888933"/>
                <a:gd name="connsiteY3" fmla="*/ 8754550 h 15035524"/>
                <a:gd name="connsiteX4" fmla="*/ 16287189 w 23888933"/>
                <a:gd name="connsiteY4" fmla="*/ 9151157 h 15035524"/>
                <a:gd name="connsiteX5" fmla="*/ 16372801 w 23888933"/>
                <a:gd name="connsiteY5" fmla="*/ 9717422 h 15035524"/>
                <a:gd name="connsiteX6" fmla="*/ 16070155 w 23888933"/>
                <a:gd name="connsiteY6" fmla="*/ 9937808 h 15035524"/>
                <a:gd name="connsiteX7" fmla="*/ 15805690 w 23888933"/>
                <a:gd name="connsiteY7" fmla="*/ 10431999 h 15035524"/>
                <a:gd name="connsiteX8" fmla="*/ 15195097 w 23888933"/>
                <a:gd name="connsiteY8" fmla="*/ 10093742 h 15035524"/>
                <a:gd name="connsiteX9" fmla="*/ 15011380 w 23888933"/>
                <a:gd name="connsiteY9" fmla="*/ 11048592 h 15035524"/>
                <a:gd name="connsiteX10" fmla="*/ 14908430 w 23888933"/>
                <a:gd name="connsiteY10" fmla="*/ 11937487 h 15035524"/>
                <a:gd name="connsiteX11" fmla="*/ 14904684 w 23888933"/>
                <a:gd name="connsiteY11" fmla="*/ 12760926 h 15035524"/>
                <a:gd name="connsiteX12" fmla="*/ 14929927 w 23888933"/>
                <a:gd name="connsiteY12" fmla="*/ 14391846 h 15035524"/>
                <a:gd name="connsiteX13" fmla="*/ 12952786 w 23888933"/>
                <a:gd name="connsiteY13" fmla="*/ 14842599 h 15035524"/>
                <a:gd name="connsiteX14" fmla="*/ 11934663 w 23888933"/>
                <a:gd name="connsiteY14" fmla="*/ 14890849 h 15035524"/>
                <a:gd name="connsiteX15" fmla="*/ 8506848 w 23888933"/>
                <a:gd name="connsiteY15" fmla="*/ 15035524 h 15035524"/>
                <a:gd name="connsiteX16" fmla="*/ 7985095 w 23888933"/>
                <a:gd name="connsiteY16" fmla="*/ 14390442 h 15035524"/>
                <a:gd name="connsiteX17" fmla="*/ 7400308 w 23888933"/>
                <a:gd name="connsiteY17" fmla="*/ 14360297 h 15035524"/>
                <a:gd name="connsiteX18" fmla="*/ 6972273 w 23888933"/>
                <a:gd name="connsiteY18" fmla="*/ 14631594 h 15035524"/>
                <a:gd name="connsiteX19" fmla="*/ 5181729 w 23888933"/>
                <a:gd name="connsiteY19" fmla="*/ 14547195 h 15035524"/>
                <a:gd name="connsiteX20" fmla="*/ 4397998 w 23888933"/>
                <a:gd name="connsiteY20" fmla="*/ 13914178 h 15035524"/>
                <a:gd name="connsiteX21" fmla="*/ 2908896 w 23888933"/>
                <a:gd name="connsiteY21" fmla="*/ 13106324 h 15035524"/>
                <a:gd name="connsiteX22" fmla="*/ 1263043 w 23888933"/>
                <a:gd name="connsiteY22" fmla="*/ 12394931 h 15035524"/>
                <a:gd name="connsiteX23" fmla="*/ 485320 w 23888933"/>
                <a:gd name="connsiteY23" fmla="*/ 11942774 h 15035524"/>
                <a:gd name="connsiteX24" fmla="*/ 0 w 23888933"/>
                <a:gd name="connsiteY24" fmla="*/ 11649662 h 15035524"/>
                <a:gd name="connsiteX25" fmla="*/ 1003686 w 23888933"/>
                <a:gd name="connsiteY25" fmla="*/ 10903697 h 15035524"/>
                <a:gd name="connsiteX26" fmla="*/ 2902551 w 23888933"/>
                <a:gd name="connsiteY26" fmla="*/ 9719298 h 15035524"/>
                <a:gd name="connsiteX27" fmla="*/ 2558940 w 23888933"/>
                <a:gd name="connsiteY27" fmla="*/ 9185867 h 15035524"/>
                <a:gd name="connsiteX28" fmla="*/ 2402508 w 23888933"/>
                <a:gd name="connsiteY28" fmla="*/ 8498784 h 15035524"/>
                <a:gd name="connsiteX29" fmla="*/ 2730740 w 23888933"/>
                <a:gd name="connsiteY29" fmla="*/ 8471613 h 15035524"/>
                <a:gd name="connsiteX30" fmla="*/ 2947754 w 23888933"/>
                <a:gd name="connsiteY30" fmla="*/ 8001468 h 15035524"/>
                <a:gd name="connsiteX31" fmla="*/ 3499325 w 23888933"/>
                <a:gd name="connsiteY31" fmla="*/ 7558451 h 15035524"/>
                <a:gd name="connsiteX32" fmla="*/ 3680166 w 23888933"/>
                <a:gd name="connsiteY32" fmla="*/ 6681453 h 15035524"/>
                <a:gd name="connsiteX33" fmla="*/ 4186528 w 23888933"/>
                <a:gd name="connsiteY33" fmla="*/ 6690489 h 15035524"/>
                <a:gd name="connsiteX34" fmla="*/ 4837569 w 23888933"/>
                <a:gd name="connsiteY34" fmla="*/ 7160639 h 15035524"/>
                <a:gd name="connsiteX35" fmla="*/ 5352976 w 23888933"/>
                <a:gd name="connsiteY35" fmla="*/ 7079272 h 15035524"/>
                <a:gd name="connsiteX36" fmla="*/ 5741786 w 23888933"/>
                <a:gd name="connsiteY36" fmla="*/ 6708577 h 15035524"/>
                <a:gd name="connsiteX37" fmla="*/ 6157723 w 23888933"/>
                <a:gd name="connsiteY37" fmla="*/ 6545836 h 15035524"/>
                <a:gd name="connsiteX38" fmla="*/ 6745471 w 23888933"/>
                <a:gd name="connsiteY38" fmla="*/ 5976243 h 15035524"/>
                <a:gd name="connsiteX39" fmla="*/ 6890140 w 23888933"/>
                <a:gd name="connsiteY39" fmla="*/ 5126367 h 15035524"/>
                <a:gd name="connsiteX40" fmla="*/ 7568305 w 23888933"/>
                <a:gd name="connsiteY40" fmla="*/ 4556773 h 15035524"/>
                <a:gd name="connsiteX41" fmla="*/ 8137967 w 23888933"/>
                <a:gd name="connsiteY41" fmla="*/ 4113752 h 15035524"/>
                <a:gd name="connsiteX42" fmla="*/ 8463480 w 23888933"/>
                <a:gd name="connsiteY42" fmla="*/ 3309085 h 15035524"/>
                <a:gd name="connsiteX43" fmla="*/ 9024093 w 23888933"/>
                <a:gd name="connsiteY43" fmla="*/ 2956478 h 15035524"/>
                <a:gd name="connsiteX44" fmla="*/ 9675138 w 23888933"/>
                <a:gd name="connsiteY44" fmla="*/ 2603876 h 15035524"/>
                <a:gd name="connsiteX45" fmla="*/ 9558580 w 23888933"/>
                <a:gd name="connsiteY45" fmla="*/ 2055592 h 15035524"/>
                <a:gd name="connsiteX46" fmla="*/ 10353296 w 23888933"/>
                <a:gd name="connsiteY46" fmla="*/ 1383308 h 15035524"/>
                <a:gd name="connsiteX47" fmla="*/ 10832530 w 23888933"/>
                <a:gd name="connsiteY47" fmla="*/ 1310974 h 15035524"/>
                <a:gd name="connsiteX48" fmla="*/ 11058585 w 23888933"/>
                <a:gd name="connsiteY48" fmla="*/ 1763043 h 15035524"/>
                <a:gd name="connsiteX49" fmla="*/ 11411229 w 23888933"/>
                <a:gd name="connsiteY49" fmla="*/ 2142774 h 15035524"/>
                <a:gd name="connsiteX50" fmla="*/ 11998974 w 23888933"/>
                <a:gd name="connsiteY50" fmla="*/ 2224144 h 15035524"/>
                <a:gd name="connsiteX51" fmla="*/ 12315449 w 23888933"/>
                <a:gd name="connsiteY51" fmla="*/ 2884156 h 15035524"/>
                <a:gd name="connsiteX52" fmla="*/ 12785642 w 23888933"/>
                <a:gd name="connsiteY52" fmla="*/ 2703327 h 15035524"/>
                <a:gd name="connsiteX53" fmla="*/ 13671776 w 23888933"/>
                <a:gd name="connsiteY53" fmla="*/ 3155388 h 15035524"/>
                <a:gd name="connsiteX54" fmla="*/ 14123886 w 23888933"/>
                <a:gd name="connsiteY54" fmla="*/ 2857035 h 15035524"/>
                <a:gd name="connsiteX55" fmla="*/ 14259509 w 23888933"/>
                <a:gd name="connsiteY55" fmla="*/ 2287434 h 15035524"/>
                <a:gd name="connsiteX56" fmla="*/ 14892468 w 23888933"/>
                <a:gd name="connsiteY56" fmla="*/ 1645503 h 15035524"/>
                <a:gd name="connsiteX57" fmla="*/ 15778605 w 23888933"/>
                <a:gd name="connsiteY57" fmla="*/ 1093983 h 15035524"/>
                <a:gd name="connsiteX58" fmla="*/ 16022739 w 23888933"/>
                <a:gd name="connsiteY58" fmla="*/ 1564133 h 15035524"/>
                <a:gd name="connsiteX59" fmla="*/ 16556232 w 23888933"/>
                <a:gd name="connsiteY59" fmla="*/ 2142785 h 15035524"/>
                <a:gd name="connsiteX60" fmla="*/ 17406193 w 23888933"/>
                <a:gd name="connsiteY60" fmla="*/ 1292897 h 15035524"/>
                <a:gd name="connsiteX61" fmla="*/ 18120524 w 23888933"/>
                <a:gd name="connsiteY61" fmla="*/ 714260 h 15035524"/>
                <a:gd name="connsiteX62" fmla="*/ 18744437 w 23888933"/>
                <a:gd name="connsiteY62" fmla="*/ -1 h 15035524"/>
                <a:gd name="connsiteX63" fmla="*/ 19982300 w 23888933"/>
                <a:gd name="connsiteY63" fmla="*/ 343465 h 15035524"/>
                <a:gd name="connsiteX64" fmla="*/ 19837609 w 23888933"/>
                <a:gd name="connsiteY64" fmla="*/ 1121173 h 15035524"/>
                <a:gd name="connsiteX65" fmla="*/ 21881359 w 23888933"/>
                <a:gd name="connsiteY65" fmla="*/ 1772279 h 15035524"/>
                <a:gd name="connsiteX66" fmla="*/ 21537712 w 23888933"/>
                <a:gd name="connsiteY66" fmla="*/ 2767023 h 15035524"/>
                <a:gd name="connsiteX67" fmla="*/ 22478203 w 23888933"/>
                <a:gd name="connsiteY67" fmla="*/ 2296774 h 15035524"/>
                <a:gd name="connsiteX68" fmla="*/ 23888932 w 23888933"/>
                <a:gd name="connsiteY68" fmla="*/ 1880797 h 15035524"/>
                <a:gd name="connsiteX69" fmla="*/ 14031723 w 23888933"/>
                <a:gd name="connsiteY69" fmla="*/ 5592368 h 15035524"/>
                <a:gd name="connsiteX70" fmla="*/ 16350939 w 23888933"/>
                <a:gd name="connsiteY70" fmla="*/ 6053348 h 15035524"/>
                <a:gd name="connsiteX71" fmla="*/ 16362364 w 23888933"/>
                <a:gd name="connsiteY71" fmla="*/ 6360628 h 15035524"/>
                <a:gd name="connsiteX72" fmla="*/ 16682563 w 23888933"/>
                <a:gd name="connsiteY72" fmla="*/ 6798531 h 15035524"/>
                <a:gd name="connsiteX0" fmla="*/ 16682563 w 23888933"/>
                <a:gd name="connsiteY0" fmla="*/ 6798531 h 15035524"/>
                <a:gd name="connsiteX1" fmla="*/ 16432262 w 23888933"/>
                <a:gd name="connsiteY1" fmla="*/ 7825917 h 15035524"/>
                <a:gd name="connsiteX2" fmla="*/ 16106317 w 23888933"/>
                <a:gd name="connsiteY2" fmla="*/ 8367221 h 15035524"/>
                <a:gd name="connsiteX3" fmla="*/ 16305649 w 23888933"/>
                <a:gd name="connsiteY3" fmla="*/ 8754550 h 15035524"/>
                <a:gd name="connsiteX4" fmla="*/ 16287189 w 23888933"/>
                <a:gd name="connsiteY4" fmla="*/ 9151157 h 15035524"/>
                <a:gd name="connsiteX5" fmla="*/ 16372801 w 23888933"/>
                <a:gd name="connsiteY5" fmla="*/ 9717422 h 15035524"/>
                <a:gd name="connsiteX6" fmla="*/ 16070155 w 23888933"/>
                <a:gd name="connsiteY6" fmla="*/ 9937808 h 15035524"/>
                <a:gd name="connsiteX7" fmla="*/ 15805690 w 23888933"/>
                <a:gd name="connsiteY7" fmla="*/ 10431999 h 15035524"/>
                <a:gd name="connsiteX8" fmla="*/ 15195097 w 23888933"/>
                <a:gd name="connsiteY8" fmla="*/ 10093742 h 15035524"/>
                <a:gd name="connsiteX9" fmla="*/ 15011380 w 23888933"/>
                <a:gd name="connsiteY9" fmla="*/ 11048592 h 15035524"/>
                <a:gd name="connsiteX10" fmla="*/ 14908430 w 23888933"/>
                <a:gd name="connsiteY10" fmla="*/ 11937487 h 15035524"/>
                <a:gd name="connsiteX11" fmla="*/ 14904684 w 23888933"/>
                <a:gd name="connsiteY11" fmla="*/ 12760926 h 15035524"/>
                <a:gd name="connsiteX12" fmla="*/ 14929927 w 23888933"/>
                <a:gd name="connsiteY12" fmla="*/ 14391846 h 15035524"/>
                <a:gd name="connsiteX13" fmla="*/ 12952786 w 23888933"/>
                <a:gd name="connsiteY13" fmla="*/ 14842599 h 15035524"/>
                <a:gd name="connsiteX14" fmla="*/ 11934663 w 23888933"/>
                <a:gd name="connsiteY14" fmla="*/ 14890849 h 15035524"/>
                <a:gd name="connsiteX15" fmla="*/ 8506848 w 23888933"/>
                <a:gd name="connsiteY15" fmla="*/ 15035524 h 15035524"/>
                <a:gd name="connsiteX16" fmla="*/ 7985095 w 23888933"/>
                <a:gd name="connsiteY16" fmla="*/ 14390442 h 15035524"/>
                <a:gd name="connsiteX17" fmla="*/ 7400308 w 23888933"/>
                <a:gd name="connsiteY17" fmla="*/ 14360297 h 15035524"/>
                <a:gd name="connsiteX18" fmla="*/ 6972273 w 23888933"/>
                <a:gd name="connsiteY18" fmla="*/ 14631594 h 15035524"/>
                <a:gd name="connsiteX19" fmla="*/ 5181729 w 23888933"/>
                <a:gd name="connsiteY19" fmla="*/ 14547195 h 15035524"/>
                <a:gd name="connsiteX20" fmla="*/ 4397998 w 23888933"/>
                <a:gd name="connsiteY20" fmla="*/ 13914178 h 15035524"/>
                <a:gd name="connsiteX21" fmla="*/ 2908896 w 23888933"/>
                <a:gd name="connsiteY21" fmla="*/ 13106324 h 15035524"/>
                <a:gd name="connsiteX22" fmla="*/ 1263043 w 23888933"/>
                <a:gd name="connsiteY22" fmla="*/ 12394931 h 15035524"/>
                <a:gd name="connsiteX23" fmla="*/ 485320 w 23888933"/>
                <a:gd name="connsiteY23" fmla="*/ 11942774 h 15035524"/>
                <a:gd name="connsiteX24" fmla="*/ 0 w 23888933"/>
                <a:gd name="connsiteY24" fmla="*/ 11649662 h 15035524"/>
                <a:gd name="connsiteX25" fmla="*/ 1003686 w 23888933"/>
                <a:gd name="connsiteY25" fmla="*/ 10903697 h 15035524"/>
                <a:gd name="connsiteX26" fmla="*/ 2902551 w 23888933"/>
                <a:gd name="connsiteY26" fmla="*/ 9719298 h 15035524"/>
                <a:gd name="connsiteX27" fmla="*/ 2558940 w 23888933"/>
                <a:gd name="connsiteY27" fmla="*/ 9185867 h 15035524"/>
                <a:gd name="connsiteX28" fmla="*/ 2402508 w 23888933"/>
                <a:gd name="connsiteY28" fmla="*/ 8498784 h 15035524"/>
                <a:gd name="connsiteX29" fmla="*/ 2730740 w 23888933"/>
                <a:gd name="connsiteY29" fmla="*/ 8471613 h 15035524"/>
                <a:gd name="connsiteX30" fmla="*/ 2947754 w 23888933"/>
                <a:gd name="connsiteY30" fmla="*/ 8001468 h 15035524"/>
                <a:gd name="connsiteX31" fmla="*/ 3499325 w 23888933"/>
                <a:gd name="connsiteY31" fmla="*/ 7558451 h 15035524"/>
                <a:gd name="connsiteX32" fmla="*/ 3680166 w 23888933"/>
                <a:gd name="connsiteY32" fmla="*/ 6681453 h 15035524"/>
                <a:gd name="connsiteX33" fmla="*/ 4186528 w 23888933"/>
                <a:gd name="connsiteY33" fmla="*/ 6690489 h 15035524"/>
                <a:gd name="connsiteX34" fmla="*/ 4837569 w 23888933"/>
                <a:gd name="connsiteY34" fmla="*/ 7160639 h 15035524"/>
                <a:gd name="connsiteX35" fmla="*/ 5352976 w 23888933"/>
                <a:gd name="connsiteY35" fmla="*/ 7079272 h 15035524"/>
                <a:gd name="connsiteX36" fmla="*/ 5741786 w 23888933"/>
                <a:gd name="connsiteY36" fmla="*/ 6708577 h 15035524"/>
                <a:gd name="connsiteX37" fmla="*/ 6157723 w 23888933"/>
                <a:gd name="connsiteY37" fmla="*/ 6545836 h 15035524"/>
                <a:gd name="connsiteX38" fmla="*/ 6745471 w 23888933"/>
                <a:gd name="connsiteY38" fmla="*/ 5976243 h 15035524"/>
                <a:gd name="connsiteX39" fmla="*/ 6890140 w 23888933"/>
                <a:gd name="connsiteY39" fmla="*/ 5126367 h 15035524"/>
                <a:gd name="connsiteX40" fmla="*/ 7568305 w 23888933"/>
                <a:gd name="connsiteY40" fmla="*/ 4556773 h 15035524"/>
                <a:gd name="connsiteX41" fmla="*/ 8137967 w 23888933"/>
                <a:gd name="connsiteY41" fmla="*/ 4113752 h 15035524"/>
                <a:gd name="connsiteX42" fmla="*/ 8463480 w 23888933"/>
                <a:gd name="connsiteY42" fmla="*/ 3309085 h 15035524"/>
                <a:gd name="connsiteX43" fmla="*/ 9024093 w 23888933"/>
                <a:gd name="connsiteY43" fmla="*/ 2956478 h 15035524"/>
                <a:gd name="connsiteX44" fmla="*/ 9675138 w 23888933"/>
                <a:gd name="connsiteY44" fmla="*/ 2603876 h 15035524"/>
                <a:gd name="connsiteX45" fmla="*/ 9558580 w 23888933"/>
                <a:gd name="connsiteY45" fmla="*/ 2055592 h 15035524"/>
                <a:gd name="connsiteX46" fmla="*/ 10353296 w 23888933"/>
                <a:gd name="connsiteY46" fmla="*/ 1383308 h 15035524"/>
                <a:gd name="connsiteX47" fmla="*/ 10832530 w 23888933"/>
                <a:gd name="connsiteY47" fmla="*/ 1310974 h 15035524"/>
                <a:gd name="connsiteX48" fmla="*/ 11058585 w 23888933"/>
                <a:gd name="connsiteY48" fmla="*/ 1763043 h 15035524"/>
                <a:gd name="connsiteX49" fmla="*/ 11411229 w 23888933"/>
                <a:gd name="connsiteY49" fmla="*/ 2142774 h 15035524"/>
                <a:gd name="connsiteX50" fmla="*/ 11998974 w 23888933"/>
                <a:gd name="connsiteY50" fmla="*/ 2224144 h 15035524"/>
                <a:gd name="connsiteX51" fmla="*/ 12315449 w 23888933"/>
                <a:gd name="connsiteY51" fmla="*/ 2884156 h 15035524"/>
                <a:gd name="connsiteX52" fmla="*/ 12785642 w 23888933"/>
                <a:gd name="connsiteY52" fmla="*/ 2703327 h 15035524"/>
                <a:gd name="connsiteX53" fmla="*/ 13671776 w 23888933"/>
                <a:gd name="connsiteY53" fmla="*/ 3155388 h 15035524"/>
                <a:gd name="connsiteX54" fmla="*/ 14123886 w 23888933"/>
                <a:gd name="connsiteY54" fmla="*/ 2857035 h 15035524"/>
                <a:gd name="connsiteX55" fmla="*/ 14259509 w 23888933"/>
                <a:gd name="connsiteY55" fmla="*/ 2287434 h 15035524"/>
                <a:gd name="connsiteX56" fmla="*/ 14892468 w 23888933"/>
                <a:gd name="connsiteY56" fmla="*/ 1645503 h 15035524"/>
                <a:gd name="connsiteX57" fmla="*/ 15778605 w 23888933"/>
                <a:gd name="connsiteY57" fmla="*/ 1093983 h 15035524"/>
                <a:gd name="connsiteX58" fmla="*/ 16022739 w 23888933"/>
                <a:gd name="connsiteY58" fmla="*/ 1564133 h 15035524"/>
                <a:gd name="connsiteX59" fmla="*/ 16556232 w 23888933"/>
                <a:gd name="connsiteY59" fmla="*/ 2142785 h 15035524"/>
                <a:gd name="connsiteX60" fmla="*/ 17406193 w 23888933"/>
                <a:gd name="connsiteY60" fmla="*/ 1292897 h 15035524"/>
                <a:gd name="connsiteX61" fmla="*/ 18120524 w 23888933"/>
                <a:gd name="connsiteY61" fmla="*/ 714260 h 15035524"/>
                <a:gd name="connsiteX62" fmla="*/ 18744437 w 23888933"/>
                <a:gd name="connsiteY62" fmla="*/ -1 h 15035524"/>
                <a:gd name="connsiteX63" fmla="*/ 19982300 w 23888933"/>
                <a:gd name="connsiteY63" fmla="*/ 343465 h 15035524"/>
                <a:gd name="connsiteX64" fmla="*/ 19837609 w 23888933"/>
                <a:gd name="connsiteY64" fmla="*/ 1121173 h 15035524"/>
                <a:gd name="connsiteX65" fmla="*/ 21881359 w 23888933"/>
                <a:gd name="connsiteY65" fmla="*/ 1772279 h 15035524"/>
                <a:gd name="connsiteX66" fmla="*/ 21537712 w 23888933"/>
                <a:gd name="connsiteY66" fmla="*/ 2767023 h 15035524"/>
                <a:gd name="connsiteX67" fmla="*/ 22478203 w 23888933"/>
                <a:gd name="connsiteY67" fmla="*/ 2296774 h 15035524"/>
                <a:gd name="connsiteX68" fmla="*/ 23888932 w 23888933"/>
                <a:gd name="connsiteY68" fmla="*/ 1880797 h 15035524"/>
                <a:gd name="connsiteX69" fmla="*/ 15323320 w 23888933"/>
                <a:gd name="connsiteY69" fmla="*/ 5928489 h 15035524"/>
                <a:gd name="connsiteX70" fmla="*/ 16350939 w 23888933"/>
                <a:gd name="connsiteY70" fmla="*/ 6053348 h 15035524"/>
                <a:gd name="connsiteX71" fmla="*/ 16362364 w 23888933"/>
                <a:gd name="connsiteY71" fmla="*/ 6360628 h 15035524"/>
                <a:gd name="connsiteX72" fmla="*/ 16682563 w 23888933"/>
                <a:gd name="connsiteY72" fmla="*/ 6798531 h 15035524"/>
                <a:gd name="connsiteX0" fmla="*/ 16682563 w 22478203"/>
                <a:gd name="connsiteY0" fmla="*/ 6798531 h 15035524"/>
                <a:gd name="connsiteX1" fmla="*/ 16432262 w 22478203"/>
                <a:gd name="connsiteY1" fmla="*/ 7825917 h 15035524"/>
                <a:gd name="connsiteX2" fmla="*/ 16106317 w 22478203"/>
                <a:gd name="connsiteY2" fmla="*/ 8367221 h 15035524"/>
                <a:gd name="connsiteX3" fmla="*/ 16305649 w 22478203"/>
                <a:gd name="connsiteY3" fmla="*/ 8754550 h 15035524"/>
                <a:gd name="connsiteX4" fmla="*/ 16287189 w 22478203"/>
                <a:gd name="connsiteY4" fmla="*/ 9151157 h 15035524"/>
                <a:gd name="connsiteX5" fmla="*/ 16372801 w 22478203"/>
                <a:gd name="connsiteY5" fmla="*/ 9717422 h 15035524"/>
                <a:gd name="connsiteX6" fmla="*/ 16070155 w 22478203"/>
                <a:gd name="connsiteY6" fmla="*/ 9937808 h 15035524"/>
                <a:gd name="connsiteX7" fmla="*/ 15805690 w 22478203"/>
                <a:gd name="connsiteY7" fmla="*/ 10431999 h 15035524"/>
                <a:gd name="connsiteX8" fmla="*/ 15195097 w 22478203"/>
                <a:gd name="connsiteY8" fmla="*/ 10093742 h 15035524"/>
                <a:gd name="connsiteX9" fmla="*/ 15011380 w 22478203"/>
                <a:gd name="connsiteY9" fmla="*/ 11048592 h 15035524"/>
                <a:gd name="connsiteX10" fmla="*/ 14908430 w 22478203"/>
                <a:gd name="connsiteY10" fmla="*/ 11937487 h 15035524"/>
                <a:gd name="connsiteX11" fmla="*/ 14904684 w 22478203"/>
                <a:gd name="connsiteY11" fmla="*/ 12760926 h 15035524"/>
                <a:gd name="connsiteX12" fmla="*/ 14929927 w 22478203"/>
                <a:gd name="connsiteY12" fmla="*/ 14391846 h 15035524"/>
                <a:gd name="connsiteX13" fmla="*/ 12952786 w 22478203"/>
                <a:gd name="connsiteY13" fmla="*/ 14842599 h 15035524"/>
                <a:gd name="connsiteX14" fmla="*/ 11934663 w 22478203"/>
                <a:gd name="connsiteY14" fmla="*/ 14890849 h 15035524"/>
                <a:gd name="connsiteX15" fmla="*/ 8506848 w 22478203"/>
                <a:gd name="connsiteY15" fmla="*/ 15035524 h 15035524"/>
                <a:gd name="connsiteX16" fmla="*/ 7985095 w 22478203"/>
                <a:gd name="connsiteY16" fmla="*/ 14390442 h 15035524"/>
                <a:gd name="connsiteX17" fmla="*/ 7400308 w 22478203"/>
                <a:gd name="connsiteY17" fmla="*/ 14360297 h 15035524"/>
                <a:gd name="connsiteX18" fmla="*/ 6972273 w 22478203"/>
                <a:gd name="connsiteY18" fmla="*/ 14631594 h 15035524"/>
                <a:gd name="connsiteX19" fmla="*/ 5181729 w 22478203"/>
                <a:gd name="connsiteY19" fmla="*/ 14547195 h 15035524"/>
                <a:gd name="connsiteX20" fmla="*/ 4397998 w 22478203"/>
                <a:gd name="connsiteY20" fmla="*/ 13914178 h 15035524"/>
                <a:gd name="connsiteX21" fmla="*/ 2908896 w 22478203"/>
                <a:gd name="connsiteY21" fmla="*/ 13106324 h 15035524"/>
                <a:gd name="connsiteX22" fmla="*/ 1263043 w 22478203"/>
                <a:gd name="connsiteY22" fmla="*/ 12394931 h 15035524"/>
                <a:gd name="connsiteX23" fmla="*/ 485320 w 22478203"/>
                <a:gd name="connsiteY23" fmla="*/ 11942774 h 15035524"/>
                <a:gd name="connsiteX24" fmla="*/ 0 w 22478203"/>
                <a:gd name="connsiteY24" fmla="*/ 11649662 h 15035524"/>
                <a:gd name="connsiteX25" fmla="*/ 1003686 w 22478203"/>
                <a:gd name="connsiteY25" fmla="*/ 10903697 h 15035524"/>
                <a:gd name="connsiteX26" fmla="*/ 2902551 w 22478203"/>
                <a:gd name="connsiteY26" fmla="*/ 9719298 h 15035524"/>
                <a:gd name="connsiteX27" fmla="*/ 2558940 w 22478203"/>
                <a:gd name="connsiteY27" fmla="*/ 9185867 h 15035524"/>
                <a:gd name="connsiteX28" fmla="*/ 2402508 w 22478203"/>
                <a:gd name="connsiteY28" fmla="*/ 8498784 h 15035524"/>
                <a:gd name="connsiteX29" fmla="*/ 2730740 w 22478203"/>
                <a:gd name="connsiteY29" fmla="*/ 8471613 h 15035524"/>
                <a:gd name="connsiteX30" fmla="*/ 2947754 w 22478203"/>
                <a:gd name="connsiteY30" fmla="*/ 8001468 h 15035524"/>
                <a:gd name="connsiteX31" fmla="*/ 3499325 w 22478203"/>
                <a:gd name="connsiteY31" fmla="*/ 7558451 h 15035524"/>
                <a:gd name="connsiteX32" fmla="*/ 3680166 w 22478203"/>
                <a:gd name="connsiteY32" fmla="*/ 6681453 h 15035524"/>
                <a:gd name="connsiteX33" fmla="*/ 4186528 w 22478203"/>
                <a:gd name="connsiteY33" fmla="*/ 6690489 h 15035524"/>
                <a:gd name="connsiteX34" fmla="*/ 4837569 w 22478203"/>
                <a:gd name="connsiteY34" fmla="*/ 7160639 h 15035524"/>
                <a:gd name="connsiteX35" fmla="*/ 5352976 w 22478203"/>
                <a:gd name="connsiteY35" fmla="*/ 7079272 h 15035524"/>
                <a:gd name="connsiteX36" fmla="*/ 5741786 w 22478203"/>
                <a:gd name="connsiteY36" fmla="*/ 6708577 h 15035524"/>
                <a:gd name="connsiteX37" fmla="*/ 6157723 w 22478203"/>
                <a:gd name="connsiteY37" fmla="*/ 6545836 h 15035524"/>
                <a:gd name="connsiteX38" fmla="*/ 6745471 w 22478203"/>
                <a:gd name="connsiteY38" fmla="*/ 5976243 h 15035524"/>
                <a:gd name="connsiteX39" fmla="*/ 6890140 w 22478203"/>
                <a:gd name="connsiteY39" fmla="*/ 5126367 h 15035524"/>
                <a:gd name="connsiteX40" fmla="*/ 7568305 w 22478203"/>
                <a:gd name="connsiteY40" fmla="*/ 4556773 h 15035524"/>
                <a:gd name="connsiteX41" fmla="*/ 8137967 w 22478203"/>
                <a:gd name="connsiteY41" fmla="*/ 4113752 h 15035524"/>
                <a:gd name="connsiteX42" fmla="*/ 8463480 w 22478203"/>
                <a:gd name="connsiteY42" fmla="*/ 3309085 h 15035524"/>
                <a:gd name="connsiteX43" fmla="*/ 9024093 w 22478203"/>
                <a:gd name="connsiteY43" fmla="*/ 2956478 h 15035524"/>
                <a:gd name="connsiteX44" fmla="*/ 9675138 w 22478203"/>
                <a:gd name="connsiteY44" fmla="*/ 2603876 h 15035524"/>
                <a:gd name="connsiteX45" fmla="*/ 9558580 w 22478203"/>
                <a:gd name="connsiteY45" fmla="*/ 2055592 h 15035524"/>
                <a:gd name="connsiteX46" fmla="*/ 10353296 w 22478203"/>
                <a:gd name="connsiteY46" fmla="*/ 1383308 h 15035524"/>
                <a:gd name="connsiteX47" fmla="*/ 10832530 w 22478203"/>
                <a:gd name="connsiteY47" fmla="*/ 1310974 h 15035524"/>
                <a:gd name="connsiteX48" fmla="*/ 11058585 w 22478203"/>
                <a:gd name="connsiteY48" fmla="*/ 1763043 h 15035524"/>
                <a:gd name="connsiteX49" fmla="*/ 11411229 w 22478203"/>
                <a:gd name="connsiteY49" fmla="*/ 2142774 h 15035524"/>
                <a:gd name="connsiteX50" fmla="*/ 11998974 w 22478203"/>
                <a:gd name="connsiteY50" fmla="*/ 2224144 h 15035524"/>
                <a:gd name="connsiteX51" fmla="*/ 12315449 w 22478203"/>
                <a:gd name="connsiteY51" fmla="*/ 2884156 h 15035524"/>
                <a:gd name="connsiteX52" fmla="*/ 12785642 w 22478203"/>
                <a:gd name="connsiteY52" fmla="*/ 2703327 h 15035524"/>
                <a:gd name="connsiteX53" fmla="*/ 13671776 w 22478203"/>
                <a:gd name="connsiteY53" fmla="*/ 3155388 h 15035524"/>
                <a:gd name="connsiteX54" fmla="*/ 14123886 w 22478203"/>
                <a:gd name="connsiteY54" fmla="*/ 2857035 h 15035524"/>
                <a:gd name="connsiteX55" fmla="*/ 14259509 w 22478203"/>
                <a:gd name="connsiteY55" fmla="*/ 2287434 h 15035524"/>
                <a:gd name="connsiteX56" fmla="*/ 14892468 w 22478203"/>
                <a:gd name="connsiteY56" fmla="*/ 1645503 h 15035524"/>
                <a:gd name="connsiteX57" fmla="*/ 15778605 w 22478203"/>
                <a:gd name="connsiteY57" fmla="*/ 1093983 h 15035524"/>
                <a:gd name="connsiteX58" fmla="*/ 16022739 w 22478203"/>
                <a:gd name="connsiteY58" fmla="*/ 1564133 h 15035524"/>
                <a:gd name="connsiteX59" fmla="*/ 16556232 w 22478203"/>
                <a:gd name="connsiteY59" fmla="*/ 2142785 h 15035524"/>
                <a:gd name="connsiteX60" fmla="*/ 17406193 w 22478203"/>
                <a:gd name="connsiteY60" fmla="*/ 1292897 h 15035524"/>
                <a:gd name="connsiteX61" fmla="*/ 18120524 w 22478203"/>
                <a:gd name="connsiteY61" fmla="*/ 714260 h 15035524"/>
                <a:gd name="connsiteX62" fmla="*/ 18744437 w 22478203"/>
                <a:gd name="connsiteY62" fmla="*/ -1 h 15035524"/>
                <a:gd name="connsiteX63" fmla="*/ 19982300 w 22478203"/>
                <a:gd name="connsiteY63" fmla="*/ 343465 h 15035524"/>
                <a:gd name="connsiteX64" fmla="*/ 19837609 w 22478203"/>
                <a:gd name="connsiteY64" fmla="*/ 1121173 h 15035524"/>
                <a:gd name="connsiteX65" fmla="*/ 21881359 w 22478203"/>
                <a:gd name="connsiteY65" fmla="*/ 1772279 h 15035524"/>
                <a:gd name="connsiteX66" fmla="*/ 21537712 w 22478203"/>
                <a:gd name="connsiteY66" fmla="*/ 2767023 h 15035524"/>
                <a:gd name="connsiteX67" fmla="*/ 22478203 w 22478203"/>
                <a:gd name="connsiteY67" fmla="*/ 2296774 h 15035524"/>
                <a:gd name="connsiteX68" fmla="*/ 14960077 w 22478203"/>
                <a:gd name="connsiteY68" fmla="*/ 5017927 h 15035524"/>
                <a:gd name="connsiteX69" fmla="*/ 15323320 w 22478203"/>
                <a:gd name="connsiteY69" fmla="*/ 5928489 h 15035524"/>
                <a:gd name="connsiteX70" fmla="*/ 16350939 w 22478203"/>
                <a:gd name="connsiteY70" fmla="*/ 6053348 h 15035524"/>
                <a:gd name="connsiteX71" fmla="*/ 16362364 w 22478203"/>
                <a:gd name="connsiteY71" fmla="*/ 6360628 h 15035524"/>
                <a:gd name="connsiteX72" fmla="*/ 16682563 w 22478203"/>
                <a:gd name="connsiteY72" fmla="*/ 6798531 h 15035524"/>
                <a:gd name="connsiteX0" fmla="*/ 16682563 w 22478203"/>
                <a:gd name="connsiteY0" fmla="*/ 6798531 h 15035524"/>
                <a:gd name="connsiteX1" fmla="*/ 16432262 w 22478203"/>
                <a:gd name="connsiteY1" fmla="*/ 7825917 h 15035524"/>
                <a:gd name="connsiteX2" fmla="*/ 16106317 w 22478203"/>
                <a:gd name="connsiteY2" fmla="*/ 8367221 h 15035524"/>
                <a:gd name="connsiteX3" fmla="*/ 16305649 w 22478203"/>
                <a:gd name="connsiteY3" fmla="*/ 8754550 h 15035524"/>
                <a:gd name="connsiteX4" fmla="*/ 16287189 w 22478203"/>
                <a:gd name="connsiteY4" fmla="*/ 9151157 h 15035524"/>
                <a:gd name="connsiteX5" fmla="*/ 16372801 w 22478203"/>
                <a:gd name="connsiteY5" fmla="*/ 9717422 h 15035524"/>
                <a:gd name="connsiteX6" fmla="*/ 16070155 w 22478203"/>
                <a:gd name="connsiteY6" fmla="*/ 9937808 h 15035524"/>
                <a:gd name="connsiteX7" fmla="*/ 15805690 w 22478203"/>
                <a:gd name="connsiteY7" fmla="*/ 10431999 h 15035524"/>
                <a:gd name="connsiteX8" fmla="*/ 15195097 w 22478203"/>
                <a:gd name="connsiteY8" fmla="*/ 10093742 h 15035524"/>
                <a:gd name="connsiteX9" fmla="*/ 15011380 w 22478203"/>
                <a:gd name="connsiteY9" fmla="*/ 11048592 h 15035524"/>
                <a:gd name="connsiteX10" fmla="*/ 14908430 w 22478203"/>
                <a:gd name="connsiteY10" fmla="*/ 11937487 h 15035524"/>
                <a:gd name="connsiteX11" fmla="*/ 14904684 w 22478203"/>
                <a:gd name="connsiteY11" fmla="*/ 12760926 h 15035524"/>
                <a:gd name="connsiteX12" fmla="*/ 14929927 w 22478203"/>
                <a:gd name="connsiteY12" fmla="*/ 14391846 h 15035524"/>
                <a:gd name="connsiteX13" fmla="*/ 12952786 w 22478203"/>
                <a:gd name="connsiteY13" fmla="*/ 14842599 h 15035524"/>
                <a:gd name="connsiteX14" fmla="*/ 11934663 w 22478203"/>
                <a:gd name="connsiteY14" fmla="*/ 14890849 h 15035524"/>
                <a:gd name="connsiteX15" fmla="*/ 8506848 w 22478203"/>
                <a:gd name="connsiteY15" fmla="*/ 15035524 h 15035524"/>
                <a:gd name="connsiteX16" fmla="*/ 7985095 w 22478203"/>
                <a:gd name="connsiteY16" fmla="*/ 14390442 h 15035524"/>
                <a:gd name="connsiteX17" fmla="*/ 7400308 w 22478203"/>
                <a:gd name="connsiteY17" fmla="*/ 14360297 h 15035524"/>
                <a:gd name="connsiteX18" fmla="*/ 6972273 w 22478203"/>
                <a:gd name="connsiteY18" fmla="*/ 14631594 h 15035524"/>
                <a:gd name="connsiteX19" fmla="*/ 5181729 w 22478203"/>
                <a:gd name="connsiteY19" fmla="*/ 14547195 h 15035524"/>
                <a:gd name="connsiteX20" fmla="*/ 4397998 w 22478203"/>
                <a:gd name="connsiteY20" fmla="*/ 13914178 h 15035524"/>
                <a:gd name="connsiteX21" fmla="*/ 2908896 w 22478203"/>
                <a:gd name="connsiteY21" fmla="*/ 13106324 h 15035524"/>
                <a:gd name="connsiteX22" fmla="*/ 1263043 w 22478203"/>
                <a:gd name="connsiteY22" fmla="*/ 12394931 h 15035524"/>
                <a:gd name="connsiteX23" fmla="*/ 485320 w 22478203"/>
                <a:gd name="connsiteY23" fmla="*/ 11942774 h 15035524"/>
                <a:gd name="connsiteX24" fmla="*/ 0 w 22478203"/>
                <a:gd name="connsiteY24" fmla="*/ 11649662 h 15035524"/>
                <a:gd name="connsiteX25" fmla="*/ 1003686 w 22478203"/>
                <a:gd name="connsiteY25" fmla="*/ 10903697 h 15035524"/>
                <a:gd name="connsiteX26" fmla="*/ 2902551 w 22478203"/>
                <a:gd name="connsiteY26" fmla="*/ 9719298 h 15035524"/>
                <a:gd name="connsiteX27" fmla="*/ 2558940 w 22478203"/>
                <a:gd name="connsiteY27" fmla="*/ 9185867 h 15035524"/>
                <a:gd name="connsiteX28" fmla="*/ 2402508 w 22478203"/>
                <a:gd name="connsiteY28" fmla="*/ 8498784 h 15035524"/>
                <a:gd name="connsiteX29" fmla="*/ 2730740 w 22478203"/>
                <a:gd name="connsiteY29" fmla="*/ 8471613 h 15035524"/>
                <a:gd name="connsiteX30" fmla="*/ 2947754 w 22478203"/>
                <a:gd name="connsiteY30" fmla="*/ 8001468 h 15035524"/>
                <a:gd name="connsiteX31" fmla="*/ 3499325 w 22478203"/>
                <a:gd name="connsiteY31" fmla="*/ 7558451 h 15035524"/>
                <a:gd name="connsiteX32" fmla="*/ 3680166 w 22478203"/>
                <a:gd name="connsiteY32" fmla="*/ 6681453 h 15035524"/>
                <a:gd name="connsiteX33" fmla="*/ 4186528 w 22478203"/>
                <a:gd name="connsiteY33" fmla="*/ 6690489 h 15035524"/>
                <a:gd name="connsiteX34" fmla="*/ 4837569 w 22478203"/>
                <a:gd name="connsiteY34" fmla="*/ 7160639 h 15035524"/>
                <a:gd name="connsiteX35" fmla="*/ 5352976 w 22478203"/>
                <a:gd name="connsiteY35" fmla="*/ 7079272 h 15035524"/>
                <a:gd name="connsiteX36" fmla="*/ 5741786 w 22478203"/>
                <a:gd name="connsiteY36" fmla="*/ 6708577 h 15035524"/>
                <a:gd name="connsiteX37" fmla="*/ 6157723 w 22478203"/>
                <a:gd name="connsiteY37" fmla="*/ 6545836 h 15035524"/>
                <a:gd name="connsiteX38" fmla="*/ 6745471 w 22478203"/>
                <a:gd name="connsiteY38" fmla="*/ 5976243 h 15035524"/>
                <a:gd name="connsiteX39" fmla="*/ 6890140 w 22478203"/>
                <a:gd name="connsiteY39" fmla="*/ 5126367 h 15035524"/>
                <a:gd name="connsiteX40" fmla="*/ 7568305 w 22478203"/>
                <a:gd name="connsiteY40" fmla="*/ 4556773 h 15035524"/>
                <a:gd name="connsiteX41" fmla="*/ 8137967 w 22478203"/>
                <a:gd name="connsiteY41" fmla="*/ 4113752 h 15035524"/>
                <a:gd name="connsiteX42" fmla="*/ 8463480 w 22478203"/>
                <a:gd name="connsiteY42" fmla="*/ 3309085 h 15035524"/>
                <a:gd name="connsiteX43" fmla="*/ 9024093 w 22478203"/>
                <a:gd name="connsiteY43" fmla="*/ 2956478 h 15035524"/>
                <a:gd name="connsiteX44" fmla="*/ 9675138 w 22478203"/>
                <a:gd name="connsiteY44" fmla="*/ 2603876 h 15035524"/>
                <a:gd name="connsiteX45" fmla="*/ 9558580 w 22478203"/>
                <a:gd name="connsiteY45" fmla="*/ 2055592 h 15035524"/>
                <a:gd name="connsiteX46" fmla="*/ 10353296 w 22478203"/>
                <a:gd name="connsiteY46" fmla="*/ 1383308 h 15035524"/>
                <a:gd name="connsiteX47" fmla="*/ 10832530 w 22478203"/>
                <a:gd name="connsiteY47" fmla="*/ 1310974 h 15035524"/>
                <a:gd name="connsiteX48" fmla="*/ 11058585 w 22478203"/>
                <a:gd name="connsiteY48" fmla="*/ 1763043 h 15035524"/>
                <a:gd name="connsiteX49" fmla="*/ 11411229 w 22478203"/>
                <a:gd name="connsiteY49" fmla="*/ 2142774 h 15035524"/>
                <a:gd name="connsiteX50" fmla="*/ 11998974 w 22478203"/>
                <a:gd name="connsiteY50" fmla="*/ 2224144 h 15035524"/>
                <a:gd name="connsiteX51" fmla="*/ 12315449 w 22478203"/>
                <a:gd name="connsiteY51" fmla="*/ 2884156 h 15035524"/>
                <a:gd name="connsiteX52" fmla="*/ 12785642 w 22478203"/>
                <a:gd name="connsiteY52" fmla="*/ 2703327 h 15035524"/>
                <a:gd name="connsiteX53" fmla="*/ 13671776 w 22478203"/>
                <a:gd name="connsiteY53" fmla="*/ 3155388 h 15035524"/>
                <a:gd name="connsiteX54" fmla="*/ 14123886 w 22478203"/>
                <a:gd name="connsiteY54" fmla="*/ 2857035 h 15035524"/>
                <a:gd name="connsiteX55" fmla="*/ 14259509 w 22478203"/>
                <a:gd name="connsiteY55" fmla="*/ 2287434 h 15035524"/>
                <a:gd name="connsiteX56" fmla="*/ 14892468 w 22478203"/>
                <a:gd name="connsiteY56" fmla="*/ 1645503 h 15035524"/>
                <a:gd name="connsiteX57" fmla="*/ 15778605 w 22478203"/>
                <a:gd name="connsiteY57" fmla="*/ 1093983 h 15035524"/>
                <a:gd name="connsiteX58" fmla="*/ 16022739 w 22478203"/>
                <a:gd name="connsiteY58" fmla="*/ 1564133 h 15035524"/>
                <a:gd name="connsiteX59" fmla="*/ 16556232 w 22478203"/>
                <a:gd name="connsiteY59" fmla="*/ 2142785 h 15035524"/>
                <a:gd name="connsiteX60" fmla="*/ 17406193 w 22478203"/>
                <a:gd name="connsiteY60" fmla="*/ 1292897 h 15035524"/>
                <a:gd name="connsiteX61" fmla="*/ 18120524 w 22478203"/>
                <a:gd name="connsiteY61" fmla="*/ 714260 h 15035524"/>
                <a:gd name="connsiteX62" fmla="*/ 18744437 w 22478203"/>
                <a:gd name="connsiteY62" fmla="*/ -1 h 15035524"/>
                <a:gd name="connsiteX63" fmla="*/ 19982300 w 22478203"/>
                <a:gd name="connsiteY63" fmla="*/ 343465 h 15035524"/>
                <a:gd name="connsiteX64" fmla="*/ 19837609 w 22478203"/>
                <a:gd name="connsiteY64" fmla="*/ 1121173 h 15035524"/>
                <a:gd name="connsiteX65" fmla="*/ 21881359 w 22478203"/>
                <a:gd name="connsiteY65" fmla="*/ 1772279 h 15035524"/>
                <a:gd name="connsiteX66" fmla="*/ 21537712 w 22478203"/>
                <a:gd name="connsiteY66" fmla="*/ 2767023 h 15035524"/>
                <a:gd name="connsiteX67" fmla="*/ 22478203 w 22478203"/>
                <a:gd name="connsiteY67" fmla="*/ 2296774 h 15035524"/>
                <a:gd name="connsiteX68" fmla="*/ 13387695 w 22478203"/>
                <a:gd name="connsiteY68" fmla="*/ 5998279 h 15035524"/>
                <a:gd name="connsiteX69" fmla="*/ 15323320 w 22478203"/>
                <a:gd name="connsiteY69" fmla="*/ 5928489 h 15035524"/>
                <a:gd name="connsiteX70" fmla="*/ 16350939 w 22478203"/>
                <a:gd name="connsiteY70" fmla="*/ 6053348 h 15035524"/>
                <a:gd name="connsiteX71" fmla="*/ 16362364 w 22478203"/>
                <a:gd name="connsiteY71" fmla="*/ 6360628 h 15035524"/>
                <a:gd name="connsiteX72" fmla="*/ 16682563 w 22478203"/>
                <a:gd name="connsiteY72" fmla="*/ 6798531 h 15035524"/>
                <a:gd name="connsiteX0" fmla="*/ 16682563 w 22478203"/>
                <a:gd name="connsiteY0" fmla="*/ 6798531 h 15035524"/>
                <a:gd name="connsiteX1" fmla="*/ 16432262 w 22478203"/>
                <a:gd name="connsiteY1" fmla="*/ 7825917 h 15035524"/>
                <a:gd name="connsiteX2" fmla="*/ 16106317 w 22478203"/>
                <a:gd name="connsiteY2" fmla="*/ 8367221 h 15035524"/>
                <a:gd name="connsiteX3" fmla="*/ 16305649 w 22478203"/>
                <a:gd name="connsiteY3" fmla="*/ 8754550 h 15035524"/>
                <a:gd name="connsiteX4" fmla="*/ 16287189 w 22478203"/>
                <a:gd name="connsiteY4" fmla="*/ 9151157 h 15035524"/>
                <a:gd name="connsiteX5" fmla="*/ 16372801 w 22478203"/>
                <a:gd name="connsiteY5" fmla="*/ 9717422 h 15035524"/>
                <a:gd name="connsiteX6" fmla="*/ 16070155 w 22478203"/>
                <a:gd name="connsiteY6" fmla="*/ 9937808 h 15035524"/>
                <a:gd name="connsiteX7" fmla="*/ 15805690 w 22478203"/>
                <a:gd name="connsiteY7" fmla="*/ 10431999 h 15035524"/>
                <a:gd name="connsiteX8" fmla="*/ 15195097 w 22478203"/>
                <a:gd name="connsiteY8" fmla="*/ 10093742 h 15035524"/>
                <a:gd name="connsiteX9" fmla="*/ 15011380 w 22478203"/>
                <a:gd name="connsiteY9" fmla="*/ 11048592 h 15035524"/>
                <a:gd name="connsiteX10" fmla="*/ 14908430 w 22478203"/>
                <a:gd name="connsiteY10" fmla="*/ 11937487 h 15035524"/>
                <a:gd name="connsiteX11" fmla="*/ 14904684 w 22478203"/>
                <a:gd name="connsiteY11" fmla="*/ 12760926 h 15035524"/>
                <a:gd name="connsiteX12" fmla="*/ 14929927 w 22478203"/>
                <a:gd name="connsiteY12" fmla="*/ 14391846 h 15035524"/>
                <a:gd name="connsiteX13" fmla="*/ 12952786 w 22478203"/>
                <a:gd name="connsiteY13" fmla="*/ 14842599 h 15035524"/>
                <a:gd name="connsiteX14" fmla="*/ 11934663 w 22478203"/>
                <a:gd name="connsiteY14" fmla="*/ 14890849 h 15035524"/>
                <a:gd name="connsiteX15" fmla="*/ 8506848 w 22478203"/>
                <a:gd name="connsiteY15" fmla="*/ 15035524 h 15035524"/>
                <a:gd name="connsiteX16" fmla="*/ 7985095 w 22478203"/>
                <a:gd name="connsiteY16" fmla="*/ 14390442 h 15035524"/>
                <a:gd name="connsiteX17" fmla="*/ 7400308 w 22478203"/>
                <a:gd name="connsiteY17" fmla="*/ 14360297 h 15035524"/>
                <a:gd name="connsiteX18" fmla="*/ 6972273 w 22478203"/>
                <a:gd name="connsiteY18" fmla="*/ 14631594 h 15035524"/>
                <a:gd name="connsiteX19" fmla="*/ 5181729 w 22478203"/>
                <a:gd name="connsiteY19" fmla="*/ 14547195 h 15035524"/>
                <a:gd name="connsiteX20" fmla="*/ 4397998 w 22478203"/>
                <a:gd name="connsiteY20" fmla="*/ 13914178 h 15035524"/>
                <a:gd name="connsiteX21" fmla="*/ 2908896 w 22478203"/>
                <a:gd name="connsiteY21" fmla="*/ 13106324 h 15035524"/>
                <a:gd name="connsiteX22" fmla="*/ 1263043 w 22478203"/>
                <a:gd name="connsiteY22" fmla="*/ 12394931 h 15035524"/>
                <a:gd name="connsiteX23" fmla="*/ 485320 w 22478203"/>
                <a:gd name="connsiteY23" fmla="*/ 11942774 h 15035524"/>
                <a:gd name="connsiteX24" fmla="*/ 0 w 22478203"/>
                <a:gd name="connsiteY24" fmla="*/ 11649662 h 15035524"/>
                <a:gd name="connsiteX25" fmla="*/ 1003686 w 22478203"/>
                <a:gd name="connsiteY25" fmla="*/ 10903697 h 15035524"/>
                <a:gd name="connsiteX26" fmla="*/ 2902551 w 22478203"/>
                <a:gd name="connsiteY26" fmla="*/ 9719298 h 15035524"/>
                <a:gd name="connsiteX27" fmla="*/ 2558940 w 22478203"/>
                <a:gd name="connsiteY27" fmla="*/ 9185867 h 15035524"/>
                <a:gd name="connsiteX28" fmla="*/ 2402508 w 22478203"/>
                <a:gd name="connsiteY28" fmla="*/ 8498784 h 15035524"/>
                <a:gd name="connsiteX29" fmla="*/ 2730740 w 22478203"/>
                <a:gd name="connsiteY29" fmla="*/ 8471613 h 15035524"/>
                <a:gd name="connsiteX30" fmla="*/ 2947754 w 22478203"/>
                <a:gd name="connsiteY30" fmla="*/ 8001468 h 15035524"/>
                <a:gd name="connsiteX31" fmla="*/ 3499325 w 22478203"/>
                <a:gd name="connsiteY31" fmla="*/ 7558451 h 15035524"/>
                <a:gd name="connsiteX32" fmla="*/ 3680166 w 22478203"/>
                <a:gd name="connsiteY32" fmla="*/ 6681453 h 15035524"/>
                <a:gd name="connsiteX33" fmla="*/ 4186528 w 22478203"/>
                <a:gd name="connsiteY33" fmla="*/ 6690489 h 15035524"/>
                <a:gd name="connsiteX34" fmla="*/ 4837569 w 22478203"/>
                <a:gd name="connsiteY34" fmla="*/ 7160639 h 15035524"/>
                <a:gd name="connsiteX35" fmla="*/ 5352976 w 22478203"/>
                <a:gd name="connsiteY35" fmla="*/ 7079272 h 15035524"/>
                <a:gd name="connsiteX36" fmla="*/ 5741786 w 22478203"/>
                <a:gd name="connsiteY36" fmla="*/ 6708577 h 15035524"/>
                <a:gd name="connsiteX37" fmla="*/ 6157723 w 22478203"/>
                <a:gd name="connsiteY37" fmla="*/ 6545836 h 15035524"/>
                <a:gd name="connsiteX38" fmla="*/ 6745471 w 22478203"/>
                <a:gd name="connsiteY38" fmla="*/ 5976243 h 15035524"/>
                <a:gd name="connsiteX39" fmla="*/ 6890140 w 22478203"/>
                <a:gd name="connsiteY39" fmla="*/ 5126367 h 15035524"/>
                <a:gd name="connsiteX40" fmla="*/ 7568305 w 22478203"/>
                <a:gd name="connsiteY40" fmla="*/ 4556773 h 15035524"/>
                <a:gd name="connsiteX41" fmla="*/ 8137967 w 22478203"/>
                <a:gd name="connsiteY41" fmla="*/ 4113752 h 15035524"/>
                <a:gd name="connsiteX42" fmla="*/ 8463480 w 22478203"/>
                <a:gd name="connsiteY42" fmla="*/ 3309085 h 15035524"/>
                <a:gd name="connsiteX43" fmla="*/ 9024093 w 22478203"/>
                <a:gd name="connsiteY43" fmla="*/ 2956478 h 15035524"/>
                <a:gd name="connsiteX44" fmla="*/ 9675138 w 22478203"/>
                <a:gd name="connsiteY44" fmla="*/ 2603876 h 15035524"/>
                <a:gd name="connsiteX45" fmla="*/ 9558580 w 22478203"/>
                <a:gd name="connsiteY45" fmla="*/ 2055592 h 15035524"/>
                <a:gd name="connsiteX46" fmla="*/ 10353296 w 22478203"/>
                <a:gd name="connsiteY46" fmla="*/ 1383308 h 15035524"/>
                <a:gd name="connsiteX47" fmla="*/ 10832530 w 22478203"/>
                <a:gd name="connsiteY47" fmla="*/ 1310974 h 15035524"/>
                <a:gd name="connsiteX48" fmla="*/ 11058585 w 22478203"/>
                <a:gd name="connsiteY48" fmla="*/ 1763043 h 15035524"/>
                <a:gd name="connsiteX49" fmla="*/ 11411229 w 22478203"/>
                <a:gd name="connsiteY49" fmla="*/ 2142774 h 15035524"/>
                <a:gd name="connsiteX50" fmla="*/ 11998974 w 22478203"/>
                <a:gd name="connsiteY50" fmla="*/ 2224144 h 15035524"/>
                <a:gd name="connsiteX51" fmla="*/ 12315449 w 22478203"/>
                <a:gd name="connsiteY51" fmla="*/ 2884156 h 15035524"/>
                <a:gd name="connsiteX52" fmla="*/ 12785642 w 22478203"/>
                <a:gd name="connsiteY52" fmla="*/ 2703327 h 15035524"/>
                <a:gd name="connsiteX53" fmla="*/ 13671776 w 22478203"/>
                <a:gd name="connsiteY53" fmla="*/ 3155388 h 15035524"/>
                <a:gd name="connsiteX54" fmla="*/ 14123886 w 22478203"/>
                <a:gd name="connsiteY54" fmla="*/ 2857035 h 15035524"/>
                <a:gd name="connsiteX55" fmla="*/ 14259509 w 22478203"/>
                <a:gd name="connsiteY55" fmla="*/ 2287434 h 15035524"/>
                <a:gd name="connsiteX56" fmla="*/ 14892468 w 22478203"/>
                <a:gd name="connsiteY56" fmla="*/ 1645503 h 15035524"/>
                <a:gd name="connsiteX57" fmla="*/ 15778605 w 22478203"/>
                <a:gd name="connsiteY57" fmla="*/ 1093983 h 15035524"/>
                <a:gd name="connsiteX58" fmla="*/ 16022739 w 22478203"/>
                <a:gd name="connsiteY58" fmla="*/ 1564133 h 15035524"/>
                <a:gd name="connsiteX59" fmla="*/ 16556232 w 22478203"/>
                <a:gd name="connsiteY59" fmla="*/ 2142785 h 15035524"/>
                <a:gd name="connsiteX60" fmla="*/ 17406193 w 22478203"/>
                <a:gd name="connsiteY60" fmla="*/ 1292897 h 15035524"/>
                <a:gd name="connsiteX61" fmla="*/ 18120524 w 22478203"/>
                <a:gd name="connsiteY61" fmla="*/ 714260 h 15035524"/>
                <a:gd name="connsiteX62" fmla="*/ 18744437 w 22478203"/>
                <a:gd name="connsiteY62" fmla="*/ -1 h 15035524"/>
                <a:gd name="connsiteX63" fmla="*/ 19982300 w 22478203"/>
                <a:gd name="connsiteY63" fmla="*/ 343465 h 15035524"/>
                <a:gd name="connsiteX64" fmla="*/ 19837609 w 22478203"/>
                <a:gd name="connsiteY64" fmla="*/ 1121173 h 15035524"/>
                <a:gd name="connsiteX65" fmla="*/ 21881359 w 22478203"/>
                <a:gd name="connsiteY65" fmla="*/ 1772279 h 15035524"/>
                <a:gd name="connsiteX66" fmla="*/ 21537712 w 22478203"/>
                <a:gd name="connsiteY66" fmla="*/ 2767023 h 15035524"/>
                <a:gd name="connsiteX67" fmla="*/ 22478203 w 22478203"/>
                <a:gd name="connsiteY67" fmla="*/ 2296774 h 15035524"/>
                <a:gd name="connsiteX68" fmla="*/ 14370431 w 22478203"/>
                <a:gd name="connsiteY68" fmla="*/ 5830216 h 15035524"/>
                <a:gd name="connsiteX69" fmla="*/ 15323320 w 22478203"/>
                <a:gd name="connsiteY69" fmla="*/ 5928489 h 15035524"/>
                <a:gd name="connsiteX70" fmla="*/ 16350939 w 22478203"/>
                <a:gd name="connsiteY70" fmla="*/ 6053348 h 15035524"/>
                <a:gd name="connsiteX71" fmla="*/ 16362364 w 22478203"/>
                <a:gd name="connsiteY71" fmla="*/ 6360628 h 15035524"/>
                <a:gd name="connsiteX72" fmla="*/ 16682563 w 22478203"/>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21537712 w 21881361"/>
                <a:gd name="connsiteY66" fmla="*/ 2767023 h 15035524"/>
                <a:gd name="connsiteX67" fmla="*/ 15879834 w 21881361"/>
                <a:gd name="connsiteY67" fmla="*/ 3669271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21537712 w 21881361"/>
                <a:gd name="connsiteY66" fmla="*/ 2767023 h 15035524"/>
                <a:gd name="connsiteX67" fmla="*/ 12791242 w 21881361"/>
                <a:gd name="connsiteY67" fmla="*/ 4145446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21537712 w 21881361"/>
                <a:gd name="connsiteY66" fmla="*/ 2767023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9351795 w 21881361"/>
                <a:gd name="connsiteY66" fmla="*/ 5483998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8537524 w 21881361"/>
                <a:gd name="connsiteY66" fmla="*/ 7052559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8481365 w 21881361"/>
                <a:gd name="connsiteY66" fmla="*/ 9209329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13844296 w 21881361"/>
                <a:gd name="connsiteY66" fmla="*/ 6156232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9583129 w 19982300"/>
                <a:gd name="connsiteY65" fmla="*/ 5329554 h 15035524"/>
                <a:gd name="connsiteX66" fmla="*/ 13844296 w 19982300"/>
                <a:gd name="connsiteY66" fmla="*/ 6156232 h 15035524"/>
                <a:gd name="connsiteX67" fmla="*/ 14195152 w 19982300"/>
                <a:gd name="connsiteY67" fmla="*/ 5489927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0818567 w 19982300"/>
                <a:gd name="connsiteY65" fmla="*/ 7094187 h 15035524"/>
                <a:gd name="connsiteX66" fmla="*/ 13844296 w 19982300"/>
                <a:gd name="connsiteY66" fmla="*/ 6156232 h 15035524"/>
                <a:gd name="connsiteX67" fmla="*/ 14195152 w 19982300"/>
                <a:gd name="connsiteY67" fmla="*/ 5489927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0818567 w 19982300"/>
                <a:gd name="connsiteY65" fmla="*/ 709418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0902797 w 19982300"/>
                <a:gd name="connsiteY65" fmla="*/ 8634739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1717061 w 19982300"/>
                <a:gd name="connsiteY65" fmla="*/ 9643106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2531332 w 19982300"/>
                <a:gd name="connsiteY65" fmla="*/ 10399372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1239741 w 19982300"/>
                <a:gd name="connsiteY65" fmla="*/ 10035244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0537783 w 19982300"/>
                <a:gd name="connsiteY65" fmla="*/ 9419026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9358504 w 19982300"/>
                <a:gd name="connsiteY65" fmla="*/ 12556148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5820656 w 19982300"/>
                <a:gd name="connsiteY65" fmla="*/ 12276045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2868275 w 19982300"/>
                <a:gd name="connsiteY65" fmla="*/ 675806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9926023 w 19982300"/>
                <a:gd name="connsiteY64" fmla="*/ 5238645 h 15035524"/>
                <a:gd name="connsiteX65" fmla="*/ 12868275 w 19982300"/>
                <a:gd name="connsiteY65" fmla="*/ 675806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8353647 w 19982300"/>
                <a:gd name="connsiteY64" fmla="*/ 9412143 h 15035524"/>
                <a:gd name="connsiteX65" fmla="*/ 12868275 w 19982300"/>
                <a:gd name="connsiteY65" fmla="*/ 675806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1919572 w 19982300"/>
                <a:gd name="connsiteY64" fmla="*/ 7003278 h 15035524"/>
                <a:gd name="connsiteX65" fmla="*/ 12868275 w 19982300"/>
                <a:gd name="connsiteY65" fmla="*/ 675806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8744436"/>
                <a:gd name="connsiteY0" fmla="*/ 6798531 h 15035524"/>
                <a:gd name="connsiteX1" fmla="*/ 16432262 w 18744436"/>
                <a:gd name="connsiteY1" fmla="*/ 7825917 h 15035524"/>
                <a:gd name="connsiteX2" fmla="*/ 16106317 w 18744436"/>
                <a:gd name="connsiteY2" fmla="*/ 8367221 h 15035524"/>
                <a:gd name="connsiteX3" fmla="*/ 16305649 w 18744436"/>
                <a:gd name="connsiteY3" fmla="*/ 8754550 h 15035524"/>
                <a:gd name="connsiteX4" fmla="*/ 16287189 w 18744436"/>
                <a:gd name="connsiteY4" fmla="*/ 9151157 h 15035524"/>
                <a:gd name="connsiteX5" fmla="*/ 16372801 w 18744436"/>
                <a:gd name="connsiteY5" fmla="*/ 9717422 h 15035524"/>
                <a:gd name="connsiteX6" fmla="*/ 16070155 w 18744436"/>
                <a:gd name="connsiteY6" fmla="*/ 9937808 h 15035524"/>
                <a:gd name="connsiteX7" fmla="*/ 15805690 w 18744436"/>
                <a:gd name="connsiteY7" fmla="*/ 10431999 h 15035524"/>
                <a:gd name="connsiteX8" fmla="*/ 15195097 w 18744436"/>
                <a:gd name="connsiteY8" fmla="*/ 10093742 h 15035524"/>
                <a:gd name="connsiteX9" fmla="*/ 15011380 w 18744436"/>
                <a:gd name="connsiteY9" fmla="*/ 11048592 h 15035524"/>
                <a:gd name="connsiteX10" fmla="*/ 14908430 w 18744436"/>
                <a:gd name="connsiteY10" fmla="*/ 11937487 h 15035524"/>
                <a:gd name="connsiteX11" fmla="*/ 14904684 w 18744436"/>
                <a:gd name="connsiteY11" fmla="*/ 12760926 h 15035524"/>
                <a:gd name="connsiteX12" fmla="*/ 14929927 w 18744436"/>
                <a:gd name="connsiteY12" fmla="*/ 14391846 h 15035524"/>
                <a:gd name="connsiteX13" fmla="*/ 12952786 w 18744436"/>
                <a:gd name="connsiteY13" fmla="*/ 14842599 h 15035524"/>
                <a:gd name="connsiteX14" fmla="*/ 11934663 w 18744436"/>
                <a:gd name="connsiteY14" fmla="*/ 14890849 h 15035524"/>
                <a:gd name="connsiteX15" fmla="*/ 8506848 w 18744436"/>
                <a:gd name="connsiteY15" fmla="*/ 15035524 h 15035524"/>
                <a:gd name="connsiteX16" fmla="*/ 7985095 w 18744436"/>
                <a:gd name="connsiteY16" fmla="*/ 14390442 h 15035524"/>
                <a:gd name="connsiteX17" fmla="*/ 7400308 w 18744436"/>
                <a:gd name="connsiteY17" fmla="*/ 14360297 h 15035524"/>
                <a:gd name="connsiteX18" fmla="*/ 6972273 w 18744436"/>
                <a:gd name="connsiteY18" fmla="*/ 14631594 h 15035524"/>
                <a:gd name="connsiteX19" fmla="*/ 5181729 w 18744436"/>
                <a:gd name="connsiteY19" fmla="*/ 14547195 h 15035524"/>
                <a:gd name="connsiteX20" fmla="*/ 4397998 w 18744436"/>
                <a:gd name="connsiteY20" fmla="*/ 13914178 h 15035524"/>
                <a:gd name="connsiteX21" fmla="*/ 2908896 w 18744436"/>
                <a:gd name="connsiteY21" fmla="*/ 13106324 h 15035524"/>
                <a:gd name="connsiteX22" fmla="*/ 1263043 w 18744436"/>
                <a:gd name="connsiteY22" fmla="*/ 12394931 h 15035524"/>
                <a:gd name="connsiteX23" fmla="*/ 485320 w 18744436"/>
                <a:gd name="connsiteY23" fmla="*/ 11942774 h 15035524"/>
                <a:gd name="connsiteX24" fmla="*/ 0 w 18744436"/>
                <a:gd name="connsiteY24" fmla="*/ 11649662 h 15035524"/>
                <a:gd name="connsiteX25" fmla="*/ 1003686 w 18744436"/>
                <a:gd name="connsiteY25" fmla="*/ 10903697 h 15035524"/>
                <a:gd name="connsiteX26" fmla="*/ 2902551 w 18744436"/>
                <a:gd name="connsiteY26" fmla="*/ 9719298 h 15035524"/>
                <a:gd name="connsiteX27" fmla="*/ 2558940 w 18744436"/>
                <a:gd name="connsiteY27" fmla="*/ 9185867 h 15035524"/>
                <a:gd name="connsiteX28" fmla="*/ 2402508 w 18744436"/>
                <a:gd name="connsiteY28" fmla="*/ 8498784 h 15035524"/>
                <a:gd name="connsiteX29" fmla="*/ 2730740 w 18744436"/>
                <a:gd name="connsiteY29" fmla="*/ 8471613 h 15035524"/>
                <a:gd name="connsiteX30" fmla="*/ 2947754 w 18744436"/>
                <a:gd name="connsiteY30" fmla="*/ 8001468 h 15035524"/>
                <a:gd name="connsiteX31" fmla="*/ 3499325 w 18744436"/>
                <a:gd name="connsiteY31" fmla="*/ 7558451 h 15035524"/>
                <a:gd name="connsiteX32" fmla="*/ 3680166 w 18744436"/>
                <a:gd name="connsiteY32" fmla="*/ 6681453 h 15035524"/>
                <a:gd name="connsiteX33" fmla="*/ 4186528 w 18744436"/>
                <a:gd name="connsiteY33" fmla="*/ 6690489 h 15035524"/>
                <a:gd name="connsiteX34" fmla="*/ 4837569 w 18744436"/>
                <a:gd name="connsiteY34" fmla="*/ 7160639 h 15035524"/>
                <a:gd name="connsiteX35" fmla="*/ 5352976 w 18744436"/>
                <a:gd name="connsiteY35" fmla="*/ 7079272 h 15035524"/>
                <a:gd name="connsiteX36" fmla="*/ 5741786 w 18744436"/>
                <a:gd name="connsiteY36" fmla="*/ 6708577 h 15035524"/>
                <a:gd name="connsiteX37" fmla="*/ 6157723 w 18744436"/>
                <a:gd name="connsiteY37" fmla="*/ 6545836 h 15035524"/>
                <a:gd name="connsiteX38" fmla="*/ 6745471 w 18744436"/>
                <a:gd name="connsiteY38" fmla="*/ 5976243 h 15035524"/>
                <a:gd name="connsiteX39" fmla="*/ 6890140 w 18744436"/>
                <a:gd name="connsiteY39" fmla="*/ 5126367 h 15035524"/>
                <a:gd name="connsiteX40" fmla="*/ 7568305 w 18744436"/>
                <a:gd name="connsiteY40" fmla="*/ 4556773 h 15035524"/>
                <a:gd name="connsiteX41" fmla="*/ 8137967 w 18744436"/>
                <a:gd name="connsiteY41" fmla="*/ 4113752 h 15035524"/>
                <a:gd name="connsiteX42" fmla="*/ 8463480 w 18744436"/>
                <a:gd name="connsiteY42" fmla="*/ 3309085 h 15035524"/>
                <a:gd name="connsiteX43" fmla="*/ 9024093 w 18744436"/>
                <a:gd name="connsiteY43" fmla="*/ 2956478 h 15035524"/>
                <a:gd name="connsiteX44" fmla="*/ 9675138 w 18744436"/>
                <a:gd name="connsiteY44" fmla="*/ 2603876 h 15035524"/>
                <a:gd name="connsiteX45" fmla="*/ 9558580 w 18744436"/>
                <a:gd name="connsiteY45" fmla="*/ 2055592 h 15035524"/>
                <a:gd name="connsiteX46" fmla="*/ 10353296 w 18744436"/>
                <a:gd name="connsiteY46" fmla="*/ 1383308 h 15035524"/>
                <a:gd name="connsiteX47" fmla="*/ 10832530 w 18744436"/>
                <a:gd name="connsiteY47" fmla="*/ 1310974 h 15035524"/>
                <a:gd name="connsiteX48" fmla="*/ 11058585 w 18744436"/>
                <a:gd name="connsiteY48" fmla="*/ 1763043 h 15035524"/>
                <a:gd name="connsiteX49" fmla="*/ 11411229 w 18744436"/>
                <a:gd name="connsiteY49" fmla="*/ 2142774 h 15035524"/>
                <a:gd name="connsiteX50" fmla="*/ 11998974 w 18744436"/>
                <a:gd name="connsiteY50" fmla="*/ 2224144 h 15035524"/>
                <a:gd name="connsiteX51" fmla="*/ 12315449 w 18744436"/>
                <a:gd name="connsiteY51" fmla="*/ 2884156 h 15035524"/>
                <a:gd name="connsiteX52" fmla="*/ 12785642 w 18744436"/>
                <a:gd name="connsiteY52" fmla="*/ 2703327 h 15035524"/>
                <a:gd name="connsiteX53" fmla="*/ 13671776 w 18744436"/>
                <a:gd name="connsiteY53" fmla="*/ 3155388 h 15035524"/>
                <a:gd name="connsiteX54" fmla="*/ 14123886 w 18744436"/>
                <a:gd name="connsiteY54" fmla="*/ 2857035 h 15035524"/>
                <a:gd name="connsiteX55" fmla="*/ 14259509 w 18744436"/>
                <a:gd name="connsiteY55" fmla="*/ 2287434 h 15035524"/>
                <a:gd name="connsiteX56" fmla="*/ 14892468 w 18744436"/>
                <a:gd name="connsiteY56" fmla="*/ 1645503 h 15035524"/>
                <a:gd name="connsiteX57" fmla="*/ 15778605 w 18744436"/>
                <a:gd name="connsiteY57" fmla="*/ 1093983 h 15035524"/>
                <a:gd name="connsiteX58" fmla="*/ 16022739 w 18744436"/>
                <a:gd name="connsiteY58" fmla="*/ 1564133 h 15035524"/>
                <a:gd name="connsiteX59" fmla="*/ 16556232 w 18744436"/>
                <a:gd name="connsiteY59" fmla="*/ 2142785 h 15035524"/>
                <a:gd name="connsiteX60" fmla="*/ 17406193 w 18744436"/>
                <a:gd name="connsiteY60" fmla="*/ 1292897 h 15035524"/>
                <a:gd name="connsiteX61" fmla="*/ 18120524 w 18744436"/>
                <a:gd name="connsiteY61" fmla="*/ 714260 h 15035524"/>
                <a:gd name="connsiteX62" fmla="*/ 18744437 w 18744436"/>
                <a:gd name="connsiteY62" fmla="*/ -1 h 15035524"/>
                <a:gd name="connsiteX63" fmla="*/ 3500421 w 18744436"/>
                <a:gd name="connsiteY63" fmla="*/ 4096811 h 15035524"/>
                <a:gd name="connsiteX64" fmla="*/ 11919572 w 18744436"/>
                <a:gd name="connsiteY64" fmla="*/ 7003278 h 15035524"/>
                <a:gd name="connsiteX65" fmla="*/ 12868275 w 18744436"/>
                <a:gd name="connsiteY65" fmla="*/ 6758067 h 15035524"/>
                <a:gd name="connsiteX66" fmla="*/ 13844296 w 18744436"/>
                <a:gd name="connsiteY66" fmla="*/ 6156232 h 15035524"/>
                <a:gd name="connsiteX67" fmla="*/ 13886291 w 18744436"/>
                <a:gd name="connsiteY67" fmla="*/ 5321864 h 15035524"/>
                <a:gd name="connsiteX68" fmla="*/ 14370431 w 18744436"/>
                <a:gd name="connsiteY68" fmla="*/ 5830216 h 15035524"/>
                <a:gd name="connsiteX69" fmla="*/ 15323320 w 18744436"/>
                <a:gd name="connsiteY69" fmla="*/ 5928489 h 15035524"/>
                <a:gd name="connsiteX70" fmla="*/ 16350939 w 18744436"/>
                <a:gd name="connsiteY70" fmla="*/ 6053348 h 15035524"/>
                <a:gd name="connsiteX71" fmla="*/ 16362364 w 18744436"/>
                <a:gd name="connsiteY71" fmla="*/ 6360628 h 15035524"/>
                <a:gd name="connsiteX72" fmla="*/ 16682563 w 18744436"/>
                <a:gd name="connsiteY72" fmla="*/ 6798531 h 15035524"/>
                <a:gd name="connsiteX0" fmla="*/ 16682563 w 18744436"/>
                <a:gd name="connsiteY0" fmla="*/ 6798531 h 15035524"/>
                <a:gd name="connsiteX1" fmla="*/ 16432262 w 18744436"/>
                <a:gd name="connsiteY1" fmla="*/ 7825917 h 15035524"/>
                <a:gd name="connsiteX2" fmla="*/ 16106317 w 18744436"/>
                <a:gd name="connsiteY2" fmla="*/ 8367221 h 15035524"/>
                <a:gd name="connsiteX3" fmla="*/ 16305649 w 18744436"/>
                <a:gd name="connsiteY3" fmla="*/ 8754550 h 15035524"/>
                <a:gd name="connsiteX4" fmla="*/ 16287189 w 18744436"/>
                <a:gd name="connsiteY4" fmla="*/ 9151157 h 15035524"/>
                <a:gd name="connsiteX5" fmla="*/ 16372801 w 18744436"/>
                <a:gd name="connsiteY5" fmla="*/ 9717422 h 15035524"/>
                <a:gd name="connsiteX6" fmla="*/ 16070155 w 18744436"/>
                <a:gd name="connsiteY6" fmla="*/ 9937808 h 15035524"/>
                <a:gd name="connsiteX7" fmla="*/ 15805690 w 18744436"/>
                <a:gd name="connsiteY7" fmla="*/ 10431999 h 15035524"/>
                <a:gd name="connsiteX8" fmla="*/ 15195097 w 18744436"/>
                <a:gd name="connsiteY8" fmla="*/ 10093742 h 15035524"/>
                <a:gd name="connsiteX9" fmla="*/ 15011380 w 18744436"/>
                <a:gd name="connsiteY9" fmla="*/ 11048592 h 15035524"/>
                <a:gd name="connsiteX10" fmla="*/ 14908430 w 18744436"/>
                <a:gd name="connsiteY10" fmla="*/ 11937487 h 15035524"/>
                <a:gd name="connsiteX11" fmla="*/ 14904684 w 18744436"/>
                <a:gd name="connsiteY11" fmla="*/ 12760926 h 15035524"/>
                <a:gd name="connsiteX12" fmla="*/ 14929927 w 18744436"/>
                <a:gd name="connsiteY12" fmla="*/ 14391846 h 15035524"/>
                <a:gd name="connsiteX13" fmla="*/ 12952786 w 18744436"/>
                <a:gd name="connsiteY13" fmla="*/ 14842599 h 15035524"/>
                <a:gd name="connsiteX14" fmla="*/ 11934663 w 18744436"/>
                <a:gd name="connsiteY14" fmla="*/ 14890849 h 15035524"/>
                <a:gd name="connsiteX15" fmla="*/ 8506848 w 18744436"/>
                <a:gd name="connsiteY15" fmla="*/ 15035524 h 15035524"/>
                <a:gd name="connsiteX16" fmla="*/ 7985095 w 18744436"/>
                <a:gd name="connsiteY16" fmla="*/ 14390442 h 15035524"/>
                <a:gd name="connsiteX17" fmla="*/ 7400308 w 18744436"/>
                <a:gd name="connsiteY17" fmla="*/ 14360297 h 15035524"/>
                <a:gd name="connsiteX18" fmla="*/ 6972273 w 18744436"/>
                <a:gd name="connsiteY18" fmla="*/ 14631594 h 15035524"/>
                <a:gd name="connsiteX19" fmla="*/ 5181729 w 18744436"/>
                <a:gd name="connsiteY19" fmla="*/ 14547195 h 15035524"/>
                <a:gd name="connsiteX20" fmla="*/ 4397998 w 18744436"/>
                <a:gd name="connsiteY20" fmla="*/ 13914178 h 15035524"/>
                <a:gd name="connsiteX21" fmla="*/ 2908896 w 18744436"/>
                <a:gd name="connsiteY21" fmla="*/ 13106324 h 15035524"/>
                <a:gd name="connsiteX22" fmla="*/ 1263043 w 18744436"/>
                <a:gd name="connsiteY22" fmla="*/ 12394931 h 15035524"/>
                <a:gd name="connsiteX23" fmla="*/ 485320 w 18744436"/>
                <a:gd name="connsiteY23" fmla="*/ 11942774 h 15035524"/>
                <a:gd name="connsiteX24" fmla="*/ 0 w 18744436"/>
                <a:gd name="connsiteY24" fmla="*/ 11649662 h 15035524"/>
                <a:gd name="connsiteX25" fmla="*/ 1003686 w 18744436"/>
                <a:gd name="connsiteY25" fmla="*/ 10903697 h 15035524"/>
                <a:gd name="connsiteX26" fmla="*/ 2902551 w 18744436"/>
                <a:gd name="connsiteY26" fmla="*/ 9719298 h 15035524"/>
                <a:gd name="connsiteX27" fmla="*/ 2558940 w 18744436"/>
                <a:gd name="connsiteY27" fmla="*/ 9185867 h 15035524"/>
                <a:gd name="connsiteX28" fmla="*/ 2402508 w 18744436"/>
                <a:gd name="connsiteY28" fmla="*/ 8498784 h 15035524"/>
                <a:gd name="connsiteX29" fmla="*/ 2730740 w 18744436"/>
                <a:gd name="connsiteY29" fmla="*/ 8471613 h 15035524"/>
                <a:gd name="connsiteX30" fmla="*/ 2947754 w 18744436"/>
                <a:gd name="connsiteY30" fmla="*/ 8001468 h 15035524"/>
                <a:gd name="connsiteX31" fmla="*/ 3499325 w 18744436"/>
                <a:gd name="connsiteY31" fmla="*/ 7558451 h 15035524"/>
                <a:gd name="connsiteX32" fmla="*/ 3680166 w 18744436"/>
                <a:gd name="connsiteY32" fmla="*/ 6681453 h 15035524"/>
                <a:gd name="connsiteX33" fmla="*/ 4186528 w 18744436"/>
                <a:gd name="connsiteY33" fmla="*/ 6690489 h 15035524"/>
                <a:gd name="connsiteX34" fmla="*/ 4837569 w 18744436"/>
                <a:gd name="connsiteY34" fmla="*/ 7160639 h 15035524"/>
                <a:gd name="connsiteX35" fmla="*/ 5352976 w 18744436"/>
                <a:gd name="connsiteY35" fmla="*/ 7079272 h 15035524"/>
                <a:gd name="connsiteX36" fmla="*/ 5741786 w 18744436"/>
                <a:gd name="connsiteY36" fmla="*/ 6708577 h 15035524"/>
                <a:gd name="connsiteX37" fmla="*/ 6157723 w 18744436"/>
                <a:gd name="connsiteY37" fmla="*/ 6545836 h 15035524"/>
                <a:gd name="connsiteX38" fmla="*/ 6745471 w 18744436"/>
                <a:gd name="connsiteY38" fmla="*/ 5976243 h 15035524"/>
                <a:gd name="connsiteX39" fmla="*/ 6890140 w 18744436"/>
                <a:gd name="connsiteY39" fmla="*/ 5126367 h 15035524"/>
                <a:gd name="connsiteX40" fmla="*/ 7568305 w 18744436"/>
                <a:gd name="connsiteY40" fmla="*/ 4556773 h 15035524"/>
                <a:gd name="connsiteX41" fmla="*/ 8137967 w 18744436"/>
                <a:gd name="connsiteY41" fmla="*/ 4113752 h 15035524"/>
                <a:gd name="connsiteX42" fmla="*/ 8463480 w 18744436"/>
                <a:gd name="connsiteY42" fmla="*/ 3309085 h 15035524"/>
                <a:gd name="connsiteX43" fmla="*/ 9024093 w 18744436"/>
                <a:gd name="connsiteY43" fmla="*/ 2956478 h 15035524"/>
                <a:gd name="connsiteX44" fmla="*/ 9675138 w 18744436"/>
                <a:gd name="connsiteY44" fmla="*/ 2603876 h 15035524"/>
                <a:gd name="connsiteX45" fmla="*/ 9558580 w 18744436"/>
                <a:gd name="connsiteY45" fmla="*/ 2055592 h 15035524"/>
                <a:gd name="connsiteX46" fmla="*/ 10353296 w 18744436"/>
                <a:gd name="connsiteY46" fmla="*/ 1383308 h 15035524"/>
                <a:gd name="connsiteX47" fmla="*/ 10832530 w 18744436"/>
                <a:gd name="connsiteY47" fmla="*/ 1310974 h 15035524"/>
                <a:gd name="connsiteX48" fmla="*/ 11058585 w 18744436"/>
                <a:gd name="connsiteY48" fmla="*/ 1763043 h 15035524"/>
                <a:gd name="connsiteX49" fmla="*/ 11411229 w 18744436"/>
                <a:gd name="connsiteY49" fmla="*/ 2142774 h 15035524"/>
                <a:gd name="connsiteX50" fmla="*/ 11998974 w 18744436"/>
                <a:gd name="connsiteY50" fmla="*/ 2224144 h 15035524"/>
                <a:gd name="connsiteX51" fmla="*/ 12315449 w 18744436"/>
                <a:gd name="connsiteY51" fmla="*/ 2884156 h 15035524"/>
                <a:gd name="connsiteX52" fmla="*/ 12785642 w 18744436"/>
                <a:gd name="connsiteY52" fmla="*/ 2703327 h 15035524"/>
                <a:gd name="connsiteX53" fmla="*/ 13671776 w 18744436"/>
                <a:gd name="connsiteY53" fmla="*/ 3155388 h 15035524"/>
                <a:gd name="connsiteX54" fmla="*/ 14123886 w 18744436"/>
                <a:gd name="connsiteY54" fmla="*/ 2857035 h 15035524"/>
                <a:gd name="connsiteX55" fmla="*/ 14259509 w 18744436"/>
                <a:gd name="connsiteY55" fmla="*/ 2287434 h 15035524"/>
                <a:gd name="connsiteX56" fmla="*/ 14892468 w 18744436"/>
                <a:gd name="connsiteY56" fmla="*/ 1645503 h 15035524"/>
                <a:gd name="connsiteX57" fmla="*/ 15778605 w 18744436"/>
                <a:gd name="connsiteY57" fmla="*/ 1093983 h 15035524"/>
                <a:gd name="connsiteX58" fmla="*/ 16022739 w 18744436"/>
                <a:gd name="connsiteY58" fmla="*/ 1564133 h 15035524"/>
                <a:gd name="connsiteX59" fmla="*/ 16556232 w 18744436"/>
                <a:gd name="connsiteY59" fmla="*/ 2142785 h 15035524"/>
                <a:gd name="connsiteX60" fmla="*/ 17406193 w 18744436"/>
                <a:gd name="connsiteY60" fmla="*/ 1292897 h 15035524"/>
                <a:gd name="connsiteX61" fmla="*/ 18120524 w 18744436"/>
                <a:gd name="connsiteY61" fmla="*/ 714260 h 15035524"/>
                <a:gd name="connsiteX62" fmla="*/ 18744437 w 18744436"/>
                <a:gd name="connsiteY62" fmla="*/ -1 h 15035524"/>
                <a:gd name="connsiteX63" fmla="*/ 496059 w 18744436"/>
                <a:gd name="connsiteY63" fmla="*/ 6029507 h 15035524"/>
                <a:gd name="connsiteX64" fmla="*/ 11919572 w 18744436"/>
                <a:gd name="connsiteY64" fmla="*/ 7003278 h 15035524"/>
                <a:gd name="connsiteX65" fmla="*/ 12868275 w 18744436"/>
                <a:gd name="connsiteY65" fmla="*/ 6758067 h 15035524"/>
                <a:gd name="connsiteX66" fmla="*/ 13844296 w 18744436"/>
                <a:gd name="connsiteY66" fmla="*/ 6156232 h 15035524"/>
                <a:gd name="connsiteX67" fmla="*/ 13886291 w 18744436"/>
                <a:gd name="connsiteY67" fmla="*/ 5321864 h 15035524"/>
                <a:gd name="connsiteX68" fmla="*/ 14370431 w 18744436"/>
                <a:gd name="connsiteY68" fmla="*/ 5830216 h 15035524"/>
                <a:gd name="connsiteX69" fmla="*/ 15323320 w 18744436"/>
                <a:gd name="connsiteY69" fmla="*/ 5928489 h 15035524"/>
                <a:gd name="connsiteX70" fmla="*/ 16350939 w 18744436"/>
                <a:gd name="connsiteY70" fmla="*/ 6053348 h 15035524"/>
                <a:gd name="connsiteX71" fmla="*/ 16362364 w 18744436"/>
                <a:gd name="connsiteY71" fmla="*/ 6360628 h 15035524"/>
                <a:gd name="connsiteX72" fmla="*/ 16682563 w 18744436"/>
                <a:gd name="connsiteY72" fmla="*/ 6798531 h 15035524"/>
                <a:gd name="connsiteX0" fmla="*/ 16682563 w 18744436"/>
                <a:gd name="connsiteY0" fmla="*/ 6798531 h 15035524"/>
                <a:gd name="connsiteX1" fmla="*/ 16432262 w 18744436"/>
                <a:gd name="connsiteY1" fmla="*/ 7825917 h 15035524"/>
                <a:gd name="connsiteX2" fmla="*/ 16106317 w 18744436"/>
                <a:gd name="connsiteY2" fmla="*/ 8367221 h 15035524"/>
                <a:gd name="connsiteX3" fmla="*/ 16305649 w 18744436"/>
                <a:gd name="connsiteY3" fmla="*/ 8754550 h 15035524"/>
                <a:gd name="connsiteX4" fmla="*/ 16287189 w 18744436"/>
                <a:gd name="connsiteY4" fmla="*/ 9151157 h 15035524"/>
                <a:gd name="connsiteX5" fmla="*/ 16372801 w 18744436"/>
                <a:gd name="connsiteY5" fmla="*/ 9717422 h 15035524"/>
                <a:gd name="connsiteX6" fmla="*/ 16070155 w 18744436"/>
                <a:gd name="connsiteY6" fmla="*/ 9937808 h 15035524"/>
                <a:gd name="connsiteX7" fmla="*/ 15805690 w 18744436"/>
                <a:gd name="connsiteY7" fmla="*/ 10431999 h 15035524"/>
                <a:gd name="connsiteX8" fmla="*/ 15195097 w 18744436"/>
                <a:gd name="connsiteY8" fmla="*/ 10093742 h 15035524"/>
                <a:gd name="connsiteX9" fmla="*/ 15011380 w 18744436"/>
                <a:gd name="connsiteY9" fmla="*/ 11048592 h 15035524"/>
                <a:gd name="connsiteX10" fmla="*/ 14908430 w 18744436"/>
                <a:gd name="connsiteY10" fmla="*/ 11937487 h 15035524"/>
                <a:gd name="connsiteX11" fmla="*/ 14904684 w 18744436"/>
                <a:gd name="connsiteY11" fmla="*/ 12760926 h 15035524"/>
                <a:gd name="connsiteX12" fmla="*/ 14929927 w 18744436"/>
                <a:gd name="connsiteY12" fmla="*/ 14391846 h 15035524"/>
                <a:gd name="connsiteX13" fmla="*/ 12952786 w 18744436"/>
                <a:gd name="connsiteY13" fmla="*/ 14842599 h 15035524"/>
                <a:gd name="connsiteX14" fmla="*/ 11934663 w 18744436"/>
                <a:gd name="connsiteY14" fmla="*/ 14890849 h 15035524"/>
                <a:gd name="connsiteX15" fmla="*/ 8506848 w 18744436"/>
                <a:gd name="connsiteY15" fmla="*/ 15035524 h 15035524"/>
                <a:gd name="connsiteX16" fmla="*/ 7985095 w 18744436"/>
                <a:gd name="connsiteY16" fmla="*/ 14390442 h 15035524"/>
                <a:gd name="connsiteX17" fmla="*/ 7400308 w 18744436"/>
                <a:gd name="connsiteY17" fmla="*/ 14360297 h 15035524"/>
                <a:gd name="connsiteX18" fmla="*/ 6972273 w 18744436"/>
                <a:gd name="connsiteY18" fmla="*/ 14631594 h 15035524"/>
                <a:gd name="connsiteX19" fmla="*/ 5181729 w 18744436"/>
                <a:gd name="connsiteY19" fmla="*/ 14547195 h 15035524"/>
                <a:gd name="connsiteX20" fmla="*/ 4397998 w 18744436"/>
                <a:gd name="connsiteY20" fmla="*/ 13914178 h 15035524"/>
                <a:gd name="connsiteX21" fmla="*/ 2908896 w 18744436"/>
                <a:gd name="connsiteY21" fmla="*/ 13106324 h 15035524"/>
                <a:gd name="connsiteX22" fmla="*/ 1263043 w 18744436"/>
                <a:gd name="connsiteY22" fmla="*/ 12394931 h 15035524"/>
                <a:gd name="connsiteX23" fmla="*/ 485320 w 18744436"/>
                <a:gd name="connsiteY23" fmla="*/ 11942774 h 15035524"/>
                <a:gd name="connsiteX24" fmla="*/ 0 w 18744436"/>
                <a:gd name="connsiteY24" fmla="*/ 11649662 h 15035524"/>
                <a:gd name="connsiteX25" fmla="*/ 1003686 w 18744436"/>
                <a:gd name="connsiteY25" fmla="*/ 10903697 h 15035524"/>
                <a:gd name="connsiteX26" fmla="*/ 2902551 w 18744436"/>
                <a:gd name="connsiteY26" fmla="*/ 9719298 h 15035524"/>
                <a:gd name="connsiteX27" fmla="*/ 2558940 w 18744436"/>
                <a:gd name="connsiteY27" fmla="*/ 9185867 h 15035524"/>
                <a:gd name="connsiteX28" fmla="*/ 2402508 w 18744436"/>
                <a:gd name="connsiteY28" fmla="*/ 8498784 h 15035524"/>
                <a:gd name="connsiteX29" fmla="*/ 2730740 w 18744436"/>
                <a:gd name="connsiteY29" fmla="*/ 8471613 h 15035524"/>
                <a:gd name="connsiteX30" fmla="*/ 2947754 w 18744436"/>
                <a:gd name="connsiteY30" fmla="*/ 8001468 h 15035524"/>
                <a:gd name="connsiteX31" fmla="*/ 3499325 w 18744436"/>
                <a:gd name="connsiteY31" fmla="*/ 7558451 h 15035524"/>
                <a:gd name="connsiteX32" fmla="*/ 3680166 w 18744436"/>
                <a:gd name="connsiteY32" fmla="*/ 6681453 h 15035524"/>
                <a:gd name="connsiteX33" fmla="*/ 4186528 w 18744436"/>
                <a:gd name="connsiteY33" fmla="*/ 6690489 h 15035524"/>
                <a:gd name="connsiteX34" fmla="*/ 4837569 w 18744436"/>
                <a:gd name="connsiteY34" fmla="*/ 7160639 h 15035524"/>
                <a:gd name="connsiteX35" fmla="*/ 5352976 w 18744436"/>
                <a:gd name="connsiteY35" fmla="*/ 7079272 h 15035524"/>
                <a:gd name="connsiteX36" fmla="*/ 5741786 w 18744436"/>
                <a:gd name="connsiteY36" fmla="*/ 6708577 h 15035524"/>
                <a:gd name="connsiteX37" fmla="*/ 6157723 w 18744436"/>
                <a:gd name="connsiteY37" fmla="*/ 6545836 h 15035524"/>
                <a:gd name="connsiteX38" fmla="*/ 6745471 w 18744436"/>
                <a:gd name="connsiteY38" fmla="*/ 5976243 h 15035524"/>
                <a:gd name="connsiteX39" fmla="*/ 6890140 w 18744436"/>
                <a:gd name="connsiteY39" fmla="*/ 5126367 h 15035524"/>
                <a:gd name="connsiteX40" fmla="*/ 7568305 w 18744436"/>
                <a:gd name="connsiteY40" fmla="*/ 4556773 h 15035524"/>
                <a:gd name="connsiteX41" fmla="*/ 8137967 w 18744436"/>
                <a:gd name="connsiteY41" fmla="*/ 4113752 h 15035524"/>
                <a:gd name="connsiteX42" fmla="*/ 8463480 w 18744436"/>
                <a:gd name="connsiteY42" fmla="*/ 3309085 h 15035524"/>
                <a:gd name="connsiteX43" fmla="*/ 9024093 w 18744436"/>
                <a:gd name="connsiteY43" fmla="*/ 2956478 h 15035524"/>
                <a:gd name="connsiteX44" fmla="*/ 9675138 w 18744436"/>
                <a:gd name="connsiteY44" fmla="*/ 2603876 h 15035524"/>
                <a:gd name="connsiteX45" fmla="*/ 9558580 w 18744436"/>
                <a:gd name="connsiteY45" fmla="*/ 2055592 h 15035524"/>
                <a:gd name="connsiteX46" fmla="*/ 10353296 w 18744436"/>
                <a:gd name="connsiteY46" fmla="*/ 1383308 h 15035524"/>
                <a:gd name="connsiteX47" fmla="*/ 10832530 w 18744436"/>
                <a:gd name="connsiteY47" fmla="*/ 1310974 h 15035524"/>
                <a:gd name="connsiteX48" fmla="*/ 11058585 w 18744436"/>
                <a:gd name="connsiteY48" fmla="*/ 1763043 h 15035524"/>
                <a:gd name="connsiteX49" fmla="*/ 11411229 w 18744436"/>
                <a:gd name="connsiteY49" fmla="*/ 2142774 h 15035524"/>
                <a:gd name="connsiteX50" fmla="*/ 11998974 w 18744436"/>
                <a:gd name="connsiteY50" fmla="*/ 2224144 h 15035524"/>
                <a:gd name="connsiteX51" fmla="*/ 12315449 w 18744436"/>
                <a:gd name="connsiteY51" fmla="*/ 2884156 h 15035524"/>
                <a:gd name="connsiteX52" fmla="*/ 12785642 w 18744436"/>
                <a:gd name="connsiteY52" fmla="*/ 2703327 h 15035524"/>
                <a:gd name="connsiteX53" fmla="*/ 13671776 w 18744436"/>
                <a:gd name="connsiteY53" fmla="*/ 3155388 h 15035524"/>
                <a:gd name="connsiteX54" fmla="*/ 14123886 w 18744436"/>
                <a:gd name="connsiteY54" fmla="*/ 2857035 h 15035524"/>
                <a:gd name="connsiteX55" fmla="*/ 14259509 w 18744436"/>
                <a:gd name="connsiteY55" fmla="*/ 2287434 h 15035524"/>
                <a:gd name="connsiteX56" fmla="*/ 14892468 w 18744436"/>
                <a:gd name="connsiteY56" fmla="*/ 1645503 h 15035524"/>
                <a:gd name="connsiteX57" fmla="*/ 15778605 w 18744436"/>
                <a:gd name="connsiteY57" fmla="*/ 1093983 h 15035524"/>
                <a:gd name="connsiteX58" fmla="*/ 16022739 w 18744436"/>
                <a:gd name="connsiteY58" fmla="*/ 1564133 h 15035524"/>
                <a:gd name="connsiteX59" fmla="*/ 16556232 w 18744436"/>
                <a:gd name="connsiteY59" fmla="*/ 2142785 h 15035524"/>
                <a:gd name="connsiteX60" fmla="*/ 17406193 w 18744436"/>
                <a:gd name="connsiteY60" fmla="*/ 1292897 h 15035524"/>
                <a:gd name="connsiteX61" fmla="*/ 18120524 w 18744436"/>
                <a:gd name="connsiteY61" fmla="*/ 714260 h 15035524"/>
                <a:gd name="connsiteX62" fmla="*/ 18744437 w 18744436"/>
                <a:gd name="connsiteY62" fmla="*/ -1 h 15035524"/>
                <a:gd name="connsiteX63" fmla="*/ 271434 w 18744436"/>
                <a:gd name="connsiteY63" fmla="*/ 7065877 h 15035524"/>
                <a:gd name="connsiteX64" fmla="*/ 11919572 w 18744436"/>
                <a:gd name="connsiteY64" fmla="*/ 7003278 h 15035524"/>
                <a:gd name="connsiteX65" fmla="*/ 12868275 w 18744436"/>
                <a:gd name="connsiteY65" fmla="*/ 6758067 h 15035524"/>
                <a:gd name="connsiteX66" fmla="*/ 13844296 w 18744436"/>
                <a:gd name="connsiteY66" fmla="*/ 6156232 h 15035524"/>
                <a:gd name="connsiteX67" fmla="*/ 13886291 w 18744436"/>
                <a:gd name="connsiteY67" fmla="*/ 5321864 h 15035524"/>
                <a:gd name="connsiteX68" fmla="*/ 14370431 w 18744436"/>
                <a:gd name="connsiteY68" fmla="*/ 5830216 h 15035524"/>
                <a:gd name="connsiteX69" fmla="*/ 15323320 w 18744436"/>
                <a:gd name="connsiteY69" fmla="*/ 5928489 h 15035524"/>
                <a:gd name="connsiteX70" fmla="*/ 16350939 w 18744436"/>
                <a:gd name="connsiteY70" fmla="*/ 6053348 h 15035524"/>
                <a:gd name="connsiteX71" fmla="*/ 16362364 w 18744436"/>
                <a:gd name="connsiteY71" fmla="*/ 6360628 h 15035524"/>
                <a:gd name="connsiteX72" fmla="*/ 16682563 w 18744436"/>
                <a:gd name="connsiteY72" fmla="*/ 6798531 h 15035524"/>
                <a:gd name="connsiteX0" fmla="*/ 16682563 w 18744436"/>
                <a:gd name="connsiteY0" fmla="*/ 6798531 h 15035524"/>
                <a:gd name="connsiteX1" fmla="*/ 16432262 w 18744436"/>
                <a:gd name="connsiteY1" fmla="*/ 7825917 h 15035524"/>
                <a:gd name="connsiteX2" fmla="*/ 16106317 w 18744436"/>
                <a:gd name="connsiteY2" fmla="*/ 8367221 h 15035524"/>
                <a:gd name="connsiteX3" fmla="*/ 16305649 w 18744436"/>
                <a:gd name="connsiteY3" fmla="*/ 8754550 h 15035524"/>
                <a:gd name="connsiteX4" fmla="*/ 16287189 w 18744436"/>
                <a:gd name="connsiteY4" fmla="*/ 9151157 h 15035524"/>
                <a:gd name="connsiteX5" fmla="*/ 16372801 w 18744436"/>
                <a:gd name="connsiteY5" fmla="*/ 9717422 h 15035524"/>
                <a:gd name="connsiteX6" fmla="*/ 16070155 w 18744436"/>
                <a:gd name="connsiteY6" fmla="*/ 9937808 h 15035524"/>
                <a:gd name="connsiteX7" fmla="*/ 15805690 w 18744436"/>
                <a:gd name="connsiteY7" fmla="*/ 10431999 h 15035524"/>
                <a:gd name="connsiteX8" fmla="*/ 15195097 w 18744436"/>
                <a:gd name="connsiteY8" fmla="*/ 10093742 h 15035524"/>
                <a:gd name="connsiteX9" fmla="*/ 15011380 w 18744436"/>
                <a:gd name="connsiteY9" fmla="*/ 11048592 h 15035524"/>
                <a:gd name="connsiteX10" fmla="*/ 14908430 w 18744436"/>
                <a:gd name="connsiteY10" fmla="*/ 11937487 h 15035524"/>
                <a:gd name="connsiteX11" fmla="*/ 14904684 w 18744436"/>
                <a:gd name="connsiteY11" fmla="*/ 12760926 h 15035524"/>
                <a:gd name="connsiteX12" fmla="*/ 14929927 w 18744436"/>
                <a:gd name="connsiteY12" fmla="*/ 14391846 h 15035524"/>
                <a:gd name="connsiteX13" fmla="*/ 12952786 w 18744436"/>
                <a:gd name="connsiteY13" fmla="*/ 14842599 h 15035524"/>
                <a:gd name="connsiteX14" fmla="*/ 11934663 w 18744436"/>
                <a:gd name="connsiteY14" fmla="*/ 14890849 h 15035524"/>
                <a:gd name="connsiteX15" fmla="*/ 8506848 w 18744436"/>
                <a:gd name="connsiteY15" fmla="*/ 15035524 h 15035524"/>
                <a:gd name="connsiteX16" fmla="*/ 7985095 w 18744436"/>
                <a:gd name="connsiteY16" fmla="*/ 14390442 h 15035524"/>
                <a:gd name="connsiteX17" fmla="*/ 7400308 w 18744436"/>
                <a:gd name="connsiteY17" fmla="*/ 14360297 h 15035524"/>
                <a:gd name="connsiteX18" fmla="*/ 6972273 w 18744436"/>
                <a:gd name="connsiteY18" fmla="*/ 14631594 h 15035524"/>
                <a:gd name="connsiteX19" fmla="*/ 5181729 w 18744436"/>
                <a:gd name="connsiteY19" fmla="*/ 14547195 h 15035524"/>
                <a:gd name="connsiteX20" fmla="*/ 4397998 w 18744436"/>
                <a:gd name="connsiteY20" fmla="*/ 13914178 h 15035524"/>
                <a:gd name="connsiteX21" fmla="*/ 2908896 w 18744436"/>
                <a:gd name="connsiteY21" fmla="*/ 13106324 h 15035524"/>
                <a:gd name="connsiteX22" fmla="*/ 1263043 w 18744436"/>
                <a:gd name="connsiteY22" fmla="*/ 12394931 h 15035524"/>
                <a:gd name="connsiteX23" fmla="*/ 485320 w 18744436"/>
                <a:gd name="connsiteY23" fmla="*/ 11942774 h 15035524"/>
                <a:gd name="connsiteX24" fmla="*/ 0 w 18744436"/>
                <a:gd name="connsiteY24" fmla="*/ 11649662 h 15035524"/>
                <a:gd name="connsiteX25" fmla="*/ 1003686 w 18744436"/>
                <a:gd name="connsiteY25" fmla="*/ 10903697 h 15035524"/>
                <a:gd name="connsiteX26" fmla="*/ 2902551 w 18744436"/>
                <a:gd name="connsiteY26" fmla="*/ 9719298 h 15035524"/>
                <a:gd name="connsiteX27" fmla="*/ 2558940 w 18744436"/>
                <a:gd name="connsiteY27" fmla="*/ 9185867 h 15035524"/>
                <a:gd name="connsiteX28" fmla="*/ 2402508 w 18744436"/>
                <a:gd name="connsiteY28" fmla="*/ 8498784 h 15035524"/>
                <a:gd name="connsiteX29" fmla="*/ 2730740 w 18744436"/>
                <a:gd name="connsiteY29" fmla="*/ 8471613 h 15035524"/>
                <a:gd name="connsiteX30" fmla="*/ 2947754 w 18744436"/>
                <a:gd name="connsiteY30" fmla="*/ 8001468 h 15035524"/>
                <a:gd name="connsiteX31" fmla="*/ 3499325 w 18744436"/>
                <a:gd name="connsiteY31" fmla="*/ 7558451 h 15035524"/>
                <a:gd name="connsiteX32" fmla="*/ 3680166 w 18744436"/>
                <a:gd name="connsiteY32" fmla="*/ 6681453 h 15035524"/>
                <a:gd name="connsiteX33" fmla="*/ 4186528 w 18744436"/>
                <a:gd name="connsiteY33" fmla="*/ 6690489 h 15035524"/>
                <a:gd name="connsiteX34" fmla="*/ 4837569 w 18744436"/>
                <a:gd name="connsiteY34" fmla="*/ 7160639 h 15035524"/>
                <a:gd name="connsiteX35" fmla="*/ 5352976 w 18744436"/>
                <a:gd name="connsiteY35" fmla="*/ 7079272 h 15035524"/>
                <a:gd name="connsiteX36" fmla="*/ 5741786 w 18744436"/>
                <a:gd name="connsiteY36" fmla="*/ 6708577 h 15035524"/>
                <a:gd name="connsiteX37" fmla="*/ 6157723 w 18744436"/>
                <a:gd name="connsiteY37" fmla="*/ 6545836 h 15035524"/>
                <a:gd name="connsiteX38" fmla="*/ 6745471 w 18744436"/>
                <a:gd name="connsiteY38" fmla="*/ 5976243 h 15035524"/>
                <a:gd name="connsiteX39" fmla="*/ 6890140 w 18744436"/>
                <a:gd name="connsiteY39" fmla="*/ 5126367 h 15035524"/>
                <a:gd name="connsiteX40" fmla="*/ 7568305 w 18744436"/>
                <a:gd name="connsiteY40" fmla="*/ 4556773 h 15035524"/>
                <a:gd name="connsiteX41" fmla="*/ 8137967 w 18744436"/>
                <a:gd name="connsiteY41" fmla="*/ 4113752 h 15035524"/>
                <a:gd name="connsiteX42" fmla="*/ 8463480 w 18744436"/>
                <a:gd name="connsiteY42" fmla="*/ 3309085 h 15035524"/>
                <a:gd name="connsiteX43" fmla="*/ 9024093 w 18744436"/>
                <a:gd name="connsiteY43" fmla="*/ 2956478 h 15035524"/>
                <a:gd name="connsiteX44" fmla="*/ 9675138 w 18744436"/>
                <a:gd name="connsiteY44" fmla="*/ 2603876 h 15035524"/>
                <a:gd name="connsiteX45" fmla="*/ 9558580 w 18744436"/>
                <a:gd name="connsiteY45" fmla="*/ 2055592 h 15035524"/>
                <a:gd name="connsiteX46" fmla="*/ 10353296 w 18744436"/>
                <a:gd name="connsiteY46" fmla="*/ 1383308 h 15035524"/>
                <a:gd name="connsiteX47" fmla="*/ 10832530 w 18744436"/>
                <a:gd name="connsiteY47" fmla="*/ 1310974 h 15035524"/>
                <a:gd name="connsiteX48" fmla="*/ 11058585 w 18744436"/>
                <a:gd name="connsiteY48" fmla="*/ 1763043 h 15035524"/>
                <a:gd name="connsiteX49" fmla="*/ 11411229 w 18744436"/>
                <a:gd name="connsiteY49" fmla="*/ 2142774 h 15035524"/>
                <a:gd name="connsiteX50" fmla="*/ 11998974 w 18744436"/>
                <a:gd name="connsiteY50" fmla="*/ 2224144 h 15035524"/>
                <a:gd name="connsiteX51" fmla="*/ 12315449 w 18744436"/>
                <a:gd name="connsiteY51" fmla="*/ 2884156 h 15035524"/>
                <a:gd name="connsiteX52" fmla="*/ 12785642 w 18744436"/>
                <a:gd name="connsiteY52" fmla="*/ 2703327 h 15035524"/>
                <a:gd name="connsiteX53" fmla="*/ 13671776 w 18744436"/>
                <a:gd name="connsiteY53" fmla="*/ 3155388 h 15035524"/>
                <a:gd name="connsiteX54" fmla="*/ 14123886 w 18744436"/>
                <a:gd name="connsiteY54" fmla="*/ 2857035 h 15035524"/>
                <a:gd name="connsiteX55" fmla="*/ 14259509 w 18744436"/>
                <a:gd name="connsiteY55" fmla="*/ 2287434 h 15035524"/>
                <a:gd name="connsiteX56" fmla="*/ 14892468 w 18744436"/>
                <a:gd name="connsiteY56" fmla="*/ 1645503 h 15035524"/>
                <a:gd name="connsiteX57" fmla="*/ 15778605 w 18744436"/>
                <a:gd name="connsiteY57" fmla="*/ 1093983 h 15035524"/>
                <a:gd name="connsiteX58" fmla="*/ 16022739 w 18744436"/>
                <a:gd name="connsiteY58" fmla="*/ 1564133 h 15035524"/>
                <a:gd name="connsiteX59" fmla="*/ 16556232 w 18744436"/>
                <a:gd name="connsiteY59" fmla="*/ 2142785 h 15035524"/>
                <a:gd name="connsiteX60" fmla="*/ 17406193 w 18744436"/>
                <a:gd name="connsiteY60" fmla="*/ 1292897 h 15035524"/>
                <a:gd name="connsiteX61" fmla="*/ 18120524 w 18744436"/>
                <a:gd name="connsiteY61" fmla="*/ 714260 h 15035524"/>
                <a:gd name="connsiteX62" fmla="*/ 18744437 w 18744436"/>
                <a:gd name="connsiteY62" fmla="*/ -1 h 15035524"/>
                <a:gd name="connsiteX63" fmla="*/ 11109603 w 18744436"/>
                <a:gd name="connsiteY63" fmla="*/ 6729756 h 15035524"/>
                <a:gd name="connsiteX64" fmla="*/ 11919572 w 18744436"/>
                <a:gd name="connsiteY64" fmla="*/ 7003278 h 15035524"/>
                <a:gd name="connsiteX65" fmla="*/ 12868275 w 18744436"/>
                <a:gd name="connsiteY65" fmla="*/ 6758067 h 15035524"/>
                <a:gd name="connsiteX66" fmla="*/ 13844296 w 18744436"/>
                <a:gd name="connsiteY66" fmla="*/ 6156232 h 15035524"/>
                <a:gd name="connsiteX67" fmla="*/ 13886291 w 18744436"/>
                <a:gd name="connsiteY67" fmla="*/ 5321864 h 15035524"/>
                <a:gd name="connsiteX68" fmla="*/ 14370431 w 18744436"/>
                <a:gd name="connsiteY68" fmla="*/ 5830216 h 15035524"/>
                <a:gd name="connsiteX69" fmla="*/ 15323320 w 18744436"/>
                <a:gd name="connsiteY69" fmla="*/ 5928489 h 15035524"/>
                <a:gd name="connsiteX70" fmla="*/ 16350939 w 18744436"/>
                <a:gd name="connsiteY70" fmla="*/ 6053348 h 15035524"/>
                <a:gd name="connsiteX71" fmla="*/ 16362364 w 18744436"/>
                <a:gd name="connsiteY71" fmla="*/ 6360628 h 15035524"/>
                <a:gd name="connsiteX72" fmla="*/ 16682563 w 18744436"/>
                <a:gd name="connsiteY72" fmla="*/ 6798531 h 15035524"/>
                <a:gd name="connsiteX0" fmla="*/ 16682563 w 18120523"/>
                <a:gd name="connsiteY0" fmla="*/ 6084269 h 14321262"/>
                <a:gd name="connsiteX1" fmla="*/ 16432262 w 18120523"/>
                <a:gd name="connsiteY1" fmla="*/ 7111655 h 14321262"/>
                <a:gd name="connsiteX2" fmla="*/ 16106317 w 18120523"/>
                <a:gd name="connsiteY2" fmla="*/ 7652959 h 14321262"/>
                <a:gd name="connsiteX3" fmla="*/ 16305649 w 18120523"/>
                <a:gd name="connsiteY3" fmla="*/ 8040288 h 14321262"/>
                <a:gd name="connsiteX4" fmla="*/ 16287189 w 18120523"/>
                <a:gd name="connsiteY4" fmla="*/ 8436895 h 14321262"/>
                <a:gd name="connsiteX5" fmla="*/ 16372801 w 18120523"/>
                <a:gd name="connsiteY5" fmla="*/ 9003160 h 14321262"/>
                <a:gd name="connsiteX6" fmla="*/ 16070155 w 18120523"/>
                <a:gd name="connsiteY6" fmla="*/ 9223546 h 14321262"/>
                <a:gd name="connsiteX7" fmla="*/ 15805690 w 18120523"/>
                <a:gd name="connsiteY7" fmla="*/ 9717737 h 14321262"/>
                <a:gd name="connsiteX8" fmla="*/ 15195097 w 18120523"/>
                <a:gd name="connsiteY8" fmla="*/ 9379480 h 14321262"/>
                <a:gd name="connsiteX9" fmla="*/ 15011380 w 18120523"/>
                <a:gd name="connsiteY9" fmla="*/ 10334330 h 14321262"/>
                <a:gd name="connsiteX10" fmla="*/ 14908430 w 18120523"/>
                <a:gd name="connsiteY10" fmla="*/ 11223225 h 14321262"/>
                <a:gd name="connsiteX11" fmla="*/ 14904684 w 18120523"/>
                <a:gd name="connsiteY11" fmla="*/ 12046664 h 14321262"/>
                <a:gd name="connsiteX12" fmla="*/ 14929927 w 18120523"/>
                <a:gd name="connsiteY12" fmla="*/ 13677584 h 14321262"/>
                <a:gd name="connsiteX13" fmla="*/ 12952786 w 18120523"/>
                <a:gd name="connsiteY13" fmla="*/ 14128337 h 14321262"/>
                <a:gd name="connsiteX14" fmla="*/ 11934663 w 18120523"/>
                <a:gd name="connsiteY14" fmla="*/ 14176587 h 14321262"/>
                <a:gd name="connsiteX15" fmla="*/ 8506848 w 18120523"/>
                <a:gd name="connsiteY15" fmla="*/ 14321262 h 14321262"/>
                <a:gd name="connsiteX16" fmla="*/ 7985095 w 18120523"/>
                <a:gd name="connsiteY16" fmla="*/ 13676180 h 14321262"/>
                <a:gd name="connsiteX17" fmla="*/ 7400308 w 18120523"/>
                <a:gd name="connsiteY17" fmla="*/ 13646035 h 14321262"/>
                <a:gd name="connsiteX18" fmla="*/ 6972273 w 18120523"/>
                <a:gd name="connsiteY18" fmla="*/ 13917332 h 14321262"/>
                <a:gd name="connsiteX19" fmla="*/ 5181729 w 18120523"/>
                <a:gd name="connsiteY19" fmla="*/ 13832933 h 14321262"/>
                <a:gd name="connsiteX20" fmla="*/ 4397998 w 18120523"/>
                <a:gd name="connsiteY20" fmla="*/ 13199916 h 14321262"/>
                <a:gd name="connsiteX21" fmla="*/ 2908896 w 18120523"/>
                <a:gd name="connsiteY21" fmla="*/ 12392062 h 14321262"/>
                <a:gd name="connsiteX22" fmla="*/ 1263043 w 18120523"/>
                <a:gd name="connsiteY22" fmla="*/ 11680669 h 14321262"/>
                <a:gd name="connsiteX23" fmla="*/ 485320 w 18120523"/>
                <a:gd name="connsiteY23" fmla="*/ 11228512 h 14321262"/>
                <a:gd name="connsiteX24" fmla="*/ 0 w 18120523"/>
                <a:gd name="connsiteY24" fmla="*/ 10935400 h 14321262"/>
                <a:gd name="connsiteX25" fmla="*/ 1003686 w 18120523"/>
                <a:gd name="connsiteY25" fmla="*/ 10189435 h 14321262"/>
                <a:gd name="connsiteX26" fmla="*/ 2902551 w 18120523"/>
                <a:gd name="connsiteY26" fmla="*/ 9005036 h 14321262"/>
                <a:gd name="connsiteX27" fmla="*/ 2558940 w 18120523"/>
                <a:gd name="connsiteY27" fmla="*/ 8471605 h 14321262"/>
                <a:gd name="connsiteX28" fmla="*/ 2402508 w 18120523"/>
                <a:gd name="connsiteY28" fmla="*/ 7784522 h 14321262"/>
                <a:gd name="connsiteX29" fmla="*/ 2730740 w 18120523"/>
                <a:gd name="connsiteY29" fmla="*/ 7757351 h 14321262"/>
                <a:gd name="connsiteX30" fmla="*/ 2947754 w 18120523"/>
                <a:gd name="connsiteY30" fmla="*/ 7287206 h 14321262"/>
                <a:gd name="connsiteX31" fmla="*/ 3499325 w 18120523"/>
                <a:gd name="connsiteY31" fmla="*/ 6844189 h 14321262"/>
                <a:gd name="connsiteX32" fmla="*/ 3680166 w 18120523"/>
                <a:gd name="connsiteY32" fmla="*/ 5967191 h 14321262"/>
                <a:gd name="connsiteX33" fmla="*/ 4186528 w 18120523"/>
                <a:gd name="connsiteY33" fmla="*/ 5976227 h 14321262"/>
                <a:gd name="connsiteX34" fmla="*/ 4837569 w 18120523"/>
                <a:gd name="connsiteY34" fmla="*/ 6446377 h 14321262"/>
                <a:gd name="connsiteX35" fmla="*/ 5352976 w 18120523"/>
                <a:gd name="connsiteY35" fmla="*/ 6365010 h 14321262"/>
                <a:gd name="connsiteX36" fmla="*/ 5741786 w 18120523"/>
                <a:gd name="connsiteY36" fmla="*/ 5994315 h 14321262"/>
                <a:gd name="connsiteX37" fmla="*/ 6157723 w 18120523"/>
                <a:gd name="connsiteY37" fmla="*/ 5831574 h 14321262"/>
                <a:gd name="connsiteX38" fmla="*/ 6745471 w 18120523"/>
                <a:gd name="connsiteY38" fmla="*/ 5261981 h 14321262"/>
                <a:gd name="connsiteX39" fmla="*/ 6890140 w 18120523"/>
                <a:gd name="connsiteY39" fmla="*/ 4412105 h 14321262"/>
                <a:gd name="connsiteX40" fmla="*/ 7568305 w 18120523"/>
                <a:gd name="connsiteY40" fmla="*/ 3842511 h 14321262"/>
                <a:gd name="connsiteX41" fmla="*/ 8137967 w 18120523"/>
                <a:gd name="connsiteY41" fmla="*/ 3399490 h 14321262"/>
                <a:gd name="connsiteX42" fmla="*/ 8463480 w 18120523"/>
                <a:gd name="connsiteY42" fmla="*/ 2594823 h 14321262"/>
                <a:gd name="connsiteX43" fmla="*/ 9024093 w 18120523"/>
                <a:gd name="connsiteY43" fmla="*/ 2242216 h 14321262"/>
                <a:gd name="connsiteX44" fmla="*/ 9675138 w 18120523"/>
                <a:gd name="connsiteY44" fmla="*/ 1889614 h 14321262"/>
                <a:gd name="connsiteX45" fmla="*/ 9558580 w 18120523"/>
                <a:gd name="connsiteY45" fmla="*/ 1341330 h 14321262"/>
                <a:gd name="connsiteX46" fmla="*/ 10353296 w 18120523"/>
                <a:gd name="connsiteY46" fmla="*/ 669046 h 14321262"/>
                <a:gd name="connsiteX47" fmla="*/ 10832530 w 18120523"/>
                <a:gd name="connsiteY47" fmla="*/ 596712 h 14321262"/>
                <a:gd name="connsiteX48" fmla="*/ 11058585 w 18120523"/>
                <a:gd name="connsiteY48" fmla="*/ 1048781 h 14321262"/>
                <a:gd name="connsiteX49" fmla="*/ 11411229 w 18120523"/>
                <a:gd name="connsiteY49" fmla="*/ 1428512 h 14321262"/>
                <a:gd name="connsiteX50" fmla="*/ 11998974 w 18120523"/>
                <a:gd name="connsiteY50" fmla="*/ 1509882 h 14321262"/>
                <a:gd name="connsiteX51" fmla="*/ 12315449 w 18120523"/>
                <a:gd name="connsiteY51" fmla="*/ 2169894 h 14321262"/>
                <a:gd name="connsiteX52" fmla="*/ 12785642 w 18120523"/>
                <a:gd name="connsiteY52" fmla="*/ 1989065 h 14321262"/>
                <a:gd name="connsiteX53" fmla="*/ 13671776 w 18120523"/>
                <a:gd name="connsiteY53" fmla="*/ 2441126 h 14321262"/>
                <a:gd name="connsiteX54" fmla="*/ 14123886 w 18120523"/>
                <a:gd name="connsiteY54" fmla="*/ 2142773 h 14321262"/>
                <a:gd name="connsiteX55" fmla="*/ 14259509 w 18120523"/>
                <a:gd name="connsiteY55" fmla="*/ 1573172 h 14321262"/>
                <a:gd name="connsiteX56" fmla="*/ 14892468 w 18120523"/>
                <a:gd name="connsiteY56" fmla="*/ 931241 h 14321262"/>
                <a:gd name="connsiteX57" fmla="*/ 15778605 w 18120523"/>
                <a:gd name="connsiteY57" fmla="*/ 379721 h 14321262"/>
                <a:gd name="connsiteX58" fmla="*/ 16022739 w 18120523"/>
                <a:gd name="connsiteY58" fmla="*/ 849871 h 14321262"/>
                <a:gd name="connsiteX59" fmla="*/ 16556232 w 18120523"/>
                <a:gd name="connsiteY59" fmla="*/ 1428523 h 14321262"/>
                <a:gd name="connsiteX60" fmla="*/ 17406193 w 18120523"/>
                <a:gd name="connsiteY60" fmla="*/ 578635 h 14321262"/>
                <a:gd name="connsiteX61" fmla="*/ 18120524 w 18120523"/>
                <a:gd name="connsiteY61" fmla="*/ -2 h 14321262"/>
                <a:gd name="connsiteX62" fmla="*/ 7035843 w 18120523"/>
                <a:gd name="connsiteY62" fmla="*/ 6484324 h 14321262"/>
                <a:gd name="connsiteX63" fmla="*/ 11109603 w 18120523"/>
                <a:gd name="connsiteY63" fmla="*/ 6015494 h 14321262"/>
                <a:gd name="connsiteX64" fmla="*/ 11919572 w 18120523"/>
                <a:gd name="connsiteY64" fmla="*/ 6289016 h 14321262"/>
                <a:gd name="connsiteX65" fmla="*/ 12868275 w 18120523"/>
                <a:gd name="connsiteY65" fmla="*/ 6043805 h 14321262"/>
                <a:gd name="connsiteX66" fmla="*/ 13844296 w 18120523"/>
                <a:gd name="connsiteY66" fmla="*/ 5441970 h 14321262"/>
                <a:gd name="connsiteX67" fmla="*/ 13886291 w 18120523"/>
                <a:gd name="connsiteY67" fmla="*/ 4607602 h 14321262"/>
                <a:gd name="connsiteX68" fmla="*/ 14370431 w 18120523"/>
                <a:gd name="connsiteY68" fmla="*/ 5115954 h 14321262"/>
                <a:gd name="connsiteX69" fmla="*/ 15323320 w 18120523"/>
                <a:gd name="connsiteY69" fmla="*/ 5214227 h 14321262"/>
                <a:gd name="connsiteX70" fmla="*/ 16350939 w 18120523"/>
                <a:gd name="connsiteY70" fmla="*/ 5339086 h 14321262"/>
                <a:gd name="connsiteX71" fmla="*/ 16362364 w 18120523"/>
                <a:gd name="connsiteY71" fmla="*/ 5646366 h 14321262"/>
                <a:gd name="connsiteX72" fmla="*/ 16682563 w 18120523"/>
                <a:gd name="connsiteY72" fmla="*/ 6084269 h 14321262"/>
                <a:gd name="connsiteX0" fmla="*/ 16682563 w 18120523"/>
                <a:gd name="connsiteY0" fmla="*/ 6084269 h 14321262"/>
                <a:gd name="connsiteX1" fmla="*/ 16432262 w 18120523"/>
                <a:gd name="connsiteY1" fmla="*/ 7111655 h 14321262"/>
                <a:gd name="connsiteX2" fmla="*/ 16106317 w 18120523"/>
                <a:gd name="connsiteY2" fmla="*/ 7652959 h 14321262"/>
                <a:gd name="connsiteX3" fmla="*/ 16305649 w 18120523"/>
                <a:gd name="connsiteY3" fmla="*/ 8040288 h 14321262"/>
                <a:gd name="connsiteX4" fmla="*/ 16287189 w 18120523"/>
                <a:gd name="connsiteY4" fmla="*/ 8436895 h 14321262"/>
                <a:gd name="connsiteX5" fmla="*/ 16372801 w 18120523"/>
                <a:gd name="connsiteY5" fmla="*/ 9003160 h 14321262"/>
                <a:gd name="connsiteX6" fmla="*/ 16070155 w 18120523"/>
                <a:gd name="connsiteY6" fmla="*/ 9223546 h 14321262"/>
                <a:gd name="connsiteX7" fmla="*/ 15805690 w 18120523"/>
                <a:gd name="connsiteY7" fmla="*/ 9717737 h 14321262"/>
                <a:gd name="connsiteX8" fmla="*/ 15195097 w 18120523"/>
                <a:gd name="connsiteY8" fmla="*/ 9379480 h 14321262"/>
                <a:gd name="connsiteX9" fmla="*/ 15011380 w 18120523"/>
                <a:gd name="connsiteY9" fmla="*/ 10334330 h 14321262"/>
                <a:gd name="connsiteX10" fmla="*/ 14908430 w 18120523"/>
                <a:gd name="connsiteY10" fmla="*/ 11223225 h 14321262"/>
                <a:gd name="connsiteX11" fmla="*/ 14904684 w 18120523"/>
                <a:gd name="connsiteY11" fmla="*/ 12046664 h 14321262"/>
                <a:gd name="connsiteX12" fmla="*/ 14929927 w 18120523"/>
                <a:gd name="connsiteY12" fmla="*/ 13677584 h 14321262"/>
                <a:gd name="connsiteX13" fmla="*/ 12952786 w 18120523"/>
                <a:gd name="connsiteY13" fmla="*/ 14128337 h 14321262"/>
                <a:gd name="connsiteX14" fmla="*/ 11934663 w 18120523"/>
                <a:gd name="connsiteY14" fmla="*/ 14176587 h 14321262"/>
                <a:gd name="connsiteX15" fmla="*/ 8506848 w 18120523"/>
                <a:gd name="connsiteY15" fmla="*/ 14321262 h 14321262"/>
                <a:gd name="connsiteX16" fmla="*/ 7985095 w 18120523"/>
                <a:gd name="connsiteY16" fmla="*/ 13676180 h 14321262"/>
                <a:gd name="connsiteX17" fmla="*/ 7400308 w 18120523"/>
                <a:gd name="connsiteY17" fmla="*/ 13646035 h 14321262"/>
                <a:gd name="connsiteX18" fmla="*/ 6972273 w 18120523"/>
                <a:gd name="connsiteY18" fmla="*/ 13917332 h 14321262"/>
                <a:gd name="connsiteX19" fmla="*/ 5181729 w 18120523"/>
                <a:gd name="connsiteY19" fmla="*/ 13832933 h 14321262"/>
                <a:gd name="connsiteX20" fmla="*/ 4397998 w 18120523"/>
                <a:gd name="connsiteY20" fmla="*/ 13199916 h 14321262"/>
                <a:gd name="connsiteX21" fmla="*/ 2908896 w 18120523"/>
                <a:gd name="connsiteY21" fmla="*/ 12392062 h 14321262"/>
                <a:gd name="connsiteX22" fmla="*/ 1263043 w 18120523"/>
                <a:gd name="connsiteY22" fmla="*/ 11680669 h 14321262"/>
                <a:gd name="connsiteX23" fmla="*/ 485320 w 18120523"/>
                <a:gd name="connsiteY23" fmla="*/ 11228512 h 14321262"/>
                <a:gd name="connsiteX24" fmla="*/ 0 w 18120523"/>
                <a:gd name="connsiteY24" fmla="*/ 10935400 h 14321262"/>
                <a:gd name="connsiteX25" fmla="*/ 1003686 w 18120523"/>
                <a:gd name="connsiteY25" fmla="*/ 10189435 h 14321262"/>
                <a:gd name="connsiteX26" fmla="*/ 2902551 w 18120523"/>
                <a:gd name="connsiteY26" fmla="*/ 9005036 h 14321262"/>
                <a:gd name="connsiteX27" fmla="*/ 2558940 w 18120523"/>
                <a:gd name="connsiteY27" fmla="*/ 8471605 h 14321262"/>
                <a:gd name="connsiteX28" fmla="*/ 2402508 w 18120523"/>
                <a:gd name="connsiteY28" fmla="*/ 7784522 h 14321262"/>
                <a:gd name="connsiteX29" fmla="*/ 2730740 w 18120523"/>
                <a:gd name="connsiteY29" fmla="*/ 7757351 h 14321262"/>
                <a:gd name="connsiteX30" fmla="*/ 2947754 w 18120523"/>
                <a:gd name="connsiteY30" fmla="*/ 7287206 h 14321262"/>
                <a:gd name="connsiteX31" fmla="*/ 3499325 w 18120523"/>
                <a:gd name="connsiteY31" fmla="*/ 6844189 h 14321262"/>
                <a:gd name="connsiteX32" fmla="*/ 3680166 w 18120523"/>
                <a:gd name="connsiteY32" fmla="*/ 5967191 h 14321262"/>
                <a:gd name="connsiteX33" fmla="*/ 4186528 w 18120523"/>
                <a:gd name="connsiteY33" fmla="*/ 5976227 h 14321262"/>
                <a:gd name="connsiteX34" fmla="*/ 4837569 w 18120523"/>
                <a:gd name="connsiteY34" fmla="*/ 6446377 h 14321262"/>
                <a:gd name="connsiteX35" fmla="*/ 5352976 w 18120523"/>
                <a:gd name="connsiteY35" fmla="*/ 6365010 h 14321262"/>
                <a:gd name="connsiteX36" fmla="*/ 5741786 w 18120523"/>
                <a:gd name="connsiteY36" fmla="*/ 5994315 h 14321262"/>
                <a:gd name="connsiteX37" fmla="*/ 6157723 w 18120523"/>
                <a:gd name="connsiteY37" fmla="*/ 5831574 h 14321262"/>
                <a:gd name="connsiteX38" fmla="*/ 6745471 w 18120523"/>
                <a:gd name="connsiteY38" fmla="*/ 5261981 h 14321262"/>
                <a:gd name="connsiteX39" fmla="*/ 6890140 w 18120523"/>
                <a:gd name="connsiteY39" fmla="*/ 4412105 h 14321262"/>
                <a:gd name="connsiteX40" fmla="*/ 7568305 w 18120523"/>
                <a:gd name="connsiteY40" fmla="*/ 3842511 h 14321262"/>
                <a:gd name="connsiteX41" fmla="*/ 8137967 w 18120523"/>
                <a:gd name="connsiteY41" fmla="*/ 3399490 h 14321262"/>
                <a:gd name="connsiteX42" fmla="*/ 8463480 w 18120523"/>
                <a:gd name="connsiteY42" fmla="*/ 2594823 h 14321262"/>
                <a:gd name="connsiteX43" fmla="*/ 9024093 w 18120523"/>
                <a:gd name="connsiteY43" fmla="*/ 2242216 h 14321262"/>
                <a:gd name="connsiteX44" fmla="*/ 9675138 w 18120523"/>
                <a:gd name="connsiteY44" fmla="*/ 1889614 h 14321262"/>
                <a:gd name="connsiteX45" fmla="*/ 9558580 w 18120523"/>
                <a:gd name="connsiteY45" fmla="*/ 1341330 h 14321262"/>
                <a:gd name="connsiteX46" fmla="*/ 10353296 w 18120523"/>
                <a:gd name="connsiteY46" fmla="*/ 669046 h 14321262"/>
                <a:gd name="connsiteX47" fmla="*/ 10832530 w 18120523"/>
                <a:gd name="connsiteY47" fmla="*/ 596712 h 14321262"/>
                <a:gd name="connsiteX48" fmla="*/ 11058585 w 18120523"/>
                <a:gd name="connsiteY48" fmla="*/ 1048781 h 14321262"/>
                <a:gd name="connsiteX49" fmla="*/ 11411229 w 18120523"/>
                <a:gd name="connsiteY49" fmla="*/ 1428512 h 14321262"/>
                <a:gd name="connsiteX50" fmla="*/ 11998974 w 18120523"/>
                <a:gd name="connsiteY50" fmla="*/ 1509882 h 14321262"/>
                <a:gd name="connsiteX51" fmla="*/ 12315449 w 18120523"/>
                <a:gd name="connsiteY51" fmla="*/ 2169894 h 14321262"/>
                <a:gd name="connsiteX52" fmla="*/ 12785642 w 18120523"/>
                <a:gd name="connsiteY52" fmla="*/ 1989065 h 14321262"/>
                <a:gd name="connsiteX53" fmla="*/ 13671776 w 18120523"/>
                <a:gd name="connsiteY53" fmla="*/ 2441126 h 14321262"/>
                <a:gd name="connsiteX54" fmla="*/ 14123886 w 18120523"/>
                <a:gd name="connsiteY54" fmla="*/ 2142773 h 14321262"/>
                <a:gd name="connsiteX55" fmla="*/ 14259509 w 18120523"/>
                <a:gd name="connsiteY55" fmla="*/ 1573172 h 14321262"/>
                <a:gd name="connsiteX56" fmla="*/ 14892468 w 18120523"/>
                <a:gd name="connsiteY56" fmla="*/ 931241 h 14321262"/>
                <a:gd name="connsiteX57" fmla="*/ 15778605 w 18120523"/>
                <a:gd name="connsiteY57" fmla="*/ 379721 h 14321262"/>
                <a:gd name="connsiteX58" fmla="*/ 16022739 w 18120523"/>
                <a:gd name="connsiteY58" fmla="*/ 849871 h 14321262"/>
                <a:gd name="connsiteX59" fmla="*/ 16556232 w 18120523"/>
                <a:gd name="connsiteY59" fmla="*/ 1428523 h 14321262"/>
                <a:gd name="connsiteX60" fmla="*/ 17406193 w 18120523"/>
                <a:gd name="connsiteY60" fmla="*/ 578635 h 14321262"/>
                <a:gd name="connsiteX61" fmla="*/ 18120524 w 18120523"/>
                <a:gd name="connsiteY61" fmla="*/ -2 h 14321262"/>
                <a:gd name="connsiteX62" fmla="*/ 10152517 w 18120523"/>
                <a:gd name="connsiteY62" fmla="*/ 5644020 h 14321262"/>
                <a:gd name="connsiteX63" fmla="*/ 11109603 w 18120523"/>
                <a:gd name="connsiteY63" fmla="*/ 6015494 h 14321262"/>
                <a:gd name="connsiteX64" fmla="*/ 11919572 w 18120523"/>
                <a:gd name="connsiteY64" fmla="*/ 6289016 h 14321262"/>
                <a:gd name="connsiteX65" fmla="*/ 12868275 w 18120523"/>
                <a:gd name="connsiteY65" fmla="*/ 6043805 h 14321262"/>
                <a:gd name="connsiteX66" fmla="*/ 13844296 w 18120523"/>
                <a:gd name="connsiteY66" fmla="*/ 5441970 h 14321262"/>
                <a:gd name="connsiteX67" fmla="*/ 13886291 w 18120523"/>
                <a:gd name="connsiteY67" fmla="*/ 4607602 h 14321262"/>
                <a:gd name="connsiteX68" fmla="*/ 14370431 w 18120523"/>
                <a:gd name="connsiteY68" fmla="*/ 5115954 h 14321262"/>
                <a:gd name="connsiteX69" fmla="*/ 15323320 w 18120523"/>
                <a:gd name="connsiteY69" fmla="*/ 5214227 h 14321262"/>
                <a:gd name="connsiteX70" fmla="*/ 16350939 w 18120523"/>
                <a:gd name="connsiteY70" fmla="*/ 5339086 h 14321262"/>
                <a:gd name="connsiteX71" fmla="*/ 16362364 w 18120523"/>
                <a:gd name="connsiteY71" fmla="*/ 5646366 h 14321262"/>
                <a:gd name="connsiteX72" fmla="*/ 16682563 w 18120523"/>
                <a:gd name="connsiteY72" fmla="*/ 6084269 h 14321262"/>
                <a:gd name="connsiteX0" fmla="*/ 16682563 w 17406190"/>
                <a:gd name="connsiteY0" fmla="*/ 5704551 h 13941544"/>
                <a:gd name="connsiteX1" fmla="*/ 16432262 w 17406190"/>
                <a:gd name="connsiteY1" fmla="*/ 6731937 h 13941544"/>
                <a:gd name="connsiteX2" fmla="*/ 16106317 w 17406190"/>
                <a:gd name="connsiteY2" fmla="*/ 7273241 h 13941544"/>
                <a:gd name="connsiteX3" fmla="*/ 16305649 w 17406190"/>
                <a:gd name="connsiteY3" fmla="*/ 7660570 h 13941544"/>
                <a:gd name="connsiteX4" fmla="*/ 16287189 w 17406190"/>
                <a:gd name="connsiteY4" fmla="*/ 8057177 h 13941544"/>
                <a:gd name="connsiteX5" fmla="*/ 16372801 w 17406190"/>
                <a:gd name="connsiteY5" fmla="*/ 8623442 h 13941544"/>
                <a:gd name="connsiteX6" fmla="*/ 16070155 w 17406190"/>
                <a:gd name="connsiteY6" fmla="*/ 8843828 h 13941544"/>
                <a:gd name="connsiteX7" fmla="*/ 15805690 w 17406190"/>
                <a:gd name="connsiteY7" fmla="*/ 9338019 h 13941544"/>
                <a:gd name="connsiteX8" fmla="*/ 15195097 w 17406190"/>
                <a:gd name="connsiteY8" fmla="*/ 8999762 h 13941544"/>
                <a:gd name="connsiteX9" fmla="*/ 15011380 w 17406190"/>
                <a:gd name="connsiteY9" fmla="*/ 9954612 h 13941544"/>
                <a:gd name="connsiteX10" fmla="*/ 14908430 w 17406190"/>
                <a:gd name="connsiteY10" fmla="*/ 10843507 h 13941544"/>
                <a:gd name="connsiteX11" fmla="*/ 14904684 w 17406190"/>
                <a:gd name="connsiteY11" fmla="*/ 11666946 h 13941544"/>
                <a:gd name="connsiteX12" fmla="*/ 14929927 w 17406190"/>
                <a:gd name="connsiteY12" fmla="*/ 13297866 h 13941544"/>
                <a:gd name="connsiteX13" fmla="*/ 12952786 w 17406190"/>
                <a:gd name="connsiteY13" fmla="*/ 13748619 h 13941544"/>
                <a:gd name="connsiteX14" fmla="*/ 11934663 w 17406190"/>
                <a:gd name="connsiteY14" fmla="*/ 13796869 h 13941544"/>
                <a:gd name="connsiteX15" fmla="*/ 8506848 w 17406190"/>
                <a:gd name="connsiteY15" fmla="*/ 13941544 h 13941544"/>
                <a:gd name="connsiteX16" fmla="*/ 7985095 w 17406190"/>
                <a:gd name="connsiteY16" fmla="*/ 13296462 h 13941544"/>
                <a:gd name="connsiteX17" fmla="*/ 7400308 w 17406190"/>
                <a:gd name="connsiteY17" fmla="*/ 13266317 h 13941544"/>
                <a:gd name="connsiteX18" fmla="*/ 6972273 w 17406190"/>
                <a:gd name="connsiteY18" fmla="*/ 13537614 h 13941544"/>
                <a:gd name="connsiteX19" fmla="*/ 5181729 w 17406190"/>
                <a:gd name="connsiteY19" fmla="*/ 13453215 h 13941544"/>
                <a:gd name="connsiteX20" fmla="*/ 4397998 w 17406190"/>
                <a:gd name="connsiteY20" fmla="*/ 12820198 h 13941544"/>
                <a:gd name="connsiteX21" fmla="*/ 2908896 w 17406190"/>
                <a:gd name="connsiteY21" fmla="*/ 12012344 h 13941544"/>
                <a:gd name="connsiteX22" fmla="*/ 1263043 w 17406190"/>
                <a:gd name="connsiteY22" fmla="*/ 11300951 h 13941544"/>
                <a:gd name="connsiteX23" fmla="*/ 485320 w 17406190"/>
                <a:gd name="connsiteY23" fmla="*/ 10848794 h 13941544"/>
                <a:gd name="connsiteX24" fmla="*/ 0 w 17406190"/>
                <a:gd name="connsiteY24" fmla="*/ 10555682 h 13941544"/>
                <a:gd name="connsiteX25" fmla="*/ 1003686 w 17406190"/>
                <a:gd name="connsiteY25" fmla="*/ 9809717 h 13941544"/>
                <a:gd name="connsiteX26" fmla="*/ 2902551 w 17406190"/>
                <a:gd name="connsiteY26" fmla="*/ 8625318 h 13941544"/>
                <a:gd name="connsiteX27" fmla="*/ 2558940 w 17406190"/>
                <a:gd name="connsiteY27" fmla="*/ 8091887 h 13941544"/>
                <a:gd name="connsiteX28" fmla="*/ 2402508 w 17406190"/>
                <a:gd name="connsiteY28" fmla="*/ 7404804 h 13941544"/>
                <a:gd name="connsiteX29" fmla="*/ 2730740 w 17406190"/>
                <a:gd name="connsiteY29" fmla="*/ 7377633 h 13941544"/>
                <a:gd name="connsiteX30" fmla="*/ 2947754 w 17406190"/>
                <a:gd name="connsiteY30" fmla="*/ 6907488 h 13941544"/>
                <a:gd name="connsiteX31" fmla="*/ 3499325 w 17406190"/>
                <a:gd name="connsiteY31" fmla="*/ 6464471 h 13941544"/>
                <a:gd name="connsiteX32" fmla="*/ 3680166 w 17406190"/>
                <a:gd name="connsiteY32" fmla="*/ 5587473 h 13941544"/>
                <a:gd name="connsiteX33" fmla="*/ 4186528 w 17406190"/>
                <a:gd name="connsiteY33" fmla="*/ 5596509 h 13941544"/>
                <a:gd name="connsiteX34" fmla="*/ 4837569 w 17406190"/>
                <a:gd name="connsiteY34" fmla="*/ 6066659 h 13941544"/>
                <a:gd name="connsiteX35" fmla="*/ 5352976 w 17406190"/>
                <a:gd name="connsiteY35" fmla="*/ 5985292 h 13941544"/>
                <a:gd name="connsiteX36" fmla="*/ 5741786 w 17406190"/>
                <a:gd name="connsiteY36" fmla="*/ 5614597 h 13941544"/>
                <a:gd name="connsiteX37" fmla="*/ 6157723 w 17406190"/>
                <a:gd name="connsiteY37" fmla="*/ 5451856 h 13941544"/>
                <a:gd name="connsiteX38" fmla="*/ 6745471 w 17406190"/>
                <a:gd name="connsiteY38" fmla="*/ 4882263 h 13941544"/>
                <a:gd name="connsiteX39" fmla="*/ 6890140 w 17406190"/>
                <a:gd name="connsiteY39" fmla="*/ 4032387 h 13941544"/>
                <a:gd name="connsiteX40" fmla="*/ 7568305 w 17406190"/>
                <a:gd name="connsiteY40" fmla="*/ 3462793 h 13941544"/>
                <a:gd name="connsiteX41" fmla="*/ 8137967 w 17406190"/>
                <a:gd name="connsiteY41" fmla="*/ 3019772 h 13941544"/>
                <a:gd name="connsiteX42" fmla="*/ 8463480 w 17406190"/>
                <a:gd name="connsiteY42" fmla="*/ 2215105 h 13941544"/>
                <a:gd name="connsiteX43" fmla="*/ 9024093 w 17406190"/>
                <a:gd name="connsiteY43" fmla="*/ 1862498 h 13941544"/>
                <a:gd name="connsiteX44" fmla="*/ 9675138 w 17406190"/>
                <a:gd name="connsiteY44" fmla="*/ 1509896 h 13941544"/>
                <a:gd name="connsiteX45" fmla="*/ 9558580 w 17406190"/>
                <a:gd name="connsiteY45" fmla="*/ 961612 h 13941544"/>
                <a:gd name="connsiteX46" fmla="*/ 10353296 w 17406190"/>
                <a:gd name="connsiteY46" fmla="*/ 289328 h 13941544"/>
                <a:gd name="connsiteX47" fmla="*/ 10832530 w 17406190"/>
                <a:gd name="connsiteY47" fmla="*/ 216994 h 13941544"/>
                <a:gd name="connsiteX48" fmla="*/ 11058585 w 17406190"/>
                <a:gd name="connsiteY48" fmla="*/ 669063 h 13941544"/>
                <a:gd name="connsiteX49" fmla="*/ 11411229 w 17406190"/>
                <a:gd name="connsiteY49" fmla="*/ 1048794 h 13941544"/>
                <a:gd name="connsiteX50" fmla="*/ 11998974 w 17406190"/>
                <a:gd name="connsiteY50" fmla="*/ 1130164 h 13941544"/>
                <a:gd name="connsiteX51" fmla="*/ 12315449 w 17406190"/>
                <a:gd name="connsiteY51" fmla="*/ 1790176 h 13941544"/>
                <a:gd name="connsiteX52" fmla="*/ 12785642 w 17406190"/>
                <a:gd name="connsiteY52" fmla="*/ 1609347 h 13941544"/>
                <a:gd name="connsiteX53" fmla="*/ 13671776 w 17406190"/>
                <a:gd name="connsiteY53" fmla="*/ 2061408 h 13941544"/>
                <a:gd name="connsiteX54" fmla="*/ 14123886 w 17406190"/>
                <a:gd name="connsiteY54" fmla="*/ 1763055 h 13941544"/>
                <a:gd name="connsiteX55" fmla="*/ 14259509 w 17406190"/>
                <a:gd name="connsiteY55" fmla="*/ 1193454 h 13941544"/>
                <a:gd name="connsiteX56" fmla="*/ 14892468 w 17406190"/>
                <a:gd name="connsiteY56" fmla="*/ 551523 h 13941544"/>
                <a:gd name="connsiteX57" fmla="*/ 15778605 w 17406190"/>
                <a:gd name="connsiteY57" fmla="*/ 3 h 13941544"/>
                <a:gd name="connsiteX58" fmla="*/ 16022739 w 17406190"/>
                <a:gd name="connsiteY58" fmla="*/ 470153 h 13941544"/>
                <a:gd name="connsiteX59" fmla="*/ 16556232 w 17406190"/>
                <a:gd name="connsiteY59" fmla="*/ 1048805 h 13941544"/>
                <a:gd name="connsiteX60" fmla="*/ 17406193 w 17406190"/>
                <a:gd name="connsiteY60" fmla="*/ 198917 h 13941544"/>
                <a:gd name="connsiteX61" fmla="*/ 10152517 w 17406190"/>
                <a:gd name="connsiteY61" fmla="*/ 5264302 h 13941544"/>
                <a:gd name="connsiteX62" fmla="*/ 11109603 w 17406190"/>
                <a:gd name="connsiteY62" fmla="*/ 5635776 h 13941544"/>
                <a:gd name="connsiteX63" fmla="*/ 11919572 w 17406190"/>
                <a:gd name="connsiteY63" fmla="*/ 5909298 h 13941544"/>
                <a:gd name="connsiteX64" fmla="*/ 12868275 w 17406190"/>
                <a:gd name="connsiteY64" fmla="*/ 5664087 h 13941544"/>
                <a:gd name="connsiteX65" fmla="*/ 13844296 w 17406190"/>
                <a:gd name="connsiteY65" fmla="*/ 5062252 h 13941544"/>
                <a:gd name="connsiteX66" fmla="*/ 13886291 w 17406190"/>
                <a:gd name="connsiteY66" fmla="*/ 4227884 h 13941544"/>
                <a:gd name="connsiteX67" fmla="*/ 14370431 w 17406190"/>
                <a:gd name="connsiteY67" fmla="*/ 4736236 h 13941544"/>
                <a:gd name="connsiteX68" fmla="*/ 15323320 w 17406190"/>
                <a:gd name="connsiteY68" fmla="*/ 4834509 h 13941544"/>
                <a:gd name="connsiteX69" fmla="*/ 16350939 w 17406190"/>
                <a:gd name="connsiteY69" fmla="*/ 4959368 h 13941544"/>
                <a:gd name="connsiteX70" fmla="*/ 16362364 w 17406190"/>
                <a:gd name="connsiteY70" fmla="*/ 5266648 h 13941544"/>
                <a:gd name="connsiteX71" fmla="*/ 16682563 w 17406190"/>
                <a:gd name="connsiteY71" fmla="*/ 5704551 h 13941544"/>
                <a:gd name="connsiteX0" fmla="*/ 16682563 w 16682562"/>
                <a:gd name="connsiteY0" fmla="*/ 5704551 h 13941544"/>
                <a:gd name="connsiteX1" fmla="*/ 16432262 w 16682562"/>
                <a:gd name="connsiteY1" fmla="*/ 6731937 h 13941544"/>
                <a:gd name="connsiteX2" fmla="*/ 16106317 w 16682562"/>
                <a:gd name="connsiteY2" fmla="*/ 7273241 h 13941544"/>
                <a:gd name="connsiteX3" fmla="*/ 16305649 w 16682562"/>
                <a:gd name="connsiteY3" fmla="*/ 7660570 h 13941544"/>
                <a:gd name="connsiteX4" fmla="*/ 16287189 w 16682562"/>
                <a:gd name="connsiteY4" fmla="*/ 8057177 h 13941544"/>
                <a:gd name="connsiteX5" fmla="*/ 16372801 w 16682562"/>
                <a:gd name="connsiteY5" fmla="*/ 8623442 h 13941544"/>
                <a:gd name="connsiteX6" fmla="*/ 16070155 w 16682562"/>
                <a:gd name="connsiteY6" fmla="*/ 8843828 h 13941544"/>
                <a:gd name="connsiteX7" fmla="*/ 15805690 w 16682562"/>
                <a:gd name="connsiteY7" fmla="*/ 9338019 h 13941544"/>
                <a:gd name="connsiteX8" fmla="*/ 15195097 w 16682562"/>
                <a:gd name="connsiteY8" fmla="*/ 8999762 h 13941544"/>
                <a:gd name="connsiteX9" fmla="*/ 15011380 w 16682562"/>
                <a:gd name="connsiteY9" fmla="*/ 9954612 h 13941544"/>
                <a:gd name="connsiteX10" fmla="*/ 14908430 w 16682562"/>
                <a:gd name="connsiteY10" fmla="*/ 10843507 h 13941544"/>
                <a:gd name="connsiteX11" fmla="*/ 14904684 w 16682562"/>
                <a:gd name="connsiteY11" fmla="*/ 11666946 h 13941544"/>
                <a:gd name="connsiteX12" fmla="*/ 14929927 w 16682562"/>
                <a:gd name="connsiteY12" fmla="*/ 13297866 h 13941544"/>
                <a:gd name="connsiteX13" fmla="*/ 12952786 w 16682562"/>
                <a:gd name="connsiteY13" fmla="*/ 13748619 h 13941544"/>
                <a:gd name="connsiteX14" fmla="*/ 11934663 w 16682562"/>
                <a:gd name="connsiteY14" fmla="*/ 13796869 h 13941544"/>
                <a:gd name="connsiteX15" fmla="*/ 8506848 w 16682562"/>
                <a:gd name="connsiteY15" fmla="*/ 13941544 h 13941544"/>
                <a:gd name="connsiteX16" fmla="*/ 7985095 w 16682562"/>
                <a:gd name="connsiteY16" fmla="*/ 13296462 h 13941544"/>
                <a:gd name="connsiteX17" fmla="*/ 7400308 w 16682562"/>
                <a:gd name="connsiteY17" fmla="*/ 13266317 h 13941544"/>
                <a:gd name="connsiteX18" fmla="*/ 6972273 w 16682562"/>
                <a:gd name="connsiteY18" fmla="*/ 13537614 h 13941544"/>
                <a:gd name="connsiteX19" fmla="*/ 5181729 w 16682562"/>
                <a:gd name="connsiteY19" fmla="*/ 13453215 h 13941544"/>
                <a:gd name="connsiteX20" fmla="*/ 4397998 w 16682562"/>
                <a:gd name="connsiteY20" fmla="*/ 12820198 h 13941544"/>
                <a:gd name="connsiteX21" fmla="*/ 2908896 w 16682562"/>
                <a:gd name="connsiteY21" fmla="*/ 12012344 h 13941544"/>
                <a:gd name="connsiteX22" fmla="*/ 1263043 w 16682562"/>
                <a:gd name="connsiteY22" fmla="*/ 11300951 h 13941544"/>
                <a:gd name="connsiteX23" fmla="*/ 485320 w 16682562"/>
                <a:gd name="connsiteY23" fmla="*/ 10848794 h 13941544"/>
                <a:gd name="connsiteX24" fmla="*/ 0 w 16682562"/>
                <a:gd name="connsiteY24" fmla="*/ 10555682 h 13941544"/>
                <a:gd name="connsiteX25" fmla="*/ 1003686 w 16682562"/>
                <a:gd name="connsiteY25" fmla="*/ 9809717 h 13941544"/>
                <a:gd name="connsiteX26" fmla="*/ 2902551 w 16682562"/>
                <a:gd name="connsiteY26" fmla="*/ 8625318 h 13941544"/>
                <a:gd name="connsiteX27" fmla="*/ 2558940 w 16682562"/>
                <a:gd name="connsiteY27" fmla="*/ 8091887 h 13941544"/>
                <a:gd name="connsiteX28" fmla="*/ 2402508 w 16682562"/>
                <a:gd name="connsiteY28" fmla="*/ 7404804 h 13941544"/>
                <a:gd name="connsiteX29" fmla="*/ 2730740 w 16682562"/>
                <a:gd name="connsiteY29" fmla="*/ 7377633 h 13941544"/>
                <a:gd name="connsiteX30" fmla="*/ 2947754 w 16682562"/>
                <a:gd name="connsiteY30" fmla="*/ 6907488 h 13941544"/>
                <a:gd name="connsiteX31" fmla="*/ 3499325 w 16682562"/>
                <a:gd name="connsiteY31" fmla="*/ 6464471 h 13941544"/>
                <a:gd name="connsiteX32" fmla="*/ 3680166 w 16682562"/>
                <a:gd name="connsiteY32" fmla="*/ 5587473 h 13941544"/>
                <a:gd name="connsiteX33" fmla="*/ 4186528 w 16682562"/>
                <a:gd name="connsiteY33" fmla="*/ 5596509 h 13941544"/>
                <a:gd name="connsiteX34" fmla="*/ 4837569 w 16682562"/>
                <a:gd name="connsiteY34" fmla="*/ 6066659 h 13941544"/>
                <a:gd name="connsiteX35" fmla="*/ 5352976 w 16682562"/>
                <a:gd name="connsiteY35" fmla="*/ 5985292 h 13941544"/>
                <a:gd name="connsiteX36" fmla="*/ 5741786 w 16682562"/>
                <a:gd name="connsiteY36" fmla="*/ 5614597 h 13941544"/>
                <a:gd name="connsiteX37" fmla="*/ 6157723 w 16682562"/>
                <a:gd name="connsiteY37" fmla="*/ 5451856 h 13941544"/>
                <a:gd name="connsiteX38" fmla="*/ 6745471 w 16682562"/>
                <a:gd name="connsiteY38" fmla="*/ 4882263 h 13941544"/>
                <a:gd name="connsiteX39" fmla="*/ 6890140 w 16682562"/>
                <a:gd name="connsiteY39" fmla="*/ 4032387 h 13941544"/>
                <a:gd name="connsiteX40" fmla="*/ 7568305 w 16682562"/>
                <a:gd name="connsiteY40" fmla="*/ 3462793 h 13941544"/>
                <a:gd name="connsiteX41" fmla="*/ 8137967 w 16682562"/>
                <a:gd name="connsiteY41" fmla="*/ 3019772 h 13941544"/>
                <a:gd name="connsiteX42" fmla="*/ 8463480 w 16682562"/>
                <a:gd name="connsiteY42" fmla="*/ 2215105 h 13941544"/>
                <a:gd name="connsiteX43" fmla="*/ 9024093 w 16682562"/>
                <a:gd name="connsiteY43" fmla="*/ 1862498 h 13941544"/>
                <a:gd name="connsiteX44" fmla="*/ 9675138 w 16682562"/>
                <a:gd name="connsiteY44" fmla="*/ 1509896 h 13941544"/>
                <a:gd name="connsiteX45" fmla="*/ 9558580 w 16682562"/>
                <a:gd name="connsiteY45" fmla="*/ 961612 h 13941544"/>
                <a:gd name="connsiteX46" fmla="*/ 10353296 w 16682562"/>
                <a:gd name="connsiteY46" fmla="*/ 289328 h 13941544"/>
                <a:gd name="connsiteX47" fmla="*/ 10832530 w 16682562"/>
                <a:gd name="connsiteY47" fmla="*/ 216994 h 13941544"/>
                <a:gd name="connsiteX48" fmla="*/ 11058585 w 16682562"/>
                <a:gd name="connsiteY48" fmla="*/ 669063 h 13941544"/>
                <a:gd name="connsiteX49" fmla="*/ 11411229 w 16682562"/>
                <a:gd name="connsiteY49" fmla="*/ 1048794 h 13941544"/>
                <a:gd name="connsiteX50" fmla="*/ 11998974 w 16682562"/>
                <a:gd name="connsiteY50" fmla="*/ 1130164 h 13941544"/>
                <a:gd name="connsiteX51" fmla="*/ 12315449 w 16682562"/>
                <a:gd name="connsiteY51" fmla="*/ 1790176 h 13941544"/>
                <a:gd name="connsiteX52" fmla="*/ 12785642 w 16682562"/>
                <a:gd name="connsiteY52" fmla="*/ 1609347 h 13941544"/>
                <a:gd name="connsiteX53" fmla="*/ 13671776 w 16682562"/>
                <a:gd name="connsiteY53" fmla="*/ 2061408 h 13941544"/>
                <a:gd name="connsiteX54" fmla="*/ 14123886 w 16682562"/>
                <a:gd name="connsiteY54" fmla="*/ 1763055 h 13941544"/>
                <a:gd name="connsiteX55" fmla="*/ 14259509 w 16682562"/>
                <a:gd name="connsiteY55" fmla="*/ 1193454 h 13941544"/>
                <a:gd name="connsiteX56" fmla="*/ 14892468 w 16682562"/>
                <a:gd name="connsiteY56" fmla="*/ 551523 h 13941544"/>
                <a:gd name="connsiteX57" fmla="*/ 15778605 w 16682562"/>
                <a:gd name="connsiteY57" fmla="*/ 3 h 13941544"/>
                <a:gd name="connsiteX58" fmla="*/ 16022739 w 16682562"/>
                <a:gd name="connsiteY58" fmla="*/ 470153 h 13941544"/>
                <a:gd name="connsiteX59" fmla="*/ 16556232 w 16682562"/>
                <a:gd name="connsiteY59" fmla="*/ 1048805 h 13941544"/>
                <a:gd name="connsiteX60" fmla="*/ 10152517 w 16682562"/>
                <a:gd name="connsiteY60" fmla="*/ 5264302 h 13941544"/>
                <a:gd name="connsiteX61" fmla="*/ 11109603 w 16682562"/>
                <a:gd name="connsiteY61" fmla="*/ 5635776 h 13941544"/>
                <a:gd name="connsiteX62" fmla="*/ 11919572 w 16682562"/>
                <a:gd name="connsiteY62" fmla="*/ 5909298 h 13941544"/>
                <a:gd name="connsiteX63" fmla="*/ 12868275 w 16682562"/>
                <a:gd name="connsiteY63" fmla="*/ 5664087 h 13941544"/>
                <a:gd name="connsiteX64" fmla="*/ 13844296 w 16682562"/>
                <a:gd name="connsiteY64" fmla="*/ 5062252 h 13941544"/>
                <a:gd name="connsiteX65" fmla="*/ 13886291 w 16682562"/>
                <a:gd name="connsiteY65" fmla="*/ 4227884 h 13941544"/>
                <a:gd name="connsiteX66" fmla="*/ 14370431 w 16682562"/>
                <a:gd name="connsiteY66" fmla="*/ 4736236 h 13941544"/>
                <a:gd name="connsiteX67" fmla="*/ 15323320 w 16682562"/>
                <a:gd name="connsiteY67" fmla="*/ 4834509 h 13941544"/>
                <a:gd name="connsiteX68" fmla="*/ 16350939 w 16682562"/>
                <a:gd name="connsiteY68" fmla="*/ 4959368 h 13941544"/>
                <a:gd name="connsiteX69" fmla="*/ 16362364 w 16682562"/>
                <a:gd name="connsiteY69" fmla="*/ 5266648 h 13941544"/>
                <a:gd name="connsiteX70" fmla="*/ 16682563 w 16682562"/>
                <a:gd name="connsiteY70" fmla="*/ 5704551 h 13941544"/>
                <a:gd name="connsiteX0" fmla="*/ 16682563 w 16682562"/>
                <a:gd name="connsiteY0" fmla="*/ 5704551 h 13941544"/>
                <a:gd name="connsiteX1" fmla="*/ 16432262 w 16682562"/>
                <a:gd name="connsiteY1" fmla="*/ 6731937 h 13941544"/>
                <a:gd name="connsiteX2" fmla="*/ 16106317 w 16682562"/>
                <a:gd name="connsiteY2" fmla="*/ 7273241 h 13941544"/>
                <a:gd name="connsiteX3" fmla="*/ 16305649 w 16682562"/>
                <a:gd name="connsiteY3" fmla="*/ 7660570 h 13941544"/>
                <a:gd name="connsiteX4" fmla="*/ 16287189 w 16682562"/>
                <a:gd name="connsiteY4" fmla="*/ 8057177 h 13941544"/>
                <a:gd name="connsiteX5" fmla="*/ 16372801 w 16682562"/>
                <a:gd name="connsiteY5" fmla="*/ 8623442 h 13941544"/>
                <a:gd name="connsiteX6" fmla="*/ 16070155 w 16682562"/>
                <a:gd name="connsiteY6" fmla="*/ 8843828 h 13941544"/>
                <a:gd name="connsiteX7" fmla="*/ 15805690 w 16682562"/>
                <a:gd name="connsiteY7" fmla="*/ 9338019 h 13941544"/>
                <a:gd name="connsiteX8" fmla="*/ 15195097 w 16682562"/>
                <a:gd name="connsiteY8" fmla="*/ 8999762 h 13941544"/>
                <a:gd name="connsiteX9" fmla="*/ 15011380 w 16682562"/>
                <a:gd name="connsiteY9" fmla="*/ 9954612 h 13941544"/>
                <a:gd name="connsiteX10" fmla="*/ 14908430 w 16682562"/>
                <a:gd name="connsiteY10" fmla="*/ 10843507 h 13941544"/>
                <a:gd name="connsiteX11" fmla="*/ 14904684 w 16682562"/>
                <a:gd name="connsiteY11" fmla="*/ 11666946 h 13941544"/>
                <a:gd name="connsiteX12" fmla="*/ 14929927 w 16682562"/>
                <a:gd name="connsiteY12" fmla="*/ 13297866 h 13941544"/>
                <a:gd name="connsiteX13" fmla="*/ 12952786 w 16682562"/>
                <a:gd name="connsiteY13" fmla="*/ 13748619 h 13941544"/>
                <a:gd name="connsiteX14" fmla="*/ 11934663 w 16682562"/>
                <a:gd name="connsiteY14" fmla="*/ 13796869 h 13941544"/>
                <a:gd name="connsiteX15" fmla="*/ 8506848 w 16682562"/>
                <a:gd name="connsiteY15" fmla="*/ 13941544 h 13941544"/>
                <a:gd name="connsiteX16" fmla="*/ 7985095 w 16682562"/>
                <a:gd name="connsiteY16" fmla="*/ 13296462 h 13941544"/>
                <a:gd name="connsiteX17" fmla="*/ 7400308 w 16682562"/>
                <a:gd name="connsiteY17" fmla="*/ 13266317 h 13941544"/>
                <a:gd name="connsiteX18" fmla="*/ 6972273 w 16682562"/>
                <a:gd name="connsiteY18" fmla="*/ 13537614 h 13941544"/>
                <a:gd name="connsiteX19" fmla="*/ 5181729 w 16682562"/>
                <a:gd name="connsiteY19" fmla="*/ 13453215 h 13941544"/>
                <a:gd name="connsiteX20" fmla="*/ 4397998 w 16682562"/>
                <a:gd name="connsiteY20" fmla="*/ 12820198 h 13941544"/>
                <a:gd name="connsiteX21" fmla="*/ 2908896 w 16682562"/>
                <a:gd name="connsiteY21" fmla="*/ 12012344 h 13941544"/>
                <a:gd name="connsiteX22" fmla="*/ 1263043 w 16682562"/>
                <a:gd name="connsiteY22" fmla="*/ 11300951 h 13941544"/>
                <a:gd name="connsiteX23" fmla="*/ 485320 w 16682562"/>
                <a:gd name="connsiteY23" fmla="*/ 10848794 h 13941544"/>
                <a:gd name="connsiteX24" fmla="*/ 0 w 16682562"/>
                <a:gd name="connsiteY24" fmla="*/ 10555682 h 13941544"/>
                <a:gd name="connsiteX25" fmla="*/ 1003686 w 16682562"/>
                <a:gd name="connsiteY25" fmla="*/ 9809717 h 13941544"/>
                <a:gd name="connsiteX26" fmla="*/ 2902551 w 16682562"/>
                <a:gd name="connsiteY26" fmla="*/ 8625318 h 13941544"/>
                <a:gd name="connsiteX27" fmla="*/ 2558940 w 16682562"/>
                <a:gd name="connsiteY27" fmla="*/ 8091887 h 13941544"/>
                <a:gd name="connsiteX28" fmla="*/ 2402508 w 16682562"/>
                <a:gd name="connsiteY28" fmla="*/ 7404804 h 13941544"/>
                <a:gd name="connsiteX29" fmla="*/ 2730740 w 16682562"/>
                <a:gd name="connsiteY29" fmla="*/ 7377633 h 13941544"/>
                <a:gd name="connsiteX30" fmla="*/ 2947754 w 16682562"/>
                <a:gd name="connsiteY30" fmla="*/ 6907488 h 13941544"/>
                <a:gd name="connsiteX31" fmla="*/ 3499325 w 16682562"/>
                <a:gd name="connsiteY31" fmla="*/ 6464471 h 13941544"/>
                <a:gd name="connsiteX32" fmla="*/ 3680166 w 16682562"/>
                <a:gd name="connsiteY32" fmla="*/ 5587473 h 13941544"/>
                <a:gd name="connsiteX33" fmla="*/ 4186528 w 16682562"/>
                <a:gd name="connsiteY33" fmla="*/ 5596509 h 13941544"/>
                <a:gd name="connsiteX34" fmla="*/ 4837569 w 16682562"/>
                <a:gd name="connsiteY34" fmla="*/ 6066659 h 13941544"/>
                <a:gd name="connsiteX35" fmla="*/ 5352976 w 16682562"/>
                <a:gd name="connsiteY35" fmla="*/ 5985292 h 13941544"/>
                <a:gd name="connsiteX36" fmla="*/ 5741786 w 16682562"/>
                <a:gd name="connsiteY36" fmla="*/ 5614597 h 13941544"/>
                <a:gd name="connsiteX37" fmla="*/ 6157723 w 16682562"/>
                <a:gd name="connsiteY37" fmla="*/ 5451856 h 13941544"/>
                <a:gd name="connsiteX38" fmla="*/ 6745471 w 16682562"/>
                <a:gd name="connsiteY38" fmla="*/ 4882263 h 13941544"/>
                <a:gd name="connsiteX39" fmla="*/ 6890140 w 16682562"/>
                <a:gd name="connsiteY39" fmla="*/ 4032387 h 13941544"/>
                <a:gd name="connsiteX40" fmla="*/ 7568305 w 16682562"/>
                <a:gd name="connsiteY40" fmla="*/ 3462793 h 13941544"/>
                <a:gd name="connsiteX41" fmla="*/ 8137967 w 16682562"/>
                <a:gd name="connsiteY41" fmla="*/ 3019772 h 13941544"/>
                <a:gd name="connsiteX42" fmla="*/ 8463480 w 16682562"/>
                <a:gd name="connsiteY42" fmla="*/ 2215105 h 13941544"/>
                <a:gd name="connsiteX43" fmla="*/ 9024093 w 16682562"/>
                <a:gd name="connsiteY43" fmla="*/ 1862498 h 13941544"/>
                <a:gd name="connsiteX44" fmla="*/ 9675138 w 16682562"/>
                <a:gd name="connsiteY44" fmla="*/ 1509896 h 13941544"/>
                <a:gd name="connsiteX45" fmla="*/ 9558580 w 16682562"/>
                <a:gd name="connsiteY45" fmla="*/ 961612 h 13941544"/>
                <a:gd name="connsiteX46" fmla="*/ 10353296 w 16682562"/>
                <a:gd name="connsiteY46" fmla="*/ 289328 h 13941544"/>
                <a:gd name="connsiteX47" fmla="*/ 10832530 w 16682562"/>
                <a:gd name="connsiteY47" fmla="*/ 216994 h 13941544"/>
                <a:gd name="connsiteX48" fmla="*/ 11058585 w 16682562"/>
                <a:gd name="connsiteY48" fmla="*/ 669063 h 13941544"/>
                <a:gd name="connsiteX49" fmla="*/ 11411229 w 16682562"/>
                <a:gd name="connsiteY49" fmla="*/ 1048794 h 13941544"/>
                <a:gd name="connsiteX50" fmla="*/ 11998974 w 16682562"/>
                <a:gd name="connsiteY50" fmla="*/ 1130164 h 13941544"/>
                <a:gd name="connsiteX51" fmla="*/ 12315449 w 16682562"/>
                <a:gd name="connsiteY51" fmla="*/ 1790176 h 13941544"/>
                <a:gd name="connsiteX52" fmla="*/ 12785642 w 16682562"/>
                <a:gd name="connsiteY52" fmla="*/ 1609347 h 13941544"/>
                <a:gd name="connsiteX53" fmla="*/ 13671776 w 16682562"/>
                <a:gd name="connsiteY53" fmla="*/ 2061408 h 13941544"/>
                <a:gd name="connsiteX54" fmla="*/ 14123886 w 16682562"/>
                <a:gd name="connsiteY54" fmla="*/ 1763055 h 13941544"/>
                <a:gd name="connsiteX55" fmla="*/ 14259509 w 16682562"/>
                <a:gd name="connsiteY55" fmla="*/ 1193454 h 13941544"/>
                <a:gd name="connsiteX56" fmla="*/ 14892468 w 16682562"/>
                <a:gd name="connsiteY56" fmla="*/ 551523 h 13941544"/>
                <a:gd name="connsiteX57" fmla="*/ 15778605 w 16682562"/>
                <a:gd name="connsiteY57" fmla="*/ 3 h 13941544"/>
                <a:gd name="connsiteX58" fmla="*/ 16022739 w 16682562"/>
                <a:gd name="connsiteY58" fmla="*/ 470153 h 13941544"/>
                <a:gd name="connsiteX59" fmla="*/ 9312071 w 16682562"/>
                <a:gd name="connsiteY59" fmla="*/ 4353992 h 13941544"/>
                <a:gd name="connsiteX60" fmla="*/ 10152517 w 16682562"/>
                <a:gd name="connsiteY60" fmla="*/ 5264302 h 13941544"/>
                <a:gd name="connsiteX61" fmla="*/ 11109603 w 16682562"/>
                <a:gd name="connsiteY61" fmla="*/ 5635776 h 13941544"/>
                <a:gd name="connsiteX62" fmla="*/ 11919572 w 16682562"/>
                <a:gd name="connsiteY62" fmla="*/ 5909298 h 13941544"/>
                <a:gd name="connsiteX63" fmla="*/ 12868275 w 16682562"/>
                <a:gd name="connsiteY63" fmla="*/ 5664087 h 13941544"/>
                <a:gd name="connsiteX64" fmla="*/ 13844296 w 16682562"/>
                <a:gd name="connsiteY64" fmla="*/ 5062252 h 13941544"/>
                <a:gd name="connsiteX65" fmla="*/ 13886291 w 16682562"/>
                <a:gd name="connsiteY65" fmla="*/ 4227884 h 13941544"/>
                <a:gd name="connsiteX66" fmla="*/ 14370431 w 16682562"/>
                <a:gd name="connsiteY66" fmla="*/ 4736236 h 13941544"/>
                <a:gd name="connsiteX67" fmla="*/ 15323320 w 16682562"/>
                <a:gd name="connsiteY67" fmla="*/ 4834509 h 13941544"/>
                <a:gd name="connsiteX68" fmla="*/ 16350939 w 16682562"/>
                <a:gd name="connsiteY68" fmla="*/ 4959368 h 13941544"/>
                <a:gd name="connsiteX69" fmla="*/ 16362364 w 16682562"/>
                <a:gd name="connsiteY69" fmla="*/ 5266648 h 13941544"/>
                <a:gd name="connsiteX70" fmla="*/ 16682563 w 16682562"/>
                <a:gd name="connsiteY70" fmla="*/ 5704551 h 13941544"/>
                <a:gd name="connsiteX0" fmla="*/ 16682563 w 16682562"/>
                <a:gd name="connsiteY0" fmla="*/ 5704551 h 13941544"/>
                <a:gd name="connsiteX1" fmla="*/ 16432262 w 16682562"/>
                <a:gd name="connsiteY1" fmla="*/ 6731937 h 13941544"/>
                <a:gd name="connsiteX2" fmla="*/ 16106317 w 16682562"/>
                <a:gd name="connsiteY2" fmla="*/ 7273241 h 13941544"/>
                <a:gd name="connsiteX3" fmla="*/ 16305649 w 16682562"/>
                <a:gd name="connsiteY3" fmla="*/ 7660570 h 13941544"/>
                <a:gd name="connsiteX4" fmla="*/ 16287189 w 16682562"/>
                <a:gd name="connsiteY4" fmla="*/ 8057177 h 13941544"/>
                <a:gd name="connsiteX5" fmla="*/ 16372801 w 16682562"/>
                <a:gd name="connsiteY5" fmla="*/ 8623442 h 13941544"/>
                <a:gd name="connsiteX6" fmla="*/ 16070155 w 16682562"/>
                <a:gd name="connsiteY6" fmla="*/ 8843828 h 13941544"/>
                <a:gd name="connsiteX7" fmla="*/ 15805690 w 16682562"/>
                <a:gd name="connsiteY7" fmla="*/ 9338019 h 13941544"/>
                <a:gd name="connsiteX8" fmla="*/ 15195097 w 16682562"/>
                <a:gd name="connsiteY8" fmla="*/ 8999762 h 13941544"/>
                <a:gd name="connsiteX9" fmla="*/ 15011380 w 16682562"/>
                <a:gd name="connsiteY9" fmla="*/ 9954612 h 13941544"/>
                <a:gd name="connsiteX10" fmla="*/ 14908430 w 16682562"/>
                <a:gd name="connsiteY10" fmla="*/ 10843507 h 13941544"/>
                <a:gd name="connsiteX11" fmla="*/ 14904684 w 16682562"/>
                <a:gd name="connsiteY11" fmla="*/ 11666946 h 13941544"/>
                <a:gd name="connsiteX12" fmla="*/ 14929927 w 16682562"/>
                <a:gd name="connsiteY12" fmla="*/ 13297866 h 13941544"/>
                <a:gd name="connsiteX13" fmla="*/ 12952786 w 16682562"/>
                <a:gd name="connsiteY13" fmla="*/ 13748619 h 13941544"/>
                <a:gd name="connsiteX14" fmla="*/ 11934663 w 16682562"/>
                <a:gd name="connsiteY14" fmla="*/ 13796869 h 13941544"/>
                <a:gd name="connsiteX15" fmla="*/ 8506848 w 16682562"/>
                <a:gd name="connsiteY15" fmla="*/ 13941544 h 13941544"/>
                <a:gd name="connsiteX16" fmla="*/ 7985095 w 16682562"/>
                <a:gd name="connsiteY16" fmla="*/ 13296462 h 13941544"/>
                <a:gd name="connsiteX17" fmla="*/ 7400308 w 16682562"/>
                <a:gd name="connsiteY17" fmla="*/ 13266317 h 13941544"/>
                <a:gd name="connsiteX18" fmla="*/ 6972273 w 16682562"/>
                <a:gd name="connsiteY18" fmla="*/ 13537614 h 13941544"/>
                <a:gd name="connsiteX19" fmla="*/ 5181729 w 16682562"/>
                <a:gd name="connsiteY19" fmla="*/ 13453215 h 13941544"/>
                <a:gd name="connsiteX20" fmla="*/ 4397998 w 16682562"/>
                <a:gd name="connsiteY20" fmla="*/ 12820198 h 13941544"/>
                <a:gd name="connsiteX21" fmla="*/ 2908896 w 16682562"/>
                <a:gd name="connsiteY21" fmla="*/ 12012344 h 13941544"/>
                <a:gd name="connsiteX22" fmla="*/ 1263043 w 16682562"/>
                <a:gd name="connsiteY22" fmla="*/ 11300951 h 13941544"/>
                <a:gd name="connsiteX23" fmla="*/ 485320 w 16682562"/>
                <a:gd name="connsiteY23" fmla="*/ 10848794 h 13941544"/>
                <a:gd name="connsiteX24" fmla="*/ 0 w 16682562"/>
                <a:gd name="connsiteY24" fmla="*/ 10555682 h 13941544"/>
                <a:gd name="connsiteX25" fmla="*/ 1003686 w 16682562"/>
                <a:gd name="connsiteY25" fmla="*/ 9809717 h 13941544"/>
                <a:gd name="connsiteX26" fmla="*/ 2902551 w 16682562"/>
                <a:gd name="connsiteY26" fmla="*/ 8625318 h 13941544"/>
                <a:gd name="connsiteX27" fmla="*/ 2558940 w 16682562"/>
                <a:gd name="connsiteY27" fmla="*/ 8091887 h 13941544"/>
                <a:gd name="connsiteX28" fmla="*/ 2402508 w 16682562"/>
                <a:gd name="connsiteY28" fmla="*/ 7404804 h 13941544"/>
                <a:gd name="connsiteX29" fmla="*/ 2730740 w 16682562"/>
                <a:gd name="connsiteY29" fmla="*/ 7377633 h 13941544"/>
                <a:gd name="connsiteX30" fmla="*/ 2947754 w 16682562"/>
                <a:gd name="connsiteY30" fmla="*/ 6907488 h 13941544"/>
                <a:gd name="connsiteX31" fmla="*/ 3499325 w 16682562"/>
                <a:gd name="connsiteY31" fmla="*/ 6464471 h 13941544"/>
                <a:gd name="connsiteX32" fmla="*/ 3680166 w 16682562"/>
                <a:gd name="connsiteY32" fmla="*/ 5587473 h 13941544"/>
                <a:gd name="connsiteX33" fmla="*/ 4186528 w 16682562"/>
                <a:gd name="connsiteY33" fmla="*/ 5596509 h 13941544"/>
                <a:gd name="connsiteX34" fmla="*/ 4837569 w 16682562"/>
                <a:gd name="connsiteY34" fmla="*/ 6066659 h 13941544"/>
                <a:gd name="connsiteX35" fmla="*/ 5352976 w 16682562"/>
                <a:gd name="connsiteY35" fmla="*/ 5985292 h 13941544"/>
                <a:gd name="connsiteX36" fmla="*/ 5741786 w 16682562"/>
                <a:gd name="connsiteY36" fmla="*/ 5614597 h 13941544"/>
                <a:gd name="connsiteX37" fmla="*/ 6157723 w 16682562"/>
                <a:gd name="connsiteY37" fmla="*/ 5451856 h 13941544"/>
                <a:gd name="connsiteX38" fmla="*/ 6745471 w 16682562"/>
                <a:gd name="connsiteY38" fmla="*/ 4882263 h 13941544"/>
                <a:gd name="connsiteX39" fmla="*/ 6890140 w 16682562"/>
                <a:gd name="connsiteY39" fmla="*/ 4032387 h 13941544"/>
                <a:gd name="connsiteX40" fmla="*/ 7568305 w 16682562"/>
                <a:gd name="connsiteY40" fmla="*/ 3462793 h 13941544"/>
                <a:gd name="connsiteX41" fmla="*/ 8137967 w 16682562"/>
                <a:gd name="connsiteY41" fmla="*/ 3019772 h 13941544"/>
                <a:gd name="connsiteX42" fmla="*/ 8463480 w 16682562"/>
                <a:gd name="connsiteY42" fmla="*/ 2215105 h 13941544"/>
                <a:gd name="connsiteX43" fmla="*/ 9024093 w 16682562"/>
                <a:gd name="connsiteY43" fmla="*/ 1862498 h 13941544"/>
                <a:gd name="connsiteX44" fmla="*/ 9675138 w 16682562"/>
                <a:gd name="connsiteY44" fmla="*/ 1509896 h 13941544"/>
                <a:gd name="connsiteX45" fmla="*/ 9558580 w 16682562"/>
                <a:gd name="connsiteY45" fmla="*/ 961612 h 13941544"/>
                <a:gd name="connsiteX46" fmla="*/ 10353296 w 16682562"/>
                <a:gd name="connsiteY46" fmla="*/ 289328 h 13941544"/>
                <a:gd name="connsiteX47" fmla="*/ 10832530 w 16682562"/>
                <a:gd name="connsiteY47" fmla="*/ 216994 h 13941544"/>
                <a:gd name="connsiteX48" fmla="*/ 11058585 w 16682562"/>
                <a:gd name="connsiteY48" fmla="*/ 669063 h 13941544"/>
                <a:gd name="connsiteX49" fmla="*/ 11411229 w 16682562"/>
                <a:gd name="connsiteY49" fmla="*/ 1048794 h 13941544"/>
                <a:gd name="connsiteX50" fmla="*/ 11998974 w 16682562"/>
                <a:gd name="connsiteY50" fmla="*/ 1130164 h 13941544"/>
                <a:gd name="connsiteX51" fmla="*/ 12315449 w 16682562"/>
                <a:gd name="connsiteY51" fmla="*/ 1790176 h 13941544"/>
                <a:gd name="connsiteX52" fmla="*/ 12785642 w 16682562"/>
                <a:gd name="connsiteY52" fmla="*/ 1609347 h 13941544"/>
                <a:gd name="connsiteX53" fmla="*/ 13671776 w 16682562"/>
                <a:gd name="connsiteY53" fmla="*/ 2061408 h 13941544"/>
                <a:gd name="connsiteX54" fmla="*/ 14123886 w 16682562"/>
                <a:gd name="connsiteY54" fmla="*/ 1763055 h 13941544"/>
                <a:gd name="connsiteX55" fmla="*/ 14259509 w 16682562"/>
                <a:gd name="connsiteY55" fmla="*/ 1193454 h 13941544"/>
                <a:gd name="connsiteX56" fmla="*/ 14892468 w 16682562"/>
                <a:gd name="connsiteY56" fmla="*/ 551523 h 13941544"/>
                <a:gd name="connsiteX57" fmla="*/ 15778605 w 16682562"/>
                <a:gd name="connsiteY57" fmla="*/ 3 h 13941544"/>
                <a:gd name="connsiteX58" fmla="*/ 16022739 w 16682562"/>
                <a:gd name="connsiteY58" fmla="*/ 470153 h 13941544"/>
                <a:gd name="connsiteX59" fmla="*/ 9761321 w 16682562"/>
                <a:gd name="connsiteY59" fmla="*/ 4466032 h 13941544"/>
                <a:gd name="connsiteX60" fmla="*/ 10152517 w 16682562"/>
                <a:gd name="connsiteY60" fmla="*/ 5264302 h 13941544"/>
                <a:gd name="connsiteX61" fmla="*/ 11109603 w 16682562"/>
                <a:gd name="connsiteY61" fmla="*/ 5635776 h 13941544"/>
                <a:gd name="connsiteX62" fmla="*/ 11919572 w 16682562"/>
                <a:gd name="connsiteY62" fmla="*/ 5909298 h 13941544"/>
                <a:gd name="connsiteX63" fmla="*/ 12868275 w 16682562"/>
                <a:gd name="connsiteY63" fmla="*/ 5664087 h 13941544"/>
                <a:gd name="connsiteX64" fmla="*/ 13844296 w 16682562"/>
                <a:gd name="connsiteY64" fmla="*/ 5062252 h 13941544"/>
                <a:gd name="connsiteX65" fmla="*/ 13886291 w 16682562"/>
                <a:gd name="connsiteY65" fmla="*/ 4227884 h 13941544"/>
                <a:gd name="connsiteX66" fmla="*/ 14370431 w 16682562"/>
                <a:gd name="connsiteY66" fmla="*/ 4736236 h 13941544"/>
                <a:gd name="connsiteX67" fmla="*/ 15323320 w 16682562"/>
                <a:gd name="connsiteY67" fmla="*/ 4834509 h 13941544"/>
                <a:gd name="connsiteX68" fmla="*/ 16350939 w 16682562"/>
                <a:gd name="connsiteY68" fmla="*/ 4959368 h 13941544"/>
                <a:gd name="connsiteX69" fmla="*/ 16362364 w 16682562"/>
                <a:gd name="connsiteY69" fmla="*/ 5266648 h 13941544"/>
                <a:gd name="connsiteX70" fmla="*/ 16682563 w 16682562"/>
                <a:gd name="connsiteY70" fmla="*/ 5704551 h 13941544"/>
                <a:gd name="connsiteX0" fmla="*/ 16682563 w 16682562"/>
                <a:gd name="connsiteY0" fmla="*/ 5704551 h 13941544"/>
                <a:gd name="connsiteX1" fmla="*/ 16432262 w 16682562"/>
                <a:gd name="connsiteY1" fmla="*/ 6731937 h 13941544"/>
                <a:gd name="connsiteX2" fmla="*/ 16106317 w 16682562"/>
                <a:gd name="connsiteY2" fmla="*/ 7273241 h 13941544"/>
                <a:gd name="connsiteX3" fmla="*/ 16305649 w 16682562"/>
                <a:gd name="connsiteY3" fmla="*/ 7660570 h 13941544"/>
                <a:gd name="connsiteX4" fmla="*/ 16287189 w 16682562"/>
                <a:gd name="connsiteY4" fmla="*/ 8057177 h 13941544"/>
                <a:gd name="connsiteX5" fmla="*/ 16372801 w 16682562"/>
                <a:gd name="connsiteY5" fmla="*/ 8623442 h 13941544"/>
                <a:gd name="connsiteX6" fmla="*/ 16070155 w 16682562"/>
                <a:gd name="connsiteY6" fmla="*/ 8843828 h 13941544"/>
                <a:gd name="connsiteX7" fmla="*/ 15805690 w 16682562"/>
                <a:gd name="connsiteY7" fmla="*/ 9338019 h 13941544"/>
                <a:gd name="connsiteX8" fmla="*/ 15195097 w 16682562"/>
                <a:gd name="connsiteY8" fmla="*/ 8999762 h 13941544"/>
                <a:gd name="connsiteX9" fmla="*/ 15011380 w 16682562"/>
                <a:gd name="connsiteY9" fmla="*/ 9954612 h 13941544"/>
                <a:gd name="connsiteX10" fmla="*/ 14908430 w 16682562"/>
                <a:gd name="connsiteY10" fmla="*/ 10843507 h 13941544"/>
                <a:gd name="connsiteX11" fmla="*/ 14904684 w 16682562"/>
                <a:gd name="connsiteY11" fmla="*/ 11666946 h 13941544"/>
                <a:gd name="connsiteX12" fmla="*/ 14929927 w 16682562"/>
                <a:gd name="connsiteY12" fmla="*/ 13297866 h 13941544"/>
                <a:gd name="connsiteX13" fmla="*/ 12952786 w 16682562"/>
                <a:gd name="connsiteY13" fmla="*/ 13748619 h 13941544"/>
                <a:gd name="connsiteX14" fmla="*/ 11934663 w 16682562"/>
                <a:gd name="connsiteY14" fmla="*/ 13796869 h 13941544"/>
                <a:gd name="connsiteX15" fmla="*/ 8506848 w 16682562"/>
                <a:gd name="connsiteY15" fmla="*/ 13941544 h 13941544"/>
                <a:gd name="connsiteX16" fmla="*/ 7985095 w 16682562"/>
                <a:gd name="connsiteY16" fmla="*/ 13296462 h 13941544"/>
                <a:gd name="connsiteX17" fmla="*/ 7400308 w 16682562"/>
                <a:gd name="connsiteY17" fmla="*/ 13266317 h 13941544"/>
                <a:gd name="connsiteX18" fmla="*/ 6972273 w 16682562"/>
                <a:gd name="connsiteY18" fmla="*/ 13537614 h 13941544"/>
                <a:gd name="connsiteX19" fmla="*/ 5181729 w 16682562"/>
                <a:gd name="connsiteY19" fmla="*/ 13453215 h 13941544"/>
                <a:gd name="connsiteX20" fmla="*/ 4397998 w 16682562"/>
                <a:gd name="connsiteY20" fmla="*/ 12820198 h 13941544"/>
                <a:gd name="connsiteX21" fmla="*/ 2908896 w 16682562"/>
                <a:gd name="connsiteY21" fmla="*/ 12012344 h 13941544"/>
                <a:gd name="connsiteX22" fmla="*/ 1263043 w 16682562"/>
                <a:gd name="connsiteY22" fmla="*/ 11300951 h 13941544"/>
                <a:gd name="connsiteX23" fmla="*/ 485320 w 16682562"/>
                <a:gd name="connsiteY23" fmla="*/ 10848794 h 13941544"/>
                <a:gd name="connsiteX24" fmla="*/ 0 w 16682562"/>
                <a:gd name="connsiteY24" fmla="*/ 10555682 h 13941544"/>
                <a:gd name="connsiteX25" fmla="*/ 1003686 w 16682562"/>
                <a:gd name="connsiteY25" fmla="*/ 9809717 h 13941544"/>
                <a:gd name="connsiteX26" fmla="*/ 2902551 w 16682562"/>
                <a:gd name="connsiteY26" fmla="*/ 8625318 h 13941544"/>
                <a:gd name="connsiteX27" fmla="*/ 2558940 w 16682562"/>
                <a:gd name="connsiteY27" fmla="*/ 8091887 h 13941544"/>
                <a:gd name="connsiteX28" fmla="*/ 2402508 w 16682562"/>
                <a:gd name="connsiteY28" fmla="*/ 7404804 h 13941544"/>
                <a:gd name="connsiteX29" fmla="*/ 2730740 w 16682562"/>
                <a:gd name="connsiteY29" fmla="*/ 7377633 h 13941544"/>
                <a:gd name="connsiteX30" fmla="*/ 2947754 w 16682562"/>
                <a:gd name="connsiteY30" fmla="*/ 6907488 h 13941544"/>
                <a:gd name="connsiteX31" fmla="*/ 3499325 w 16682562"/>
                <a:gd name="connsiteY31" fmla="*/ 6464471 h 13941544"/>
                <a:gd name="connsiteX32" fmla="*/ 3680166 w 16682562"/>
                <a:gd name="connsiteY32" fmla="*/ 5587473 h 13941544"/>
                <a:gd name="connsiteX33" fmla="*/ 4186528 w 16682562"/>
                <a:gd name="connsiteY33" fmla="*/ 5596509 h 13941544"/>
                <a:gd name="connsiteX34" fmla="*/ 4837569 w 16682562"/>
                <a:gd name="connsiteY34" fmla="*/ 6066659 h 13941544"/>
                <a:gd name="connsiteX35" fmla="*/ 5352976 w 16682562"/>
                <a:gd name="connsiteY35" fmla="*/ 5985292 h 13941544"/>
                <a:gd name="connsiteX36" fmla="*/ 5741786 w 16682562"/>
                <a:gd name="connsiteY36" fmla="*/ 5614597 h 13941544"/>
                <a:gd name="connsiteX37" fmla="*/ 6157723 w 16682562"/>
                <a:gd name="connsiteY37" fmla="*/ 5451856 h 13941544"/>
                <a:gd name="connsiteX38" fmla="*/ 6745471 w 16682562"/>
                <a:gd name="connsiteY38" fmla="*/ 4882263 h 13941544"/>
                <a:gd name="connsiteX39" fmla="*/ 6890140 w 16682562"/>
                <a:gd name="connsiteY39" fmla="*/ 4032387 h 13941544"/>
                <a:gd name="connsiteX40" fmla="*/ 7568305 w 16682562"/>
                <a:gd name="connsiteY40" fmla="*/ 3462793 h 13941544"/>
                <a:gd name="connsiteX41" fmla="*/ 8137967 w 16682562"/>
                <a:gd name="connsiteY41" fmla="*/ 3019772 h 13941544"/>
                <a:gd name="connsiteX42" fmla="*/ 8463480 w 16682562"/>
                <a:gd name="connsiteY42" fmla="*/ 2215105 h 13941544"/>
                <a:gd name="connsiteX43" fmla="*/ 9024093 w 16682562"/>
                <a:gd name="connsiteY43" fmla="*/ 1862498 h 13941544"/>
                <a:gd name="connsiteX44" fmla="*/ 9675138 w 16682562"/>
                <a:gd name="connsiteY44" fmla="*/ 1509896 h 13941544"/>
                <a:gd name="connsiteX45" fmla="*/ 9558580 w 16682562"/>
                <a:gd name="connsiteY45" fmla="*/ 961612 h 13941544"/>
                <a:gd name="connsiteX46" fmla="*/ 10353296 w 16682562"/>
                <a:gd name="connsiteY46" fmla="*/ 289328 h 13941544"/>
                <a:gd name="connsiteX47" fmla="*/ 10832530 w 16682562"/>
                <a:gd name="connsiteY47" fmla="*/ 216994 h 13941544"/>
                <a:gd name="connsiteX48" fmla="*/ 11058585 w 16682562"/>
                <a:gd name="connsiteY48" fmla="*/ 669063 h 13941544"/>
                <a:gd name="connsiteX49" fmla="*/ 11411229 w 16682562"/>
                <a:gd name="connsiteY49" fmla="*/ 1048794 h 13941544"/>
                <a:gd name="connsiteX50" fmla="*/ 11998974 w 16682562"/>
                <a:gd name="connsiteY50" fmla="*/ 1130164 h 13941544"/>
                <a:gd name="connsiteX51" fmla="*/ 12315449 w 16682562"/>
                <a:gd name="connsiteY51" fmla="*/ 1790176 h 13941544"/>
                <a:gd name="connsiteX52" fmla="*/ 12785642 w 16682562"/>
                <a:gd name="connsiteY52" fmla="*/ 1609347 h 13941544"/>
                <a:gd name="connsiteX53" fmla="*/ 13671776 w 16682562"/>
                <a:gd name="connsiteY53" fmla="*/ 2061408 h 13941544"/>
                <a:gd name="connsiteX54" fmla="*/ 14123886 w 16682562"/>
                <a:gd name="connsiteY54" fmla="*/ 1763055 h 13941544"/>
                <a:gd name="connsiteX55" fmla="*/ 14259509 w 16682562"/>
                <a:gd name="connsiteY55" fmla="*/ 1193454 h 13941544"/>
                <a:gd name="connsiteX56" fmla="*/ 14892468 w 16682562"/>
                <a:gd name="connsiteY56" fmla="*/ 551523 h 13941544"/>
                <a:gd name="connsiteX57" fmla="*/ 15778605 w 16682562"/>
                <a:gd name="connsiteY57" fmla="*/ 3 h 13941544"/>
                <a:gd name="connsiteX58" fmla="*/ 9761321 w 16682562"/>
                <a:gd name="connsiteY58" fmla="*/ 4466032 h 13941544"/>
                <a:gd name="connsiteX59" fmla="*/ 10152517 w 16682562"/>
                <a:gd name="connsiteY59" fmla="*/ 5264302 h 13941544"/>
                <a:gd name="connsiteX60" fmla="*/ 11109603 w 16682562"/>
                <a:gd name="connsiteY60" fmla="*/ 5635776 h 13941544"/>
                <a:gd name="connsiteX61" fmla="*/ 11919572 w 16682562"/>
                <a:gd name="connsiteY61" fmla="*/ 5909298 h 13941544"/>
                <a:gd name="connsiteX62" fmla="*/ 12868275 w 16682562"/>
                <a:gd name="connsiteY62" fmla="*/ 5664087 h 13941544"/>
                <a:gd name="connsiteX63" fmla="*/ 13844296 w 16682562"/>
                <a:gd name="connsiteY63" fmla="*/ 5062252 h 13941544"/>
                <a:gd name="connsiteX64" fmla="*/ 13886291 w 16682562"/>
                <a:gd name="connsiteY64" fmla="*/ 4227884 h 13941544"/>
                <a:gd name="connsiteX65" fmla="*/ 14370431 w 16682562"/>
                <a:gd name="connsiteY65" fmla="*/ 4736236 h 13941544"/>
                <a:gd name="connsiteX66" fmla="*/ 15323320 w 16682562"/>
                <a:gd name="connsiteY66" fmla="*/ 4834509 h 13941544"/>
                <a:gd name="connsiteX67" fmla="*/ 16350939 w 16682562"/>
                <a:gd name="connsiteY67" fmla="*/ 4959368 h 13941544"/>
                <a:gd name="connsiteX68" fmla="*/ 16362364 w 16682562"/>
                <a:gd name="connsiteY68" fmla="*/ 5266648 h 13941544"/>
                <a:gd name="connsiteX69" fmla="*/ 16682563 w 16682562"/>
                <a:gd name="connsiteY69" fmla="*/ 5704551 h 13941544"/>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13671776 w 16682562"/>
                <a:gd name="connsiteY53" fmla="*/ 1844415 h 13724551"/>
                <a:gd name="connsiteX54" fmla="*/ 14123886 w 16682562"/>
                <a:gd name="connsiteY54" fmla="*/ 1546062 h 13724551"/>
                <a:gd name="connsiteX55" fmla="*/ 14259509 w 16682562"/>
                <a:gd name="connsiteY55" fmla="*/ 976461 h 13724551"/>
                <a:gd name="connsiteX56" fmla="*/ 14892468 w 16682562"/>
                <a:gd name="connsiteY56" fmla="*/ 334530 h 13724551"/>
                <a:gd name="connsiteX57" fmla="*/ 9761321 w 16682562"/>
                <a:gd name="connsiteY57" fmla="*/ 4249039 h 13724551"/>
                <a:gd name="connsiteX58" fmla="*/ 10152517 w 16682562"/>
                <a:gd name="connsiteY58" fmla="*/ 5047309 h 13724551"/>
                <a:gd name="connsiteX59" fmla="*/ 11109603 w 16682562"/>
                <a:gd name="connsiteY59" fmla="*/ 5418783 h 13724551"/>
                <a:gd name="connsiteX60" fmla="*/ 11919572 w 16682562"/>
                <a:gd name="connsiteY60" fmla="*/ 5692305 h 13724551"/>
                <a:gd name="connsiteX61" fmla="*/ 12868275 w 16682562"/>
                <a:gd name="connsiteY61" fmla="*/ 5447094 h 13724551"/>
                <a:gd name="connsiteX62" fmla="*/ 13844296 w 16682562"/>
                <a:gd name="connsiteY62" fmla="*/ 4845259 h 13724551"/>
                <a:gd name="connsiteX63" fmla="*/ 13886291 w 16682562"/>
                <a:gd name="connsiteY63" fmla="*/ 4010891 h 13724551"/>
                <a:gd name="connsiteX64" fmla="*/ 14370431 w 16682562"/>
                <a:gd name="connsiteY64" fmla="*/ 4519243 h 13724551"/>
                <a:gd name="connsiteX65" fmla="*/ 15323320 w 16682562"/>
                <a:gd name="connsiteY65" fmla="*/ 4617516 h 13724551"/>
                <a:gd name="connsiteX66" fmla="*/ 16350939 w 16682562"/>
                <a:gd name="connsiteY66" fmla="*/ 4742375 h 13724551"/>
                <a:gd name="connsiteX67" fmla="*/ 16362364 w 16682562"/>
                <a:gd name="connsiteY67" fmla="*/ 5049655 h 13724551"/>
                <a:gd name="connsiteX68" fmla="*/ 16682563 w 16682562"/>
                <a:gd name="connsiteY68"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13671776 w 16682562"/>
                <a:gd name="connsiteY53" fmla="*/ 1844415 h 13724551"/>
                <a:gd name="connsiteX54" fmla="*/ 14123886 w 16682562"/>
                <a:gd name="connsiteY54" fmla="*/ 1546062 h 13724551"/>
                <a:gd name="connsiteX55" fmla="*/ 14259509 w 16682562"/>
                <a:gd name="connsiteY55" fmla="*/ 976461 h 13724551"/>
                <a:gd name="connsiteX56" fmla="*/ 9761321 w 16682562"/>
                <a:gd name="connsiteY56" fmla="*/ 4249039 h 13724551"/>
                <a:gd name="connsiteX57" fmla="*/ 10152517 w 16682562"/>
                <a:gd name="connsiteY57" fmla="*/ 5047309 h 13724551"/>
                <a:gd name="connsiteX58" fmla="*/ 11109603 w 16682562"/>
                <a:gd name="connsiteY58" fmla="*/ 5418783 h 13724551"/>
                <a:gd name="connsiteX59" fmla="*/ 11919572 w 16682562"/>
                <a:gd name="connsiteY59" fmla="*/ 5692305 h 13724551"/>
                <a:gd name="connsiteX60" fmla="*/ 12868275 w 16682562"/>
                <a:gd name="connsiteY60" fmla="*/ 5447094 h 13724551"/>
                <a:gd name="connsiteX61" fmla="*/ 13844296 w 16682562"/>
                <a:gd name="connsiteY61" fmla="*/ 4845259 h 13724551"/>
                <a:gd name="connsiteX62" fmla="*/ 13886291 w 16682562"/>
                <a:gd name="connsiteY62" fmla="*/ 4010891 h 13724551"/>
                <a:gd name="connsiteX63" fmla="*/ 14370431 w 16682562"/>
                <a:gd name="connsiteY63" fmla="*/ 4519243 h 13724551"/>
                <a:gd name="connsiteX64" fmla="*/ 15323320 w 16682562"/>
                <a:gd name="connsiteY64" fmla="*/ 4617516 h 13724551"/>
                <a:gd name="connsiteX65" fmla="*/ 16350939 w 16682562"/>
                <a:gd name="connsiteY65" fmla="*/ 4742375 h 13724551"/>
                <a:gd name="connsiteX66" fmla="*/ 16362364 w 16682562"/>
                <a:gd name="connsiteY66" fmla="*/ 5049655 h 13724551"/>
                <a:gd name="connsiteX67" fmla="*/ 16682563 w 16682562"/>
                <a:gd name="connsiteY67"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13671776 w 16682562"/>
                <a:gd name="connsiteY53" fmla="*/ 1844415 h 13724551"/>
                <a:gd name="connsiteX54" fmla="*/ 14123886 w 16682562"/>
                <a:gd name="connsiteY54" fmla="*/ 1546062 h 13724551"/>
                <a:gd name="connsiteX55" fmla="*/ 9761321 w 16682562"/>
                <a:gd name="connsiteY55" fmla="*/ 4249039 h 13724551"/>
                <a:gd name="connsiteX56" fmla="*/ 10152517 w 16682562"/>
                <a:gd name="connsiteY56" fmla="*/ 5047309 h 13724551"/>
                <a:gd name="connsiteX57" fmla="*/ 11109603 w 16682562"/>
                <a:gd name="connsiteY57" fmla="*/ 5418783 h 13724551"/>
                <a:gd name="connsiteX58" fmla="*/ 11919572 w 16682562"/>
                <a:gd name="connsiteY58" fmla="*/ 5692305 h 13724551"/>
                <a:gd name="connsiteX59" fmla="*/ 12868275 w 16682562"/>
                <a:gd name="connsiteY59" fmla="*/ 5447094 h 13724551"/>
                <a:gd name="connsiteX60" fmla="*/ 13844296 w 16682562"/>
                <a:gd name="connsiteY60" fmla="*/ 4845259 h 13724551"/>
                <a:gd name="connsiteX61" fmla="*/ 13886291 w 16682562"/>
                <a:gd name="connsiteY61" fmla="*/ 4010891 h 13724551"/>
                <a:gd name="connsiteX62" fmla="*/ 14370431 w 16682562"/>
                <a:gd name="connsiteY62" fmla="*/ 4519243 h 13724551"/>
                <a:gd name="connsiteX63" fmla="*/ 15323320 w 16682562"/>
                <a:gd name="connsiteY63" fmla="*/ 4617516 h 13724551"/>
                <a:gd name="connsiteX64" fmla="*/ 16350939 w 16682562"/>
                <a:gd name="connsiteY64" fmla="*/ 4742375 h 13724551"/>
                <a:gd name="connsiteX65" fmla="*/ 16362364 w 16682562"/>
                <a:gd name="connsiteY65" fmla="*/ 5049655 h 13724551"/>
                <a:gd name="connsiteX66" fmla="*/ 16682563 w 16682562"/>
                <a:gd name="connsiteY66"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13671776 w 16682562"/>
                <a:gd name="connsiteY53" fmla="*/ 1844415 h 13724551"/>
                <a:gd name="connsiteX54" fmla="*/ 9761321 w 16682562"/>
                <a:gd name="connsiteY54" fmla="*/ 4249039 h 13724551"/>
                <a:gd name="connsiteX55" fmla="*/ 10152517 w 16682562"/>
                <a:gd name="connsiteY55" fmla="*/ 5047309 h 13724551"/>
                <a:gd name="connsiteX56" fmla="*/ 11109603 w 16682562"/>
                <a:gd name="connsiteY56" fmla="*/ 5418783 h 13724551"/>
                <a:gd name="connsiteX57" fmla="*/ 11919572 w 16682562"/>
                <a:gd name="connsiteY57" fmla="*/ 5692305 h 13724551"/>
                <a:gd name="connsiteX58" fmla="*/ 12868275 w 16682562"/>
                <a:gd name="connsiteY58" fmla="*/ 5447094 h 13724551"/>
                <a:gd name="connsiteX59" fmla="*/ 13844296 w 16682562"/>
                <a:gd name="connsiteY59" fmla="*/ 4845259 h 13724551"/>
                <a:gd name="connsiteX60" fmla="*/ 13886291 w 16682562"/>
                <a:gd name="connsiteY60" fmla="*/ 4010891 h 13724551"/>
                <a:gd name="connsiteX61" fmla="*/ 14370431 w 16682562"/>
                <a:gd name="connsiteY61" fmla="*/ 4519243 h 13724551"/>
                <a:gd name="connsiteX62" fmla="*/ 15323320 w 16682562"/>
                <a:gd name="connsiteY62" fmla="*/ 4617516 h 13724551"/>
                <a:gd name="connsiteX63" fmla="*/ 16350939 w 16682562"/>
                <a:gd name="connsiteY63" fmla="*/ 4742375 h 13724551"/>
                <a:gd name="connsiteX64" fmla="*/ 16362364 w 16682562"/>
                <a:gd name="connsiteY64" fmla="*/ 5049655 h 13724551"/>
                <a:gd name="connsiteX65" fmla="*/ 16682563 w 16682562"/>
                <a:gd name="connsiteY65"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9761321 w 16682562"/>
                <a:gd name="connsiteY53" fmla="*/ 4249039 h 13724551"/>
                <a:gd name="connsiteX54" fmla="*/ 10152517 w 16682562"/>
                <a:gd name="connsiteY54" fmla="*/ 5047309 h 13724551"/>
                <a:gd name="connsiteX55" fmla="*/ 11109603 w 16682562"/>
                <a:gd name="connsiteY55" fmla="*/ 5418783 h 13724551"/>
                <a:gd name="connsiteX56" fmla="*/ 11919572 w 16682562"/>
                <a:gd name="connsiteY56" fmla="*/ 5692305 h 13724551"/>
                <a:gd name="connsiteX57" fmla="*/ 12868275 w 16682562"/>
                <a:gd name="connsiteY57" fmla="*/ 5447094 h 13724551"/>
                <a:gd name="connsiteX58" fmla="*/ 13844296 w 16682562"/>
                <a:gd name="connsiteY58" fmla="*/ 4845259 h 13724551"/>
                <a:gd name="connsiteX59" fmla="*/ 13886291 w 16682562"/>
                <a:gd name="connsiteY59" fmla="*/ 4010891 h 13724551"/>
                <a:gd name="connsiteX60" fmla="*/ 14370431 w 16682562"/>
                <a:gd name="connsiteY60" fmla="*/ 4519243 h 13724551"/>
                <a:gd name="connsiteX61" fmla="*/ 15323320 w 16682562"/>
                <a:gd name="connsiteY61" fmla="*/ 4617516 h 13724551"/>
                <a:gd name="connsiteX62" fmla="*/ 16350939 w 16682562"/>
                <a:gd name="connsiteY62" fmla="*/ 4742375 h 13724551"/>
                <a:gd name="connsiteX63" fmla="*/ 16362364 w 16682562"/>
                <a:gd name="connsiteY63" fmla="*/ 5049655 h 13724551"/>
                <a:gd name="connsiteX64" fmla="*/ 16682563 w 16682562"/>
                <a:gd name="connsiteY64"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8216041 w 16682562"/>
                <a:gd name="connsiteY51" fmla="*/ 3870010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8524896 w 16682562"/>
                <a:gd name="connsiteY51" fmla="*/ 4654291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8348814 w 16682562"/>
                <a:gd name="connsiteY50" fmla="*/ 3770198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9078849 w 16682562"/>
                <a:gd name="connsiteY50" fmla="*/ 3798207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8463027 w 16682562"/>
                <a:gd name="connsiteY49" fmla="*/ 3408723 h 13724551"/>
                <a:gd name="connsiteX50" fmla="*/ 9078849 w 16682562"/>
                <a:gd name="connsiteY50" fmla="*/ 3798207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8856118 w 16682562"/>
                <a:gd name="connsiteY49" fmla="*/ 3184643 h 13724551"/>
                <a:gd name="connsiteX50" fmla="*/ 9078849 w 16682562"/>
                <a:gd name="connsiteY50" fmla="*/ 3798207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8856118 w 16682562"/>
                <a:gd name="connsiteY48" fmla="*/ 3184643 h 13724551"/>
                <a:gd name="connsiteX49" fmla="*/ 9078849 w 16682562"/>
                <a:gd name="connsiteY49" fmla="*/ 3798207 h 13724551"/>
                <a:gd name="connsiteX50" fmla="*/ 9086459 w 16682562"/>
                <a:gd name="connsiteY50" fmla="*/ 4346185 h 13724551"/>
                <a:gd name="connsiteX51" fmla="*/ 9761321 w 16682562"/>
                <a:gd name="connsiteY51" fmla="*/ 4249039 h 13724551"/>
                <a:gd name="connsiteX52" fmla="*/ 10152517 w 16682562"/>
                <a:gd name="connsiteY52" fmla="*/ 5047309 h 13724551"/>
                <a:gd name="connsiteX53" fmla="*/ 11109603 w 16682562"/>
                <a:gd name="connsiteY53" fmla="*/ 5418783 h 13724551"/>
                <a:gd name="connsiteX54" fmla="*/ 11919572 w 16682562"/>
                <a:gd name="connsiteY54" fmla="*/ 5692305 h 13724551"/>
                <a:gd name="connsiteX55" fmla="*/ 12868275 w 16682562"/>
                <a:gd name="connsiteY55" fmla="*/ 5447094 h 13724551"/>
                <a:gd name="connsiteX56" fmla="*/ 13844296 w 16682562"/>
                <a:gd name="connsiteY56" fmla="*/ 4845259 h 13724551"/>
                <a:gd name="connsiteX57" fmla="*/ 13886291 w 16682562"/>
                <a:gd name="connsiteY57" fmla="*/ 4010891 h 13724551"/>
                <a:gd name="connsiteX58" fmla="*/ 14370431 w 16682562"/>
                <a:gd name="connsiteY58" fmla="*/ 4519243 h 13724551"/>
                <a:gd name="connsiteX59" fmla="*/ 15323320 w 16682562"/>
                <a:gd name="connsiteY59" fmla="*/ 4617516 h 13724551"/>
                <a:gd name="connsiteX60" fmla="*/ 16350939 w 16682562"/>
                <a:gd name="connsiteY60" fmla="*/ 4742375 h 13724551"/>
                <a:gd name="connsiteX61" fmla="*/ 16362364 w 16682562"/>
                <a:gd name="connsiteY61" fmla="*/ 5049655 h 13724551"/>
                <a:gd name="connsiteX62" fmla="*/ 16682563 w 16682562"/>
                <a:gd name="connsiteY62" fmla="*/ 5487558 h 13724551"/>
                <a:gd name="connsiteX0" fmla="*/ 16682563 w 16682562"/>
                <a:gd name="connsiteY0" fmla="*/ 5415225 h 13652218"/>
                <a:gd name="connsiteX1" fmla="*/ 16432262 w 16682562"/>
                <a:gd name="connsiteY1" fmla="*/ 6442611 h 13652218"/>
                <a:gd name="connsiteX2" fmla="*/ 16106317 w 16682562"/>
                <a:gd name="connsiteY2" fmla="*/ 6983915 h 13652218"/>
                <a:gd name="connsiteX3" fmla="*/ 16305649 w 16682562"/>
                <a:gd name="connsiteY3" fmla="*/ 7371244 h 13652218"/>
                <a:gd name="connsiteX4" fmla="*/ 16287189 w 16682562"/>
                <a:gd name="connsiteY4" fmla="*/ 7767851 h 13652218"/>
                <a:gd name="connsiteX5" fmla="*/ 16372801 w 16682562"/>
                <a:gd name="connsiteY5" fmla="*/ 8334116 h 13652218"/>
                <a:gd name="connsiteX6" fmla="*/ 16070155 w 16682562"/>
                <a:gd name="connsiteY6" fmla="*/ 8554502 h 13652218"/>
                <a:gd name="connsiteX7" fmla="*/ 15805690 w 16682562"/>
                <a:gd name="connsiteY7" fmla="*/ 9048693 h 13652218"/>
                <a:gd name="connsiteX8" fmla="*/ 15195097 w 16682562"/>
                <a:gd name="connsiteY8" fmla="*/ 8710436 h 13652218"/>
                <a:gd name="connsiteX9" fmla="*/ 15011380 w 16682562"/>
                <a:gd name="connsiteY9" fmla="*/ 9665286 h 13652218"/>
                <a:gd name="connsiteX10" fmla="*/ 14908430 w 16682562"/>
                <a:gd name="connsiteY10" fmla="*/ 10554181 h 13652218"/>
                <a:gd name="connsiteX11" fmla="*/ 14904684 w 16682562"/>
                <a:gd name="connsiteY11" fmla="*/ 11377620 h 13652218"/>
                <a:gd name="connsiteX12" fmla="*/ 14929927 w 16682562"/>
                <a:gd name="connsiteY12" fmla="*/ 13008540 h 13652218"/>
                <a:gd name="connsiteX13" fmla="*/ 12952786 w 16682562"/>
                <a:gd name="connsiteY13" fmla="*/ 13459293 h 13652218"/>
                <a:gd name="connsiteX14" fmla="*/ 11934663 w 16682562"/>
                <a:gd name="connsiteY14" fmla="*/ 13507543 h 13652218"/>
                <a:gd name="connsiteX15" fmla="*/ 8506848 w 16682562"/>
                <a:gd name="connsiteY15" fmla="*/ 13652218 h 13652218"/>
                <a:gd name="connsiteX16" fmla="*/ 7985095 w 16682562"/>
                <a:gd name="connsiteY16" fmla="*/ 13007136 h 13652218"/>
                <a:gd name="connsiteX17" fmla="*/ 7400308 w 16682562"/>
                <a:gd name="connsiteY17" fmla="*/ 12976991 h 13652218"/>
                <a:gd name="connsiteX18" fmla="*/ 6972273 w 16682562"/>
                <a:gd name="connsiteY18" fmla="*/ 13248288 h 13652218"/>
                <a:gd name="connsiteX19" fmla="*/ 5181729 w 16682562"/>
                <a:gd name="connsiteY19" fmla="*/ 13163889 h 13652218"/>
                <a:gd name="connsiteX20" fmla="*/ 4397998 w 16682562"/>
                <a:gd name="connsiteY20" fmla="*/ 12530872 h 13652218"/>
                <a:gd name="connsiteX21" fmla="*/ 2908896 w 16682562"/>
                <a:gd name="connsiteY21" fmla="*/ 11723018 h 13652218"/>
                <a:gd name="connsiteX22" fmla="*/ 1263043 w 16682562"/>
                <a:gd name="connsiteY22" fmla="*/ 11011625 h 13652218"/>
                <a:gd name="connsiteX23" fmla="*/ 485320 w 16682562"/>
                <a:gd name="connsiteY23" fmla="*/ 10559468 h 13652218"/>
                <a:gd name="connsiteX24" fmla="*/ 0 w 16682562"/>
                <a:gd name="connsiteY24" fmla="*/ 10266356 h 13652218"/>
                <a:gd name="connsiteX25" fmla="*/ 1003686 w 16682562"/>
                <a:gd name="connsiteY25" fmla="*/ 9520391 h 13652218"/>
                <a:gd name="connsiteX26" fmla="*/ 2902551 w 16682562"/>
                <a:gd name="connsiteY26" fmla="*/ 8335992 h 13652218"/>
                <a:gd name="connsiteX27" fmla="*/ 2558940 w 16682562"/>
                <a:gd name="connsiteY27" fmla="*/ 7802561 h 13652218"/>
                <a:gd name="connsiteX28" fmla="*/ 2402508 w 16682562"/>
                <a:gd name="connsiteY28" fmla="*/ 7115478 h 13652218"/>
                <a:gd name="connsiteX29" fmla="*/ 2730740 w 16682562"/>
                <a:gd name="connsiteY29" fmla="*/ 7088307 h 13652218"/>
                <a:gd name="connsiteX30" fmla="*/ 2947754 w 16682562"/>
                <a:gd name="connsiteY30" fmla="*/ 6618162 h 13652218"/>
                <a:gd name="connsiteX31" fmla="*/ 3499325 w 16682562"/>
                <a:gd name="connsiteY31" fmla="*/ 6175145 h 13652218"/>
                <a:gd name="connsiteX32" fmla="*/ 3680166 w 16682562"/>
                <a:gd name="connsiteY32" fmla="*/ 5298147 h 13652218"/>
                <a:gd name="connsiteX33" fmla="*/ 4186528 w 16682562"/>
                <a:gd name="connsiteY33" fmla="*/ 5307183 h 13652218"/>
                <a:gd name="connsiteX34" fmla="*/ 4837569 w 16682562"/>
                <a:gd name="connsiteY34" fmla="*/ 5777333 h 13652218"/>
                <a:gd name="connsiteX35" fmla="*/ 5352976 w 16682562"/>
                <a:gd name="connsiteY35" fmla="*/ 5695966 h 13652218"/>
                <a:gd name="connsiteX36" fmla="*/ 5741786 w 16682562"/>
                <a:gd name="connsiteY36" fmla="*/ 5325271 h 13652218"/>
                <a:gd name="connsiteX37" fmla="*/ 6157723 w 16682562"/>
                <a:gd name="connsiteY37" fmla="*/ 5162530 h 13652218"/>
                <a:gd name="connsiteX38" fmla="*/ 6745471 w 16682562"/>
                <a:gd name="connsiteY38" fmla="*/ 4592937 h 13652218"/>
                <a:gd name="connsiteX39" fmla="*/ 6890140 w 16682562"/>
                <a:gd name="connsiteY39" fmla="*/ 3743061 h 13652218"/>
                <a:gd name="connsiteX40" fmla="*/ 7568305 w 16682562"/>
                <a:gd name="connsiteY40" fmla="*/ 3173467 h 13652218"/>
                <a:gd name="connsiteX41" fmla="*/ 8137967 w 16682562"/>
                <a:gd name="connsiteY41" fmla="*/ 2730446 h 13652218"/>
                <a:gd name="connsiteX42" fmla="*/ 8463480 w 16682562"/>
                <a:gd name="connsiteY42" fmla="*/ 1925779 h 13652218"/>
                <a:gd name="connsiteX43" fmla="*/ 9024093 w 16682562"/>
                <a:gd name="connsiteY43" fmla="*/ 1573172 h 13652218"/>
                <a:gd name="connsiteX44" fmla="*/ 9675138 w 16682562"/>
                <a:gd name="connsiteY44" fmla="*/ 1220570 h 13652218"/>
                <a:gd name="connsiteX45" fmla="*/ 9558580 w 16682562"/>
                <a:gd name="connsiteY45" fmla="*/ 672286 h 13652218"/>
                <a:gd name="connsiteX46" fmla="*/ 10353296 w 16682562"/>
                <a:gd name="connsiteY46" fmla="*/ 2 h 13652218"/>
                <a:gd name="connsiteX47" fmla="*/ 8856118 w 16682562"/>
                <a:gd name="connsiteY47" fmla="*/ 3112310 h 13652218"/>
                <a:gd name="connsiteX48" fmla="*/ 9078849 w 16682562"/>
                <a:gd name="connsiteY48" fmla="*/ 3725874 h 13652218"/>
                <a:gd name="connsiteX49" fmla="*/ 9086459 w 16682562"/>
                <a:gd name="connsiteY49" fmla="*/ 4273852 h 13652218"/>
                <a:gd name="connsiteX50" fmla="*/ 9761321 w 16682562"/>
                <a:gd name="connsiteY50" fmla="*/ 4176706 h 13652218"/>
                <a:gd name="connsiteX51" fmla="*/ 10152517 w 16682562"/>
                <a:gd name="connsiteY51" fmla="*/ 4974976 h 13652218"/>
                <a:gd name="connsiteX52" fmla="*/ 11109603 w 16682562"/>
                <a:gd name="connsiteY52" fmla="*/ 5346450 h 13652218"/>
                <a:gd name="connsiteX53" fmla="*/ 11919572 w 16682562"/>
                <a:gd name="connsiteY53" fmla="*/ 5619972 h 13652218"/>
                <a:gd name="connsiteX54" fmla="*/ 12868275 w 16682562"/>
                <a:gd name="connsiteY54" fmla="*/ 5374761 h 13652218"/>
                <a:gd name="connsiteX55" fmla="*/ 13844296 w 16682562"/>
                <a:gd name="connsiteY55" fmla="*/ 4772926 h 13652218"/>
                <a:gd name="connsiteX56" fmla="*/ 13886291 w 16682562"/>
                <a:gd name="connsiteY56" fmla="*/ 3938558 h 13652218"/>
                <a:gd name="connsiteX57" fmla="*/ 14370431 w 16682562"/>
                <a:gd name="connsiteY57" fmla="*/ 4446910 h 13652218"/>
                <a:gd name="connsiteX58" fmla="*/ 15323320 w 16682562"/>
                <a:gd name="connsiteY58" fmla="*/ 4545183 h 13652218"/>
                <a:gd name="connsiteX59" fmla="*/ 16350939 w 16682562"/>
                <a:gd name="connsiteY59" fmla="*/ 4670042 h 13652218"/>
                <a:gd name="connsiteX60" fmla="*/ 16362364 w 16682562"/>
                <a:gd name="connsiteY60" fmla="*/ 4977322 h 13652218"/>
                <a:gd name="connsiteX61" fmla="*/ 16682563 w 16682562"/>
                <a:gd name="connsiteY61" fmla="*/ 5415225 h 13652218"/>
                <a:gd name="connsiteX0" fmla="*/ 16682563 w 16682562"/>
                <a:gd name="connsiteY0" fmla="*/ 4742941 h 12979934"/>
                <a:gd name="connsiteX1" fmla="*/ 16432262 w 16682562"/>
                <a:gd name="connsiteY1" fmla="*/ 5770327 h 12979934"/>
                <a:gd name="connsiteX2" fmla="*/ 16106317 w 16682562"/>
                <a:gd name="connsiteY2" fmla="*/ 6311631 h 12979934"/>
                <a:gd name="connsiteX3" fmla="*/ 16305649 w 16682562"/>
                <a:gd name="connsiteY3" fmla="*/ 6698960 h 12979934"/>
                <a:gd name="connsiteX4" fmla="*/ 16287189 w 16682562"/>
                <a:gd name="connsiteY4" fmla="*/ 7095567 h 12979934"/>
                <a:gd name="connsiteX5" fmla="*/ 16372801 w 16682562"/>
                <a:gd name="connsiteY5" fmla="*/ 7661832 h 12979934"/>
                <a:gd name="connsiteX6" fmla="*/ 16070155 w 16682562"/>
                <a:gd name="connsiteY6" fmla="*/ 7882218 h 12979934"/>
                <a:gd name="connsiteX7" fmla="*/ 15805690 w 16682562"/>
                <a:gd name="connsiteY7" fmla="*/ 8376409 h 12979934"/>
                <a:gd name="connsiteX8" fmla="*/ 15195097 w 16682562"/>
                <a:gd name="connsiteY8" fmla="*/ 8038152 h 12979934"/>
                <a:gd name="connsiteX9" fmla="*/ 15011380 w 16682562"/>
                <a:gd name="connsiteY9" fmla="*/ 8993002 h 12979934"/>
                <a:gd name="connsiteX10" fmla="*/ 14908430 w 16682562"/>
                <a:gd name="connsiteY10" fmla="*/ 9881897 h 12979934"/>
                <a:gd name="connsiteX11" fmla="*/ 14904684 w 16682562"/>
                <a:gd name="connsiteY11" fmla="*/ 10705336 h 12979934"/>
                <a:gd name="connsiteX12" fmla="*/ 14929927 w 16682562"/>
                <a:gd name="connsiteY12" fmla="*/ 12336256 h 12979934"/>
                <a:gd name="connsiteX13" fmla="*/ 12952786 w 16682562"/>
                <a:gd name="connsiteY13" fmla="*/ 12787009 h 12979934"/>
                <a:gd name="connsiteX14" fmla="*/ 11934663 w 16682562"/>
                <a:gd name="connsiteY14" fmla="*/ 12835259 h 12979934"/>
                <a:gd name="connsiteX15" fmla="*/ 8506848 w 16682562"/>
                <a:gd name="connsiteY15" fmla="*/ 12979934 h 12979934"/>
                <a:gd name="connsiteX16" fmla="*/ 7985095 w 16682562"/>
                <a:gd name="connsiteY16" fmla="*/ 12334852 h 12979934"/>
                <a:gd name="connsiteX17" fmla="*/ 7400308 w 16682562"/>
                <a:gd name="connsiteY17" fmla="*/ 12304707 h 12979934"/>
                <a:gd name="connsiteX18" fmla="*/ 6972273 w 16682562"/>
                <a:gd name="connsiteY18" fmla="*/ 12576004 h 12979934"/>
                <a:gd name="connsiteX19" fmla="*/ 5181729 w 16682562"/>
                <a:gd name="connsiteY19" fmla="*/ 12491605 h 12979934"/>
                <a:gd name="connsiteX20" fmla="*/ 4397998 w 16682562"/>
                <a:gd name="connsiteY20" fmla="*/ 11858588 h 12979934"/>
                <a:gd name="connsiteX21" fmla="*/ 2908896 w 16682562"/>
                <a:gd name="connsiteY21" fmla="*/ 11050734 h 12979934"/>
                <a:gd name="connsiteX22" fmla="*/ 1263043 w 16682562"/>
                <a:gd name="connsiteY22" fmla="*/ 10339341 h 12979934"/>
                <a:gd name="connsiteX23" fmla="*/ 485320 w 16682562"/>
                <a:gd name="connsiteY23" fmla="*/ 9887184 h 12979934"/>
                <a:gd name="connsiteX24" fmla="*/ 0 w 16682562"/>
                <a:gd name="connsiteY24" fmla="*/ 9594072 h 12979934"/>
                <a:gd name="connsiteX25" fmla="*/ 1003686 w 16682562"/>
                <a:gd name="connsiteY25" fmla="*/ 8848107 h 12979934"/>
                <a:gd name="connsiteX26" fmla="*/ 2902551 w 16682562"/>
                <a:gd name="connsiteY26" fmla="*/ 7663708 h 12979934"/>
                <a:gd name="connsiteX27" fmla="*/ 2558940 w 16682562"/>
                <a:gd name="connsiteY27" fmla="*/ 7130277 h 12979934"/>
                <a:gd name="connsiteX28" fmla="*/ 2402508 w 16682562"/>
                <a:gd name="connsiteY28" fmla="*/ 6443194 h 12979934"/>
                <a:gd name="connsiteX29" fmla="*/ 2730740 w 16682562"/>
                <a:gd name="connsiteY29" fmla="*/ 6416023 h 12979934"/>
                <a:gd name="connsiteX30" fmla="*/ 2947754 w 16682562"/>
                <a:gd name="connsiteY30" fmla="*/ 5945878 h 12979934"/>
                <a:gd name="connsiteX31" fmla="*/ 3499325 w 16682562"/>
                <a:gd name="connsiteY31" fmla="*/ 5502861 h 12979934"/>
                <a:gd name="connsiteX32" fmla="*/ 3680166 w 16682562"/>
                <a:gd name="connsiteY32" fmla="*/ 4625863 h 12979934"/>
                <a:gd name="connsiteX33" fmla="*/ 4186528 w 16682562"/>
                <a:gd name="connsiteY33" fmla="*/ 4634899 h 12979934"/>
                <a:gd name="connsiteX34" fmla="*/ 4837569 w 16682562"/>
                <a:gd name="connsiteY34" fmla="*/ 5105049 h 12979934"/>
                <a:gd name="connsiteX35" fmla="*/ 5352976 w 16682562"/>
                <a:gd name="connsiteY35" fmla="*/ 5023682 h 12979934"/>
                <a:gd name="connsiteX36" fmla="*/ 5741786 w 16682562"/>
                <a:gd name="connsiteY36" fmla="*/ 4652987 h 12979934"/>
                <a:gd name="connsiteX37" fmla="*/ 6157723 w 16682562"/>
                <a:gd name="connsiteY37" fmla="*/ 4490246 h 12979934"/>
                <a:gd name="connsiteX38" fmla="*/ 6745471 w 16682562"/>
                <a:gd name="connsiteY38" fmla="*/ 3920653 h 12979934"/>
                <a:gd name="connsiteX39" fmla="*/ 6890140 w 16682562"/>
                <a:gd name="connsiteY39" fmla="*/ 3070777 h 12979934"/>
                <a:gd name="connsiteX40" fmla="*/ 7568305 w 16682562"/>
                <a:gd name="connsiteY40" fmla="*/ 2501183 h 12979934"/>
                <a:gd name="connsiteX41" fmla="*/ 8137967 w 16682562"/>
                <a:gd name="connsiteY41" fmla="*/ 2058162 h 12979934"/>
                <a:gd name="connsiteX42" fmla="*/ 8463480 w 16682562"/>
                <a:gd name="connsiteY42" fmla="*/ 1253495 h 12979934"/>
                <a:gd name="connsiteX43" fmla="*/ 9024093 w 16682562"/>
                <a:gd name="connsiteY43" fmla="*/ 900888 h 12979934"/>
                <a:gd name="connsiteX44" fmla="*/ 9675138 w 16682562"/>
                <a:gd name="connsiteY44" fmla="*/ 548286 h 12979934"/>
                <a:gd name="connsiteX45" fmla="*/ 9558580 w 16682562"/>
                <a:gd name="connsiteY45" fmla="*/ 2 h 12979934"/>
                <a:gd name="connsiteX46" fmla="*/ 8856118 w 16682562"/>
                <a:gd name="connsiteY46" fmla="*/ 2440026 h 12979934"/>
                <a:gd name="connsiteX47" fmla="*/ 9078849 w 16682562"/>
                <a:gd name="connsiteY47" fmla="*/ 3053590 h 12979934"/>
                <a:gd name="connsiteX48" fmla="*/ 9086459 w 16682562"/>
                <a:gd name="connsiteY48" fmla="*/ 3601568 h 12979934"/>
                <a:gd name="connsiteX49" fmla="*/ 9761321 w 16682562"/>
                <a:gd name="connsiteY49" fmla="*/ 3504422 h 12979934"/>
                <a:gd name="connsiteX50" fmla="*/ 10152517 w 16682562"/>
                <a:gd name="connsiteY50" fmla="*/ 4302692 h 12979934"/>
                <a:gd name="connsiteX51" fmla="*/ 11109603 w 16682562"/>
                <a:gd name="connsiteY51" fmla="*/ 4674166 h 12979934"/>
                <a:gd name="connsiteX52" fmla="*/ 11919572 w 16682562"/>
                <a:gd name="connsiteY52" fmla="*/ 4947688 h 12979934"/>
                <a:gd name="connsiteX53" fmla="*/ 12868275 w 16682562"/>
                <a:gd name="connsiteY53" fmla="*/ 4702477 h 12979934"/>
                <a:gd name="connsiteX54" fmla="*/ 13844296 w 16682562"/>
                <a:gd name="connsiteY54" fmla="*/ 4100642 h 12979934"/>
                <a:gd name="connsiteX55" fmla="*/ 13886291 w 16682562"/>
                <a:gd name="connsiteY55" fmla="*/ 3266274 h 12979934"/>
                <a:gd name="connsiteX56" fmla="*/ 14370431 w 16682562"/>
                <a:gd name="connsiteY56" fmla="*/ 3774626 h 12979934"/>
                <a:gd name="connsiteX57" fmla="*/ 15323320 w 16682562"/>
                <a:gd name="connsiteY57" fmla="*/ 3872899 h 12979934"/>
                <a:gd name="connsiteX58" fmla="*/ 16350939 w 16682562"/>
                <a:gd name="connsiteY58" fmla="*/ 3997758 h 12979934"/>
                <a:gd name="connsiteX59" fmla="*/ 16362364 w 16682562"/>
                <a:gd name="connsiteY59" fmla="*/ 4305038 h 12979934"/>
                <a:gd name="connsiteX60" fmla="*/ 16682563 w 16682562"/>
                <a:gd name="connsiteY60" fmla="*/ 4742941 h 12979934"/>
                <a:gd name="connsiteX0" fmla="*/ 16682563 w 16682562"/>
                <a:gd name="connsiteY0" fmla="*/ 4194654 h 12431647"/>
                <a:gd name="connsiteX1" fmla="*/ 16432262 w 16682562"/>
                <a:gd name="connsiteY1" fmla="*/ 5222040 h 12431647"/>
                <a:gd name="connsiteX2" fmla="*/ 16106317 w 16682562"/>
                <a:gd name="connsiteY2" fmla="*/ 5763344 h 12431647"/>
                <a:gd name="connsiteX3" fmla="*/ 16305649 w 16682562"/>
                <a:gd name="connsiteY3" fmla="*/ 6150673 h 12431647"/>
                <a:gd name="connsiteX4" fmla="*/ 16287189 w 16682562"/>
                <a:gd name="connsiteY4" fmla="*/ 6547280 h 12431647"/>
                <a:gd name="connsiteX5" fmla="*/ 16372801 w 16682562"/>
                <a:gd name="connsiteY5" fmla="*/ 7113545 h 12431647"/>
                <a:gd name="connsiteX6" fmla="*/ 16070155 w 16682562"/>
                <a:gd name="connsiteY6" fmla="*/ 7333931 h 12431647"/>
                <a:gd name="connsiteX7" fmla="*/ 15805690 w 16682562"/>
                <a:gd name="connsiteY7" fmla="*/ 7828122 h 12431647"/>
                <a:gd name="connsiteX8" fmla="*/ 15195097 w 16682562"/>
                <a:gd name="connsiteY8" fmla="*/ 7489865 h 12431647"/>
                <a:gd name="connsiteX9" fmla="*/ 15011380 w 16682562"/>
                <a:gd name="connsiteY9" fmla="*/ 8444715 h 12431647"/>
                <a:gd name="connsiteX10" fmla="*/ 14908430 w 16682562"/>
                <a:gd name="connsiteY10" fmla="*/ 9333610 h 12431647"/>
                <a:gd name="connsiteX11" fmla="*/ 14904684 w 16682562"/>
                <a:gd name="connsiteY11" fmla="*/ 10157049 h 12431647"/>
                <a:gd name="connsiteX12" fmla="*/ 14929927 w 16682562"/>
                <a:gd name="connsiteY12" fmla="*/ 11787969 h 12431647"/>
                <a:gd name="connsiteX13" fmla="*/ 12952786 w 16682562"/>
                <a:gd name="connsiteY13" fmla="*/ 12238722 h 12431647"/>
                <a:gd name="connsiteX14" fmla="*/ 11934663 w 16682562"/>
                <a:gd name="connsiteY14" fmla="*/ 12286972 h 12431647"/>
                <a:gd name="connsiteX15" fmla="*/ 8506848 w 16682562"/>
                <a:gd name="connsiteY15" fmla="*/ 12431647 h 12431647"/>
                <a:gd name="connsiteX16" fmla="*/ 7985095 w 16682562"/>
                <a:gd name="connsiteY16" fmla="*/ 11786565 h 12431647"/>
                <a:gd name="connsiteX17" fmla="*/ 7400308 w 16682562"/>
                <a:gd name="connsiteY17" fmla="*/ 11756420 h 12431647"/>
                <a:gd name="connsiteX18" fmla="*/ 6972273 w 16682562"/>
                <a:gd name="connsiteY18" fmla="*/ 12027717 h 12431647"/>
                <a:gd name="connsiteX19" fmla="*/ 5181729 w 16682562"/>
                <a:gd name="connsiteY19" fmla="*/ 11943318 h 12431647"/>
                <a:gd name="connsiteX20" fmla="*/ 4397998 w 16682562"/>
                <a:gd name="connsiteY20" fmla="*/ 11310301 h 12431647"/>
                <a:gd name="connsiteX21" fmla="*/ 2908896 w 16682562"/>
                <a:gd name="connsiteY21" fmla="*/ 10502447 h 12431647"/>
                <a:gd name="connsiteX22" fmla="*/ 1263043 w 16682562"/>
                <a:gd name="connsiteY22" fmla="*/ 9791054 h 12431647"/>
                <a:gd name="connsiteX23" fmla="*/ 485320 w 16682562"/>
                <a:gd name="connsiteY23" fmla="*/ 9338897 h 12431647"/>
                <a:gd name="connsiteX24" fmla="*/ 0 w 16682562"/>
                <a:gd name="connsiteY24" fmla="*/ 9045785 h 12431647"/>
                <a:gd name="connsiteX25" fmla="*/ 1003686 w 16682562"/>
                <a:gd name="connsiteY25" fmla="*/ 8299820 h 12431647"/>
                <a:gd name="connsiteX26" fmla="*/ 2902551 w 16682562"/>
                <a:gd name="connsiteY26" fmla="*/ 7115421 h 12431647"/>
                <a:gd name="connsiteX27" fmla="*/ 2558940 w 16682562"/>
                <a:gd name="connsiteY27" fmla="*/ 6581990 h 12431647"/>
                <a:gd name="connsiteX28" fmla="*/ 2402508 w 16682562"/>
                <a:gd name="connsiteY28" fmla="*/ 5894907 h 12431647"/>
                <a:gd name="connsiteX29" fmla="*/ 2730740 w 16682562"/>
                <a:gd name="connsiteY29" fmla="*/ 5867736 h 12431647"/>
                <a:gd name="connsiteX30" fmla="*/ 2947754 w 16682562"/>
                <a:gd name="connsiteY30" fmla="*/ 5397591 h 12431647"/>
                <a:gd name="connsiteX31" fmla="*/ 3499325 w 16682562"/>
                <a:gd name="connsiteY31" fmla="*/ 4954574 h 12431647"/>
                <a:gd name="connsiteX32" fmla="*/ 3680166 w 16682562"/>
                <a:gd name="connsiteY32" fmla="*/ 4077576 h 12431647"/>
                <a:gd name="connsiteX33" fmla="*/ 4186528 w 16682562"/>
                <a:gd name="connsiteY33" fmla="*/ 4086612 h 12431647"/>
                <a:gd name="connsiteX34" fmla="*/ 4837569 w 16682562"/>
                <a:gd name="connsiteY34" fmla="*/ 4556762 h 12431647"/>
                <a:gd name="connsiteX35" fmla="*/ 5352976 w 16682562"/>
                <a:gd name="connsiteY35" fmla="*/ 4475395 h 12431647"/>
                <a:gd name="connsiteX36" fmla="*/ 5741786 w 16682562"/>
                <a:gd name="connsiteY36" fmla="*/ 4104700 h 12431647"/>
                <a:gd name="connsiteX37" fmla="*/ 6157723 w 16682562"/>
                <a:gd name="connsiteY37" fmla="*/ 3941959 h 12431647"/>
                <a:gd name="connsiteX38" fmla="*/ 6745471 w 16682562"/>
                <a:gd name="connsiteY38" fmla="*/ 3372366 h 12431647"/>
                <a:gd name="connsiteX39" fmla="*/ 6890140 w 16682562"/>
                <a:gd name="connsiteY39" fmla="*/ 2522490 h 12431647"/>
                <a:gd name="connsiteX40" fmla="*/ 7568305 w 16682562"/>
                <a:gd name="connsiteY40" fmla="*/ 1952896 h 12431647"/>
                <a:gd name="connsiteX41" fmla="*/ 8137967 w 16682562"/>
                <a:gd name="connsiteY41" fmla="*/ 1509875 h 12431647"/>
                <a:gd name="connsiteX42" fmla="*/ 8463480 w 16682562"/>
                <a:gd name="connsiteY42" fmla="*/ 705208 h 12431647"/>
                <a:gd name="connsiteX43" fmla="*/ 9024093 w 16682562"/>
                <a:gd name="connsiteY43" fmla="*/ 352601 h 12431647"/>
                <a:gd name="connsiteX44" fmla="*/ 9675138 w 16682562"/>
                <a:gd name="connsiteY44" fmla="*/ -1 h 12431647"/>
                <a:gd name="connsiteX45" fmla="*/ 8856118 w 16682562"/>
                <a:gd name="connsiteY45" fmla="*/ 1891739 h 12431647"/>
                <a:gd name="connsiteX46" fmla="*/ 9078849 w 16682562"/>
                <a:gd name="connsiteY46" fmla="*/ 2505303 h 12431647"/>
                <a:gd name="connsiteX47" fmla="*/ 9086459 w 16682562"/>
                <a:gd name="connsiteY47" fmla="*/ 3053281 h 12431647"/>
                <a:gd name="connsiteX48" fmla="*/ 9761321 w 16682562"/>
                <a:gd name="connsiteY48" fmla="*/ 2956135 h 12431647"/>
                <a:gd name="connsiteX49" fmla="*/ 10152517 w 16682562"/>
                <a:gd name="connsiteY49" fmla="*/ 3754405 h 12431647"/>
                <a:gd name="connsiteX50" fmla="*/ 11109603 w 16682562"/>
                <a:gd name="connsiteY50" fmla="*/ 4125879 h 12431647"/>
                <a:gd name="connsiteX51" fmla="*/ 11919572 w 16682562"/>
                <a:gd name="connsiteY51" fmla="*/ 4399401 h 12431647"/>
                <a:gd name="connsiteX52" fmla="*/ 12868275 w 16682562"/>
                <a:gd name="connsiteY52" fmla="*/ 4154190 h 12431647"/>
                <a:gd name="connsiteX53" fmla="*/ 13844296 w 16682562"/>
                <a:gd name="connsiteY53" fmla="*/ 3552355 h 12431647"/>
                <a:gd name="connsiteX54" fmla="*/ 13886291 w 16682562"/>
                <a:gd name="connsiteY54" fmla="*/ 2717987 h 12431647"/>
                <a:gd name="connsiteX55" fmla="*/ 14370431 w 16682562"/>
                <a:gd name="connsiteY55" fmla="*/ 3226339 h 12431647"/>
                <a:gd name="connsiteX56" fmla="*/ 15323320 w 16682562"/>
                <a:gd name="connsiteY56" fmla="*/ 3324612 h 12431647"/>
                <a:gd name="connsiteX57" fmla="*/ 16350939 w 16682562"/>
                <a:gd name="connsiteY57" fmla="*/ 3449471 h 12431647"/>
                <a:gd name="connsiteX58" fmla="*/ 16362364 w 16682562"/>
                <a:gd name="connsiteY58" fmla="*/ 3756751 h 12431647"/>
                <a:gd name="connsiteX59" fmla="*/ 16682563 w 16682562"/>
                <a:gd name="connsiteY59" fmla="*/ 4194654 h 12431647"/>
                <a:gd name="connsiteX0" fmla="*/ 16682563 w 16682562"/>
                <a:gd name="connsiteY0" fmla="*/ 3842051 h 12079044"/>
                <a:gd name="connsiteX1" fmla="*/ 16432262 w 16682562"/>
                <a:gd name="connsiteY1" fmla="*/ 4869437 h 12079044"/>
                <a:gd name="connsiteX2" fmla="*/ 16106317 w 16682562"/>
                <a:gd name="connsiteY2" fmla="*/ 5410741 h 12079044"/>
                <a:gd name="connsiteX3" fmla="*/ 16305649 w 16682562"/>
                <a:gd name="connsiteY3" fmla="*/ 5798070 h 12079044"/>
                <a:gd name="connsiteX4" fmla="*/ 16287189 w 16682562"/>
                <a:gd name="connsiteY4" fmla="*/ 6194677 h 12079044"/>
                <a:gd name="connsiteX5" fmla="*/ 16372801 w 16682562"/>
                <a:gd name="connsiteY5" fmla="*/ 6760942 h 12079044"/>
                <a:gd name="connsiteX6" fmla="*/ 16070155 w 16682562"/>
                <a:gd name="connsiteY6" fmla="*/ 6981328 h 12079044"/>
                <a:gd name="connsiteX7" fmla="*/ 15805690 w 16682562"/>
                <a:gd name="connsiteY7" fmla="*/ 7475519 h 12079044"/>
                <a:gd name="connsiteX8" fmla="*/ 15195097 w 16682562"/>
                <a:gd name="connsiteY8" fmla="*/ 7137262 h 12079044"/>
                <a:gd name="connsiteX9" fmla="*/ 15011380 w 16682562"/>
                <a:gd name="connsiteY9" fmla="*/ 8092112 h 12079044"/>
                <a:gd name="connsiteX10" fmla="*/ 14908430 w 16682562"/>
                <a:gd name="connsiteY10" fmla="*/ 8981007 h 12079044"/>
                <a:gd name="connsiteX11" fmla="*/ 14904684 w 16682562"/>
                <a:gd name="connsiteY11" fmla="*/ 9804446 h 12079044"/>
                <a:gd name="connsiteX12" fmla="*/ 14929927 w 16682562"/>
                <a:gd name="connsiteY12" fmla="*/ 11435366 h 12079044"/>
                <a:gd name="connsiteX13" fmla="*/ 12952786 w 16682562"/>
                <a:gd name="connsiteY13" fmla="*/ 11886119 h 12079044"/>
                <a:gd name="connsiteX14" fmla="*/ 11934663 w 16682562"/>
                <a:gd name="connsiteY14" fmla="*/ 11934369 h 12079044"/>
                <a:gd name="connsiteX15" fmla="*/ 8506848 w 16682562"/>
                <a:gd name="connsiteY15" fmla="*/ 12079044 h 12079044"/>
                <a:gd name="connsiteX16" fmla="*/ 7985095 w 16682562"/>
                <a:gd name="connsiteY16" fmla="*/ 11433962 h 12079044"/>
                <a:gd name="connsiteX17" fmla="*/ 7400308 w 16682562"/>
                <a:gd name="connsiteY17" fmla="*/ 11403817 h 12079044"/>
                <a:gd name="connsiteX18" fmla="*/ 6972273 w 16682562"/>
                <a:gd name="connsiteY18" fmla="*/ 11675114 h 12079044"/>
                <a:gd name="connsiteX19" fmla="*/ 5181729 w 16682562"/>
                <a:gd name="connsiteY19" fmla="*/ 11590715 h 12079044"/>
                <a:gd name="connsiteX20" fmla="*/ 4397998 w 16682562"/>
                <a:gd name="connsiteY20" fmla="*/ 10957698 h 12079044"/>
                <a:gd name="connsiteX21" fmla="*/ 2908896 w 16682562"/>
                <a:gd name="connsiteY21" fmla="*/ 10149844 h 12079044"/>
                <a:gd name="connsiteX22" fmla="*/ 1263043 w 16682562"/>
                <a:gd name="connsiteY22" fmla="*/ 9438451 h 12079044"/>
                <a:gd name="connsiteX23" fmla="*/ 485320 w 16682562"/>
                <a:gd name="connsiteY23" fmla="*/ 8986294 h 12079044"/>
                <a:gd name="connsiteX24" fmla="*/ 0 w 16682562"/>
                <a:gd name="connsiteY24" fmla="*/ 8693182 h 12079044"/>
                <a:gd name="connsiteX25" fmla="*/ 1003686 w 16682562"/>
                <a:gd name="connsiteY25" fmla="*/ 7947217 h 12079044"/>
                <a:gd name="connsiteX26" fmla="*/ 2902551 w 16682562"/>
                <a:gd name="connsiteY26" fmla="*/ 6762818 h 12079044"/>
                <a:gd name="connsiteX27" fmla="*/ 2558940 w 16682562"/>
                <a:gd name="connsiteY27" fmla="*/ 6229387 h 12079044"/>
                <a:gd name="connsiteX28" fmla="*/ 2402508 w 16682562"/>
                <a:gd name="connsiteY28" fmla="*/ 5542304 h 12079044"/>
                <a:gd name="connsiteX29" fmla="*/ 2730740 w 16682562"/>
                <a:gd name="connsiteY29" fmla="*/ 5515133 h 12079044"/>
                <a:gd name="connsiteX30" fmla="*/ 2947754 w 16682562"/>
                <a:gd name="connsiteY30" fmla="*/ 5044988 h 12079044"/>
                <a:gd name="connsiteX31" fmla="*/ 3499325 w 16682562"/>
                <a:gd name="connsiteY31" fmla="*/ 4601971 h 12079044"/>
                <a:gd name="connsiteX32" fmla="*/ 3680166 w 16682562"/>
                <a:gd name="connsiteY32" fmla="*/ 3724973 h 12079044"/>
                <a:gd name="connsiteX33" fmla="*/ 4186528 w 16682562"/>
                <a:gd name="connsiteY33" fmla="*/ 3734009 h 12079044"/>
                <a:gd name="connsiteX34" fmla="*/ 4837569 w 16682562"/>
                <a:gd name="connsiteY34" fmla="*/ 4204159 h 12079044"/>
                <a:gd name="connsiteX35" fmla="*/ 5352976 w 16682562"/>
                <a:gd name="connsiteY35" fmla="*/ 4122792 h 12079044"/>
                <a:gd name="connsiteX36" fmla="*/ 5741786 w 16682562"/>
                <a:gd name="connsiteY36" fmla="*/ 3752097 h 12079044"/>
                <a:gd name="connsiteX37" fmla="*/ 6157723 w 16682562"/>
                <a:gd name="connsiteY37" fmla="*/ 3589356 h 12079044"/>
                <a:gd name="connsiteX38" fmla="*/ 6745471 w 16682562"/>
                <a:gd name="connsiteY38" fmla="*/ 3019763 h 12079044"/>
                <a:gd name="connsiteX39" fmla="*/ 6890140 w 16682562"/>
                <a:gd name="connsiteY39" fmla="*/ 2169887 h 12079044"/>
                <a:gd name="connsiteX40" fmla="*/ 7568305 w 16682562"/>
                <a:gd name="connsiteY40" fmla="*/ 1600293 h 12079044"/>
                <a:gd name="connsiteX41" fmla="*/ 8137967 w 16682562"/>
                <a:gd name="connsiteY41" fmla="*/ 1157272 h 12079044"/>
                <a:gd name="connsiteX42" fmla="*/ 8463480 w 16682562"/>
                <a:gd name="connsiteY42" fmla="*/ 352605 h 12079044"/>
                <a:gd name="connsiteX43" fmla="*/ 9024093 w 16682562"/>
                <a:gd name="connsiteY43" fmla="*/ -2 h 12079044"/>
                <a:gd name="connsiteX44" fmla="*/ 8856118 w 16682562"/>
                <a:gd name="connsiteY44" fmla="*/ 1539136 h 12079044"/>
                <a:gd name="connsiteX45" fmla="*/ 9078849 w 16682562"/>
                <a:gd name="connsiteY45" fmla="*/ 2152700 h 12079044"/>
                <a:gd name="connsiteX46" fmla="*/ 9086459 w 16682562"/>
                <a:gd name="connsiteY46" fmla="*/ 2700678 h 12079044"/>
                <a:gd name="connsiteX47" fmla="*/ 9761321 w 16682562"/>
                <a:gd name="connsiteY47" fmla="*/ 2603532 h 12079044"/>
                <a:gd name="connsiteX48" fmla="*/ 10152517 w 16682562"/>
                <a:gd name="connsiteY48" fmla="*/ 3401802 h 12079044"/>
                <a:gd name="connsiteX49" fmla="*/ 11109603 w 16682562"/>
                <a:gd name="connsiteY49" fmla="*/ 3773276 h 12079044"/>
                <a:gd name="connsiteX50" fmla="*/ 11919572 w 16682562"/>
                <a:gd name="connsiteY50" fmla="*/ 4046798 h 12079044"/>
                <a:gd name="connsiteX51" fmla="*/ 12868275 w 16682562"/>
                <a:gd name="connsiteY51" fmla="*/ 3801587 h 12079044"/>
                <a:gd name="connsiteX52" fmla="*/ 13844296 w 16682562"/>
                <a:gd name="connsiteY52" fmla="*/ 3199752 h 12079044"/>
                <a:gd name="connsiteX53" fmla="*/ 13886291 w 16682562"/>
                <a:gd name="connsiteY53" fmla="*/ 2365384 h 12079044"/>
                <a:gd name="connsiteX54" fmla="*/ 14370431 w 16682562"/>
                <a:gd name="connsiteY54" fmla="*/ 2873736 h 12079044"/>
                <a:gd name="connsiteX55" fmla="*/ 15323320 w 16682562"/>
                <a:gd name="connsiteY55" fmla="*/ 2972009 h 12079044"/>
                <a:gd name="connsiteX56" fmla="*/ 16350939 w 16682562"/>
                <a:gd name="connsiteY56" fmla="*/ 3096868 h 12079044"/>
                <a:gd name="connsiteX57" fmla="*/ 16362364 w 16682562"/>
                <a:gd name="connsiteY57" fmla="*/ 3404148 h 12079044"/>
                <a:gd name="connsiteX58" fmla="*/ 16682563 w 16682562"/>
                <a:gd name="connsiteY58" fmla="*/ 3842051 h 12079044"/>
                <a:gd name="connsiteX0" fmla="*/ 16682563 w 16682562"/>
                <a:gd name="connsiteY0" fmla="*/ 3489448 h 11726441"/>
                <a:gd name="connsiteX1" fmla="*/ 16432262 w 16682562"/>
                <a:gd name="connsiteY1" fmla="*/ 4516834 h 11726441"/>
                <a:gd name="connsiteX2" fmla="*/ 16106317 w 16682562"/>
                <a:gd name="connsiteY2" fmla="*/ 5058138 h 11726441"/>
                <a:gd name="connsiteX3" fmla="*/ 16305649 w 16682562"/>
                <a:gd name="connsiteY3" fmla="*/ 5445467 h 11726441"/>
                <a:gd name="connsiteX4" fmla="*/ 16287189 w 16682562"/>
                <a:gd name="connsiteY4" fmla="*/ 5842074 h 11726441"/>
                <a:gd name="connsiteX5" fmla="*/ 16372801 w 16682562"/>
                <a:gd name="connsiteY5" fmla="*/ 6408339 h 11726441"/>
                <a:gd name="connsiteX6" fmla="*/ 16070155 w 16682562"/>
                <a:gd name="connsiteY6" fmla="*/ 6628725 h 11726441"/>
                <a:gd name="connsiteX7" fmla="*/ 15805690 w 16682562"/>
                <a:gd name="connsiteY7" fmla="*/ 7122916 h 11726441"/>
                <a:gd name="connsiteX8" fmla="*/ 15195097 w 16682562"/>
                <a:gd name="connsiteY8" fmla="*/ 6784659 h 11726441"/>
                <a:gd name="connsiteX9" fmla="*/ 15011380 w 16682562"/>
                <a:gd name="connsiteY9" fmla="*/ 7739509 h 11726441"/>
                <a:gd name="connsiteX10" fmla="*/ 14908430 w 16682562"/>
                <a:gd name="connsiteY10" fmla="*/ 8628404 h 11726441"/>
                <a:gd name="connsiteX11" fmla="*/ 14904684 w 16682562"/>
                <a:gd name="connsiteY11" fmla="*/ 9451843 h 11726441"/>
                <a:gd name="connsiteX12" fmla="*/ 14929927 w 16682562"/>
                <a:gd name="connsiteY12" fmla="*/ 11082763 h 11726441"/>
                <a:gd name="connsiteX13" fmla="*/ 12952786 w 16682562"/>
                <a:gd name="connsiteY13" fmla="*/ 11533516 h 11726441"/>
                <a:gd name="connsiteX14" fmla="*/ 11934663 w 16682562"/>
                <a:gd name="connsiteY14" fmla="*/ 11581766 h 11726441"/>
                <a:gd name="connsiteX15" fmla="*/ 8506848 w 16682562"/>
                <a:gd name="connsiteY15" fmla="*/ 11726441 h 11726441"/>
                <a:gd name="connsiteX16" fmla="*/ 7985095 w 16682562"/>
                <a:gd name="connsiteY16" fmla="*/ 11081359 h 11726441"/>
                <a:gd name="connsiteX17" fmla="*/ 7400308 w 16682562"/>
                <a:gd name="connsiteY17" fmla="*/ 11051214 h 11726441"/>
                <a:gd name="connsiteX18" fmla="*/ 6972273 w 16682562"/>
                <a:gd name="connsiteY18" fmla="*/ 11322511 h 11726441"/>
                <a:gd name="connsiteX19" fmla="*/ 5181729 w 16682562"/>
                <a:gd name="connsiteY19" fmla="*/ 11238112 h 11726441"/>
                <a:gd name="connsiteX20" fmla="*/ 4397998 w 16682562"/>
                <a:gd name="connsiteY20" fmla="*/ 10605095 h 11726441"/>
                <a:gd name="connsiteX21" fmla="*/ 2908896 w 16682562"/>
                <a:gd name="connsiteY21" fmla="*/ 9797241 h 11726441"/>
                <a:gd name="connsiteX22" fmla="*/ 1263043 w 16682562"/>
                <a:gd name="connsiteY22" fmla="*/ 9085848 h 11726441"/>
                <a:gd name="connsiteX23" fmla="*/ 485320 w 16682562"/>
                <a:gd name="connsiteY23" fmla="*/ 8633691 h 11726441"/>
                <a:gd name="connsiteX24" fmla="*/ 0 w 16682562"/>
                <a:gd name="connsiteY24" fmla="*/ 8340579 h 11726441"/>
                <a:gd name="connsiteX25" fmla="*/ 1003686 w 16682562"/>
                <a:gd name="connsiteY25" fmla="*/ 7594614 h 11726441"/>
                <a:gd name="connsiteX26" fmla="*/ 2902551 w 16682562"/>
                <a:gd name="connsiteY26" fmla="*/ 6410215 h 11726441"/>
                <a:gd name="connsiteX27" fmla="*/ 2558940 w 16682562"/>
                <a:gd name="connsiteY27" fmla="*/ 5876784 h 11726441"/>
                <a:gd name="connsiteX28" fmla="*/ 2402508 w 16682562"/>
                <a:gd name="connsiteY28" fmla="*/ 5189701 h 11726441"/>
                <a:gd name="connsiteX29" fmla="*/ 2730740 w 16682562"/>
                <a:gd name="connsiteY29" fmla="*/ 5162530 h 11726441"/>
                <a:gd name="connsiteX30" fmla="*/ 2947754 w 16682562"/>
                <a:gd name="connsiteY30" fmla="*/ 4692385 h 11726441"/>
                <a:gd name="connsiteX31" fmla="*/ 3499325 w 16682562"/>
                <a:gd name="connsiteY31" fmla="*/ 4249368 h 11726441"/>
                <a:gd name="connsiteX32" fmla="*/ 3680166 w 16682562"/>
                <a:gd name="connsiteY32" fmla="*/ 3372370 h 11726441"/>
                <a:gd name="connsiteX33" fmla="*/ 4186528 w 16682562"/>
                <a:gd name="connsiteY33" fmla="*/ 3381406 h 11726441"/>
                <a:gd name="connsiteX34" fmla="*/ 4837569 w 16682562"/>
                <a:gd name="connsiteY34" fmla="*/ 3851556 h 11726441"/>
                <a:gd name="connsiteX35" fmla="*/ 5352976 w 16682562"/>
                <a:gd name="connsiteY35" fmla="*/ 3770189 h 11726441"/>
                <a:gd name="connsiteX36" fmla="*/ 5741786 w 16682562"/>
                <a:gd name="connsiteY36" fmla="*/ 3399494 h 11726441"/>
                <a:gd name="connsiteX37" fmla="*/ 6157723 w 16682562"/>
                <a:gd name="connsiteY37" fmla="*/ 3236753 h 11726441"/>
                <a:gd name="connsiteX38" fmla="*/ 6745471 w 16682562"/>
                <a:gd name="connsiteY38" fmla="*/ 2667160 h 11726441"/>
                <a:gd name="connsiteX39" fmla="*/ 6890140 w 16682562"/>
                <a:gd name="connsiteY39" fmla="*/ 1817284 h 11726441"/>
                <a:gd name="connsiteX40" fmla="*/ 7568305 w 16682562"/>
                <a:gd name="connsiteY40" fmla="*/ 1247690 h 11726441"/>
                <a:gd name="connsiteX41" fmla="*/ 8137967 w 16682562"/>
                <a:gd name="connsiteY41" fmla="*/ 804669 h 11726441"/>
                <a:gd name="connsiteX42" fmla="*/ 8463480 w 16682562"/>
                <a:gd name="connsiteY42" fmla="*/ 2 h 11726441"/>
                <a:gd name="connsiteX43" fmla="*/ 8856118 w 16682562"/>
                <a:gd name="connsiteY43" fmla="*/ 1186533 h 11726441"/>
                <a:gd name="connsiteX44" fmla="*/ 9078849 w 16682562"/>
                <a:gd name="connsiteY44" fmla="*/ 1800097 h 11726441"/>
                <a:gd name="connsiteX45" fmla="*/ 9086459 w 16682562"/>
                <a:gd name="connsiteY45" fmla="*/ 2348075 h 11726441"/>
                <a:gd name="connsiteX46" fmla="*/ 9761321 w 16682562"/>
                <a:gd name="connsiteY46" fmla="*/ 2250929 h 11726441"/>
                <a:gd name="connsiteX47" fmla="*/ 10152517 w 16682562"/>
                <a:gd name="connsiteY47" fmla="*/ 3049199 h 11726441"/>
                <a:gd name="connsiteX48" fmla="*/ 11109603 w 16682562"/>
                <a:gd name="connsiteY48" fmla="*/ 3420673 h 11726441"/>
                <a:gd name="connsiteX49" fmla="*/ 11919572 w 16682562"/>
                <a:gd name="connsiteY49" fmla="*/ 3694195 h 11726441"/>
                <a:gd name="connsiteX50" fmla="*/ 12868275 w 16682562"/>
                <a:gd name="connsiteY50" fmla="*/ 3448984 h 11726441"/>
                <a:gd name="connsiteX51" fmla="*/ 13844296 w 16682562"/>
                <a:gd name="connsiteY51" fmla="*/ 2847149 h 11726441"/>
                <a:gd name="connsiteX52" fmla="*/ 13886291 w 16682562"/>
                <a:gd name="connsiteY52" fmla="*/ 2012781 h 11726441"/>
                <a:gd name="connsiteX53" fmla="*/ 14370431 w 16682562"/>
                <a:gd name="connsiteY53" fmla="*/ 2521133 h 11726441"/>
                <a:gd name="connsiteX54" fmla="*/ 15323320 w 16682562"/>
                <a:gd name="connsiteY54" fmla="*/ 2619406 h 11726441"/>
                <a:gd name="connsiteX55" fmla="*/ 16350939 w 16682562"/>
                <a:gd name="connsiteY55" fmla="*/ 2744265 h 11726441"/>
                <a:gd name="connsiteX56" fmla="*/ 16362364 w 16682562"/>
                <a:gd name="connsiteY56" fmla="*/ 3051545 h 11726441"/>
                <a:gd name="connsiteX57" fmla="*/ 16682563 w 16682562"/>
                <a:gd name="connsiteY57" fmla="*/ 3489448 h 11726441"/>
                <a:gd name="connsiteX0" fmla="*/ 16682563 w 16682562"/>
                <a:gd name="connsiteY0" fmla="*/ 2684781 h 10921774"/>
                <a:gd name="connsiteX1" fmla="*/ 16432262 w 16682562"/>
                <a:gd name="connsiteY1" fmla="*/ 3712167 h 10921774"/>
                <a:gd name="connsiteX2" fmla="*/ 16106317 w 16682562"/>
                <a:gd name="connsiteY2" fmla="*/ 4253471 h 10921774"/>
                <a:gd name="connsiteX3" fmla="*/ 16305649 w 16682562"/>
                <a:gd name="connsiteY3" fmla="*/ 4640800 h 10921774"/>
                <a:gd name="connsiteX4" fmla="*/ 16287189 w 16682562"/>
                <a:gd name="connsiteY4" fmla="*/ 5037407 h 10921774"/>
                <a:gd name="connsiteX5" fmla="*/ 16372801 w 16682562"/>
                <a:gd name="connsiteY5" fmla="*/ 5603672 h 10921774"/>
                <a:gd name="connsiteX6" fmla="*/ 16070155 w 16682562"/>
                <a:gd name="connsiteY6" fmla="*/ 5824058 h 10921774"/>
                <a:gd name="connsiteX7" fmla="*/ 15805690 w 16682562"/>
                <a:gd name="connsiteY7" fmla="*/ 6318249 h 10921774"/>
                <a:gd name="connsiteX8" fmla="*/ 15195097 w 16682562"/>
                <a:gd name="connsiteY8" fmla="*/ 5979992 h 10921774"/>
                <a:gd name="connsiteX9" fmla="*/ 15011380 w 16682562"/>
                <a:gd name="connsiteY9" fmla="*/ 6934842 h 10921774"/>
                <a:gd name="connsiteX10" fmla="*/ 14908430 w 16682562"/>
                <a:gd name="connsiteY10" fmla="*/ 7823737 h 10921774"/>
                <a:gd name="connsiteX11" fmla="*/ 14904684 w 16682562"/>
                <a:gd name="connsiteY11" fmla="*/ 8647176 h 10921774"/>
                <a:gd name="connsiteX12" fmla="*/ 14929927 w 16682562"/>
                <a:gd name="connsiteY12" fmla="*/ 10278096 h 10921774"/>
                <a:gd name="connsiteX13" fmla="*/ 12952786 w 16682562"/>
                <a:gd name="connsiteY13" fmla="*/ 10728849 h 10921774"/>
                <a:gd name="connsiteX14" fmla="*/ 11934663 w 16682562"/>
                <a:gd name="connsiteY14" fmla="*/ 10777099 h 10921774"/>
                <a:gd name="connsiteX15" fmla="*/ 8506848 w 16682562"/>
                <a:gd name="connsiteY15" fmla="*/ 10921774 h 10921774"/>
                <a:gd name="connsiteX16" fmla="*/ 7985095 w 16682562"/>
                <a:gd name="connsiteY16" fmla="*/ 10276692 h 10921774"/>
                <a:gd name="connsiteX17" fmla="*/ 7400308 w 16682562"/>
                <a:gd name="connsiteY17" fmla="*/ 10246547 h 10921774"/>
                <a:gd name="connsiteX18" fmla="*/ 6972273 w 16682562"/>
                <a:gd name="connsiteY18" fmla="*/ 10517844 h 10921774"/>
                <a:gd name="connsiteX19" fmla="*/ 5181729 w 16682562"/>
                <a:gd name="connsiteY19" fmla="*/ 10433445 h 10921774"/>
                <a:gd name="connsiteX20" fmla="*/ 4397998 w 16682562"/>
                <a:gd name="connsiteY20" fmla="*/ 9800428 h 10921774"/>
                <a:gd name="connsiteX21" fmla="*/ 2908896 w 16682562"/>
                <a:gd name="connsiteY21" fmla="*/ 8992574 h 10921774"/>
                <a:gd name="connsiteX22" fmla="*/ 1263043 w 16682562"/>
                <a:gd name="connsiteY22" fmla="*/ 8281181 h 10921774"/>
                <a:gd name="connsiteX23" fmla="*/ 485320 w 16682562"/>
                <a:gd name="connsiteY23" fmla="*/ 7829024 h 10921774"/>
                <a:gd name="connsiteX24" fmla="*/ 0 w 16682562"/>
                <a:gd name="connsiteY24" fmla="*/ 7535912 h 10921774"/>
                <a:gd name="connsiteX25" fmla="*/ 1003686 w 16682562"/>
                <a:gd name="connsiteY25" fmla="*/ 6789947 h 10921774"/>
                <a:gd name="connsiteX26" fmla="*/ 2902551 w 16682562"/>
                <a:gd name="connsiteY26" fmla="*/ 5605548 h 10921774"/>
                <a:gd name="connsiteX27" fmla="*/ 2558940 w 16682562"/>
                <a:gd name="connsiteY27" fmla="*/ 5072117 h 10921774"/>
                <a:gd name="connsiteX28" fmla="*/ 2402508 w 16682562"/>
                <a:gd name="connsiteY28" fmla="*/ 4385034 h 10921774"/>
                <a:gd name="connsiteX29" fmla="*/ 2730740 w 16682562"/>
                <a:gd name="connsiteY29" fmla="*/ 4357863 h 10921774"/>
                <a:gd name="connsiteX30" fmla="*/ 2947754 w 16682562"/>
                <a:gd name="connsiteY30" fmla="*/ 3887718 h 10921774"/>
                <a:gd name="connsiteX31" fmla="*/ 3499325 w 16682562"/>
                <a:gd name="connsiteY31" fmla="*/ 3444701 h 10921774"/>
                <a:gd name="connsiteX32" fmla="*/ 3680166 w 16682562"/>
                <a:gd name="connsiteY32" fmla="*/ 2567703 h 10921774"/>
                <a:gd name="connsiteX33" fmla="*/ 4186528 w 16682562"/>
                <a:gd name="connsiteY33" fmla="*/ 2576739 h 10921774"/>
                <a:gd name="connsiteX34" fmla="*/ 4837569 w 16682562"/>
                <a:gd name="connsiteY34" fmla="*/ 3046889 h 10921774"/>
                <a:gd name="connsiteX35" fmla="*/ 5352976 w 16682562"/>
                <a:gd name="connsiteY35" fmla="*/ 2965522 h 10921774"/>
                <a:gd name="connsiteX36" fmla="*/ 5741786 w 16682562"/>
                <a:gd name="connsiteY36" fmla="*/ 2594827 h 10921774"/>
                <a:gd name="connsiteX37" fmla="*/ 6157723 w 16682562"/>
                <a:gd name="connsiteY37" fmla="*/ 2432086 h 10921774"/>
                <a:gd name="connsiteX38" fmla="*/ 6745471 w 16682562"/>
                <a:gd name="connsiteY38" fmla="*/ 1862493 h 10921774"/>
                <a:gd name="connsiteX39" fmla="*/ 6890140 w 16682562"/>
                <a:gd name="connsiteY39" fmla="*/ 1012617 h 10921774"/>
                <a:gd name="connsiteX40" fmla="*/ 7568305 w 16682562"/>
                <a:gd name="connsiteY40" fmla="*/ 443023 h 10921774"/>
                <a:gd name="connsiteX41" fmla="*/ 8137967 w 16682562"/>
                <a:gd name="connsiteY41" fmla="*/ 2 h 10921774"/>
                <a:gd name="connsiteX42" fmla="*/ 8856118 w 16682562"/>
                <a:gd name="connsiteY42" fmla="*/ 381866 h 10921774"/>
                <a:gd name="connsiteX43" fmla="*/ 9078849 w 16682562"/>
                <a:gd name="connsiteY43" fmla="*/ 995430 h 10921774"/>
                <a:gd name="connsiteX44" fmla="*/ 9086459 w 16682562"/>
                <a:gd name="connsiteY44" fmla="*/ 1543408 h 10921774"/>
                <a:gd name="connsiteX45" fmla="*/ 9761321 w 16682562"/>
                <a:gd name="connsiteY45" fmla="*/ 1446262 h 10921774"/>
                <a:gd name="connsiteX46" fmla="*/ 10152517 w 16682562"/>
                <a:gd name="connsiteY46" fmla="*/ 2244532 h 10921774"/>
                <a:gd name="connsiteX47" fmla="*/ 11109603 w 16682562"/>
                <a:gd name="connsiteY47" fmla="*/ 2616006 h 10921774"/>
                <a:gd name="connsiteX48" fmla="*/ 11919572 w 16682562"/>
                <a:gd name="connsiteY48" fmla="*/ 2889528 h 10921774"/>
                <a:gd name="connsiteX49" fmla="*/ 12868275 w 16682562"/>
                <a:gd name="connsiteY49" fmla="*/ 2644317 h 10921774"/>
                <a:gd name="connsiteX50" fmla="*/ 13844296 w 16682562"/>
                <a:gd name="connsiteY50" fmla="*/ 2042482 h 10921774"/>
                <a:gd name="connsiteX51" fmla="*/ 13886291 w 16682562"/>
                <a:gd name="connsiteY51" fmla="*/ 1208114 h 10921774"/>
                <a:gd name="connsiteX52" fmla="*/ 14370431 w 16682562"/>
                <a:gd name="connsiteY52" fmla="*/ 1716466 h 10921774"/>
                <a:gd name="connsiteX53" fmla="*/ 15323320 w 16682562"/>
                <a:gd name="connsiteY53" fmla="*/ 1814739 h 10921774"/>
                <a:gd name="connsiteX54" fmla="*/ 16350939 w 16682562"/>
                <a:gd name="connsiteY54" fmla="*/ 1939598 h 10921774"/>
                <a:gd name="connsiteX55" fmla="*/ 16362364 w 16682562"/>
                <a:gd name="connsiteY55" fmla="*/ 2246878 h 10921774"/>
                <a:gd name="connsiteX56" fmla="*/ 16682563 w 16682562"/>
                <a:gd name="connsiteY56" fmla="*/ 2684781 h 10921774"/>
                <a:gd name="connsiteX0" fmla="*/ 16682563 w 16682562"/>
                <a:gd name="connsiteY0" fmla="*/ 2908861 h 11145854"/>
                <a:gd name="connsiteX1" fmla="*/ 16432262 w 16682562"/>
                <a:gd name="connsiteY1" fmla="*/ 3936247 h 11145854"/>
                <a:gd name="connsiteX2" fmla="*/ 16106317 w 16682562"/>
                <a:gd name="connsiteY2" fmla="*/ 4477551 h 11145854"/>
                <a:gd name="connsiteX3" fmla="*/ 16305649 w 16682562"/>
                <a:gd name="connsiteY3" fmla="*/ 4864880 h 11145854"/>
                <a:gd name="connsiteX4" fmla="*/ 16287189 w 16682562"/>
                <a:gd name="connsiteY4" fmla="*/ 5261487 h 11145854"/>
                <a:gd name="connsiteX5" fmla="*/ 16372801 w 16682562"/>
                <a:gd name="connsiteY5" fmla="*/ 5827752 h 11145854"/>
                <a:gd name="connsiteX6" fmla="*/ 16070155 w 16682562"/>
                <a:gd name="connsiteY6" fmla="*/ 6048138 h 11145854"/>
                <a:gd name="connsiteX7" fmla="*/ 15805690 w 16682562"/>
                <a:gd name="connsiteY7" fmla="*/ 6542329 h 11145854"/>
                <a:gd name="connsiteX8" fmla="*/ 15195097 w 16682562"/>
                <a:gd name="connsiteY8" fmla="*/ 6204072 h 11145854"/>
                <a:gd name="connsiteX9" fmla="*/ 15011380 w 16682562"/>
                <a:gd name="connsiteY9" fmla="*/ 7158922 h 11145854"/>
                <a:gd name="connsiteX10" fmla="*/ 14908430 w 16682562"/>
                <a:gd name="connsiteY10" fmla="*/ 8047817 h 11145854"/>
                <a:gd name="connsiteX11" fmla="*/ 14904684 w 16682562"/>
                <a:gd name="connsiteY11" fmla="*/ 8871256 h 11145854"/>
                <a:gd name="connsiteX12" fmla="*/ 14929927 w 16682562"/>
                <a:gd name="connsiteY12" fmla="*/ 10502176 h 11145854"/>
                <a:gd name="connsiteX13" fmla="*/ 12952786 w 16682562"/>
                <a:gd name="connsiteY13" fmla="*/ 10952929 h 11145854"/>
                <a:gd name="connsiteX14" fmla="*/ 11934663 w 16682562"/>
                <a:gd name="connsiteY14" fmla="*/ 11001179 h 11145854"/>
                <a:gd name="connsiteX15" fmla="*/ 8506848 w 16682562"/>
                <a:gd name="connsiteY15" fmla="*/ 11145854 h 11145854"/>
                <a:gd name="connsiteX16" fmla="*/ 7985095 w 16682562"/>
                <a:gd name="connsiteY16" fmla="*/ 10500772 h 11145854"/>
                <a:gd name="connsiteX17" fmla="*/ 7400308 w 16682562"/>
                <a:gd name="connsiteY17" fmla="*/ 10470627 h 11145854"/>
                <a:gd name="connsiteX18" fmla="*/ 6972273 w 16682562"/>
                <a:gd name="connsiteY18" fmla="*/ 10741924 h 11145854"/>
                <a:gd name="connsiteX19" fmla="*/ 5181729 w 16682562"/>
                <a:gd name="connsiteY19" fmla="*/ 10657525 h 11145854"/>
                <a:gd name="connsiteX20" fmla="*/ 4397998 w 16682562"/>
                <a:gd name="connsiteY20" fmla="*/ 10024508 h 11145854"/>
                <a:gd name="connsiteX21" fmla="*/ 2908896 w 16682562"/>
                <a:gd name="connsiteY21" fmla="*/ 9216654 h 11145854"/>
                <a:gd name="connsiteX22" fmla="*/ 1263043 w 16682562"/>
                <a:gd name="connsiteY22" fmla="*/ 8505261 h 11145854"/>
                <a:gd name="connsiteX23" fmla="*/ 485320 w 16682562"/>
                <a:gd name="connsiteY23" fmla="*/ 8053104 h 11145854"/>
                <a:gd name="connsiteX24" fmla="*/ 0 w 16682562"/>
                <a:gd name="connsiteY24" fmla="*/ 7759992 h 11145854"/>
                <a:gd name="connsiteX25" fmla="*/ 1003686 w 16682562"/>
                <a:gd name="connsiteY25" fmla="*/ 7014027 h 11145854"/>
                <a:gd name="connsiteX26" fmla="*/ 2902551 w 16682562"/>
                <a:gd name="connsiteY26" fmla="*/ 5829628 h 11145854"/>
                <a:gd name="connsiteX27" fmla="*/ 2558940 w 16682562"/>
                <a:gd name="connsiteY27" fmla="*/ 5296197 h 11145854"/>
                <a:gd name="connsiteX28" fmla="*/ 2402508 w 16682562"/>
                <a:gd name="connsiteY28" fmla="*/ 4609114 h 11145854"/>
                <a:gd name="connsiteX29" fmla="*/ 2730740 w 16682562"/>
                <a:gd name="connsiteY29" fmla="*/ 4581943 h 11145854"/>
                <a:gd name="connsiteX30" fmla="*/ 2947754 w 16682562"/>
                <a:gd name="connsiteY30" fmla="*/ 4111798 h 11145854"/>
                <a:gd name="connsiteX31" fmla="*/ 3499325 w 16682562"/>
                <a:gd name="connsiteY31" fmla="*/ 3668781 h 11145854"/>
                <a:gd name="connsiteX32" fmla="*/ 3680166 w 16682562"/>
                <a:gd name="connsiteY32" fmla="*/ 2791783 h 11145854"/>
                <a:gd name="connsiteX33" fmla="*/ 4186528 w 16682562"/>
                <a:gd name="connsiteY33" fmla="*/ 2800819 h 11145854"/>
                <a:gd name="connsiteX34" fmla="*/ 4837569 w 16682562"/>
                <a:gd name="connsiteY34" fmla="*/ 3270969 h 11145854"/>
                <a:gd name="connsiteX35" fmla="*/ 5352976 w 16682562"/>
                <a:gd name="connsiteY35" fmla="*/ 3189602 h 11145854"/>
                <a:gd name="connsiteX36" fmla="*/ 5741786 w 16682562"/>
                <a:gd name="connsiteY36" fmla="*/ 2818907 h 11145854"/>
                <a:gd name="connsiteX37" fmla="*/ 6157723 w 16682562"/>
                <a:gd name="connsiteY37" fmla="*/ 2656166 h 11145854"/>
                <a:gd name="connsiteX38" fmla="*/ 6745471 w 16682562"/>
                <a:gd name="connsiteY38" fmla="*/ 2086573 h 11145854"/>
                <a:gd name="connsiteX39" fmla="*/ 6890140 w 16682562"/>
                <a:gd name="connsiteY39" fmla="*/ 1236697 h 11145854"/>
                <a:gd name="connsiteX40" fmla="*/ 7568305 w 16682562"/>
                <a:gd name="connsiteY40" fmla="*/ 667103 h 11145854"/>
                <a:gd name="connsiteX41" fmla="*/ 8502979 w 16682562"/>
                <a:gd name="connsiteY41" fmla="*/ 0 h 11145854"/>
                <a:gd name="connsiteX42" fmla="*/ 8856118 w 16682562"/>
                <a:gd name="connsiteY42" fmla="*/ 605946 h 11145854"/>
                <a:gd name="connsiteX43" fmla="*/ 9078849 w 16682562"/>
                <a:gd name="connsiteY43" fmla="*/ 1219510 h 11145854"/>
                <a:gd name="connsiteX44" fmla="*/ 9086459 w 16682562"/>
                <a:gd name="connsiteY44" fmla="*/ 1767488 h 11145854"/>
                <a:gd name="connsiteX45" fmla="*/ 9761321 w 16682562"/>
                <a:gd name="connsiteY45" fmla="*/ 1670342 h 11145854"/>
                <a:gd name="connsiteX46" fmla="*/ 10152517 w 16682562"/>
                <a:gd name="connsiteY46" fmla="*/ 2468612 h 11145854"/>
                <a:gd name="connsiteX47" fmla="*/ 11109603 w 16682562"/>
                <a:gd name="connsiteY47" fmla="*/ 2840086 h 11145854"/>
                <a:gd name="connsiteX48" fmla="*/ 11919572 w 16682562"/>
                <a:gd name="connsiteY48" fmla="*/ 3113608 h 11145854"/>
                <a:gd name="connsiteX49" fmla="*/ 12868275 w 16682562"/>
                <a:gd name="connsiteY49" fmla="*/ 2868397 h 11145854"/>
                <a:gd name="connsiteX50" fmla="*/ 13844296 w 16682562"/>
                <a:gd name="connsiteY50" fmla="*/ 2266562 h 11145854"/>
                <a:gd name="connsiteX51" fmla="*/ 13886291 w 16682562"/>
                <a:gd name="connsiteY51" fmla="*/ 1432194 h 11145854"/>
                <a:gd name="connsiteX52" fmla="*/ 14370431 w 16682562"/>
                <a:gd name="connsiteY52" fmla="*/ 1940546 h 11145854"/>
                <a:gd name="connsiteX53" fmla="*/ 15323320 w 16682562"/>
                <a:gd name="connsiteY53" fmla="*/ 2038819 h 11145854"/>
                <a:gd name="connsiteX54" fmla="*/ 16350939 w 16682562"/>
                <a:gd name="connsiteY54" fmla="*/ 2163678 h 11145854"/>
                <a:gd name="connsiteX55" fmla="*/ 16362364 w 16682562"/>
                <a:gd name="connsiteY55" fmla="*/ 2470958 h 11145854"/>
                <a:gd name="connsiteX56" fmla="*/ 16682563 w 16682562"/>
                <a:gd name="connsiteY56" fmla="*/ 2908861 h 11145854"/>
                <a:gd name="connsiteX0" fmla="*/ 16682563 w 16682562"/>
                <a:gd name="connsiteY0" fmla="*/ 2908861 h 11145854"/>
                <a:gd name="connsiteX1" fmla="*/ 16432262 w 16682562"/>
                <a:gd name="connsiteY1" fmla="*/ 3936247 h 11145854"/>
                <a:gd name="connsiteX2" fmla="*/ 16106317 w 16682562"/>
                <a:gd name="connsiteY2" fmla="*/ 4477551 h 11145854"/>
                <a:gd name="connsiteX3" fmla="*/ 16305649 w 16682562"/>
                <a:gd name="connsiteY3" fmla="*/ 4864880 h 11145854"/>
                <a:gd name="connsiteX4" fmla="*/ 16287189 w 16682562"/>
                <a:gd name="connsiteY4" fmla="*/ 5261487 h 11145854"/>
                <a:gd name="connsiteX5" fmla="*/ 16372801 w 16682562"/>
                <a:gd name="connsiteY5" fmla="*/ 5827752 h 11145854"/>
                <a:gd name="connsiteX6" fmla="*/ 16070155 w 16682562"/>
                <a:gd name="connsiteY6" fmla="*/ 6048138 h 11145854"/>
                <a:gd name="connsiteX7" fmla="*/ 15805690 w 16682562"/>
                <a:gd name="connsiteY7" fmla="*/ 6542329 h 11145854"/>
                <a:gd name="connsiteX8" fmla="*/ 15195097 w 16682562"/>
                <a:gd name="connsiteY8" fmla="*/ 6204072 h 11145854"/>
                <a:gd name="connsiteX9" fmla="*/ 15011380 w 16682562"/>
                <a:gd name="connsiteY9" fmla="*/ 7158922 h 11145854"/>
                <a:gd name="connsiteX10" fmla="*/ 14908430 w 16682562"/>
                <a:gd name="connsiteY10" fmla="*/ 8047817 h 11145854"/>
                <a:gd name="connsiteX11" fmla="*/ 14904684 w 16682562"/>
                <a:gd name="connsiteY11" fmla="*/ 8871256 h 11145854"/>
                <a:gd name="connsiteX12" fmla="*/ 14962237 w 16682562"/>
                <a:gd name="connsiteY12" fmla="*/ 10899713 h 11145854"/>
                <a:gd name="connsiteX13" fmla="*/ 12952786 w 16682562"/>
                <a:gd name="connsiteY13" fmla="*/ 10952929 h 11145854"/>
                <a:gd name="connsiteX14" fmla="*/ 11934663 w 16682562"/>
                <a:gd name="connsiteY14" fmla="*/ 11001179 h 11145854"/>
                <a:gd name="connsiteX15" fmla="*/ 8506848 w 16682562"/>
                <a:gd name="connsiteY15" fmla="*/ 11145854 h 11145854"/>
                <a:gd name="connsiteX16" fmla="*/ 7985095 w 16682562"/>
                <a:gd name="connsiteY16" fmla="*/ 10500772 h 11145854"/>
                <a:gd name="connsiteX17" fmla="*/ 7400308 w 16682562"/>
                <a:gd name="connsiteY17" fmla="*/ 10470627 h 11145854"/>
                <a:gd name="connsiteX18" fmla="*/ 6972273 w 16682562"/>
                <a:gd name="connsiteY18" fmla="*/ 10741924 h 11145854"/>
                <a:gd name="connsiteX19" fmla="*/ 5181729 w 16682562"/>
                <a:gd name="connsiteY19" fmla="*/ 10657525 h 11145854"/>
                <a:gd name="connsiteX20" fmla="*/ 4397998 w 16682562"/>
                <a:gd name="connsiteY20" fmla="*/ 10024508 h 11145854"/>
                <a:gd name="connsiteX21" fmla="*/ 2908896 w 16682562"/>
                <a:gd name="connsiteY21" fmla="*/ 9216654 h 11145854"/>
                <a:gd name="connsiteX22" fmla="*/ 1263043 w 16682562"/>
                <a:gd name="connsiteY22" fmla="*/ 8505261 h 11145854"/>
                <a:gd name="connsiteX23" fmla="*/ 485320 w 16682562"/>
                <a:gd name="connsiteY23" fmla="*/ 8053104 h 11145854"/>
                <a:gd name="connsiteX24" fmla="*/ 0 w 16682562"/>
                <a:gd name="connsiteY24" fmla="*/ 7759992 h 11145854"/>
                <a:gd name="connsiteX25" fmla="*/ 1003686 w 16682562"/>
                <a:gd name="connsiteY25" fmla="*/ 7014027 h 11145854"/>
                <a:gd name="connsiteX26" fmla="*/ 2902551 w 16682562"/>
                <a:gd name="connsiteY26" fmla="*/ 5829628 h 11145854"/>
                <a:gd name="connsiteX27" fmla="*/ 2558940 w 16682562"/>
                <a:gd name="connsiteY27" fmla="*/ 5296197 h 11145854"/>
                <a:gd name="connsiteX28" fmla="*/ 2402508 w 16682562"/>
                <a:gd name="connsiteY28" fmla="*/ 4609114 h 11145854"/>
                <a:gd name="connsiteX29" fmla="*/ 2730740 w 16682562"/>
                <a:gd name="connsiteY29" fmla="*/ 4581943 h 11145854"/>
                <a:gd name="connsiteX30" fmla="*/ 2947754 w 16682562"/>
                <a:gd name="connsiteY30" fmla="*/ 4111798 h 11145854"/>
                <a:gd name="connsiteX31" fmla="*/ 3499325 w 16682562"/>
                <a:gd name="connsiteY31" fmla="*/ 3668781 h 11145854"/>
                <a:gd name="connsiteX32" fmla="*/ 3680166 w 16682562"/>
                <a:gd name="connsiteY32" fmla="*/ 2791783 h 11145854"/>
                <a:gd name="connsiteX33" fmla="*/ 4186528 w 16682562"/>
                <a:gd name="connsiteY33" fmla="*/ 2800819 h 11145854"/>
                <a:gd name="connsiteX34" fmla="*/ 4837569 w 16682562"/>
                <a:gd name="connsiteY34" fmla="*/ 3270969 h 11145854"/>
                <a:gd name="connsiteX35" fmla="*/ 5352976 w 16682562"/>
                <a:gd name="connsiteY35" fmla="*/ 3189602 h 11145854"/>
                <a:gd name="connsiteX36" fmla="*/ 5741786 w 16682562"/>
                <a:gd name="connsiteY36" fmla="*/ 2818907 h 11145854"/>
                <a:gd name="connsiteX37" fmla="*/ 6157723 w 16682562"/>
                <a:gd name="connsiteY37" fmla="*/ 2656166 h 11145854"/>
                <a:gd name="connsiteX38" fmla="*/ 6745471 w 16682562"/>
                <a:gd name="connsiteY38" fmla="*/ 2086573 h 11145854"/>
                <a:gd name="connsiteX39" fmla="*/ 6890140 w 16682562"/>
                <a:gd name="connsiteY39" fmla="*/ 1236697 h 11145854"/>
                <a:gd name="connsiteX40" fmla="*/ 7568305 w 16682562"/>
                <a:gd name="connsiteY40" fmla="*/ 667103 h 11145854"/>
                <a:gd name="connsiteX41" fmla="*/ 8502979 w 16682562"/>
                <a:gd name="connsiteY41" fmla="*/ 0 h 11145854"/>
                <a:gd name="connsiteX42" fmla="*/ 8856118 w 16682562"/>
                <a:gd name="connsiteY42" fmla="*/ 605946 h 11145854"/>
                <a:gd name="connsiteX43" fmla="*/ 9078849 w 16682562"/>
                <a:gd name="connsiteY43" fmla="*/ 1219510 h 11145854"/>
                <a:gd name="connsiteX44" fmla="*/ 9086459 w 16682562"/>
                <a:gd name="connsiteY44" fmla="*/ 1767488 h 11145854"/>
                <a:gd name="connsiteX45" fmla="*/ 9761321 w 16682562"/>
                <a:gd name="connsiteY45" fmla="*/ 1670342 h 11145854"/>
                <a:gd name="connsiteX46" fmla="*/ 10152517 w 16682562"/>
                <a:gd name="connsiteY46" fmla="*/ 2468612 h 11145854"/>
                <a:gd name="connsiteX47" fmla="*/ 11109603 w 16682562"/>
                <a:gd name="connsiteY47" fmla="*/ 2840086 h 11145854"/>
                <a:gd name="connsiteX48" fmla="*/ 11919572 w 16682562"/>
                <a:gd name="connsiteY48" fmla="*/ 3113608 h 11145854"/>
                <a:gd name="connsiteX49" fmla="*/ 12868275 w 16682562"/>
                <a:gd name="connsiteY49" fmla="*/ 2868397 h 11145854"/>
                <a:gd name="connsiteX50" fmla="*/ 13844296 w 16682562"/>
                <a:gd name="connsiteY50" fmla="*/ 2266562 h 11145854"/>
                <a:gd name="connsiteX51" fmla="*/ 13886291 w 16682562"/>
                <a:gd name="connsiteY51" fmla="*/ 1432194 h 11145854"/>
                <a:gd name="connsiteX52" fmla="*/ 14370431 w 16682562"/>
                <a:gd name="connsiteY52" fmla="*/ 1940546 h 11145854"/>
                <a:gd name="connsiteX53" fmla="*/ 15323320 w 16682562"/>
                <a:gd name="connsiteY53" fmla="*/ 2038819 h 11145854"/>
                <a:gd name="connsiteX54" fmla="*/ 16350939 w 16682562"/>
                <a:gd name="connsiteY54" fmla="*/ 2163678 h 11145854"/>
                <a:gd name="connsiteX55" fmla="*/ 16362364 w 16682562"/>
                <a:gd name="connsiteY55" fmla="*/ 2470958 h 11145854"/>
                <a:gd name="connsiteX56" fmla="*/ 16682563 w 16682562"/>
                <a:gd name="connsiteY56" fmla="*/ 2908861 h 11145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6682562" h="11145854">
                  <a:moveTo>
                    <a:pt x="16682563" y="2908861"/>
                  </a:moveTo>
                  <a:lnTo>
                    <a:pt x="16432262" y="3936247"/>
                  </a:lnTo>
                  <a:lnTo>
                    <a:pt x="16106317" y="4477551"/>
                  </a:lnTo>
                  <a:lnTo>
                    <a:pt x="16305649" y="4864880"/>
                  </a:lnTo>
                  <a:lnTo>
                    <a:pt x="16287189" y="5261487"/>
                  </a:lnTo>
                  <a:lnTo>
                    <a:pt x="16372801" y="5827752"/>
                  </a:lnTo>
                  <a:lnTo>
                    <a:pt x="16070155" y="6048138"/>
                  </a:lnTo>
                  <a:lnTo>
                    <a:pt x="15805690" y="6542329"/>
                  </a:lnTo>
                  <a:lnTo>
                    <a:pt x="15195097" y="6204072"/>
                  </a:lnTo>
                  <a:lnTo>
                    <a:pt x="15011380" y="7158922"/>
                  </a:lnTo>
                  <a:lnTo>
                    <a:pt x="14908430" y="8047817"/>
                  </a:lnTo>
                  <a:cubicBezTo>
                    <a:pt x="14907181" y="8322297"/>
                    <a:pt x="14905933" y="8596776"/>
                    <a:pt x="14904684" y="8871256"/>
                  </a:cubicBezTo>
                  <a:lnTo>
                    <a:pt x="14962237" y="10899713"/>
                  </a:lnTo>
                  <a:lnTo>
                    <a:pt x="12952786" y="10952929"/>
                  </a:lnTo>
                  <a:lnTo>
                    <a:pt x="11934663" y="11001179"/>
                  </a:lnTo>
                  <a:lnTo>
                    <a:pt x="8506848" y="11145854"/>
                  </a:lnTo>
                  <a:lnTo>
                    <a:pt x="7985095" y="10500772"/>
                  </a:lnTo>
                  <a:lnTo>
                    <a:pt x="7400308" y="10470627"/>
                  </a:lnTo>
                  <a:lnTo>
                    <a:pt x="6972273" y="10741924"/>
                  </a:lnTo>
                  <a:lnTo>
                    <a:pt x="5181729" y="10657525"/>
                  </a:lnTo>
                  <a:lnTo>
                    <a:pt x="4397998" y="10024508"/>
                  </a:lnTo>
                  <a:lnTo>
                    <a:pt x="2908896" y="9216654"/>
                  </a:lnTo>
                  <a:lnTo>
                    <a:pt x="1263043" y="8505261"/>
                  </a:lnTo>
                  <a:lnTo>
                    <a:pt x="485320" y="8053104"/>
                  </a:lnTo>
                  <a:lnTo>
                    <a:pt x="0" y="7759992"/>
                  </a:lnTo>
                  <a:lnTo>
                    <a:pt x="1003686" y="7014027"/>
                  </a:lnTo>
                  <a:lnTo>
                    <a:pt x="2902551" y="5829628"/>
                  </a:lnTo>
                  <a:lnTo>
                    <a:pt x="2558940" y="5296197"/>
                  </a:lnTo>
                  <a:lnTo>
                    <a:pt x="2402508" y="4609114"/>
                  </a:lnTo>
                  <a:lnTo>
                    <a:pt x="2730740" y="4581943"/>
                  </a:lnTo>
                  <a:lnTo>
                    <a:pt x="2947754" y="4111798"/>
                  </a:lnTo>
                  <a:lnTo>
                    <a:pt x="3499325" y="3668781"/>
                  </a:lnTo>
                  <a:lnTo>
                    <a:pt x="3680166" y="2791783"/>
                  </a:lnTo>
                  <a:lnTo>
                    <a:pt x="4186528" y="2800819"/>
                  </a:lnTo>
                  <a:lnTo>
                    <a:pt x="4837569" y="3270969"/>
                  </a:lnTo>
                  <a:lnTo>
                    <a:pt x="5352976" y="3189602"/>
                  </a:lnTo>
                  <a:lnTo>
                    <a:pt x="5741786" y="2818907"/>
                  </a:lnTo>
                  <a:lnTo>
                    <a:pt x="6157723" y="2656166"/>
                  </a:lnTo>
                  <a:lnTo>
                    <a:pt x="6745471" y="2086573"/>
                  </a:lnTo>
                  <a:lnTo>
                    <a:pt x="6890140" y="1236697"/>
                  </a:lnTo>
                  <a:lnTo>
                    <a:pt x="7568305" y="667103"/>
                  </a:lnTo>
                  <a:lnTo>
                    <a:pt x="8502979" y="0"/>
                  </a:lnTo>
                  <a:lnTo>
                    <a:pt x="8856118" y="605946"/>
                  </a:lnTo>
                  <a:lnTo>
                    <a:pt x="9078849" y="1219510"/>
                  </a:lnTo>
                  <a:lnTo>
                    <a:pt x="9086459" y="1767488"/>
                  </a:lnTo>
                  <a:lnTo>
                    <a:pt x="9761321" y="1670342"/>
                  </a:lnTo>
                  <a:lnTo>
                    <a:pt x="10152517" y="2468612"/>
                  </a:lnTo>
                  <a:lnTo>
                    <a:pt x="11109603" y="2840086"/>
                  </a:lnTo>
                  <a:lnTo>
                    <a:pt x="11919572" y="3113608"/>
                  </a:lnTo>
                  <a:lnTo>
                    <a:pt x="12868275" y="2868397"/>
                  </a:lnTo>
                  <a:lnTo>
                    <a:pt x="13844296" y="2266562"/>
                  </a:lnTo>
                  <a:lnTo>
                    <a:pt x="13886291" y="1432194"/>
                  </a:lnTo>
                  <a:lnTo>
                    <a:pt x="14370431" y="1940546"/>
                  </a:lnTo>
                  <a:lnTo>
                    <a:pt x="15323320" y="2038819"/>
                  </a:lnTo>
                  <a:lnTo>
                    <a:pt x="16350939" y="2163678"/>
                  </a:lnTo>
                  <a:lnTo>
                    <a:pt x="16362364" y="2470958"/>
                  </a:lnTo>
                  <a:lnTo>
                    <a:pt x="16682563" y="2908861"/>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11" name="任意多边形 100">
              <a:extLst>
                <a:ext uri="{FF2B5EF4-FFF2-40B4-BE49-F238E27FC236}">
                  <a16:creationId xmlns:a16="http://schemas.microsoft.com/office/drawing/2014/main" id="{4EF7616B-87DA-08EA-A0F9-FC2F88128113}"/>
                </a:ext>
              </a:extLst>
            </p:cNvPr>
            <p:cNvSpPr>
              <a:spLocks/>
            </p:cNvSpPr>
            <p:nvPr/>
          </p:nvSpPr>
          <p:spPr bwMode="auto">
            <a:xfrm>
              <a:off x="9033346" y="1396896"/>
              <a:ext cx="1968177" cy="2589199"/>
            </a:xfrm>
            <a:custGeom>
              <a:avLst/>
              <a:gdLst>
                <a:gd name="connsiteX0" fmla="*/ 477776 w 18447968"/>
                <a:gd name="connsiteY0" fmla="*/ 7436569 h 15946069"/>
                <a:gd name="connsiteX1" fmla="*/ 271294 w 18447968"/>
                <a:gd name="connsiteY1" fmla="*/ 8060457 h 15946069"/>
                <a:gd name="connsiteX2" fmla="*/ 379812 w 18447968"/>
                <a:gd name="connsiteY2" fmla="*/ 8675382 h 15946069"/>
                <a:gd name="connsiteX3" fmla="*/ 759624 w 18447968"/>
                <a:gd name="connsiteY3" fmla="*/ 9217969 h 15946069"/>
                <a:gd name="connsiteX4" fmla="*/ 687278 w 18447968"/>
                <a:gd name="connsiteY4" fmla="*/ 9670126 h 15946069"/>
                <a:gd name="connsiteX5" fmla="*/ 144687 w 18447968"/>
                <a:gd name="connsiteY5" fmla="*/ 9941420 h 15946069"/>
                <a:gd name="connsiteX6" fmla="*/ 343643 w 18447968"/>
                <a:gd name="connsiteY6" fmla="*/ 10592536 h 15946069"/>
                <a:gd name="connsiteX7" fmla="*/ 940487 w 18447968"/>
                <a:gd name="connsiteY7" fmla="*/ 10954252 h 15946069"/>
                <a:gd name="connsiteX8" fmla="*/ 596844 w 18447968"/>
                <a:gd name="connsiteY8" fmla="*/ 11786221 h 15946069"/>
                <a:gd name="connsiteX9" fmla="*/ 633017 w 18447968"/>
                <a:gd name="connsiteY9" fmla="*/ 12780969 h 15946069"/>
                <a:gd name="connsiteX10" fmla="*/ 198944 w 18447968"/>
                <a:gd name="connsiteY10" fmla="*/ 13341645 h 15946069"/>
                <a:gd name="connsiteX11" fmla="*/ 723451 w 18447968"/>
                <a:gd name="connsiteY11" fmla="*/ 13757629 h 15946069"/>
                <a:gd name="connsiteX12" fmla="*/ 1640036 w 18447968"/>
                <a:gd name="connsiteY12" fmla="*/ 13197151 h 15946069"/>
                <a:gd name="connsiteX13" fmla="*/ 1880971 w 18447968"/>
                <a:gd name="connsiteY13" fmla="*/ 13395906 h 15946069"/>
                <a:gd name="connsiteX14" fmla="*/ 2930086 w 18447968"/>
                <a:gd name="connsiteY14" fmla="*/ 12952832 h 15946069"/>
                <a:gd name="connsiteX15" fmla="*/ 3828256 w 18447968"/>
                <a:gd name="connsiteY15" fmla="*/ 13245188 h 15946069"/>
                <a:gd name="connsiteX16" fmla="*/ 4768739 w 18447968"/>
                <a:gd name="connsiteY16" fmla="*/ 13040205 h 15946069"/>
                <a:gd name="connsiteX17" fmla="*/ 5190751 w 18447968"/>
                <a:gd name="connsiteY17" fmla="*/ 13649115 h 15946069"/>
                <a:gd name="connsiteX18" fmla="*/ 5932290 w 18447968"/>
                <a:gd name="connsiteY18" fmla="*/ 13444132 h 15946069"/>
                <a:gd name="connsiteX19" fmla="*/ 6498992 w 18447968"/>
                <a:gd name="connsiteY19" fmla="*/ 12991975 h 15946069"/>
                <a:gd name="connsiteX20" fmla="*/ 7373161 w 18447968"/>
                <a:gd name="connsiteY20" fmla="*/ 13582800 h 15946069"/>
                <a:gd name="connsiteX21" fmla="*/ 8512588 w 18447968"/>
                <a:gd name="connsiteY21" fmla="*/ 13570738 h 15946069"/>
                <a:gd name="connsiteX22" fmla="*/ 9416903 w 18447968"/>
                <a:gd name="connsiteY22" fmla="*/ 13281357 h 15946069"/>
                <a:gd name="connsiteX23" fmla="*/ 9742454 w 18447968"/>
                <a:gd name="connsiteY23" fmla="*/ 14004811 h 15946069"/>
                <a:gd name="connsiteX24" fmla="*/ 10080066 w 18447968"/>
                <a:gd name="connsiteY24" fmla="*/ 14716204 h 15946069"/>
                <a:gd name="connsiteX25" fmla="*/ 10616683 w 18447968"/>
                <a:gd name="connsiteY25" fmla="*/ 15358294 h 15946069"/>
                <a:gd name="connsiteX26" fmla="*/ 11117010 w 18447968"/>
                <a:gd name="connsiteY26" fmla="*/ 15946069 h 15946069"/>
                <a:gd name="connsiteX27" fmla="*/ 11593335 w 18447968"/>
                <a:gd name="connsiteY27" fmla="*/ 15822497 h 15946069"/>
                <a:gd name="connsiteX28" fmla="*/ 11780218 w 18447968"/>
                <a:gd name="connsiteY28" fmla="*/ 13579811 h 15946069"/>
                <a:gd name="connsiteX29" fmla="*/ 11954994 w 18447968"/>
                <a:gd name="connsiteY29" fmla="*/ 12135890 h 15946069"/>
                <a:gd name="connsiteX30" fmla="*/ 12196146 w 18447968"/>
                <a:gd name="connsiteY30" fmla="*/ 11388328 h 15946069"/>
                <a:gd name="connsiteX31" fmla="*/ 13166775 w 18447968"/>
                <a:gd name="connsiteY31" fmla="*/ 11707856 h 15946069"/>
                <a:gd name="connsiteX32" fmla="*/ 14004775 w 18447968"/>
                <a:gd name="connsiteY32" fmla="*/ 11611395 h 15946069"/>
                <a:gd name="connsiteX33" fmla="*/ 14939235 w 18447968"/>
                <a:gd name="connsiteY33" fmla="*/ 11322014 h 15946069"/>
                <a:gd name="connsiteX34" fmla="*/ 15409477 w 18447968"/>
                <a:gd name="connsiteY34" fmla="*/ 11882693 h 15946069"/>
                <a:gd name="connsiteX35" fmla="*/ 15861634 w 18447968"/>
                <a:gd name="connsiteY35" fmla="*/ 11273783 h 15946069"/>
                <a:gd name="connsiteX36" fmla="*/ 16413199 w 18447968"/>
                <a:gd name="connsiteY36" fmla="*/ 10920339 h 15946069"/>
                <a:gd name="connsiteX37" fmla="*/ 16765948 w 18447968"/>
                <a:gd name="connsiteY37" fmla="*/ 10200671 h 15946069"/>
                <a:gd name="connsiteX38" fmla="*/ 16428336 w 18447968"/>
                <a:gd name="connsiteY38" fmla="*/ 9374732 h 15946069"/>
                <a:gd name="connsiteX39" fmla="*/ 15946033 w 18447968"/>
                <a:gd name="connsiteY39" fmla="*/ 8440272 h 15946069"/>
                <a:gd name="connsiteX40" fmla="*/ 16024409 w 18447968"/>
                <a:gd name="connsiteY40" fmla="*/ 7433474 h 15946069"/>
                <a:gd name="connsiteX41" fmla="*/ 16958870 w 18447968"/>
                <a:gd name="connsiteY41" fmla="*/ 6776350 h 15946069"/>
                <a:gd name="connsiteX42" fmla="*/ 17911414 w 18447968"/>
                <a:gd name="connsiteY42" fmla="*/ 6083041 h 15946069"/>
                <a:gd name="connsiteX43" fmla="*/ 17694370 w 18447968"/>
                <a:gd name="connsiteY43" fmla="*/ 5570592 h 15946069"/>
                <a:gd name="connsiteX44" fmla="*/ 17385711 w 18447968"/>
                <a:gd name="connsiteY44" fmla="*/ 5219213 h 15946069"/>
                <a:gd name="connsiteX45" fmla="*/ 17637701 w 18447968"/>
                <a:gd name="connsiteY45" fmla="*/ 4819407 h 15946069"/>
                <a:gd name="connsiteX46" fmla="*/ 18171858 w 18447968"/>
                <a:gd name="connsiteY46" fmla="*/ 4701949 h 15946069"/>
                <a:gd name="connsiteX47" fmla="*/ 18447970 w 18447968"/>
                <a:gd name="connsiteY47" fmla="*/ 4316604 h 15946069"/>
                <a:gd name="connsiteX48" fmla="*/ 17814953 w 18447968"/>
                <a:gd name="connsiteY48" fmla="*/ 4117660 h 15946069"/>
                <a:gd name="connsiteX49" fmla="*/ 17067422 w 18447968"/>
                <a:gd name="connsiteY49" fmla="*/ 3472551 h 15946069"/>
                <a:gd name="connsiteX50" fmla="*/ 16852763 w 18447968"/>
                <a:gd name="connsiteY50" fmla="*/ 3282076 h 15946069"/>
                <a:gd name="connsiteX51" fmla="*/ 16161870 w 18447968"/>
                <a:gd name="connsiteY51" fmla="*/ 4063407 h 15946069"/>
                <a:gd name="connsiteX52" fmla="*/ 14429201 w 18447968"/>
                <a:gd name="connsiteY52" fmla="*/ 4027238 h 15946069"/>
                <a:gd name="connsiteX53" fmla="*/ 13383819 w 18447968"/>
                <a:gd name="connsiteY53" fmla="*/ 2963756 h 15946069"/>
                <a:gd name="connsiteX54" fmla="*/ 12493981 w 18447968"/>
                <a:gd name="connsiteY54" fmla="*/ 2927587 h 15946069"/>
                <a:gd name="connsiteX55" fmla="*/ 11976717 w 18447968"/>
                <a:gd name="connsiteY55" fmla="*/ 2139025 h 15946069"/>
                <a:gd name="connsiteX56" fmla="*/ 11484768 w 18447968"/>
                <a:gd name="connsiteY56" fmla="*/ 1495155 h 15946069"/>
                <a:gd name="connsiteX57" fmla="*/ 10830043 w 18447968"/>
                <a:gd name="connsiteY57" fmla="*/ 1256418 h 15946069"/>
                <a:gd name="connsiteX58" fmla="*/ 10323633 w 18447968"/>
                <a:gd name="connsiteY58" fmla="*/ 1220249 h 15946069"/>
                <a:gd name="connsiteX59" fmla="*/ 9802745 w 18447968"/>
                <a:gd name="connsiteY59" fmla="*/ 1603676 h 15946069"/>
                <a:gd name="connsiteX60" fmla="*/ 9223982 w 18447968"/>
                <a:gd name="connsiteY60" fmla="*/ 1621761 h 15946069"/>
                <a:gd name="connsiteX61" fmla="*/ 8782678 w 18447968"/>
                <a:gd name="connsiteY61" fmla="*/ 2171586 h 15946069"/>
                <a:gd name="connsiteX62" fmla="*/ 8272645 w 18447968"/>
                <a:gd name="connsiteY62" fmla="*/ 2102856 h 15946069"/>
                <a:gd name="connsiteX63" fmla="*/ 7853048 w 18447968"/>
                <a:gd name="connsiteY63" fmla="*/ 2526075 h 15946069"/>
                <a:gd name="connsiteX64" fmla="*/ 7323799 w 18447968"/>
                <a:gd name="connsiteY64" fmla="*/ 2632907 h 15946069"/>
                <a:gd name="connsiteX65" fmla="*/ 6977672 w 18447968"/>
                <a:gd name="connsiteY65" fmla="*/ 2178817 h 15946069"/>
                <a:gd name="connsiteX66" fmla="*/ 6594245 w 18447968"/>
                <a:gd name="connsiteY66" fmla="*/ 2055834 h 15946069"/>
                <a:gd name="connsiteX67" fmla="*/ 6431470 w 18447968"/>
                <a:gd name="connsiteY67" fmla="*/ 1314295 h 15946069"/>
                <a:gd name="connsiteX68" fmla="*/ 5642908 w 18447968"/>
                <a:gd name="connsiteY68" fmla="*/ 1343233 h 15946069"/>
                <a:gd name="connsiteX69" fmla="*/ 5150959 w 18447968"/>
                <a:gd name="connsiteY69" fmla="*/ 1610907 h 15946069"/>
                <a:gd name="connsiteX70" fmla="*/ 5480133 w 18447968"/>
                <a:gd name="connsiteY70" fmla="*/ 2167963 h 15946069"/>
                <a:gd name="connsiteX71" fmla="*/ 4742216 w 18447968"/>
                <a:gd name="connsiteY71" fmla="*/ 2862495 h 15946069"/>
                <a:gd name="connsiteX72" fmla="*/ 2658667 w 18447968"/>
                <a:gd name="connsiteY72" fmla="*/ 0 h 15946069"/>
                <a:gd name="connsiteX73" fmla="*/ 2658682 w 18447968"/>
                <a:gd name="connsiteY73" fmla="*/ 1018890 h 15946069"/>
                <a:gd name="connsiteX74" fmla="*/ 1850829 w 18447968"/>
                <a:gd name="connsiteY74" fmla="*/ 1730283 h 15946069"/>
                <a:gd name="connsiteX75" fmla="*/ 1404694 w 18447968"/>
                <a:gd name="connsiteY75" fmla="*/ 2272862 h 15946069"/>
                <a:gd name="connsiteX76" fmla="*/ 2351216 w 18447968"/>
                <a:gd name="connsiteY76" fmla="*/ 3388182 h 15946069"/>
                <a:gd name="connsiteX77" fmla="*/ 2658682 w 18447968"/>
                <a:gd name="connsiteY77" fmla="*/ 4286458 h 15946069"/>
                <a:gd name="connsiteX78" fmla="*/ 1935228 w 18447968"/>
                <a:gd name="connsiteY78" fmla="*/ 5220918 h 15946069"/>
                <a:gd name="connsiteX79" fmla="*/ 875281 w 18447968"/>
                <a:gd name="connsiteY79" fmla="*/ 5166646 h 15946069"/>
                <a:gd name="connsiteX80" fmla="*/ 0 w 18447968"/>
                <a:gd name="connsiteY80" fmla="*/ 5890112 h 15946069"/>
                <a:gd name="connsiteX81" fmla="*/ 72345 w 18447968"/>
                <a:gd name="connsiteY81" fmla="*/ 6921032 h 15946069"/>
                <a:gd name="connsiteX82" fmla="*/ 477776 w 18447968"/>
                <a:gd name="connsiteY82" fmla="*/ 7436569 h 15946069"/>
                <a:gd name="connsiteX0" fmla="*/ 477776 w 18447968"/>
                <a:gd name="connsiteY0" fmla="*/ 7436569 h 15946069"/>
                <a:gd name="connsiteX1" fmla="*/ 271294 w 18447968"/>
                <a:gd name="connsiteY1" fmla="*/ 8060457 h 15946069"/>
                <a:gd name="connsiteX2" fmla="*/ 379812 w 18447968"/>
                <a:gd name="connsiteY2" fmla="*/ 8675382 h 15946069"/>
                <a:gd name="connsiteX3" fmla="*/ 759624 w 18447968"/>
                <a:gd name="connsiteY3" fmla="*/ 9217969 h 15946069"/>
                <a:gd name="connsiteX4" fmla="*/ 687278 w 18447968"/>
                <a:gd name="connsiteY4" fmla="*/ 9670126 h 15946069"/>
                <a:gd name="connsiteX5" fmla="*/ 144687 w 18447968"/>
                <a:gd name="connsiteY5" fmla="*/ 9941420 h 15946069"/>
                <a:gd name="connsiteX6" fmla="*/ 343643 w 18447968"/>
                <a:gd name="connsiteY6" fmla="*/ 10592536 h 15946069"/>
                <a:gd name="connsiteX7" fmla="*/ 940487 w 18447968"/>
                <a:gd name="connsiteY7" fmla="*/ 10954252 h 15946069"/>
                <a:gd name="connsiteX8" fmla="*/ 596844 w 18447968"/>
                <a:gd name="connsiteY8" fmla="*/ 11786221 h 15946069"/>
                <a:gd name="connsiteX9" fmla="*/ 633017 w 18447968"/>
                <a:gd name="connsiteY9" fmla="*/ 12780969 h 15946069"/>
                <a:gd name="connsiteX10" fmla="*/ 198944 w 18447968"/>
                <a:gd name="connsiteY10" fmla="*/ 13341645 h 15946069"/>
                <a:gd name="connsiteX11" fmla="*/ 723451 w 18447968"/>
                <a:gd name="connsiteY11" fmla="*/ 13757629 h 15946069"/>
                <a:gd name="connsiteX12" fmla="*/ 1640036 w 18447968"/>
                <a:gd name="connsiteY12" fmla="*/ 13197151 h 15946069"/>
                <a:gd name="connsiteX13" fmla="*/ 1880971 w 18447968"/>
                <a:gd name="connsiteY13" fmla="*/ 13395906 h 15946069"/>
                <a:gd name="connsiteX14" fmla="*/ 2930086 w 18447968"/>
                <a:gd name="connsiteY14" fmla="*/ 12952832 h 15946069"/>
                <a:gd name="connsiteX15" fmla="*/ 3828256 w 18447968"/>
                <a:gd name="connsiteY15" fmla="*/ 13245188 h 15946069"/>
                <a:gd name="connsiteX16" fmla="*/ 4768739 w 18447968"/>
                <a:gd name="connsiteY16" fmla="*/ 13040205 h 15946069"/>
                <a:gd name="connsiteX17" fmla="*/ 5190751 w 18447968"/>
                <a:gd name="connsiteY17" fmla="*/ 13649115 h 15946069"/>
                <a:gd name="connsiteX18" fmla="*/ 5932290 w 18447968"/>
                <a:gd name="connsiteY18" fmla="*/ 13444132 h 15946069"/>
                <a:gd name="connsiteX19" fmla="*/ 6498992 w 18447968"/>
                <a:gd name="connsiteY19" fmla="*/ 12991975 h 15946069"/>
                <a:gd name="connsiteX20" fmla="*/ 7373161 w 18447968"/>
                <a:gd name="connsiteY20" fmla="*/ 13582800 h 15946069"/>
                <a:gd name="connsiteX21" fmla="*/ 8512588 w 18447968"/>
                <a:gd name="connsiteY21" fmla="*/ 13570738 h 15946069"/>
                <a:gd name="connsiteX22" fmla="*/ 9416903 w 18447968"/>
                <a:gd name="connsiteY22" fmla="*/ 13281357 h 15946069"/>
                <a:gd name="connsiteX23" fmla="*/ 9742454 w 18447968"/>
                <a:gd name="connsiteY23" fmla="*/ 14004811 h 15946069"/>
                <a:gd name="connsiteX24" fmla="*/ 10080066 w 18447968"/>
                <a:gd name="connsiteY24" fmla="*/ 14716204 h 15946069"/>
                <a:gd name="connsiteX25" fmla="*/ 10616683 w 18447968"/>
                <a:gd name="connsiteY25" fmla="*/ 15358294 h 15946069"/>
                <a:gd name="connsiteX26" fmla="*/ 11117010 w 18447968"/>
                <a:gd name="connsiteY26" fmla="*/ 15946069 h 15946069"/>
                <a:gd name="connsiteX27" fmla="*/ 11593335 w 18447968"/>
                <a:gd name="connsiteY27" fmla="*/ 15822497 h 15946069"/>
                <a:gd name="connsiteX28" fmla="*/ 11780218 w 18447968"/>
                <a:gd name="connsiteY28" fmla="*/ 13579811 h 15946069"/>
                <a:gd name="connsiteX29" fmla="*/ 11954994 w 18447968"/>
                <a:gd name="connsiteY29" fmla="*/ 12135890 h 15946069"/>
                <a:gd name="connsiteX30" fmla="*/ 12196146 w 18447968"/>
                <a:gd name="connsiteY30" fmla="*/ 11388328 h 15946069"/>
                <a:gd name="connsiteX31" fmla="*/ 13166775 w 18447968"/>
                <a:gd name="connsiteY31" fmla="*/ 11707856 h 15946069"/>
                <a:gd name="connsiteX32" fmla="*/ 14004775 w 18447968"/>
                <a:gd name="connsiteY32" fmla="*/ 11611395 h 15946069"/>
                <a:gd name="connsiteX33" fmla="*/ 14939235 w 18447968"/>
                <a:gd name="connsiteY33" fmla="*/ 11322014 h 15946069"/>
                <a:gd name="connsiteX34" fmla="*/ 15409477 w 18447968"/>
                <a:gd name="connsiteY34" fmla="*/ 11882693 h 15946069"/>
                <a:gd name="connsiteX35" fmla="*/ 15861634 w 18447968"/>
                <a:gd name="connsiteY35" fmla="*/ 11273783 h 15946069"/>
                <a:gd name="connsiteX36" fmla="*/ 16413199 w 18447968"/>
                <a:gd name="connsiteY36" fmla="*/ 10920339 h 15946069"/>
                <a:gd name="connsiteX37" fmla="*/ 16765948 w 18447968"/>
                <a:gd name="connsiteY37" fmla="*/ 10200671 h 15946069"/>
                <a:gd name="connsiteX38" fmla="*/ 16428336 w 18447968"/>
                <a:gd name="connsiteY38" fmla="*/ 9374732 h 15946069"/>
                <a:gd name="connsiteX39" fmla="*/ 15946033 w 18447968"/>
                <a:gd name="connsiteY39" fmla="*/ 8440272 h 15946069"/>
                <a:gd name="connsiteX40" fmla="*/ 16024409 w 18447968"/>
                <a:gd name="connsiteY40" fmla="*/ 7433474 h 15946069"/>
                <a:gd name="connsiteX41" fmla="*/ 16958870 w 18447968"/>
                <a:gd name="connsiteY41" fmla="*/ 6776350 h 15946069"/>
                <a:gd name="connsiteX42" fmla="*/ 17911414 w 18447968"/>
                <a:gd name="connsiteY42" fmla="*/ 6083041 h 15946069"/>
                <a:gd name="connsiteX43" fmla="*/ 17694370 w 18447968"/>
                <a:gd name="connsiteY43" fmla="*/ 5570592 h 15946069"/>
                <a:gd name="connsiteX44" fmla="*/ 17385711 w 18447968"/>
                <a:gd name="connsiteY44" fmla="*/ 5219213 h 15946069"/>
                <a:gd name="connsiteX45" fmla="*/ 17637701 w 18447968"/>
                <a:gd name="connsiteY45" fmla="*/ 4819407 h 15946069"/>
                <a:gd name="connsiteX46" fmla="*/ 18171858 w 18447968"/>
                <a:gd name="connsiteY46" fmla="*/ 4701949 h 15946069"/>
                <a:gd name="connsiteX47" fmla="*/ 18447970 w 18447968"/>
                <a:gd name="connsiteY47" fmla="*/ 4316604 h 15946069"/>
                <a:gd name="connsiteX48" fmla="*/ 17814953 w 18447968"/>
                <a:gd name="connsiteY48" fmla="*/ 4117660 h 15946069"/>
                <a:gd name="connsiteX49" fmla="*/ 17067422 w 18447968"/>
                <a:gd name="connsiteY49" fmla="*/ 3472551 h 15946069"/>
                <a:gd name="connsiteX50" fmla="*/ 16852763 w 18447968"/>
                <a:gd name="connsiteY50" fmla="*/ 3282076 h 15946069"/>
                <a:gd name="connsiteX51" fmla="*/ 14429201 w 18447968"/>
                <a:gd name="connsiteY51" fmla="*/ 4027238 h 15946069"/>
                <a:gd name="connsiteX52" fmla="*/ 13383819 w 18447968"/>
                <a:gd name="connsiteY52" fmla="*/ 2963756 h 15946069"/>
                <a:gd name="connsiteX53" fmla="*/ 12493981 w 18447968"/>
                <a:gd name="connsiteY53" fmla="*/ 2927587 h 15946069"/>
                <a:gd name="connsiteX54" fmla="*/ 11976717 w 18447968"/>
                <a:gd name="connsiteY54" fmla="*/ 2139025 h 15946069"/>
                <a:gd name="connsiteX55" fmla="*/ 11484768 w 18447968"/>
                <a:gd name="connsiteY55" fmla="*/ 1495155 h 15946069"/>
                <a:gd name="connsiteX56" fmla="*/ 10830043 w 18447968"/>
                <a:gd name="connsiteY56" fmla="*/ 1256418 h 15946069"/>
                <a:gd name="connsiteX57" fmla="*/ 10323633 w 18447968"/>
                <a:gd name="connsiteY57" fmla="*/ 1220249 h 15946069"/>
                <a:gd name="connsiteX58" fmla="*/ 9802745 w 18447968"/>
                <a:gd name="connsiteY58" fmla="*/ 1603676 h 15946069"/>
                <a:gd name="connsiteX59" fmla="*/ 9223982 w 18447968"/>
                <a:gd name="connsiteY59" fmla="*/ 1621761 h 15946069"/>
                <a:gd name="connsiteX60" fmla="*/ 8782678 w 18447968"/>
                <a:gd name="connsiteY60" fmla="*/ 2171586 h 15946069"/>
                <a:gd name="connsiteX61" fmla="*/ 8272645 w 18447968"/>
                <a:gd name="connsiteY61" fmla="*/ 2102856 h 15946069"/>
                <a:gd name="connsiteX62" fmla="*/ 7853048 w 18447968"/>
                <a:gd name="connsiteY62" fmla="*/ 2526075 h 15946069"/>
                <a:gd name="connsiteX63" fmla="*/ 7323799 w 18447968"/>
                <a:gd name="connsiteY63" fmla="*/ 2632907 h 15946069"/>
                <a:gd name="connsiteX64" fmla="*/ 6977672 w 18447968"/>
                <a:gd name="connsiteY64" fmla="*/ 2178817 h 15946069"/>
                <a:gd name="connsiteX65" fmla="*/ 6594245 w 18447968"/>
                <a:gd name="connsiteY65" fmla="*/ 2055834 h 15946069"/>
                <a:gd name="connsiteX66" fmla="*/ 6431470 w 18447968"/>
                <a:gd name="connsiteY66" fmla="*/ 1314295 h 15946069"/>
                <a:gd name="connsiteX67" fmla="*/ 5642908 w 18447968"/>
                <a:gd name="connsiteY67" fmla="*/ 1343233 h 15946069"/>
                <a:gd name="connsiteX68" fmla="*/ 5150959 w 18447968"/>
                <a:gd name="connsiteY68" fmla="*/ 1610907 h 15946069"/>
                <a:gd name="connsiteX69" fmla="*/ 5480133 w 18447968"/>
                <a:gd name="connsiteY69" fmla="*/ 2167963 h 15946069"/>
                <a:gd name="connsiteX70" fmla="*/ 4742216 w 18447968"/>
                <a:gd name="connsiteY70" fmla="*/ 2862495 h 15946069"/>
                <a:gd name="connsiteX71" fmla="*/ 2658667 w 18447968"/>
                <a:gd name="connsiteY71" fmla="*/ 0 h 15946069"/>
                <a:gd name="connsiteX72" fmla="*/ 2658682 w 18447968"/>
                <a:gd name="connsiteY72" fmla="*/ 1018890 h 15946069"/>
                <a:gd name="connsiteX73" fmla="*/ 1850829 w 18447968"/>
                <a:gd name="connsiteY73" fmla="*/ 1730283 h 15946069"/>
                <a:gd name="connsiteX74" fmla="*/ 1404694 w 18447968"/>
                <a:gd name="connsiteY74" fmla="*/ 2272862 h 15946069"/>
                <a:gd name="connsiteX75" fmla="*/ 2351216 w 18447968"/>
                <a:gd name="connsiteY75" fmla="*/ 3388182 h 15946069"/>
                <a:gd name="connsiteX76" fmla="*/ 2658682 w 18447968"/>
                <a:gd name="connsiteY76" fmla="*/ 4286458 h 15946069"/>
                <a:gd name="connsiteX77" fmla="*/ 1935228 w 18447968"/>
                <a:gd name="connsiteY77" fmla="*/ 5220918 h 15946069"/>
                <a:gd name="connsiteX78" fmla="*/ 875281 w 18447968"/>
                <a:gd name="connsiteY78" fmla="*/ 5166646 h 15946069"/>
                <a:gd name="connsiteX79" fmla="*/ 0 w 18447968"/>
                <a:gd name="connsiteY79" fmla="*/ 5890112 h 15946069"/>
                <a:gd name="connsiteX80" fmla="*/ 72345 w 18447968"/>
                <a:gd name="connsiteY80" fmla="*/ 6921032 h 15946069"/>
                <a:gd name="connsiteX81" fmla="*/ 477776 w 18447968"/>
                <a:gd name="connsiteY81" fmla="*/ 7436569 h 15946069"/>
                <a:gd name="connsiteX0" fmla="*/ 477776 w 18447968"/>
                <a:gd name="connsiteY0" fmla="*/ 7436569 h 15946069"/>
                <a:gd name="connsiteX1" fmla="*/ 271294 w 18447968"/>
                <a:gd name="connsiteY1" fmla="*/ 8060457 h 15946069"/>
                <a:gd name="connsiteX2" fmla="*/ 379812 w 18447968"/>
                <a:gd name="connsiteY2" fmla="*/ 8675382 h 15946069"/>
                <a:gd name="connsiteX3" fmla="*/ 759624 w 18447968"/>
                <a:gd name="connsiteY3" fmla="*/ 9217969 h 15946069"/>
                <a:gd name="connsiteX4" fmla="*/ 687278 w 18447968"/>
                <a:gd name="connsiteY4" fmla="*/ 9670126 h 15946069"/>
                <a:gd name="connsiteX5" fmla="*/ 144687 w 18447968"/>
                <a:gd name="connsiteY5" fmla="*/ 9941420 h 15946069"/>
                <a:gd name="connsiteX6" fmla="*/ 343643 w 18447968"/>
                <a:gd name="connsiteY6" fmla="*/ 10592536 h 15946069"/>
                <a:gd name="connsiteX7" fmla="*/ 940487 w 18447968"/>
                <a:gd name="connsiteY7" fmla="*/ 10954252 h 15946069"/>
                <a:gd name="connsiteX8" fmla="*/ 596844 w 18447968"/>
                <a:gd name="connsiteY8" fmla="*/ 11786221 h 15946069"/>
                <a:gd name="connsiteX9" fmla="*/ 633017 w 18447968"/>
                <a:gd name="connsiteY9" fmla="*/ 12780969 h 15946069"/>
                <a:gd name="connsiteX10" fmla="*/ 198944 w 18447968"/>
                <a:gd name="connsiteY10" fmla="*/ 13341645 h 15946069"/>
                <a:gd name="connsiteX11" fmla="*/ 723451 w 18447968"/>
                <a:gd name="connsiteY11" fmla="*/ 13757629 h 15946069"/>
                <a:gd name="connsiteX12" fmla="*/ 1640036 w 18447968"/>
                <a:gd name="connsiteY12" fmla="*/ 13197151 h 15946069"/>
                <a:gd name="connsiteX13" fmla="*/ 1880971 w 18447968"/>
                <a:gd name="connsiteY13" fmla="*/ 13395906 h 15946069"/>
                <a:gd name="connsiteX14" fmla="*/ 2930086 w 18447968"/>
                <a:gd name="connsiteY14" fmla="*/ 12952832 h 15946069"/>
                <a:gd name="connsiteX15" fmla="*/ 3828256 w 18447968"/>
                <a:gd name="connsiteY15" fmla="*/ 13245188 h 15946069"/>
                <a:gd name="connsiteX16" fmla="*/ 4768739 w 18447968"/>
                <a:gd name="connsiteY16" fmla="*/ 13040205 h 15946069"/>
                <a:gd name="connsiteX17" fmla="*/ 5190751 w 18447968"/>
                <a:gd name="connsiteY17" fmla="*/ 13649115 h 15946069"/>
                <a:gd name="connsiteX18" fmla="*/ 5932290 w 18447968"/>
                <a:gd name="connsiteY18" fmla="*/ 13444132 h 15946069"/>
                <a:gd name="connsiteX19" fmla="*/ 6498992 w 18447968"/>
                <a:gd name="connsiteY19" fmla="*/ 12991975 h 15946069"/>
                <a:gd name="connsiteX20" fmla="*/ 7373161 w 18447968"/>
                <a:gd name="connsiteY20" fmla="*/ 13582800 h 15946069"/>
                <a:gd name="connsiteX21" fmla="*/ 8512588 w 18447968"/>
                <a:gd name="connsiteY21" fmla="*/ 13570738 h 15946069"/>
                <a:gd name="connsiteX22" fmla="*/ 9416903 w 18447968"/>
                <a:gd name="connsiteY22" fmla="*/ 13281357 h 15946069"/>
                <a:gd name="connsiteX23" fmla="*/ 9742454 w 18447968"/>
                <a:gd name="connsiteY23" fmla="*/ 14004811 h 15946069"/>
                <a:gd name="connsiteX24" fmla="*/ 10080066 w 18447968"/>
                <a:gd name="connsiteY24" fmla="*/ 14716204 h 15946069"/>
                <a:gd name="connsiteX25" fmla="*/ 10616683 w 18447968"/>
                <a:gd name="connsiteY25" fmla="*/ 15358294 h 15946069"/>
                <a:gd name="connsiteX26" fmla="*/ 11117010 w 18447968"/>
                <a:gd name="connsiteY26" fmla="*/ 15946069 h 15946069"/>
                <a:gd name="connsiteX27" fmla="*/ 11593335 w 18447968"/>
                <a:gd name="connsiteY27" fmla="*/ 15822497 h 15946069"/>
                <a:gd name="connsiteX28" fmla="*/ 11780218 w 18447968"/>
                <a:gd name="connsiteY28" fmla="*/ 13579811 h 15946069"/>
                <a:gd name="connsiteX29" fmla="*/ 11954994 w 18447968"/>
                <a:gd name="connsiteY29" fmla="*/ 12135890 h 15946069"/>
                <a:gd name="connsiteX30" fmla="*/ 12196146 w 18447968"/>
                <a:gd name="connsiteY30" fmla="*/ 11388328 h 15946069"/>
                <a:gd name="connsiteX31" fmla="*/ 13166775 w 18447968"/>
                <a:gd name="connsiteY31" fmla="*/ 11707856 h 15946069"/>
                <a:gd name="connsiteX32" fmla="*/ 14004775 w 18447968"/>
                <a:gd name="connsiteY32" fmla="*/ 11611395 h 15946069"/>
                <a:gd name="connsiteX33" fmla="*/ 14939235 w 18447968"/>
                <a:gd name="connsiteY33" fmla="*/ 11322014 h 15946069"/>
                <a:gd name="connsiteX34" fmla="*/ 15409477 w 18447968"/>
                <a:gd name="connsiteY34" fmla="*/ 11882693 h 15946069"/>
                <a:gd name="connsiteX35" fmla="*/ 15861634 w 18447968"/>
                <a:gd name="connsiteY35" fmla="*/ 11273783 h 15946069"/>
                <a:gd name="connsiteX36" fmla="*/ 16413199 w 18447968"/>
                <a:gd name="connsiteY36" fmla="*/ 10920339 h 15946069"/>
                <a:gd name="connsiteX37" fmla="*/ 16765948 w 18447968"/>
                <a:gd name="connsiteY37" fmla="*/ 10200671 h 15946069"/>
                <a:gd name="connsiteX38" fmla="*/ 16428336 w 18447968"/>
                <a:gd name="connsiteY38" fmla="*/ 9374732 h 15946069"/>
                <a:gd name="connsiteX39" fmla="*/ 15946033 w 18447968"/>
                <a:gd name="connsiteY39" fmla="*/ 8440272 h 15946069"/>
                <a:gd name="connsiteX40" fmla="*/ 16024409 w 18447968"/>
                <a:gd name="connsiteY40" fmla="*/ 7433474 h 15946069"/>
                <a:gd name="connsiteX41" fmla="*/ 16958870 w 18447968"/>
                <a:gd name="connsiteY41" fmla="*/ 6776350 h 15946069"/>
                <a:gd name="connsiteX42" fmla="*/ 17911414 w 18447968"/>
                <a:gd name="connsiteY42" fmla="*/ 6083041 h 15946069"/>
                <a:gd name="connsiteX43" fmla="*/ 17694370 w 18447968"/>
                <a:gd name="connsiteY43" fmla="*/ 5570592 h 15946069"/>
                <a:gd name="connsiteX44" fmla="*/ 17385711 w 18447968"/>
                <a:gd name="connsiteY44" fmla="*/ 5219213 h 15946069"/>
                <a:gd name="connsiteX45" fmla="*/ 17637701 w 18447968"/>
                <a:gd name="connsiteY45" fmla="*/ 4819407 h 15946069"/>
                <a:gd name="connsiteX46" fmla="*/ 18171858 w 18447968"/>
                <a:gd name="connsiteY46" fmla="*/ 4701949 h 15946069"/>
                <a:gd name="connsiteX47" fmla="*/ 18447970 w 18447968"/>
                <a:gd name="connsiteY47" fmla="*/ 4316604 h 15946069"/>
                <a:gd name="connsiteX48" fmla="*/ 17814953 w 18447968"/>
                <a:gd name="connsiteY48" fmla="*/ 4117660 h 15946069"/>
                <a:gd name="connsiteX49" fmla="*/ 16852763 w 18447968"/>
                <a:gd name="connsiteY49" fmla="*/ 3282076 h 15946069"/>
                <a:gd name="connsiteX50" fmla="*/ 14429201 w 18447968"/>
                <a:gd name="connsiteY50" fmla="*/ 4027238 h 15946069"/>
                <a:gd name="connsiteX51" fmla="*/ 13383819 w 18447968"/>
                <a:gd name="connsiteY51" fmla="*/ 2963756 h 15946069"/>
                <a:gd name="connsiteX52" fmla="*/ 12493981 w 18447968"/>
                <a:gd name="connsiteY52" fmla="*/ 2927587 h 15946069"/>
                <a:gd name="connsiteX53" fmla="*/ 11976717 w 18447968"/>
                <a:gd name="connsiteY53" fmla="*/ 2139025 h 15946069"/>
                <a:gd name="connsiteX54" fmla="*/ 11484768 w 18447968"/>
                <a:gd name="connsiteY54" fmla="*/ 1495155 h 15946069"/>
                <a:gd name="connsiteX55" fmla="*/ 10830043 w 18447968"/>
                <a:gd name="connsiteY55" fmla="*/ 1256418 h 15946069"/>
                <a:gd name="connsiteX56" fmla="*/ 10323633 w 18447968"/>
                <a:gd name="connsiteY56" fmla="*/ 1220249 h 15946069"/>
                <a:gd name="connsiteX57" fmla="*/ 9802745 w 18447968"/>
                <a:gd name="connsiteY57" fmla="*/ 1603676 h 15946069"/>
                <a:gd name="connsiteX58" fmla="*/ 9223982 w 18447968"/>
                <a:gd name="connsiteY58" fmla="*/ 1621761 h 15946069"/>
                <a:gd name="connsiteX59" fmla="*/ 8782678 w 18447968"/>
                <a:gd name="connsiteY59" fmla="*/ 2171586 h 15946069"/>
                <a:gd name="connsiteX60" fmla="*/ 8272645 w 18447968"/>
                <a:gd name="connsiteY60" fmla="*/ 2102856 h 15946069"/>
                <a:gd name="connsiteX61" fmla="*/ 7853048 w 18447968"/>
                <a:gd name="connsiteY61" fmla="*/ 2526075 h 15946069"/>
                <a:gd name="connsiteX62" fmla="*/ 7323799 w 18447968"/>
                <a:gd name="connsiteY62" fmla="*/ 2632907 h 15946069"/>
                <a:gd name="connsiteX63" fmla="*/ 6977672 w 18447968"/>
                <a:gd name="connsiteY63" fmla="*/ 2178817 h 15946069"/>
                <a:gd name="connsiteX64" fmla="*/ 6594245 w 18447968"/>
                <a:gd name="connsiteY64" fmla="*/ 2055834 h 15946069"/>
                <a:gd name="connsiteX65" fmla="*/ 6431470 w 18447968"/>
                <a:gd name="connsiteY65" fmla="*/ 1314295 h 15946069"/>
                <a:gd name="connsiteX66" fmla="*/ 5642908 w 18447968"/>
                <a:gd name="connsiteY66" fmla="*/ 1343233 h 15946069"/>
                <a:gd name="connsiteX67" fmla="*/ 5150959 w 18447968"/>
                <a:gd name="connsiteY67" fmla="*/ 1610907 h 15946069"/>
                <a:gd name="connsiteX68" fmla="*/ 5480133 w 18447968"/>
                <a:gd name="connsiteY68" fmla="*/ 2167963 h 15946069"/>
                <a:gd name="connsiteX69" fmla="*/ 4742216 w 18447968"/>
                <a:gd name="connsiteY69" fmla="*/ 2862495 h 15946069"/>
                <a:gd name="connsiteX70" fmla="*/ 2658667 w 18447968"/>
                <a:gd name="connsiteY70" fmla="*/ 0 h 15946069"/>
                <a:gd name="connsiteX71" fmla="*/ 2658682 w 18447968"/>
                <a:gd name="connsiteY71" fmla="*/ 1018890 h 15946069"/>
                <a:gd name="connsiteX72" fmla="*/ 1850829 w 18447968"/>
                <a:gd name="connsiteY72" fmla="*/ 1730283 h 15946069"/>
                <a:gd name="connsiteX73" fmla="*/ 1404694 w 18447968"/>
                <a:gd name="connsiteY73" fmla="*/ 2272862 h 15946069"/>
                <a:gd name="connsiteX74" fmla="*/ 2351216 w 18447968"/>
                <a:gd name="connsiteY74" fmla="*/ 3388182 h 15946069"/>
                <a:gd name="connsiteX75" fmla="*/ 2658682 w 18447968"/>
                <a:gd name="connsiteY75" fmla="*/ 4286458 h 15946069"/>
                <a:gd name="connsiteX76" fmla="*/ 1935228 w 18447968"/>
                <a:gd name="connsiteY76" fmla="*/ 5220918 h 15946069"/>
                <a:gd name="connsiteX77" fmla="*/ 875281 w 18447968"/>
                <a:gd name="connsiteY77" fmla="*/ 5166646 h 15946069"/>
                <a:gd name="connsiteX78" fmla="*/ 0 w 18447968"/>
                <a:gd name="connsiteY78" fmla="*/ 5890112 h 15946069"/>
                <a:gd name="connsiteX79" fmla="*/ 72345 w 18447968"/>
                <a:gd name="connsiteY79" fmla="*/ 6921032 h 15946069"/>
                <a:gd name="connsiteX80" fmla="*/ 477776 w 18447968"/>
                <a:gd name="connsiteY8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5946033 w 18171859"/>
                <a:gd name="connsiteY39" fmla="*/ 8440272 h 15946069"/>
                <a:gd name="connsiteX40" fmla="*/ 16024409 w 18171859"/>
                <a:gd name="connsiteY40" fmla="*/ 7433474 h 15946069"/>
                <a:gd name="connsiteX41" fmla="*/ 16958870 w 18171859"/>
                <a:gd name="connsiteY41" fmla="*/ 6776350 h 15946069"/>
                <a:gd name="connsiteX42" fmla="*/ 17911414 w 18171859"/>
                <a:gd name="connsiteY42" fmla="*/ 6083041 h 15946069"/>
                <a:gd name="connsiteX43" fmla="*/ 17694370 w 18171859"/>
                <a:gd name="connsiteY43" fmla="*/ 5570592 h 15946069"/>
                <a:gd name="connsiteX44" fmla="*/ 17385711 w 18171859"/>
                <a:gd name="connsiteY44" fmla="*/ 5219213 h 15946069"/>
                <a:gd name="connsiteX45" fmla="*/ 17637701 w 18171859"/>
                <a:gd name="connsiteY45" fmla="*/ 4819407 h 15946069"/>
                <a:gd name="connsiteX46" fmla="*/ 18171858 w 18171859"/>
                <a:gd name="connsiteY46" fmla="*/ 4701949 h 15946069"/>
                <a:gd name="connsiteX47" fmla="*/ 17814953 w 18171859"/>
                <a:gd name="connsiteY47" fmla="*/ 4117660 h 15946069"/>
                <a:gd name="connsiteX48" fmla="*/ 16852763 w 18171859"/>
                <a:gd name="connsiteY48" fmla="*/ 3282076 h 15946069"/>
                <a:gd name="connsiteX49" fmla="*/ 14429201 w 18171859"/>
                <a:gd name="connsiteY49" fmla="*/ 4027238 h 15946069"/>
                <a:gd name="connsiteX50" fmla="*/ 13383819 w 18171859"/>
                <a:gd name="connsiteY50" fmla="*/ 2963756 h 15946069"/>
                <a:gd name="connsiteX51" fmla="*/ 12493981 w 18171859"/>
                <a:gd name="connsiteY51" fmla="*/ 2927587 h 15946069"/>
                <a:gd name="connsiteX52" fmla="*/ 11976717 w 18171859"/>
                <a:gd name="connsiteY52" fmla="*/ 2139025 h 15946069"/>
                <a:gd name="connsiteX53" fmla="*/ 11484768 w 18171859"/>
                <a:gd name="connsiteY53" fmla="*/ 1495155 h 15946069"/>
                <a:gd name="connsiteX54" fmla="*/ 10830043 w 18171859"/>
                <a:gd name="connsiteY54" fmla="*/ 1256418 h 15946069"/>
                <a:gd name="connsiteX55" fmla="*/ 10323633 w 18171859"/>
                <a:gd name="connsiteY55" fmla="*/ 1220249 h 15946069"/>
                <a:gd name="connsiteX56" fmla="*/ 9802745 w 18171859"/>
                <a:gd name="connsiteY56" fmla="*/ 1603676 h 15946069"/>
                <a:gd name="connsiteX57" fmla="*/ 9223982 w 18171859"/>
                <a:gd name="connsiteY57" fmla="*/ 1621761 h 15946069"/>
                <a:gd name="connsiteX58" fmla="*/ 8782678 w 18171859"/>
                <a:gd name="connsiteY58" fmla="*/ 2171586 h 15946069"/>
                <a:gd name="connsiteX59" fmla="*/ 8272645 w 18171859"/>
                <a:gd name="connsiteY59" fmla="*/ 2102856 h 15946069"/>
                <a:gd name="connsiteX60" fmla="*/ 7853048 w 18171859"/>
                <a:gd name="connsiteY60" fmla="*/ 2526075 h 15946069"/>
                <a:gd name="connsiteX61" fmla="*/ 7323799 w 18171859"/>
                <a:gd name="connsiteY61" fmla="*/ 2632907 h 15946069"/>
                <a:gd name="connsiteX62" fmla="*/ 6977672 w 18171859"/>
                <a:gd name="connsiteY62" fmla="*/ 2178817 h 15946069"/>
                <a:gd name="connsiteX63" fmla="*/ 6594245 w 18171859"/>
                <a:gd name="connsiteY63" fmla="*/ 2055834 h 15946069"/>
                <a:gd name="connsiteX64" fmla="*/ 6431470 w 18171859"/>
                <a:gd name="connsiteY64" fmla="*/ 1314295 h 15946069"/>
                <a:gd name="connsiteX65" fmla="*/ 5642908 w 18171859"/>
                <a:gd name="connsiteY65" fmla="*/ 1343233 h 15946069"/>
                <a:gd name="connsiteX66" fmla="*/ 5150959 w 18171859"/>
                <a:gd name="connsiteY66" fmla="*/ 1610907 h 15946069"/>
                <a:gd name="connsiteX67" fmla="*/ 5480133 w 18171859"/>
                <a:gd name="connsiteY67" fmla="*/ 2167963 h 15946069"/>
                <a:gd name="connsiteX68" fmla="*/ 4742216 w 18171859"/>
                <a:gd name="connsiteY68" fmla="*/ 2862495 h 15946069"/>
                <a:gd name="connsiteX69" fmla="*/ 2658667 w 18171859"/>
                <a:gd name="connsiteY69" fmla="*/ 0 h 15946069"/>
                <a:gd name="connsiteX70" fmla="*/ 2658682 w 18171859"/>
                <a:gd name="connsiteY70" fmla="*/ 1018890 h 15946069"/>
                <a:gd name="connsiteX71" fmla="*/ 1850829 w 18171859"/>
                <a:gd name="connsiteY71" fmla="*/ 1730283 h 15946069"/>
                <a:gd name="connsiteX72" fmla="*/ 1404694 w 18171859"/>
                <a:gd name="connsiteY72" fmla="*/ 2272862 h 15946069"/>
                <a:gd name="connsiteX73" fmla="*/ 2351216 w 18171859"/>
                <a:gd name="connsiteY73" fmla="*/ 3388182 h 15946069"/>
                <a:gd name="connsiteX74" fmla="*/ 2658682 w 18171859"/>
                <a:gd name="connsiteY74" fmla="*/ 4286458 h 15946069"/>
                <a:gd name="connsiteX75" fmla="*/ 1935228 w 18171859"/>
                <a:gd name="connsiteY75" fmla="*/ 5220918 h 15946069"/>
                <a:gd name="connsiteX76" fmla="*/ 875281 w 18171859"/>
                <a:gd name="connsiteY76" fmla="*/ 5166646 h 15946069"/>
                <a:gd name="connsiteX77" fmla="*/ 0 w 18171859"/>
                <a:gd name="connsiteY77" fmla="*/ 5890112 h 15946069"/>
                <a:gd name="connsiteX78" fmla="*/ 72345 w 18171859"/>
                <a:gd name="connsiteY78" fmla="*/ 6921032 h 15946069"/>
                <a:gd name="connsiteX79" fmla="*/ 477776 w 18171859"/>
                <a:gd name="connsiteY79"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5946033 w 18171859"/>
                <a:gd name="connsiteY39" fmla="*/ 8440272 h 15946069"/>
                <a:gd name="connsiteX40" fmla="*/ 16024409 w 18171859"/>
                <a:gd name="connsiteY40" fmla="*/ 7433474 h 15946069"/>
                <a:gd name="connsiteX41" fmla="*/ 16958870 w 18171859"/>
                <a:gd name="connsiteY41" fmla="*/ 6776350 h 15946069"/>
                <a:gd name="connsiteX42" fmla="*/ 17911414 w 18171859"/>
                <a:gd name="connsiteY42" fmla="*/ 6083041 h 15946069"/>
                <a:gd name="connsiteX43" fmla="*/ 17694370 w 18171859"/>
                <a:gd name="connsiteY43" fmla="*/ 5570592 h 15946069"/>
                <a:gd name="connsiteX44" fmla="*/ 17385711 w 18171859"/>
                <a:gd name="connsiteY44" fmla="*/ 5219213 h 15946069"/>
                <a:gd name="connsiteX45" fmla="*/ 18171858 w 18171859"/>
                <a:gd name="connsiteY45" fmla="*/ 4701949 h 15946069"/>
                <a:gd name="connsiteX46" fmla="*/ 17814953 w 18171859"/>
                <a:gd name="connsiteY46" fmla="*/ 4117660 h 15946069"/>
                <a:gd name="connsiteX47" fmla="*/ 16852763 w 18171859"/>
                <a:gd name="connsiteY47" fmla="*/ 3282076 h 15946069"/>
                <a:gd name="connsiteX48" fmla="*/ 14429201 w 18171859"/>
                <a:gd name="connsiteY48" fmla="*/ 4027238 h 15946069"/>
                <a:gd name="connsiteX49" fmla="*/ 13383819 w 18171859"/>
                <a:gd name="connsiteY49" fmla="*/ 2963756 h 15946069"/>
                <a:gd name="connsiteX50" fmla="*/ 12493981 w 18171859"/>
                <a:gd name="connsiteY50" fmla="*/ 2927587 h 15946069"/>
                <a:gd name="connsiteX51" fmla="*/ 11976717 w 18171859"/>
                <a:gd name="connsiteY51" fmla="*/ 2139025 h 15946069"/>
                <a:gd name="connsiteX52" fmla="*/ 11484768 w 18171859"/>
                <a:gd name="connsiteY52" fmla="*/ 1495155 h 15946069"/>
                <a:gd name="connsiteX53" fmla="*/ 10830043 w 18171859"/>
                <a:gd name="connsiteY53" fmla="*/ 1256418 h 15946069"/>
                <a:gd name="connsiteX54" fmla="*/ 10323633 w 18171859"/>
                <a:gd name="connsiteY54" fmla="*/ 1220249 h 15946069"/>
                <a:gd name="connsiteX55" fmla="*/ 9802745 w 18171859"/>
                <a:gd name="connsiteY55" fmla="*/ 1603676 h 15946069"/>
                <a:gd name="connsiteX56" fmla="*/ 9223982 w 18171859"/>
                <a:gd name="connsiteY56" fmla="*/ 1621761 h 15946069"/>
                <a:gd name="connsiteX57" fmla="*/ 8782678 w 18171859"/>
                <a:gd name="connsiteY57" fmla="*/ 2171586 h 15946069"/>
                <a:gd name="connsiteX58" fmla="*/ 8272645 w 18171859"/>
                <a:gd name="connsiteY58" fmla="*/ 2102856 h 15946069"/>
                <a:gd name="connsiteX59" fmla="*/ 7853048 w 18171859"/>
                <a:gd name="connsiteY59" fmla="*/ 2526075 h 15946069"/>
                <a:gd name="connsiteX60" fmla="*/ 7323799 w 18171859"/>
                <a:gd name="connsiteY60" fmla="*/ 2632907 h 15946069"/>
                <a:gd name="connsiteX61" fmla="*/ 6977672 w 18171859"/>
                <a:gd name="connsiteY61" fmla="*/ 2178817 h 15946069"/>
                <a:gd name="connsiteX62" fmla="*/ 6594245 w 18171859"/>
                <a:gd name="connsiteY62" fmla="*/ 2055834 h 15946069"/>
                <a:gd name="connsiteX63" fmla="*/ 6431470 w 18171859"/>
                <a:gd name="connsiteY63" fmla="*/ 1314295 h 15946069"/>
                <a:gd name="connsiteX64" fmla="*/ 5642908 w 18171859"/>
                <a:gd name="connsiteY64" fmla="*/ 1343233 h 15946069"/>
                <a:gd name="connsiteX65" fmla="*/ 5150959 w 18171859"/>
                <a:gd name="connsiteY65" fmla="*/ 1610907 h 15946069"/>
                <a:gd name="connsiteX66" fmla="*/ 5480133 w 18171859"/>
                <a:gd name="connsiteY66" fmla="*/ 2167963 h 15946069"/>
                <a:gd name="connsiteX67" fmla="*/ 4742216 w 18171859"/>
                <a:gd name="connsiteY67" fmla="*/ 2862495 h 15946069"/>
                <a:gd name="connsiteX68" fmla="*/ 2658667 w 18171859"/>
                <a:gd name="connsiteY68" fmla="*/ 0 h 15946069"/>
                <a:gd name="connsiteX69" fmla="*/ 2658682 w 18171859"/>
                <a:gd name="connsiteY69" fmla="*/ 1018890 h 15946069"/>
                <a:gd name="connsiteX70" fmla="*/ 1850829 w 18171859"/>
                <a:gd name="connsiteY70" fmla="*/ 1730283 h 15946069"/>
                <a:gd name="connsiteX71" fmla="*/ 1404694 w 18171859"/>
                <a:gd name="connsiteY71" fmla="*/ 2272862 h 15946069"/>
                <a:gd name="connsiteX72" fmla="*/ 2351216 w 18171859"/>
                <a:gd name="connsiteY72" fmla="*/ 3388182 h 15946069"/>
                <a:gd name="connsiteX73" fmla="*/ 2658682 w 18171859"/>
                <a:gd name="connsiteY73" fmla="*/ 4286458 h 15946069"/>
                <a:gd name="connsiteX74" fmla="*/ 1935228 w 18171859"/>
                <a:gd name="connsiteY74" fmla="*/ 5220918 h 15946069"/>
                <a:gd name="connsiteX75" fmla="*/ 875281 w 18171859"/>
                <a:gd name="connsiteY75" fmla="*/ 5166646 h 15946069"/>
                <a:gd name="connsiteX76" fmla="*/ 0 w 18171859"/>
                <a:gd name="connsiteY76" fmla="*/ 5890112 h 15946069"/>
                <a:gd name="connsiteX77" fmla="*/ 72345 w 18171859"/>
                <a:gd name="connsiteY77" fmla="*/ 6921032 h 15946069"/>
                <a:gd name="connsiteX78" fmla="*/ 477776 w 18171859"/>
                <a:gd name="connsiteY78"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5946033 w 18171859"/>
                <a:gd name="connsiteY39" fmla="*/ 8440272 h 15946069"/>
                <a:gd name="connsiteX40" fmla="*/ 16024409 w 18171859"/>
                <a:gd name="connsiteY40" fmla="*/ 7433474 h 15946069"/>
                <a:gd name="connsiteX41" fmla="*/ 16958870 w 18171859"/>
                <a:gd name="connsiteY41" fmla="*/ 6776350 h 15946069"/>
                <a:gd name="connsiteX42" fmla="*/ 17911414 w 18171859"/>
                <a:gd name="connsiteY42" fmla="*/ 6083041 h 15946069"/>
                <a:gd name="connsiteX43" fmla="*/ 17385711 w 18171859"/>
                <a:gd name="connsiteY43" fmla="*/ 5219213 h 15946069"/>
                <a:gd name="connsiteX44" fmla="*/ 18171858 w 18171859"/>
                <a:gd name="connsiteY44" fmla="*/ 4701949 h 15946069"/>
                <a:gd name="connsiteX45" fmla="*/ 17814953 w 18171859"/>
                <a:gd name="connsiteY45" fmla="*/ 4117660 h 15946069"/>
                <a:gd name="connsiteX46" fmla="*/ 16852763 w 18171859"/>
                <a:gd name="connsiteY46" fmla="*/ 3282076 h 15946069"/>
                <a:gd name="connsiteX47" fmla="*/ 14429201 w 18171859"/>
                <a:gd name="connsiteY47" fmla="*/ 4027238 h 15946069"/>
                <a:gd name="connsiteX48" fmla="*/ 13383819 w 18171859"/>
                <a:gd name="connsiteY48" fmla="*/ 2963756 h 15946069"/>
                <a:gd name="connsiteX49" fmla="*/ 12493981 w 18171859"/>
                <a:gd name="connsiteY49" fmla="*/ 2927587 h 15946069"/>
                <a:gd name="connsiteX50" fmla="*/ 11976717 w 18171859"/>
                <a:gd name="connsiteY50" fmla="*/ 2139025 h 15946069"/>
                <a:gd name="connsiteX51" fmla="*/ 11484768 w 18171859"/>
                <a:gd name="connsiteY51" fmla="*/ 1495155 h 15946069"/>
                <a:gd name="connsiteX52" fmla="*/ 10830043 w 18171859"/>
                <a:gd name="connsiteY52" fmla="*/ 1256418 h 15946069"/>
                <a:gd name="connsiteX53" fmla="*/ 10323633 w 18171859"/>
                <a:gd name="connsiteY53" fmla="*/ 1220249 h 15946069"/>
                <a:gd name="connsiteX54" fmla="*/ 9802745 w 18171859"/>
                <a:gd name="connsiteY54" fmla="*/ 1603676 h 15946069"/>
                <a:gd name="connsiteX55" fmla="*/ 9223982 w 18171859"/>
                <a:gd name="connsiteY55" fmla="*/ 1621761 h 15946069"/>
                <a:gd name="connsiteX56" fmla="*/ 8782678 w 18171859"/>
                <a:gd name="connsiteY56" fmla="*/ 2171586 h 15946069"/>
                <a:gd name="connsiteX57" fmla="*/ 8272645 w 18171859"/>
                <a:gd name="connsiteY57" fmla="*/ 2102856 h 15946069"/>
                <a:gd name="connsiteX58" fmla="*/ 7853048 w 18171859"/>
                <a:gd name="connsiteY58" fmla="*/ 2526075 h 15946069"/>
                <a:gd name="connsiteX59" fmla="*/ 7323799 w 18171859"/>
                <a:gd name="connsiteY59" fmla="*/ 2632907 h 15946069"/>
                <a:gd name="connsiteX60" fmla="*/ 6977672 w 18171859"/>
                <a:gd name="connsiteY60" fmla="*/ 2178817 h 15946069"/>
                <a:gd name="connsiteX61" fmla="*/ 6594245 w 18171859"/>
                <a:gd name="connsiteY61" fmla="*/ 2055834 h 15946069"/>
                <a:gd name="connsiteX62" fmla="*/ 6431470 w 18171859"/>
                <a:gd name="connsiteY62" fmla="*/ 1314295 h 15946069"/>
                <a:gd name="connsiteX63" fmla="*/ 5642908 w 18171859"/>
                <a:gd name="connsiteY63" fmla="*/ 1343233 h 15946069"/>
                <a:gd name="connsiteX64" fmla="*/ 5150959 w 18171859"/>
                <a:gd name="connsiteY64" fmla="*/ 1610907 h 15946069"/>
                <a:gd name="connsiteX65" fmla="*/ 5480133 w 18171859"/>
                <a:gd name="connsiteY65" fmla="*/ 2167963 h 15946069"/>
                <a:gd name="connsiteX66" fmla="*/ 4742216 w 18171859"/>
                <a:gd name="connsiteY66" fmla="*/ 2862495 h 15946069"/>
                <a:gd name="connsiteX67" fmla="*/ 2658667 w 18171859"/>
                <a:gd name="connsiteY67" fmla="*/ 0 h 15946069"/>
                <a:gd name="connsiteX68" fmla="*/ 2658682 w 18171859"/>
                <a:gd name="connsiteY68" fmla="*/ 1018890 h 15946069"/>
                <a:gd name="connsiteX69" fmla="*/ 1850829 w 18171859"/>
                <a:gd name="connsiteY69" fmla="*/ 1730283 h 15946069"/>
                <a:gd name="connsiteX70" fmla="*/ 1404694 w 18171859"/>
                <a:gd name="connsiteY70" fmla="*/ 2272862 h 15946069"/>
                <a:gd name="connsiteX71" fmla="*/ 2351216 w 18171859"/>
                <a:gd name="connsiteY71" fmla="*/ 3388182 h 15946069"/>
                <a:gd name="connsiteX72" fmla="*/ 2658682 w 18171859"/>
                <a:gd name="connsiteY72" fmla="*/ 4286458 h 15946069"/>
                <a:gd name="connsiteX73" fmla="*/ 1935228 w 18171859"/>
                <a:gd name="connsiteY73" fmla="*/ 5220918 h 15946069"/>
                <a:gd name="connsiteX74" fmla="*/ 875281 w 18171859"/>
                <a:gd name="connsiteY74" fmla="*/ 5166646 h 15946069"/>
                <a:gd name="connsiteX75" fmla="*/ 0 w 18171859"/>
                <a:gd name="connsiteY75" fmla="*/ 5890112 h 15946069"/>
                <a:gd name="connsiteX76" fmla="*/ 72345 w 18171859"/>
                <a:gd name="connsiteY76" fmla="*/ 6921032 h 15946069"/>
                <a:gd name="connsiteX77" fmla="*/ 477776 w 18171859"/>
                <a:gd name="connsiteY77"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5946033 w 18171859"/>
                <a:gd name="connsiteY39" fmla="*/ 8440272 h 15946069"/>
                <a:gd name="connsiteX40" fmla="*/ 16024409 w 18171859"/>
                <a:gd name="connsiteY40" fmla="*/ 7433474 h 15946069"/>
                <a:gd name="connsiteX41" fmla="*/ 17911414 w 18171859"/>
                <a:gd name="connsiteY41" fmla="*/ 6083041 h 15946069"/>
                <a:gd name="connsiteX42" fmla="*/ 17385711 w 18171859"/>
                <a:gd name="connsiteY42" fmla="*/ 5219213 h 15946069"/>
                <a:gd name="connsiteX43" fmla="*/ 18171858 w 18171859"/>
                <a:gd name="connsiteY43" fmla="*/ 4701949 h 15946069"/>
                <a:gd name="connsiteX44" fmla="*/ 17814953 w 18171859"/>
                <a:gd name="connsiteY44" fmla="*/ 4117660 h 15946069"/>
                <a:gd name="connsiteX45" fmla="*/ 16852763 w 18171859"/>
                <a:gd name="connsiteY45" fmla="*/ 3282076 h 15946069"/>
                <a:gd name="connsiteX46" fmla="*/ 14429201 w 18171859"/>
                <a:gd name="connsiteY46" fmla="*/ 4027238 h 15946069"/>
                <a:gd name="connsiteX47" fmla="*/ 13383819 w 18171859"/>
                <a:gd name="connsiteY47" fmla="*/ 2963756 h 15946069"/>
                <a:gd name="connsiteX48" fmla="*/ 12493981 w 18171859"/>
                <a:gd name="connsiteY48" fmla="*/ 2927587 h 15946069"/>
                <a:gd name="connsiteX49" fmla="*/ 11976717 w 18171859"/>
                <a:gd name="connsiteY49" fmla="*/ 2139025 h 15946069"/>
                <a:gd name="connsiteX50" fmla="*/ 11484768 w 18171859"/>
                <a:gd name="connsiteY50" fmla="*/ 1495155 h 15946069"/>
                <a:gd name="connsiteX51" fmla="*/ 10830043 w 18171859"/>
                <a:gd name="connsiteY51" fmla="*/ 1256418 h 15946069"/>
                <a:gd name="connsiteX52" fmla="*/ 10323633 w 18171859"/>
                <a:gd name="connsiteY52" fmla="*/ 1220249 h 15946069"/>
                <a:gd name="connsiteX53" fmla="*/ 9802745 w 18171859"/>
                <a:gd name="connsiteY53" fmla="*/ 1603676 h 15946069"/>
                <a:gd name="connsiteX54" fmla="*/ 9223982 w 18171859"/>
                <a:gd name="connsiteY54" fmla="*/ 1621761 h 15946069"/>
                <a:gd name="connsiteX55" fmla="*/ 8782678 w 18171859"/>
                <a:gd name="connsiteY55" fmla="*/ 2171586 h 15946069"/>
                <a:gd name="connsiteX56" fmla="*/ 8272645 w 18171859"/>
                <a:gd name="connsiteY56" fmla="*/ 2102856 h 15946069"/>
                <a:gd name="connsiteX57" fmla="*/ 7853048 w 18171859"/>
                <a:gd name="connsiteY57" fmla="*/ 2526075 h 15946069"/>
                <a:gd name="connsiteX58" fmla="*/ 7323799 w 18171859"/>
                <a:gd name="connsiteY58" fmla="*/ 2632907 h 15946069"/>
                <a:gd name="connsiteX59" fmla="*/ 6977672 w 18171859"/>
                <a:gd name="connsiteY59" fmla="*/ 2178817 h 15946069"/>
                <a:gd name="connsiteX60" fmla="*/ 6594245 w 18171859"/>
                <a:gd name="connsiteY60" fmla="*/ 2055834 h 15946069"/>
                <a:gd name="connsiteX61" fmla="*/ 6431470 w 18171859"/>
                <a:gd name="connsiteY61" fmla="*/ 1314295 h 15946069"/>
                <a:gd name="connsiteX62" fmla="*/ 5642908 w 18171859"/>
                <a:gd name="connsiteY62" fmla="*/ 1343233 h 15946069"/>
                <a:gd name="connsiteX63" fmla="*/ 5150959 w 18171859"/>
                <a:gd name="connsiteY63" fmla="*/ 1610907 h 15946069"/>
                <a:gd name="connsiteX64" fmla="*/ 5480133 w 18171859"/>
                <a:gd name="connsiteY64" fmla="*/ 2167963 h 15946069"/>
                <a:gd name="connsiteX65" fmla="*/ 4742216 w 18171859"/>
                <a:gd name="connsiteY65" fmla="*/ 2862495 h 15946069"/>
                <a:gd name="connsiteX66" fmla="*/ 2658667 w 18171859"/>
                <a:gd name="connsiteY66" fmla="*/ 0 h 15946069"/>
                <a:gd name="connsiteX67" fmla="*/ 2658682 w 18171859"/>
                <a:gd name="connsiteY67" fmla="*/ 1018890 h 15946069"/>
                <a:gd name="connsiteX68" fmla="*/ 1850829 w 18171859"/>
                <a:gd name="connsiteY68" fmla="*/ 1730283 h 15946069"/>
                <a:gd name="connsiteX69" fmla="*/ 1404694 w 18171859"/>
                <a:gd name="connsiteY69" fmla="*/ 2272862 h 15946069"/>
                <a:gd name="connsiteX70" fmla="*/ 2351216 w 18171859"/>
                <a:gd name="connsiteY70" fmla="*/ 3388182 h 15946069"/>
                <a:gd name="connsiteX71" fmla="*/ 2658682 w 18171859"/>
                <a:gd name="connsiteY71" fmla="*/ 4286458 h 15946069"/>
                <a:gd name="connsiteX72" fmla="*/ 1935228 w 18171859"/>
                <a:gd name="connsiteY72" fmla="*/ 5220918 h 15946069"/>
                <a:gd name="connsiteX73" fmla="*/ 875281 w 18171859"/>
                <a:gd name="connsiteY73" fmla="*/ 5166646 h 15946069"/>
                <a:gd name="connsiteX74" fmla="*/ 0 w 18171859"/>
                <a:gd name="connsiteY74" fmla="*/ 5890112 h 15946069"/>
                <a:gd name="connsiteX75" fmla="*/ 72345 w 18171859"/>
                <a:gd name="connsiteY75" fmla="*/ 6921032 h 15946069"/>
                <a:gd name="connsiteX76" fmla="*/ 477776 w 18171859"/>
                <a:gd name="connsiteY76"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6024409 w 18171859"/>
                <a:gd name="connsiteY39" fmla="*/ 7433474 h 15946069"/>
                <a:gd name="connsiteX40" fmla="*/ 17911414 w 18171859"/>
                <a:gd name="connsiteY40" fmla="*/ 6083041 h 15946069"/>
                <a:gd name="connsiteX41" fmla="*/ 17385711 w 18171859"/>
                <a:gd name="connsiteY41" fmla="*/ 5219213 h 15946069"/>
                <a:gd name="connsiteX42" fmla="*/ 18171858 w 18171859"/>
                <a:gd name="connsiteY42" fmla="*/ 4701949 h 15946069"/>
                <a:gd name="connsiteX43" fmla="*/ 17814953 w 18171859"/>
                <a:gd name="connsiteY43" fmla="*/ 4117660 h 15946069"/>
                <a:gd name="connsiteX44" fmla="*/ 16852763 w 18171859"/>
                <a:gd name="connsiteY44" fmla="*/ 3282076 h 15946069"/>
                <a:gd name="connsiteX45" fmla="*/ 14429201 w 18171859"/>
                <a:gd name="connsiteY45" fmla="*/ 4027238 h 15946069"/>
                <a:gd name="connsiteX46" fmla="*/ 13383819 w 18171859"/>
                <a:gd name="connsiteY46" fmla="*/ 2963756 h 15946069"/>
                <a:gd name="connsiteX47" fmla="*/ 12493981 w 18171859"/>
                <a:gd name="connsiteY47" fmla="*/ 2927587 h 15946069"/>
                <a:gd name="connsiteX48" fmla="*/ 11976717 w 18171859"/>
                <a:gd name="connsiteY48" fmla="*/ 2139025 h 15946069"/>
                <a:gd name="connsiteX49" fmla="*/ 11484768 w 18171859"/>
                <a:gd name="connsiteY49" fmla="*/ 1495155 h 15946069"/>
                <a:gd name="connsiteX50" fmla="*/ 10830043 w 18171859"/>
                <a:gd name="connsiteY50" fmla="*/ 1256418 h 15946069"/>
                <a:gd name="connsiteX51" fmla="*/ 10323633 w 18171859"/>
                <a:gd name="connsiteY51" fmla="*/ 1220249 h 15946069"/>
                <a:gd name="connsiteX52" fmla="*/ 9802745 w 18171859"/>
                <a:gd name="connsiteY52" fmla="*/ 1603676 h 15946069"/>
                <a:gd name="connsiteX53" fmla="*/ 9223982 w 18171859"/>
                <a:gd name="connsiteY53" fmla="*/ 1621761 h 15946069"/>
                <a:gd name="connsiteX54" fmla="*/ 8782678 w 18171859"/>
                <a:gd name="connsiteY54" fmla="*/ 2171586 h 15946069"/>
                <a:gd name="connsiteX55" fmla="*/ 8272645 w 18171859"/>
                <a:gd name="connsiteY55" fmla="*/ 2102856 h 15946069"/>
                <a:gd name="connsiteX56" fmla="*/ 7853048 w 18171859"/>
                <a:gd name="connsiteY56" fmla="*/ 2526075 h 15946069"/>
                <a:gd name="connsiteX57" fmla="*/ 7323799 w 18171859"/>
                <a:gd name="connsiteY57" fmla="*/ 2632907 h 15946069"/>
                <a:gd name="connsiteX58" fmla="*/ 6977672 w 18171859"/>
                <a:gd name="connsiteY58" fmla="*/ 2178817 h 15946069"/>
                <a:gd name="connsiteX59" fmla="*/ 6594245 w 18171859"/>
                <a:gd name="connsiteY59" fmla="*/ 2055834 h 15946069"/>
                <a:gd name="connsiteX60" fmla="*/ 6431470 w 18171859"/>
                <a:gd name="connsiteY60" fmla="*/ 1314295 h 15946069"/>
                <a:gd name="connsiteX61" fmla="*/ 5642908 w 18171859"/>
                <a:gd name="connsiteY61" fmla="*/ 1343233 h 15946069"/>
                <a:gd name="connsiteX62" fmla="*/ 5150959 w 18171859"/>
                <a:gd name="connsiteY62" fmla="*/ 1610907 h 15946069"/>
                <a:gd name="connsiteX63" fmla="*/ 5480133 w 18171859"/>
                <a:gd name="connsiteY63" fmla="*/ 2167963 h 15946069"/>
                <a:gd name="connsiteX64" fmla="*/ 4742216 w 18171859"/>
                <a:gd name="connsiteY64" fmla="*/ 2862495 h 15946069"/>
                <a:gd name="connsiteX65" fmla="*/ 2658667 w 18171859"/>
                <a:gd name="connsiteY65" fmla="*/ 0 h 15946069"/>
                <a:gd name="connsiteX66" fmla="*/ 2658682 w 18171859"/>
                <a:gd name="connsiteY66" fmla="*/ 1018890 h 15946069"/>
                <a:gd name="connsiteX67" fmla="*/ 1850829 w 18171859"/>
                <a:gd name="connsiteY67" fmla="*/ 1730283 h 15946069"/>
                <a:gd name="connsiteX68" fmla="*/ 1404694 w 18171859"/>
                <a:gd name="connsiteY68" fmla="*/ 2272862 h 15946069"/>
                <a:gd name="connsiteX69" fmla="*/ 2351216 w 18171859"/>
                <a:gd name="connsiteY69" fmla="*/ 3388182 h 15946069"/>
                <a:gd name="connsiteX70" fmla="*/ 2658682 w 18171859"/>
                <a:gd name="connsiteY70" fmla="*/ 4286458 h 15946069"/>
                <a:gd name="connsiteX71" fmla="*/ 1935228 w 18171859"/>
                <a:gd name="connsiteY71" fmla="*/ 5220918 h 15946069"/>
                <a:gd name="connsiteX72" fmla="*/ 875281 w 18171859"/>
                <a:gd name="connsiteY72" fmla="*/ 5166646 h 15946069"/>
                <a:gd name="connsiteX73" fmla="*/ 0 w 18171859"/>
                <a:gd name="connsiteY73" fmla="*/ 5890112 h 15946069"/>
                <a:gd name="connsiteX74" fmla="*/ 72345 w 18171859"/>
                <a:gd name="connsiteY74" fmla="*/ 6921032 h 15946069"/>
                <a:gd name="connsiteX75" fmla="*/ 477776 w 18171859"/>
                <a:gd name="connsiteY75"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428336 w 18171859"/>
                <a:gd name="connsiteY37" fmla="*/ 9374732 h 15946069"/>
                <a:gd name="connsiteX38" fmla="*/ 16024409 w 18171859"/>
                <a:gd name="connsiteY38" fmla="*/ 7433474 h 15946069"/>
                <a:gd name="connsiteX39" fmla="*/ 17911414 w 18171859"/>
                <a:gd name="connsiteY39" fmla="*/ 6083041 h 15946069"/>
                <a:gd name="connsiteX40" fmla="*/ 17385711 w 18171859"/>
                <a:gd name="connsiteY40" fmla="*/ 5219213 h 15946069"/>
                <a:gd name="connsiteX41" fmla="*/ 18171858 w 18171859"/>
                <a:gd name="connsiteY41" fmla="*/ 4701949 h 15946069"/>
                <a:gd name="connsiteX42" fmla="*/ 17814953 w 18171859"/>
                <a:gd name="connsiteY42" fmla="*/ 4117660 h 15946069"/>
                <a:gd name="connsiteX43" fmla="*/ 16852763 w 18171859"/>
                <a:gd name="connsiteY43" fmla="*/ 3282076 h 15946069"/>
                <a:gd name="connsiteX44" fmla="*/ 14429201 w 18171859"/>
                <a:gd name="connsiteY44" fmla="*/ 4027238 h 15946069"/>
                <a:gd name="connsiteX45" fmla="*/ 13383819 w 18171859"/>
                <a:gd name="connsiteY45" fmla="*/ 2963756 h 15946069"/>
                <a:gd name="connsiteX46" fmla="*/ 12493981 w 18171859"/>
                <a:gd name="connsiteY46" fmla="*/ 2927587 h 15946069"/>
                <a:gd name="connsiteX47" fmla="*/ 11976717 w 18171859"/>
                <a:gd name="connsiteY47" fmla="*/ 2139025 h 15946069"/>
                <a:gd name="connsiteX48" fmla="*/ 11484768 w 18171859"/>
                <a:gd name="connsiteY48" fmla="*/ 1495155 h 15946069"/>
                <a:gd name="connsiteX49" fmla="*/ 10830043 w 18171859"/>
                <a:gd name="connsiteY49" fmla="*/ 1256418 h 15946069"/>
                <a:gd name="connsiteX50" fmla="*/ 10323633 w 18171859"/>
                <a:gd name="connsiteY50" fmla="*/ 1220249 h 15946069"/>
                <a:gd name="connsiteX51" fmla="*/ 9802745 w 18171859"/>
                <a:gd name="connsiteY51" fmla="*/ 1603676 h 15946069"/>
                <a:gd name="connsiteX52" fmla="*/ 9223982 w 18171859"/>
                <a:gd name="connsiteY52" fmla="*/ 1621761 h 15946069"/>
                <a:gd name="connsiteX53" fmla="*/ 8782678 w 18171859"/>
                <a:gd name="connsiteY53" fmla="*/ 2171586 h 15946069"/>
                <a:gd name="connsiteX54" fmla="*/ 8272645 w 18171859"/>
                <a:gd name="connsiteY54" fmla="*/ 2102856 h 15946069"/>
                <a:gd name="connsiteX55" fmla="*/ 7853048 w 18171859"/>
                <a:gd name="connsiteY55" fmla="*/ 2526075 h 15946069"/>
                <a:gd name="connsiteX56" fmla="*/ 7323799 w 18171859"/>
                <a:gd name="connsiteY56" fmla="*/ 2632907 h 15946069"/>
                <a:gd name="connsiteX57" fmla="*/ 6977672 w 18171859"/>
                <a:gd name="connsiteY57" fmla="*/ 2178817 h 15946069"/>
                <a:gd name="connsiteX58" fmla="*/ 6594245 w 18171859"/>
                <a:gd name="connsiteY58" fmla="*/ 2055834 h 15946069"/>
                <a:gd name="connsiteX59" fmla="*/ 6431470 w 18171859"/>
                <a:gd name="connsiteY59" fmla="*/ 1314295 h 15946069"/>
                <a:gd name="connsiteX60" fmla="*/ 5642908 w 18171859"/>
                <a:gd name="connsiteY60" fmla="*/ 1343233 h 15946069"/>
                <a:gd name="connsiteX61" fmla="*/ 5150959 w 18171859"/>
                <a:gd name="connsiteY61" fmla="*/ 1610907 h 15946069"/>
                <a:gd name="connsiteX62" fmla="*/ 5480133 w 18171859"/>
                <a:gd name="connsiteY62" fmla="*/ 2167963 h 15946069"/>
                <a:gd name="connsiteX63" fmla="*/ 4742216 w 18171859"/>
                <a:gd name="connsiteY63" fmla="*/ 2862495 h 15946069"/>
                <a:gd name="connsiteX64" fmla="*/ 2658667 w 18171859"/>
                <a:gd name="connsiteY64" fmla="*/ 0 h 15946069"/>
                <a:gd name="connsiteX65" fmla="*/ 2658682 w 18171859"/>
                <a:gd name="connsiteY65" fmla="*/ 1018890 h 15946069"/>
                <a:gd name="connsiteX66" fmla="*/ 1850829 w 18171859"/>
                <a:gd name="connsiteY66" fmla="*/ 1730283 h 15946069"/>
                <a:gd name="connsiteX67" fmla="*/ 1404694 w 18171859"/>
                <a:gd name="connsiteY67" fmla="*/ 2272862 h 15946069"/>
                <a:gd name="connsiteX68" fmla="*/ 2351216 w 18171859"/>
                <a:gd name="connsiteY68" fmla="*/ 3388182 h 15946069"/>
                <a:gd name="connsiteX69" fmla="*/ 2658682 w 18171859"/>
                <a:gd name="connsiteY69" fmla="*/ 4286458 h 15946069"/>
                <a:gd name="connsiteX70" fmla="*/ 1935228 w 18171859"/>
                <a:gd name="connsiteY70" fmla="*/ 5220918 h 15946069"/>
                <a:gd name="connsiteX71" fmla="*/ 875281 w 18171859"/>
                <a:gd name="connsiteY71" fmla="*/ 5166646 h 15946069"/>
                <a:gd name="connsiteX72" fmla="*/ 0 w 18171859"/>
                <a:gd name="connsiteY72" fmla="*/ 5890112 h 15946069"/>
                <a:gd name="connsiteX73" fmla="*/ 72345 w 18171859"/>
                <a:gd name="connsiteY73" fmla="*/ 6921032 h 15946069"/>
                <a:gd name="connsiteX74" fmla="*/ 477776 w 18171859"/>
                <a:gd name="connsiteY74"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6413199 w 18171859"/>
                <a:gd name="connsiteY35" fmla="*/ 10920339 h 15946069"/>
                <a:gd name="connsiteX36" fmla="*/ 16428336 w 18171859"/>
                <a:gd name="connsiteY36" fmla="*/ 9374732 h 15946069"/>
                <a:gd name="connsiteX37" fmla="*/ 16024409 w 18171859"/>
                <a:gd name="connsiteY37" fmla="*/ 7433474 h 15946069"/>
                <a:gd name="connsiteX38" fmla="*/ 17911414 w 18171859"/>
                <a:gd name="connsiteY38" fmla="*/ 6083041 h 15946069"/>
                <a:gd name="connsiteX39" fmla="*/ 17385711 w 18171859"/>
                <a:gd name="connsiteY39" fmla="*/ 5219213 h 15946069"/>
                <a:gd name="connsiteX40" fmla="*/ 18171858 w 18171859"/>
                <a:gd name="connsiteY40" fmla="*/ 4701949 h 15946069"/>
                <a:gd name="connsiteX41" fmla="*/ 17814953 w 18171859"/>
                <a:gd name="connsiteY41" fmla="*/ 4117660 h 15946069"/>
                <a:gd name="connsiteX42" fmla="*/ 16852763 w 18171859"/>
                <a:gd name="connsiteY42" fmla="*/ 3282076 h 15946069"/>
                <a:gd name="connsiteX43" fmla="*/ 14429201 w 18171859"/>
                <a:gd name="connsiteY43" fmla="*/ 4027238 h 15946069"/>
                <a:gd name="connsiteX44" fmla="*/ 13383819 w 18171859"/>
                <a:gd name="connsiteY44" fmla="*/ 2963756 h 15946069"/>
                <a:gd name="connsiteX45" fmla="*/ 12493981 w 18171859"/>
                <a:gd name="connsiteY45" fmla="*/ 2927587 h 15946069"/>
                <a:gd name="connsiteX46" fmla="*/ 11976717 w 18171859"/>
                <a:gd name="connsiteY46" fmla="*/ 2139025 h 15946069"/>
                <a:gd name="connsiteX47" fmla="*/ 11484768 w 18171859"/>
                <a:gd name="connsiteY47" fmla="*/ 1495155 h 15946069"/>
                <a:gd name="connsiteX48" fmla="*/ 10830043 w 18171859"/>
                <a:gd name="connsiteY48" fmla="*/ 1256418 h 15946069"/>
                <a:gd name="connsiteX49" fmla="*/ 10323633 w 18171859"/>
                <a:gd name="connsiteY49" fmla="*/ 1220249 h 15946069"/>
                <a:gd name="connsiteX50" fmla="*/ 9802745 w 18171859"/>
                <a:gd name="connsiteY50" fmla="*/ 1603676 h 15946069"/>
                <a:gd name="connsiteX51" fmla="*/ 9223982 w 18171859"/>
                <a:gd name="connsiteY51" fmla="*/ 1621761 h 15946069"/>
                <a:gd name="connsiteX52" fmla="*/ 8782678 w 18171859"/>
                <a:gd name="connsiteY52" fmla="*/ 2171586 h 15946069"/>
                <a:gd name="connsiteX53" fmla="*/ 8272645 w 18171859"/>
                <a:gd name="connsiteY53" fmla="*/ 2102856 h 15946069"/>
                <a:gd name="connsiteX54" fmla="*/ 7853048 w 18171859"/>
                <a:gd name="connsiteY54" fmla="*/ 2526075 h 15946069"/>
                <a:gd name="connsiteX55" fmla="*/ 7323799 w 18171859"/>
                <a:gd name="connsiteY55" fmla="*/ 2632907 h 15946069"/>
                <a:gd name="connsiteX56" fmla="*/ 6977672 w 18171859"/>
                <a:gd name="connsiteY56" fmla="*/ 2178817 h 15946069"/>
                <a:gd name="connsiteX57" fmla="*/ 6594245 w 18171859"/>
                <a:gd name="connsiteY57" fmla="*/ 2055834 h 15946069"/>
                <a:gd name="connsiteX58" fmla="*/ 6431470 w 18171859"/>
                <a:gd name="connsiteY58" fmla="*/ 1314295 h 15946069"/>
                <a:gd name="connsiteX59" fmla="*/ 5642908 w 18171859"/>
                <a:gd name="connsiteY59" fmla="*/ 1343233 h 15946069"/>
                <a:gd name="connsiteX60" fmla="*/ 5150959 w 18171859"/>
                <a:gd name="connsiteY60" fmla="*/ 1610907 h 15946069"/>
                <a:gd name="connsiteX61" fmla="*/ 5480133 w 18171859"/>
                <a:gd name="connsiteY61" fmla="*/ 2167963 h 15946069"/>
                <a:gd name="connsiteX62" fmla="*/ 4742216 w 18171859"/>
                <a:gd name="connsiteY62" fmla="*/ 2862495 h 15946069"/>
                <a:gd name="connsiteX63" fmla="*/ 2658667 w 18171859"/>
                <a:gd name="connsiteY63" fmla="*/ 0 h 15946069"/>
                <a:gd name="connsiteX64" fmla="*/ 2658682 w 18171859"/>
                <a:gd name="connsiteY64" fmla="*/ 1018890 h 15946069"/>
                <a:gd name="connsiteX65" fmla="*/ 1850829 w 18171859"/>
                <a:gd name="connsiteY65" fmla="*/ 1730283 h 15946069"/>
                <a:gd name="connsiteX66" fmla="*/ 1404694 w 18171859"/>
                <a:gd name="connsiteY66" fmla="*/ 2272862 h 15946069"/>
                <a:gd name="connsiteX67" fmla="*/ 2351216 w 18171859"/>
                <a:gd name="connsiteY67" fmla="*/ 3388182 h 15946069"/>
                <a:gd name="connsiteX68" fmla="*/ 2658682 w 18171859"/>
                <a:gd name="connsiteY68" fmla="*/ 4286458 h 15946069"/>
                <a:gd name="connsiteX69" fmla="*/ 1935228 w 18171859"/>
                <a:gd name="connsiteY69" fmla="*/ 5220918 h 15946069"/>
                <a:gd name="connsiteX70" fmla="*/ 875281 w 18171859"/>
                <a:gd name="connsiteY70" fmla="*/ 5166646 h 15946069"/>
                <a:gd name="connsiteX71" fmla="*/ 0 w 18171859"/>
                <a:gd name="connsiteY71" fmla="*/ 5890112 h 15946069"/>
                <a:gd name="connsiteX72" fmla="*/ 72345 w 18171859"/>
                <a:gd name="connsiteY72" fmla="*/ 6921032 h 15946069"/>
                <a:gd name="connsiteX73" fmla="*/ 477776 w 18171859"/>
                <a:gd name="connsiteY73"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5409477 w 18171859"/>
                <a:gd name="connsiteY33" fmla="*/ 11882693 h 15946069"/>
                <a:gd name="connsiteX34" fmla="*/ 16413199 w 18171859"/>
                <a:gd name="connsiteY34" fmla="*/ 10920339 h 15946069"/>
                <a:gd name="connsiteX35" fmla="*/ 16428336 w 18171859"/>
                <a:gd name="connsiteY35" fmla="*/ 9374732 h 15946069"/>
                <a:gd name="connsiteX36" fmla="*/ 16024409 w 18171859"/>
                <a:gd name="connsiteY36" fmla="*/ 7433474 h 15946069"/>
                <a:gd name="connsiteX37" fmla="*/ 17911414 w 18171859"/>
                <a:gd name="connsiteY37" fmla="*/ 6083041 h 15946069"/>
                <a:gd name="connsiteX38" fmla="*/ 17385711 w 18171859"/>
                <a:gd name="connsiteY38" fmla="*/ 5219213 h 15946069"/>
                <a:gd name="connsiteX39" fmla="*/ 18171858 w 18171859"/>
                <a:gd name="connsiteY39" fmla="*/ 4701949 h 15946069"/>
                <a:gd name="connsiteX40" fmla="*/ 17814953 w 18171859"/>
                <a:gd name="connsiteY40" fmla="*/ 4117660 h 15946069"/>
                <a:gd name="connsiteX41" fmla="*/ 16852763 w 18171859"/>
                <a:gd name="connsiteY41" fmla="*/ 3282076 h 15946069"/>
                <a:gd name="connsiteX42" fmla="*/ 14429201 w 18171859"/>
                <a:gd name="connsiteY42" fmla="*/ 4027238 h 15946069"/>
                <a:gd name="connsiteX43" fmla="*/ 13383819 w 18171859"/>
                <a:gd name="connsiteY43" fmla="*/ 2963756 h 15946069"/>
                <a:gd name="connsiteX44" fmla="*/ 12493981 w 18171859"/>
                <a:gd name="connsiteY44" fmla="*/ 2927587 h 15946069"/>
                <a:gd name="connsiteX45" fmla="*/ 11976717 w 18171859"/>
                <a:gd name="connsiteY45" fmla="*/ 2139025 h 15946069"/>
                <a:gd name="connsiteX46" fmla="*/ 11484768 w 18171859"/>
                <a:gd name="connsiteY46" fmla="*/ 1495155 h 15946069"/>
                <a:gd name="connsiteX47" fmla="*/ 10830043 w 18171859"/>
                <a:gd name="connsiteY47" fmla="*/ 1256418 h 15946069"/>
                <a:gd name="connsiteX48" fmla="*/ 10323633 w 18171859"/>
                <a:gd name="connsiteY48" fmla="*/ 1220249 h 15946069"/>
                <a:gd name="connsiteX49" fmla="*/ 9802745 w 18171859"/>
                <a:gd name="connsiteY49" fmla="*/ 1603676 h 15946069"/>
                <a:gd name="connsiteX50" fmla="*/ 9223982 w 18171859"/>
                <a:gd name="connsiteY50" fmla="*/ 1621761 h 15946069"/>
                <a:gd name="connsiteX51" fmla="*/ 8782678 w 18171859"/>
                <a:gd name="connsiteY51" fmla="*/ 2171586 h 15946069"/>
                <a:gd name="connsiteX52" fmla="*/ 8272645 w 18171859"/>
                <a:gd name="connsiteY52" fmla="*/ 2102856 h 15946069"/>
                <a:gd name="connsiteX53" fmla="*/ 7853048 w 18171859"/>
                <a:gd name="connsiteY53" fmla="*/ 2526075 h 15946069"/>
                <a:gd name="connsiteX54" fmla="*/ 7323799 w 18171859"/>
                <a:gd name="connsiteY54" fmla="*/ 2632907 h 15946069"/>
                <a:gd name="connsiteX55" fmla="*/ 6977672 w 18171859"/>
                <a:gd name="connsiteY55" fmla="*/ 2178817 h 15946069"/>
                <a:gd name="connsiteX56" fmla="*/ 6594245 w 18171859"/>
                <a:gd name="connsiteY56" fmla="*/ 2055834 h 15946069"/>
                <a:gd name="connsiteX57" fmla="*/ 6431470 w 18171859"/>
                <a:gd name="connsiteY57" fmla="*/ 1314295 h 15946069"/>
                <a:gd name="connsiteX58" fmla="*/ 5642908 w 18171859"/>
                <a:gd name="connsiteY58" fmla="*/ 1343233 h 15946069"/>
                <a:gd name="connsiteX59" fmla="*/ 5150959 w 18171859"/>
                <a:gd name="connsiteY59" fmla="*/ 1610907 h 15946069"/>
                <a:gd name="connsiteX60" fmla="*/ 5480133 w 18171859"/>
                <a:gd name="connsiteY60" fmla="*/ 2167963 h 15946069"/>
                <a:gd name="connsiteX61" fmla="*/ 4742216 w 18171859"/>
                <a:gd name="connsiteY61" fmla="*/ 2862495 h 15946069"/>
                <a:gd name="connsiteX62" fmla="*/ 2658667 w 18171859"/>
                <a:gd name="connsiteY62" fmla="*/ 0 h 15946069"/>
                <a:gd name="connsiteX63" fmla="*/ 2658682 w 18171859"/>
                <a:gd name="connsiteY63" fmla="*/ 1018890 h 15946069"/>
                <a:gd name="connsiteX64" fmla="*/ 1850829 w 18171859"/>
                <a:gd name="connsiteY64" fmla="*/ 1730283 h 15946069"/>
                <a:gd name="connsiteX65" fmla="*/ 1404694 w 18171859"/>
                <a:gd name="connsiteY65" fmla="*/ 2272862 h 15946069"/>
                <a:gd name="connsiteX66" fmla="*/ 2351216 w 18171859"/>
                <a:gd name="connsiteY66" fmla="*/ 3388182 h 15946069"/>
                <a:gd name="connsiteX67" fmla="*/ 2658682 w 18171859"/>
                <a:gd name="connsiteY67" fmla="*/ 4286458 h 15946069"/>
                <a:gd name="connsiteX68" fmla="*/ 1935228 w 18171859"/>
                <a:gd name="connsiteY68" fmla="*/ 5220918 h 15946069"/>
                <a:gd name="connsiteX69" fmla="*/ 875281 w 18171859"/>
                <a:gd name="connsiteY69" fmla="*/ 5166646 h 15946069"/>
                <a:gd name="connsiteX70" fmla="*/ 0 w 18171859"/>
                <a:gd name="connsiteY70" fmla="*/ 5890112 h 15946069"/>
                <a:gd name="connsiteX71" fmla="*/ 72345 w 18171859"/>
                <a:gd name="connsiteY71" fmla="*/ 6921032 h 15946069"/>
                <a:gd name="connsiteX72" fmla="*/ 477776 w 18171859"/>
                <a:gd name="connsiteY72"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4004775 w 18171859"/>
                <a:gd name="connsiteY31" fmla="*/ 11611395 h 15946069"/>
                <a:gd name="connsiteX32" fmla="*/ 15409477 w 18171859"/>
                <a:gd name="connsiteY32" fmla="*/ 11882693 h 15946069"/>
                <a:gd name="connsiteX33" fmla="*/ 16413199 w 18171859"/>
                <a:gd name="connsiteY33" fmla="*/ 10920339 h 15946069"/>
                <a:gd name="connsiteX34" fmla="*/ 16428336 w 18171859"/>
                <a:gd name="connsiteY34" fmla="*/ 9374732 h 15946069"/>
                <a:gd name="connsiteX35" fmla="*/ 16024409 w 18171859"/>
                <a:gd name="connsiteY35" fmla="*/ 7433474 h 15946069"/>
                <a:gd name="connsiteX36" fmla="*/ 17911414 w 18171859"/>
                <a:gd name="connsiteY36" fmla="*/ 6083041 h 15946069"/>
                <a:gd name="connsiteX37" fmla="*/ 17385711 w 18171859"/>
                <a:gd name="connsiteY37" fmla="*/ 5219213 h 15946069"/>
                <a:gd name="connsiteX38" fmla="*/ 18171858 w 18171859"/>
                <a:gd name="connsiteY38" fmla="*/ 4701949 h 15946069"/>
                <a:gd name="connsiteX39" fmla="*/ 17814953 w 18171859"/>
                <a:gd name="connsiteY39" fmla="*/ 4117660 h 15946069"/>
                <a:gd name="connsiteX40" fmla="*/ 16852763 w 18171859"/>
                <a:gd name="connsiteY40" fmla="*/ 3282076 h 15946069"/>
                <a:gd name="connsiteX41" fmla="*/ 14429201 w 18171859"/>
                <a:gd name="connsiteY41" fmla="*/ 4027238 h 15946069"/>
                <a:gd name="connsiteX42" fmla="*/ 13383819 w 18171859"/>
                <a:gd name="connsiteY42" fmla="*/ 2963756 h 15946069"/>
                <a:gd name="connsiteX43" fmla="*/ 12493981 w 18171859"/>
                <a:gd name="connsiteY43" fmla="*/ 2927587 h 15946069"/>
                <a:gd name="connsiteX44" fmla="*/ 11976717 w 18171859"/>
                <a:gd name="connsiteY44" fmla="*/ 2139025 h 15946069"/>
                <a:gd name="connsiteX45" fmla="*/ 11484768 w 18171859"/>
                <a:gd name="connsiteY45" fmla="*/ 1495155 h 15946069"/>
                <a:gd name="connsiteX46" fmla="*/ 10830043 w 18171859"/>
                <a:gd name="connsiteY46" fmla="*/ 1256418 h 15946069"/>
                <a:gd name="connsiteX47" fmla="*/ 10323633 w 18171859"/>
                <a:gd name="connsiteY47" fmla="*/ 1220249 h 15946069"/>
                <a:gd name="connsiteX48" fmla="*/ 9802745 w 18171859"/>
                <a:gd name="connsiteY48" fmla="*/ 1603676 h 15946069"/>
                <a:gd name="connsiteX49" fmla="*/ 9223982 w 18171859"/>
                <a:gd name="connsiteY49" fmla="*/ 1621761 h 15946069"/>
                <a:gd name="connsiteX50" fmla="*/ 8782678 w 18171859"/>
                <a:gd name="connsiteY50" fmla="*/ 2171586 h 15946069"/>
                <a:gd name="connsiteX51" fmla="*/ 8272645 w 18171859"/>
                <a:gd name="connsiteY51" fmla="*/ 2102856 h 15946069"/>
                <a:gd name="connsiteX52" fmla="*/ 7853048 w 18171859"/>
                <a:gd name="connsiteY52" fmla="*/ 2526075 h 15946069"/>
                <a:gd name="connsiteX53" fmla="*/ 7323799 w 18171859"/>
                <a:gd name="connsiteY53" fmla="*/ 2632907 h 15946069"/>
                <a:gd name="connsiteX54" fmla="*/ 6977672 w 18171859"/>
                <a:gd name="connsiteY54" fmla="*/ 2178817 h 15946069"/>
                <a:gd name="connsiteX55" fmla="*/ 6594245 w 18171859"/>
                <a:gd name="connsiteY55" fmla="*/ 2055834 h 15946069"/>
                <a:gd name="connsiteX56" fmla="*/ 6431470 w 18171859"/>
                <a:gd name="connsiteY56" fmla="*/ 1314295 h 15946069"/>
                <a:gd name="connsiteX57" fmla="*/ 5642908 w 18171859"/>
                <a:gd name="connsiteY57" fmla="*/ 1343233 h 15946069"/>
                <a:gd name="connsiteX58" fmla="*/ 5150959 w 18171859"/>
                <a:gd name="connsiteY58" fmla="*/ 1610907 h 15946069"/>
                <a:gd name="connsiteX59" fmla="*/ 5480133 w 18171859"/>
                <a:gd name="connsiteY59" fmla="*/ 2167963 h 15946069"/>
                <a:gd name="connsiteX60" fmla="*/ 4742216 w 18171859"/>
                <a:gd name="connsiteY60" fmla="*/ 2862495 h 15946069"/>
                <a:gd name="connsiteX61" fmla="*/ 2658667 w 18171859"/>
                <a:gd name="connsiteY61" fmla="*/ 0 h 15946069"/>
                <a:gd name="connsiteX62" fmla="*/ 2658682 w 18171859"/>
                <a:gd name="connsiteY62" fmla="*/ 1018890 h 15946069"/>
                <a:gd name="connsiteX63" fmla="*/ 1850829 w 18171859"/>
                <a:gd name="connsiteY63" fmla="*/ 1730283 h 15946069"/>
                <a:gd name="connsiteX64" fmla="*/ 1404694 w 18171859"/>
                <a:gd name="connsiteY64" fmla="*/ 2272862 h 15946069"/>
                <a:gd name="connsiteX65" fmla="*/ 2351216 w 18171859"/>
                <a:gd name="connsiteY65" fmla="*/ 3388182 h 15946069"/>
                <a:gd name="connsiteX66" fmla="*/ 2658682 w 18171859"/>
                <a:gd name="connsiteY66" fmla="*/ 4286458 h 15946069"/>
                <a:gd name="connsiteX67" fmla="*/ 1935228 w 18171859"/>
                <a:gd name="connsiteY67" fmla="*/ 5220918 h 15946069"/>
                <a:gd name="connsiteX68" fmla="*/ 875281 w 18171859"/>
                <a:gd name="connsiteY68" fmla="*/ 5166646 h 15946069"/>
                <a:gd name="connsiteX69" fmla="*/ 0 w 18171859"/>
                <a:gd name="connsiteY69" fmla="*/ 5890112 h 15946069"/>
                <a:gd name="connsiteX70" fmla="*/ 72345 w 18171859"/>
                <a:gd name="connsiteY70" fmla="*/ 6921032 h 15946069"/>
                <a:gd name="connsiteX71" fmla="*/ 477776 w 18171859"/>
                <a:gd name="connsiteY7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2196146 w 18171859"/>
                <a:gd name="connsiteY29" fmla="*/ 11388328 h 15946069"/>
                <a:gd name="connsiteX30" fmla="*/ 14004775 w 18171859"/>
                <a:gd name="connsiteY30" fmla="*/ 11611395 h 15946069"/>
                <a:gd name="connsiteX31" fmla="*/ 15409477 w 18171859"/>
                <a:gd name="connsiteY31" fmla="*/ 11882693 h 15946069"/>
                <a:gd name="connsiteX32" fmla="*/ 16413199 w 18171859"/>
                <a:gd name="connsiteY32" fmla="*/ 10920339 h 15946069"/>
                <a:gd name="connsiteX33" fmla="*/ 16428336 w 18171859"/>
                <a:gd name="connsiteY33" fmla="*/ 9374732 h 15946069"/>
                <a:gd name="connsiteX34" fmla="*/ 16024409 w 18171859"/>
                <a:gd name="connsiteY34" fmla="*/ 7433474 h 15946069"/>
                <a:gd name="connsiteX35" fmla="*/ 17911414 w 18171859"/>
                <a:gd name="connsiteY35" fmla="*/ 6083041 h 15946069"/>
                <a:gd name="connsiteX36" fmla="*/ 17385711 w 18171859"/>
                <a:gd name="connsiteY36" fmla="*/ 5219213 h 15946069"/>
                <a:gd name="connsiteX37" fmla="*/ 18171858 w 18171859"/>
                <a:gd name="connsiteY37" fmla="*/ 4701949 h 15946069"/>
                <a:gd name="connsiteX38" fmla="*/ 17814953 w 18171859"/>
                <a:gd name="connsiteY38" fmla="*/ 4117660 h 15946069"/>
                <a:gd name="connsiteX39" fmla="*/ 16852763 w 18171859"/>
                <a:gd name="connsiteY39" fmla="*/ 3282076 h 15946069"/>
                <a:gd name="connsiteX40" fmla="*/ 14429201 w 18171859"/>
                <a:gd name="connsiteY40" fmla="*/ 4027238 h 15946069"/>
                <a:gd name="connsiteX41" fmla="*/ 13383819 w 18171859"/>
                <a:gd name="connsiteY41" fmla="*/ 2963756 h 15946069"/>
                <a:gd name="connsiteX42" fmla="*/ 12493981 w 18171859"/>
                <a:gd name="connsiteY42" fmla="*/ 2927587 h 15946069"/>
                <a:gd name="connsiteX43" fmla="*/ 11976717 w 18171859"/>
                <a:gd name="connsiteY43" fmla="*/ 2139025 h 15946069"/>
                <a:gd name="connsiteX44" fmla="*/ 11484768 w 18171859"/>
                <a:gd name="connsiteY44" fmla="*/ 1495155 h 15946069"/>
                <a:gd name="connsiteX45" fmla="*/ 10830043 w 18171859"/>
                <a:gd name="connsiteY45" fmla="*/ 1256418 h 15946069"/>
                <a:gd name="connsiteX46" fmla="*/ 10323633 w 18171859"/>
                <a:gd name="connsiteY46" fmla="*/ 1220249 h 15946069"/>
                <a:gd name="connsiteX47" fmla="*/ 9802745 w 18171859"/>
                <a:gd name="connsiteY47" fmla="*/ 1603676 h 15946069"/>
                <a:gd name="connsiteX48" fmla="*/ 9223982 w 18171859"/>
                <a:gd name="connsiteY48" fmla="*/ 1621761 h 15946069"/>
                <a:gd name="connsiteX49" fmla="*/ 8782678 w 18171859"/>
                <a:gd name="connsiteY49" fmla="*/ 2171586 h 15946069"/>
                <a:gd name="connsiteX50" fmla="*/ 8272645 w 18171859"/>
                <a:gd name="connsiteY50" fmla="*/ 2102856 h 15946069"/>
                <a:gd name="connsiteX51" fmla="*/ 7853048 w 18171859"/>
                <a:gd name="connsiteY51" fmla="*/ 2526075 h 15946069"/>
                <a:gd name="connsiteX52" fmla="*/ 7323799 w 18171859"/>
                <a:gd name="connsiteY52" fmla="*/ 2632907 h 15946069"/>
                <a:gd name="connsiteX53" fmla="*/ 6977672 w 18171859"/>
                <a:gd name="connsiteY53" fmla="*/ 2178817 h 15946069"/>
                <a:gd name="connsiteX54" fmla="*/ 6594245 w 18171859"/>
                <a:gd name="connsiteY54" fmla="*/ 2055834 h 15946069"/>
                <a:gd name="connsiteX55" fmla="*/ 6431470 w 18171859"/>
                <a:gd name="connsiteY55" fmla="*/ 1314295 h 15946069"/>
                <a:gd name="connsiteX56" fmla="*/ 5642908 w 18171859"/>
                <a:gd name="connsiteY56" fmla="*/ 1343233 h 15946069"/>
                <a:gd name="connsiteX57" fmla="*/ 5150959 w 18171859"/>
                <a:gd name="connsiteY57" fmla="*/ 1610907 h 15946069"/>
                <a:gd name="connsiteX58" fmla="*/ 5480133 w 18171859"/>
                <a:gd name="connsiteY58" fmla="*/ 2167963 h 15946069"/>
                <a:gd name="connsiteX59" fmla="*/ 4742216 w 18171859"/>
                <a:gd name="connsiteY59" fmla="*/ 2862495 h 15946069"/>
                <a:gd name="connsiteX60" fmla="*/ 2658667 w 18171859"/>
                <a:gd name="connsiteY60" fmla="*/ 0 h 15946069"/>
                <a:gd name="connsiteX61" fmla="*/ 2658682 w 18171859"/>
                <a:gd name="connsiteY61" fmla="*/ 1018890 h 15946069"/>
                <a:gd name="connsiteX62" fmla="*/ 1850829 w 18171859"/>
                <a:gd name="connsiteY62" fmla="*/ 1730283 h 15946069"/>
                <a:gd name="connsiteX63" fmla="*/ 1404694 w 18171859"/>
                <a:gd name="connsiteY63" fmla="*/ 2272862 h 15946069"/>
                <a:gd name="connsiteX64" fmla="*/ 2351216 w 18171859"/>
                <a:gd name="connsiteY64" fmla="*/ 3388182 h 15946069"/>
                <a:gd name="connsiteX65" fmla="*/ 2658682 w 18171859"/>
                <a:gd name="connsiteY65" fmla="*/ 4286458 h 15946069"/>
                <a:gd name="connsiteX66" fmla="*/ 1935228 w 18171859"/>
                <a:gd name="connsiteY66" fmla="*/ 5220918 h 15946069"/>
                <a:gd name="connsiteX67" fmla="*/ 875281 w 18171859"/>
                <a:gd name="connsiteY67" fmla="*/ 5166646 h 15946069"/>
                <a:gd name="connsiteX68" fmla="*/ 0 w 18171859"/>
                <a:gd name="connsiteY68" fmla="*/ 5890112 h 15946069"/>
                <a:gd name="connsiteX69" fmla="*/ 72345 w 18171859"/>
                <a:gd name="connsiteY69" fmla="*/ 6921032 h 15946069"/>
                <a:gd name="connsiteX70" fmla="*/ 477776 w 18171859"/>
                <a:gd name="connsiteY7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780218 w 18171859"/>
                <a:gd name="connsiteY27" fmla="*/ 13579811 h 15946069"/>
                <a:gd name="connsiteX28" fmla="*/ 12196146 w 18171859"/>
                <a:gd name="connsiteY28" fmla="*/ 11388328 h 15946069"/>
                <a:gd name="connsiteX29" fmla="*/ 14004775 w 18171859"/>
                <a:gd name="connsiteY29" fmla="*/ 11611395 h 15946069"/>
                <a:gd name="connsiteX30" fmla="*/ 15409477 w 18171859"/>
                <a:gd name="connsiteY30" fmla="*/ 11882693 h 15946069"/>
                <a:gd name="connsiteX31" fmla="*/ 16413199 w 18171859"/>
                <a:gd name="connsiteY31" fmla="*/ 10920339 h 15946069"/>
                <a:gd name="connsiteX32" fmla="*/ 16428336 w 18171859"/>
                <a:gd name="connsiteY32" fmla="*/ 9374732 h 15946069"/>
                <a:gd name="connsiteX33" fmla="*/ 16024409 w 18171859"/>
                <a:gd name="connsiteY33" fmla="*/ 7433474 h 15946069"/>
                <a:gd name="connsiteX34" fmla="*/ 17911414 w 18171859"/>
                <a:gd name="connsiteY34" fmla="*/ 6083041 h 15946069"/>
                <a:gd name="connsiteX35" fmla="*/ 17385711 w 18171859"/>
                <a:gd name="connsiteY35" fmla="*/ 5219213 h 15946069"/>
                <a:gd name="connsiteX36" fmla="*/ 18171858 w 18171859"/>
                <a:gd name="connsiteY36" fmla="*/ 4701949 h 15946069"/>
                <a:gd name="connsiteX37" fmla="*/ 17814953 w 18171859"/>
                <a:gd name="connsiteY37" fmla="*/ 4117660 h 15946069"/>
                <a:gd name="connsiteX38" fmla="*/ 16852763 w 18171859"/>
                <a:gd name="connsiteY38" fmla="*/ 3282076 h 15946069"/>
                <a:gd name="connsiteX39" fmla="*/ 14429201 w 18171859"/>
                <a:gd name="connsiteY39" fmla="*/ 4027238 h 15946069"/>
                <a:gd name="connsiteX40" fmla="*/ 13383819 w 18171859"/>
                <a:gd name="connsiteY40" fmla="*/ 2963756 h 15946069"/>
                <a:gd name="connsiteX41" fmla="*/ 12493981 w 18171859"/>
                <a:gd name="connsiteY41" fmla="*/ 2927587 h 15946069"/>
                <a:gd name="connsiteX42" fmla="*/ 11976717 w 18171859"/>
                <a:gd name="connsiteY42" fmla="*/ 2139025 h 15946069"/>
                <a:gd name="connsiteX43" fmla="*/ 11484768 w 18171859"/>
                <a:gd name="connsiteY43" fmla="*/ 1495155 h 15946069"/>
                <a:gd name="connsiteX44" fmla="*/ 10830043 w 18171859"/>
                <a:gd name="connsiteY44" fmla="*/ 1256418 h 15946069"/>
                <a:gd name="connsiteX45" fmla="*/ 10323633 w 18171859"/>
                <a:gd name="connsiteY45" fmla="*/ 1220249 h 15946069"/>
                <a:gd name="connsiteX46" fmla="*/ 9802745 w 18171859"/>
                <a:gd name="connsiteY46" fmla="*/ 1603676 h 15946069"/>
                <a:gd name="connsiteX47" fmla="*/ 9223982 w 18171859"/>
                <a:gd name="connsiteY47" fmla="*/ 1621761 h 15946069"/>
                <a:gd name="connsiteX48" fmla="*/ 8782678 w 18171859"/>
                <a:gd name="connsiteY48" fmla="*/ 2171586 h 15946069"/>
                <a:gd name="connsiteX49" fmla="*/ 8272645 w 18171859"/>
                <a:gd name="connsiteY49" fmla="*/ 2102856 h 15946069"/>
                <a:gd name="connsiteX50" fmla="*/ 7853048 w 18171859"/>
                <a:gd name="connsiteY50" fmla="*/ 2526075 h 15946069"/>
                <a:gd name="connsiteX51" fmla="*/ 7323799 w 18171859"/>
                <a:gd name="connsiteY51" fmla="*/ 2632907 h 15946069"/>
                <a:gd name="connsiteX52" fmla="*/ 6977672 w 18171859"/>
                <a:gd name="connsiteY52" fmla="*/ 2178817 h 15946069"/>
                <a:gd name="connsiteX53" fmla="*/ 6594245 w 18171859"/>
                <a:gd name="connsiteY53" fmla="*/ 2055834 h 15946069"/>
                <a:gd name="connsiteX54" fmla="*/ 6431470 w 18171859"/>
                <a:gd name="connsiteY54" fmla="*/ 1314295 h 15946069"/>
                <a:gd name="connsiteX55" fmla="*/ 5642908 w 18171859"/>
                <a:gd name="connsiteY55" fmla="*/ 1343233 h 15946069"/>
                <a:gd name="connsiteX56" fmla="*/ 5150959 w 18171859"/>
                <a:gd name="connsiteY56" fmla="*/ 1610907 h 15946069"/>
                <a:gd name="connsiteX57" fmla="*/ 5480133 w 18171859"/>
                <a:gd name="connsiteY57" fmla="*/ 2167963 h 15946069"/>
                <a:gd name="connsiteX58" fmla="*/ 4742216 w 18171859"/>
                <a:gd name="connsiteY58" fmla="*/ 2862495 h 15946069"/>
                <a:gd name="connsiteX59" fmla="*/ 2658667 w 18171859"/>
                <a:gd name="connsiteY59" fmla="*/ 0 h 15946069"/>
                <a:gd name="connsiteX60" fmla="*/ 2658682 w 18171859"/>
                <a:gd name="connsiteY60" fmla="*/ 1018890 h 15946069"/>
                <a:gd name="connsiteX61" fmla="*/ 1850829 w 18171859"/>
                <a:gd name="connsiteY61" fmla="*/ 1730283 h 15946069"/>
                <a:gd name="connsiteX62" fmla="*/ 1404694 w 18171859"/>
                <a:gd name="connsiteY62" fmla="*/ 2272862 h 15946069"/>
                <a:gd name="connsiteX63" fmla="*/ 2351216 w 18171859"/>
                <a:gd name="connsiteY63" fmla="*/ 3388182 h 15946069"/>
                <a:gd name="connsiteX64" fmla="*/ 2658682 w 18171859"/>
                <a:gd name="connsiteY64" fmla="*/ 4286458 h 15946069"/>
                <a:gd name="connsiteX65" fmla="*/ 1935228 w 18171859"/>
                <a:gd name="connsiteY65" fmla="*/ 5220918 h 15946069"/>
                <a:gd name="connsiteX66" fmla="*/ 875281 w 18171859"/>
                <a:gd name="connsiteY66" fmla="*/ 5166646 h 15946069"/>
                <a:gd name="connsiteX67" fmla="*/ 0 w 18171859"/>
                <a:gd name="connsiteY67" fmla="*/ 5890112 h 15946069"/>
                <a:gd name="connsiteX68" fmla="*/ 72345 w 18171859"/>
                <a:gd name="connsiteY68" fmla="*/ 6921032 h 15946069"/>
                <a:gd name="connsiteX69" fmla="*/ 477776 w 18171859"/>
                <a:gd name="connsiteY69"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616683 w 18171859"/>
                <a:gd name="connsiteY24" fmla="*/ 15358294 h 15946069"/>
                <a:gd name="connsiteX25" fmla="*/ 11117010 w 18171859"/>
                <a:gd name="connsiteY25" fmla="*/ 15946069 h 15946069"/>
                <a:gd name="connsiteX26" fmla="*/ 11780218 w 18171859"/>
                <a:gd name="connsiteY26" fmla="*/ 13579811 h 15946069"/>
                <a:gd name="connsiteX27" fmla="*/ 12196146 w 18171859"/>
                <a:gd name="connsiteY27" fmla="*/ 11388328 h 15946069"/>
                <a:gd name="connsiteX28" fmla="*/ 14004775 w 18171859"/>
                <a:gd name="connsiteY28" fmla="*/ 11611395 h 15946069"/>
                <a:gd name="connsiteX29" fmla="*/ 15409477 w 18171859"/>
                <a:gd name="connsiteY29" fmla="*/ 11882693 h 15946069"/>
                <a:gd name="connsiteX30" fmla="*/ 16413199 w 18171859"/>
                <a:gd name="connsiteY30" fmla="*/ 10920339 h 15946069"/>
                <a:gd name="connsiteX31" fmla="*/ 16428336 w 18171859"/>
                <a:gd name="connsiteY31" fmla="*/ 9374732 h 15946069"/>
                <a:gd name="connsiteX32" fmla="*/ 16024409 w 18171859"/>
                <a:gd name="connsiteY32" fmla="*/ 7433474 h 15946069"/>
                <a:gd name="connsiteX33" fmla="*/ 17911414 w 18171859"/>
                <a:gd name="connsiteY33" fmla="*/ 6083041 h 15946069"/>
                <a:gd name="connsiteX34" fmla="*/ 17385711 w 18171859"/>
                <a:gd name="connsiteY34" fmla="*/ 5219213 h 15946069"/>
                <a:gd name="connsiteX35" fmla="*/ 18171858 w 18171859"/>
                <a:gd name="connsiteY35" fmla="*/ 4701949 h 15946069"/>
                <a:gd name="connsiteX36" fmla="*/ 17814953 w 18171859"/>
                <a:gd name="connsiteY36" fmla="*/ 4117660 h 15946069"/>
                <a:gd name="connsiteX37" fmla="*/ 16852763 w 18171859"/>
                <a:gd name="connsiteY37" fmla="*/ 3282076 h 15946069"/>
                <a:gd name="connsiteX38" fmla="*/ 14429201 w 18171859"/>
                <a:gd name="connsiteY38" fmla="*/ 4027238 h 15946069"/>
                <a:gd name="connsiteX39" fmla="*/ 13383819 w 18171859"/>
                <a:gd name="connsiteY39" fmla="*/ 2963756 h 15946069"/>
                <a:gd name="connsiteX40" fmla="*/ 12493981 w 18171859"/>
                <a:gd name="connsiteY40" fmla="*/ 2927587 h 15946069"/>
                <a:gd name="connsiteX41" fmla="*/ 11976717 w 18171859"/>
                <a:gd name="connsiteY41" fmla="*/ 2139025 h 15946069"/>
                <a:gd name="connsiteX42" fmla="*/ 11484768 w 18171859"/>
                <a:gd name="connsiteY42" fmla="*/ 1495155 h 15946069"/>
                <a:gd name="connsiteX43" fmla="*/ 10830043 w 18171859"/>
                <a:gd name="connsiteY43" fmla="*/ 1256418 h 15946069"/>
                <a:gd name="connsiteX44" fmla="*/ 10323633 w 18171859"/>
                <a:gd name="connsiteY44" fmla="*/ 1220249 h 15946069"/>
                <a:gd name="connsiteX45" fmla="*/ 9802745 w 18171859"/>
                <a:gd name="connsiteY45" fmla="*/ 1603676 h 15946069"/>
                <a:gd name="connsiteX46" fmla="*/ 9223982 w 18171859"/>
                <a:gd name="connsiteY46" fmla="*/ 1621761 h 15946069"/>
                <a:gd name="connsiteX47" fmla="*/ 8782678 w 18171859"/>
                <a:gd name="connsiteY47" fmla="*/ 2171586 h 15946069"/>
                <a:gd name="connsiteX48" fmla="*/ 8272645 w 18171859"/>
                <a:gd name="connsiteY48" fmla="*/ 2102856 h 15946069"/>
                <a:gd name="connsiteX49" fmla="*/ 7853048 w 18171859"/>
                <a:gd name="connsiteY49" fmla="*/ 2526075 h 15946069"/>
                <a:gd name="connsiteX50" fmla="*/ 7323799 w 18171859"/>
                <a:gd name="connsiteY50" fmla="*/ 2632907 h 15946069"/>
                <a:gd name="connsiteX51" fmla="*/ 6977672 w 18171859"/>
                <a:gd name="connsiteY51" fmla="*/ 2178817 h 15946069"/>
                <a:gd name="connsiteX52" fmla="*/ 6594245 w 18171859"/>
                <a:gd name="connsiteY52" fmla="*/ 2055834 h 15946069"/>
                <a:gd name="connsiteX53" fmla="*/ 6431470 w 18171859"/>
                <a:gd name="connsiteY53" fmla="*/ 1314295 h 15946069"/>
                <a:gd name="connsiteX54" fmla="*/ 5642908 w 18171859"/>
                <a:gd name="connsiteY54" fmla="*/ 1343233 h 15946069"/>
                <a:gd name="connsiteX55" fmla="*/ 5150959 w 18171859"/>
                <a:gd name="connsiteY55" fmla="*/ 1610907 h 15946069"/>
                <a:gd name="connsiteX56" fmla="*/ 5480133 w 18171859"/>
                <a:gd name="connsiteY56" fmla="*/ 2167963 h 15946069"/>
                <a:gd name="connsiteX57" fmla="*/ 4742216 w 18171859"/>
                <a:gd name="connsiteY57" fmla="*/ 2862495 h 15946069"/>
                <a:gd name="connsiteX58" fmla="*/ 2658667 w 18171859"/>
                <a:gd name="connsiteY58" fmla="*/ 0 h 15946069"/>
                <a:gd name="connsiteX59" fmla="*/ 2658682 w 18171859"/>
                <a:gd name="connsiteY59" fmla="*/ 1018890 h 15946069"/>
                <a:gd name="connsiteX60" fmla="*/ 1850829 w 18171859"/>
                <a:gd name="connsiteY60" fmla="*/ 1730283 h 15946069"/>
                <a:gd name="connsiteX61" fmla="*/ 1404694 w 18171859"/>
                <a:gd name="connsiteY61" fmla="*/ 2272862 h 15946069"/>
                <a:gd name="connsiteX62" fmla="*/ 2351216 w 18171859"/>
                <a:gd name="connsiteY62" fmla="*/ 3388182 h 15946069"/>
                <a:gd name="connsiteX63" fmla="*/ 2658682 w 18171859"/>
                <a:gd name="connsiteY63" fmla="*/ 4286458 h 15946069"/>
                <a:gd name="connsiteX64" fmla="*/ 1935228 w 18171859"/>
                <a:gd name="connsiteY64" fmla="*/ 5220918 h 15946069"/>
                <a:gd name="connsiteX65" fmla="*/ 875281 w 18171859"/>
                <a:gd name="connsiteY65" fmla="*/ 5166646 h 15946069"/>
                <a:gd name="connsiteX66" fmla="*/ 0 w 18171859"/>
                <a:gd name="connsiteY66" fmla="*/ 5890112 h 15946069"/>
                <a:gd name="connsiteX67" fmla="*/ 72345 w 18171859"/>
                <a:gd name="connsiteY67" fmla="*/ 6921032 h 15946069"/>
                <a:gd name="connsiteX68" fmla="*/ 477776 w 18171859"/>
                <a:gd name="connsiteY68"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2493981 w 18171859"/>
                <a:gd name="connsiteY39" fmla="*/ 2927587 h 15946069"/>
                <a:gd name="connsiteX40" fmla="*/ 11976717 w 18171859"/>
                <a:gd name="connsiteY40" fmla="*/ 2139025 h 15946069"/>
                <a:gd name="connsiteX41" fmla="*/ 11484768 w 18171859"/>
                <a:gd name="connsiteY41" fmla="*/ 1495155 h 15946069"/>
                <a:gd name="connsiteX42" fmla="*/ 10830043 w 18171859"/>
                <a:gd name="connsiteY42" fmla="*/ 1256418 h 15946069"/>
                <a:gd name="connsiteX43" fmla="*/ 10323633 w 18171859"/>
                <a:gd name="connsiteY43" fmla="*/ 1220249 h 15946069"/>
                <a:gd name="connsiteX44" fmla="*/ 9802745 w 18171859"/>
                <a:gd name="connsiteY44" fmla="*/ 1603676 h 15946069"/>
                <a:gd name="connsiteX45" fmla="*/ 9223982 w 18171859"/>
                <a:gd name="connsiteY45" fmla="*/ 1621761 h 15946069"/>
                <a:gd name="connsiteX46" fmla="*/ 8782678 w 18171859"/>
                <a:gd name="connsiteY46" fmla="*/ 2171586 h 15946069"/>
                <a:gd name="connsiteX47" fmla="*/ 8272645 w 18171859"/>
                <a:gd name="connsiteY47" fmla="*/ 2102856 h 15946069"/>
                <a:gd name="connsiteX48" fmla="*/ 7853048 w 18171859"/>
                <a:gd name="connsiteY48" fmla="*/ 2526075 h 15946069"/>
                <a:gd name="connsiteX49" fmla="*/ 7323799 w 18171859"/>
                <a:gd name="connsiteY49" fmla="*/ 2632907 h 15946069"/>
                <a:gd name="connsiteX50" fmla="*/ 6977672 w 18171859"/>
                <a:gd name="connsiteY50" fmla="*/ 2178817 h 15946069"/>
                <a:gd name="connsiteX51" fmla="*/ 6594245 w 18171859"/>
                <a:gd name="connsiteY51" fmla="*/ 2055834 h 15946069"/>
                <a:gd name="connsiteX52" fmla="*/ 6431470 w 18171859"/>
                <a:gd name="connsiteY52" fmla="*/ 1314295 h 15946069"/>
                <a:gd name="connsiteX53" fmla="*/ 5642908 w 18171859"/>
                <a:gd name="connsiteY53" fmla="*/ 1343233 h 15946069"/>
                <a:gd name="connsiteX54" fmla="*/ 5150959 w 18171859"/>
                <a:gd name="connsiteY54" fmla="*/ 1610907 h 15946069"/>
                <a:gd name="connsiteX55" fmla="*/ 5480133 w 18171859"/>
                <a:gd name="connsiteY55" fmla="*/ 2167963 h 15946069"/>
                <a:gd name="connsiteX56" fmla="*/ 4742216 w 18171859"/>
                <a:gd name="connsiteY56" fmla="*/ 2862495 h 15946069"/>
                <a:gd name="connsiteX57" fmla="*/ 2658667 w 18171859"/>
                <a:gd name="connsiteY57" fmla="*/ 0 h 15946069"/>
                <a:gd name="connsiteX58" fmla="*/ 2658682 w 18171859"/>
                <a:gd name="connsiteY58" fmla="*/ 1018890 h 15946069"/>
                <a:gd name="connsiteX59" fmla="*/ 1850829 w 18171859"/>
                <a:gd name="connsiteY59" fmla="*/ 1730283 h 15946069"/>
                <a:gd name="connsiteX60" fmla="*/ 1404694 w 18171859"/>
                <a:gd name="connsiteY60" fmla="*/ 2272862 h 15946069"/>
                <a:gd name="connsiteX61" fmla="*/ 2351216 w 18171859"/>
                <a:gd name="connsiteY61" fmla="*/ 3388182 h 15946069"/>
                <a:gd name="connsiteX62" fmla="*/ 2658682 w 18171859"/>
                <a:gd name="connsiteY62" fmla="*/ 4286458 h 15946069"/>
                <a:gd name="connsiteX63" fmla="*/ 1935228 w 18171859"/>
                <a:gd name="connsiteY63" fmla="*/ 5220918 h 15946069"/>
                <a:gd name="connsiteX64" fmla="*/ 875281 w 18171859"/>
                <a:gd name="connsiteY64" fmla="*/ 5166646 h 15946069"/>
                <a:gd name="connsiteX65" fmla="*/ 0 w 18171859"/>
                <a:gd name="connsiteY65" fmla="*/ 5890112 h 15946069"/>
                <a:gd name="connsiteX66" fmla="*/ 72345 w 18171859"/>
                <a:gd name="connsiteY66" fmla="*/ 6921032 h 15946069"/>
                <a:gd name="connsiteX67" fmla="*/ 477776 w 18171859"/>
                <a:gd name="connsiteY67"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1484768 w 18171859"/>
                <a:gd name="connsiteY40" fmla="*/ 1495155 h 15946069"/>
                <a:gd name="connsiteX41" fmla="*/ 10830043 w 18171859"/>
                <a:gd name="connsiteY41" fmla="*/ 1256418 h 15946069"/>
                <a:gd name="connsiteX42" fmla="*/ 10323633 w 18171859"/>
                <a:gd name="connsiteY42" fmla="*/ 1220249 h 15946069"/>
                <a:gd name="connsiteX43" fmla="*/ 9802745 w 18171859"/>
                <a:gd name="connsiteY43" fmla="*/ 1603676 h 15946069"/>
                <a:gd name="connsiteX44" fmla="*/ 9223982 w 18171859"/>
                <a:gd name="connsiteY44" fmla="*/ 1621761 h 15946069"/>
                <a:gd name="connsiteX45" fmla="*/ 8782678 w 18171859"/>
                <a:gd name="connsiteY45" fmla="*/ 2171586 h 15946069"/>
                <a:gd name="connsiteX46" fmla="*/ 8272645 w 18171859"/>
                <a:gd name="connsiteY46" fmla="*/ 2102856 h 15946069"/>
                <a:gd name="connsiteX47" fmla="*/ 7853048 w 18171859"/>
                <a:gd name="connsiteY47" fmla="*/ 2526075 h 15946069"/>
                <a:gd name="connsiteX48" fmla="*/ 7323799 w 18171859"/>
                <a:gd name="connsiteY48" fmla="*/ 2632907 h 15946069"/>
                <a:gd name="connsiteX49" fmla="*/ 6977672 w 18171859"/>
                <a:gd name="connsiteY49" fmla="*/ 2178817 h 15946069"/>
                <a:gd name="connsiteX50" fmla="*/ 6594245 w 18171859"/>
                <a:gd name="connsiteY50" fmla="*/ 2055834 h 15946069"/>
                <a:gd name="connsiteX51" fmla="*/ 6431470 w 18171859"/>
                <a:gd name="connsiteY51" fmla="*/ 1314295 h 15946069"/>
                <a:gd name="connsiteX52" fmla="*/ 5642908 w 18171859"/>
                <a:gd name="connsiteY52" fmla="*/ 1343233 h 15946069"/>
                <a:gd name="connsiteX53" fmla="*/ 5150959 w 18171859"/>
                <a:gd name="connsiteY53" fmla="*/ 1610907 h 15946069"/>
                <a:gd name="connsiteX54" fmla="*/ 5480133 w 18171859"/>
                <a:gd name="connsiteY54" fmla="*/ 2167963 h 15946069"/>
                <a:gd name="connsiteX55" fmla="*/ 4742216 w 18171859"/>
                <a:gd name="connsiteY55" fmla="*/ 2862495 h 15946069"/>
                <a:gd name="connsiteX56" fmla="*/ 2658667 w 18171859"/>
                <a:gd name="connsiteY56" fmla="*/ 0 h 15946069"/>
                <a:gd name="connsiteX57" fmla="*/ 2658682 w 18171859"/>
                <a:gd name="connsiteY57" fmla="*/ 1018890 h 15946069"/>
                <a:gd name="connsiteX58" fmla="*/ 1850829 w 18171859"/>
                <a:gd name="connsiteY58" fmla="*/ 1730283 h 15946069"/>
                <a:gd name="connsiteX59" fmla="*/ 1404694 w 18171859"/>
                <a:gd name="connsiteY59" fmla="*/ 2272862 h 15946069"/>
                <a:gd name="connsiteX60" fmla="*/ 2351216 w 18171859"/>
                <a:gd name="connsiteY60" fmla="*/ 3388182 h 15946069"/>
                <a:gd name="connsiteX61" fmla="*/ 2658682 w 18171859"/>
                <a:gd name="connsiteY61" fmla="*/ 4286458 h 15946069"/>
                <a:gd name="connsiteX62" fmla="*/ 1935228 w 18171859"/>
                <a:gd name="connsiteY62" fmla="*/ 5220918 h 15946069"/>
                <a:gd name="connsiteX63" fmla="*/ 875281 w 18171859"/>
                <a:gd name="connsiteY63" fmla="*/ 5166646 h 15946069"/>
                <a:gd name="connsiteX64" fmla="*/ 0 w 18171859"/>
                <a:gd name="connsiteY64" fmla="*/ 5890112 h 15946069"/>
                <a:gd name="connsiteX65" fmla="*/ 72345 w 18171859"/>
                <a:gd name="connsiteY65" fmla="*/ 6921032 h 15946069"/>
                <a:gd name="connsiteX66" fmla="*/ 477776 w 18171859"/>
                <a:gd name="connsiteY66"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10323633 w 18171859"/>
                <a:gd name="connsiteY41" fmla="*/ 1220249 h 15946069"/>
                <a:gd name="connsiteX42" fmla="*/ 9802745 w 18171859"/>
                <a:gd name="connsiteY42" fmla="*/ 1603676 h 15946069"/>
                <a:gd name="connsiteX43" fmla="*/ 9223982 w 18171859"/>
                <a:gd name="connsiteY43" fmla="*/ 1621761 h 15946069"/>
                <a:gd name="connsiteX44" fmla="*/ 8782678 w 18171859"/>
                <a:gd name="connsiteY44" fmla="*/ 2171586 h 15946069"/>
                <a:gd name="connsiteX45" fmla="*/ 8272645 w 18171859"/>
                <a:gd name="connsiteY45" fmla="*/ 2102856 h 15946069"/>
                <a:gd name="connsiteX46" fmla="*/ 7853048 w 18171859"/>
                <a:gd name="connsiteY46" fmla="*/ 2526075 h 15946069"/>
                <a:gd name="connsiteX47" fmla="*/ 7323799 w 18171859"/>
                <a:gd name="connsiteY47" fmla="*/ 2632907 h 15946069"/>
                <a:gd name="connsiteX48" fmla="*/ 6977672 w 18171859"/>
                <a:gd name="connsiteY48" fmla="*/ 2178817 h 15946069"/>
                <a:gd name="connsiteX49" fmla="*/ 6594245 w 18171859"/>
                <a:gd name="connsiteY49" fmla="*/ 2055834 h 15946069"/>
                <a:gd name="connsiteX50" fmla="*/ 6431470 w 18171859"/>
                <a:gd name="connsiteY50" fmla="*/ 1314295 h 15946069"/>
                <a:gd name="connsiteX51" fmla="*/ 5642908 w 18171859"/>
                <a:gd name="connsiteY51" fmla="*/ 1343233 h 15946069"/>
                <a:gd name="connsiteX52" fmla="*/ 5150959 w 18171859"/>
                <a:gd name="connsiteY52" fmla="*/ 1610907 h 15946069"/>
                <a:gd name="connsiteX53" fmla="*/ 5480133 w 18171859"/>
                <a:gd name="connsiteY53" fmla="*/ 2167963 h 15946069"/>
                <a:gd name="connsiteX54" fmla="*/ 4742216 w 18171859"/>
                <a:gd name="connsiteY54" fmla="*/ 2862495 h 15946069"/>
                <a:gd name="connsiteX55" fmla="*/ 2658667 w 18171859"/>
                <a:gd name="connsiteY55" fmla="*/ 0 h 15946069"/>
                <a:gd name="connsiteX56" fmla="*/ 2658682 w 18171859"/>
                <a:gd name="connsiteY56" fmla="*/ 1018890 h 15946069"/>
                <a:gd name="connsiteX57" fmla="*/ 1850829 w 18171859"/>
                <a:gd name="connsiteY57" fmla="*/ 1730283 h 15946069"/>
                <a:gd name="connsiteX58" fmla="*/ 1404694 w 18171859"/>
                <a:gd name="connsiteY58" fmla="*/ 2272862 h 15946069"/>
                <a:gd name="connsiteX59" fmla="*/ 2351216 w 18171859"/>
                <a:gd name="connsiteY59" fmla="*/ 3388182 h 15946069"/>
                <a:gd name="connsiteX60" fmla="*/ 2658682 w 18171859"/>
                <a:gd name="connsiteY60" fmla="*/ 4286458 h 15946069"/>
                <a:gd name="connsiteX61" fmla="*/ 1935228 w 18171859"/>
                <a:gd name="connsiteY61" fmla="*/ 5220918 h 15946069"/>
                <a:gd name="connsiteX62" fmla="*/ 875281 w 18171859"/>
                <a:gd name="connsiteY62" fmla="*/ 5166646 h 15946069"/>
                <a:gd name="connsiteX63" fmla="*/ 0 w 18171859"/>
                <a:gd name="connsiteY63" fmla="*/ 5890112 h 15946069"/>
                <a:gd name="connsiteX64" fmla="*/ 72345 w 18171859"/>
                <a:gd name="connsiteY64" fmla="*/ 6921032 h 15946069"/>
                <a:gd name="connsiteX65" fmla="*/ 477776 w 18171859"/>
                <a:gd name="connsiteY65"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9223982 w 18171859"/>
                <a:gd name="connsiteY42" fmla="*/ 1621761 h 15946069"/>
                <a:gd name="connsiteX43" fmla="*/ 8782678 w 18171859"/>
                <a:gd name="connsiteY43" fmla="*/ 2171586 h 15946069"/>
                <a:gd name="connsiteX44" fmla="*/ 8272645 w 18171859"/>
                <a:gd name="connsiteY44" fmla="*/ 2102856 h 15946069"/>
                <a:gd name="connsiteX45" fmla="*/ 7853048 w 18171859"/>
                <a:gd name="connsiteY45" fmla="*/ 2526075 h 15946069"/>
                <a:gd name="connsiteX46" fmla="*/ 7323799 w 18171859"/>
                <a:gd name="connsiteY46" fmla="*/ 2632907 h 15946069"/>
                <a:gd name="connsiteX47" fmla="*/ 6977672 w 18171859"/>
                <a:gd name="connsiteY47" fmla="*/ 2178817 h 15946069"/>
                <a:gd name="connsiteX48" fmla="*/ 6594245 w 18171859"/>
                <a:gd name="connsiteY48" fmla="*/ 2055834 h 15946069"/>
                <a:gd name="connsiteX49" fmla="*/ 6431470 w 18171859"/>
                <a:gd name="connsiteY49" fmla="*/ 1314295 h 15946069"/>
                <a:gd name="connsiteX50" fmla="*/ 5642908 w 18171859"/>
                <a:gd name="connsiteY50" fmla="*/ 1343233 h 15946069"/>
                <a:gd name="connsiteX51" fmla="*/ 5150959 w 18171859"/>
                <a:gd name="connsiteY51" fmla="*/ 1610907 h 15946069"/>
                <a:gd name="connsiteX52" fmla="*/ 5480133 w 18171859"/>
                <a:gd name="connsiteY52" fmla="*/ 2167963 h 15946069"/>
                <a:gd name="connsiteX53" fmla="*/ 4742216 w 18171859"/>
                <a:gd name="connsiteY53" fmla="*/ 2862495 h 15946069"/>
                <a:gd name="connsiteX54" fmla="*/ 2658667 w 18171859"/>
                <a:gd name="connsiteY54" fmla="*/ 0 h 15946069"/>
                <a:gd name="connsiteX55" fmla="*/ 2658682 w 18171859"/>
                <a:gd name="connsiteY55" fmla="*/ 1018890 h 15946069"/>
                <a:gd name="connsiteX56" fmla="*/ 1850829 w 18171859"/>
                <a:gd name="connsiteY56" fmla="*/ 1730283 h 15946069"/>
                <a:gd name="connsiteX57" fmla="*/ 1404694 w 18171859"/>
                <a:gd name="connsiteY57" fmla="*/ 2272862 h 15946069"/>
                <a:gd name="connsiteX58" fmla="*/ 2351216 w 18171859"/>
                <a:gd name="connsiteY58" fmla="*/ 3388182 h 15946069"/>
                <a:gd name="connsiteX59" fmla="*/ 2658682 w 18171859"/>
                <a:gd name="connsiteY59" fmla="*/ 4286458 h 15946069"/>
                <a:gd name="connsiteX60" fmla="*/ 1935228 w 18171859"/>
                <a:gd name="connsiteY60" fmla="*/ 5220918 h 15946069"/>
                <a:gd name="connsiteX61" fmla="*/ 875281 w 18171859"/>
                <a:gd name="connsiteY61" fmla="*/ 5166646 h 15946069"/>
                <a:gd name="connsiteX62" fmla="*/ 0 w 18171859"/>
                <a:gd name="connsiteY62" fmla="*/ 5890112 h 15946069"/>
                <a:gd name="connsiteX63" fmla="*/ 72345 w 18171859"/>
                <a:gd name="connsiteY63" fmla="*/ 6921032 h 15946069"/>
                <a:gd name="connsiteX64" fmla="*/ 477776 w 18171859"/>
                <a:gd name="connsiteY64"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782678 w 18171859"/>
                <a:gd name="connsiteY42" fmla="*/ 2171586 h 15946069"/>
                <a:gd name="connsiteX43" fmla="*/ 8272645 w 18171859"/>
                <a:gd name="connsiteY43" fmla="*/ 2102856 h 15946069"/>
                <a:gd name="connsiteX44" fmla="*/ 7853048 w 18171859"/>
                <a:gd name="connsiteY44" fmla="*/ 2526075 h 15946069"/>
                <a:gd name="connsiteX45" fmla="*/ 7323799 w 18171859"/>
                <a:gd name="connsiteY45" fmla="*/ 2632907 h 15946069"/>
                <a:gd name="connsiteX46" fmla="*/ 6977672 w 18171859"/>
                <a:gd name="connsiteY46" fmla="*/ 2178817 h 15946069"/>
                <a:gd name="connsiteX47" fmla="*/ 6594245 w 18171859"/>
                <a:gd name="connsiteY47" fmla="*/ 2055834 h 15946069"/>
                <a:gd name="connsiteX48" fmla="*/ 6431470 w 18171859"/>
                <a:gd name="connsiteY48" fmla="*/ 1314295 h 15946069"/>
                <a:gd name="connsiteX49" fmla="*/ 5642908 w 18171859"/>
                <a:gd name="connsiteY49" fmla="*/ 1343233 h 15946069"/>
                <a:gd name="connsiteX50" fmla="*/ 5150959 w 18171859"/>
                <a:gd name="connsiteY50" fmla="*/ 1610907 h 15946069"/>
                <a:gd name="connsiteX51" fmla="*/ 5480133 w 18171859"/>
                <a:gd name="connsiteY51" fmla="*/ 2167963 h 15946069"/>
                <a:gd name="connsiteX52" fmla="*/ 4742216 w 18171859"/>
                <a:gd name="connsiteY52" fmla="*/ 2862495 h 15946069"/>
                <a:gd name="connsiteX53" fmla="*/ 2658667 w 18171859"/>
                <a:gd name="connsiteY53" fmla="*/ 0 h 15946069"/>
                <a:gd name="connsiteX54" fmla="*/ 2658682 w 18171859"/>
                <a:gd name="connsiteY54" fmla="*/ 1018890 h 15946069"/>
                <a:gd name="connsiteX55" fmla="*/ 1850829 w 18171859"/>
                <a:gd name="connsiteY55" fmla="*/ 1730283 h 15946069"/>
                <a:gd name="connsiteX56" fmla="*/ 1404694 w 18171859"/>
                <a:gd name="connsiteY56" fmla="*/ 2272862 h 15946069"/>
                <a:gd name="connsiteX57" fmla="*/ 2351216 w 18171859"/>
                <a:gd name="connsiteY57" fmla="*/ 3388182 h 15946069"/>
                <a:gd name="connsiteX58" fmla="*/ 2658682 w 18171859"/>
                <a:gd name="connsiteY58" fmla="*/ 4286458 h 15946069"/>
                <a:gd name="connsiteX59" fmla="*/ 1935228 w 18171859"/>
                <a:gd name="connsiteY59" fmla="*/ 5220918 h 15946069"/>
                <a:gd name="connsiteX60" fmla="*/ 875281 w 18171859"/>
                <a:gd name="connsiteY60" fmla="*/ 5166646 h 15946069"/>
                <a:gd name="connsiteX61" fmla="*/ 0 w 18171859"/>
                <a:gd name="connsiteY61" fmla="*/ 5890112 h 15946069"/>
                <a:gd name="connsiteX62" fmla="*/ 72345 w 18171859"/>
                <a:gd name="connsiteY62" fmla="*/ 6921032 h 15946069"/>
                <a:gd name="connsiteX63" fmla="*/ 477776 w 18171859"/>
                <a:gd name="connsiteY63"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782678 w 18171859"/>
                <a:gd name="connsiteY42" fmla="*/ 2171586 h 15946069"/>
                <a:gd name="connsiteX43" fmla="*/ 7853048 w 18171859"/>
                <a:gd name="connsiteY43" fmla="*/ 2526075 h 15946069"/>
                <a:gd name="connsiteX44" fmla="*/ 7323799 w 18171859"/>
                <a:gd name="connsiteY44" fmla="*/ 2632907 h 15946069"/>
                <a:gd name="connsiteX45" fmla="*/ 6977672 w 18171859"/>
                <a:gd name="connsiteY45" fmla="*/ 2178817 h 15946069"/>
                <a:gd name="connsiteX46" fmla="*/ 6594245 w 18171859"/>
                <a:gd name="connsiteY46" fmla="*/ 2055834 h 15946069"/>
                <a:gd name="connsiteX47" fmla="*/ 6431470 w 18171859"/>
                <a:gd name="connsiteY47" fmla="*/ 1314295 h 15946069"/>
                <a:gd name="connsiteX48" fmla="*/ 5642908 w 18171859"/>
                <a:gd name="connsiteY48" fmla="*/ 1343233 h 15946069"/>
                <a:gd name="connsiteX49" fmla="*/ 5150959 w 18171859"/>
                <a:gd name="connsiteY49" fmla="*/ 1610907 h 15946069"/>
                <a:gd name="connsiteX50" fmla="*/ 5480133 w 18171859"/>
                <a:gd name="connsiteY50" fmla="*/ 2167963 h 15946069"/>
                <a:gd name="connsiteX51" fmla="*/ 4742216 w 18171859"/>
                <a:gd name="connsiteY51" fmla="*/ 2862495 h 15946069"/>
                <a:gd name="connsiteX52" fmla="*/ 2658667 w 18171859"/>
                <a:gd name="connsiteY52" fmla="*/ 0 h 15946069"/>
                <a:gd name="connsiteX53" fmla="*/ 2658682 w 18171859"/>
                <a:gd name="connsiteY53" fmla="*/ 1018890 h 15946069"/>
                <a:gd name="connsiteX54" fmla="*/ 1850829 w 18171859"/>
                <a:gd name="connsiteY54" fmla="*/ 1730283 h 15946069"/>
                <a:gd name="connsiteX55" fmla="*/ 1404694 w 18171859"/>
                <a:gd name="connsiteY55" fmla="*/ 2272862 h 15946069"/>
                <a:gd name="connsiteX56" fmla="*/ 2351216 w 18171859"/>
                <a:gd name="connsiteY56" fmla="*/ 3388182 h 15946069"/>
                <a:gd name="connsiteX57" fmla="*/ 2658682 w 18171859"/>
                <a:gd name="connsiteY57" fmla="*/ 4286458 h 15946069"/>
                <a:gd name="connsiteX58" fmla="*/ 1935228 w 18171859"/>
                <a:gd name="connsiteY58" fmla="*/ 5220918 h 15946069"/>
                <a:gd name="connsiteX59" fmla="*/ 875281 w 18171859"/>
                <a:gd name="connsiteY59" fmla="*/ 5166646 h 15946069"/>
                <a:gd name="connsiteX60" fmla="*/ 0 w 18171859"/>
                <a:gd name="connsiteY60" fmla="*/ 5890112 h 15946069"/>
                <a:gd name="connsiteX61" fmla="*/ 72345 w 18171859"/>
                <a:gd name="connsiteY61" fmla="*/ 6921032 h 15946069"/>
                <a:gd name="connsiteX62" fmla="*/ 477776 w 18171859"/>
                <a:gd name="connsiteY62"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782678 w 18171859"/>
                <a:gd name="connsiteY42" fmla="*/ 2171586 h 15946069"/>
                <a:gd name="connsiteX43" fmla="*/ 7853048 w 18171859"/>
                <a:gd name="connsiteY43" fmla="*/ 2526075 h 15946069"/>
                <a:gd name="connsiteX44" fmla="*/ 6977672 w 18171859"/>
                <a:gd name="connsiteY44" fmla="*/ 2178817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878357 w 18171859"/>
                <a:gd name="connsiteY42" fmla="*/ 3865809 h 15946069"/>
                <a:gd name="connsiteX43" fmla="*/ 7853048 w 18171859"/>
                <a:gd name="connsiteY43" fmla="*/ 2526075 h 15946069"/>
                <a:gd name="connsiteX44" fmla="*/ 6977672 w 18171859"/>
                <a:gd name="connsiteY44" fmla="*/ 2178817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878357 w 18171859"/>
                <a:gd name="connsiteY42" fmla="*/ 3865809 h 15946069"/>
                <a:gd name="connsiteX43" fmla="*/ 7446446 w 18171859"/>
                <a:gd name="connsiteY43" fmla="*/ 3504429 h 15946069"/>
                <a:gd name="connsiteX44" fmla="*/ 6977672 w 18171859"/>
                <a:gd name="connsiteY44" fmla="*/ 2178817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878357 w 18171859"/>
                <a:gd name="connsiteY42" fmla="*/ 3865809 h 15946069"/>
                <a:gd name="connsiteX43" fmla="*/ 7446446 w 18171859"/>
                <a:gd name="connsiteY43" fmla="*/ 3504429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878357 w 18171859"/>
                <a:gd name="connsiteY42" fmla="*/ 3865809 h 15946069"/>
                <a:gd name="connsiteX43" fmla="*/ 7637793 w 18171859"/>
                <a:gd name="connsiteY43" fmla="*/ 2526072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7706376 w 18171859"/>
                <a:gd name="connsiteY42" fmla="*/ 4987336 h 15946069"/>
                <a:gd name="connsiteX43" fmla="*/ 7637793 w 18171859"/>
                <a:gd name="connsiteY43" fmla="*/ 2526072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112983 w 18171859"/>
                <a:gd name="connsiteY42" fmla="*/ 3770361 h 15946069"/>
                <a:gd name="connsiteX43" fmla="*/ 7637793 w 18171859"/>
                <a:gd name="connsiteY43" fmla="*/ 2526072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10161509 w 18171859"/>
                <a:gd name="connsiteY41" fmla="*/ 5230746 h 15946069"/>
                <a:gd name="connsiteX42" fmla="*/ 8112983 w 18171859"/>
                <a:gd name="connsiteY42" fmla="*/ 3770361 h 15946069"/>
                <a:gd name="connsiteX43" fmla="*/ 7637793 w 18171859"/>
                <a:gd name="connsiteY43" fmla="*/ 2526072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9801570 w 18171859"/>
                <a:gd name="connsiteY40" fmla="*/ 6243641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6859659 w 18171859"/>
                <a:gd name="connsiteY40" fmla="*/ 6315230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6285626 w 18171859"/>
                <a:gd name="connsiteY40" fmla="*/ 5551639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5998609 w 18171859"/>
                <a:gd name="connsiteY40" fmla="*/ 5074389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6309547 w 18171859"/>
                <a:gd name="connsiteY40" fmla="*/ 5647086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6166035 w 18171859"/>
                <a:gd name="connsiteY40" fmla="*/ 540846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9704505 w 18171859"/>
                <a:gd name="connsiteY39" fmla="*/ 7102384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7982404 w 18171859"/>
                <a:gd name="connsiteY39" fmla="*/ 7508044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6017067 w 18171859"/>
                <a:gd name="connsiteY38" fmla="*/ 9931550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0076123 w 18171859"/>
                <a:gd name="connsiteY37" fmla="*/ 8513358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9844788 w 18171859"/>
                <a:gd name="connsiteY36" fmla="*/ 9748760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9366431 w 18171859"/>
                <a:gd name="connsiteY36" fmla="*/ 5930786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8218364 w 18171859"/>
                <a:gd name="connsiteY36" fmla="*/ 7219350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9318595 w 18171859"/>
                <a:gd name="connsiteY36" fmla="*/ 5859197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0639545 w 18171859"/>
                <a:gd name="connsiteY35" fmla="*/ 7482246 h 15946069"/>
                <a:gd name="connsiteX36" fmla="*/ 9318595 w 18171859"/>
                <a:gd name="connsiteY36" fmla="*/ 5859197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0017677 w 18171859"/>
                <a:gd name="connsiteY35" fmla="*/ 5883475 h 15946069"/>
                <a:gd name="connsiteX36" fmla="*/ 9318595 w 18171859"/>
                <a:gd name="connsiteY36" fmla="*/ 5859197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17385711 w 17911411"/>
                <a:gd name="connsiteY33" fmla="*/ 5219213 h 15946069"/>
                <a:gd name="connsiteX34" fmla="*/ 11259549 w 17911411"/>
                <a:gd name="connsiteY34" fmla="*/ 7947227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17385711 w 17911411"/>
                <a:gd name="connsiteY33" fmla="*/ 5219213 h 15946069"/>
                <a:gd name="connsiteX34" fmla="*/ 8628570 w 17911411"/>
                <a:gd name="connsiteY34" fmla="*/ 7994950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17385711 w 17911411"/>
                <a:gd name="connsiteY33" fmla="*/ 5219213 h 15946069"/>
                <a:gd name="connsiteX34" fmla="*/ 10709437 w 17911411"/>
                <a:gd name="connsiteY34" fmla="*/ 6730245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9779785 w 17911411"/>
                <a:gd name="connsiteY33" fmla="*/ 9514428 h 15946069"/>
                <a:gd name="connsiteX34" fmla="*/ 10709437 w 17911411"/>
                <a:gd name="connsiteY34" fmla="*/ 6730245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9301422 w 17911411"/>
                <a:gd name="connsiteY33" fmla="*/ 7486132 h 15946069"/>
                <a:gd name="connsiteX34" fmla="*/ 10709437 w 17911411"/>
                <a:gd name="connsiteY34" fmla="*/ 6730245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10425568 w 17911411"/>
                <a:gd name="connsiteY33" fmla="*/ 7223642 h 15946069"/>
                <a:gd name="connsiteX34" fmla="*/ 10709437 w 17911411"/>
                <a:gd name="connsiteY34" fmla="*/ 6730245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6024409 w 16428338"/>
                <a:gd name="connsiteY31" fmla="*/ 7433474 h 15946069"/>
                <a:gd name="connsiteX32" fmla="*/ 10161984 w 16428338"/>
                <a:gd name="connsiteY32" fmla="*/ 8636304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6024409 w 16428338"/>
                <a:gd name="connsiteY31" fmla="*/ 7433474 h 15946069"/>
                <a:gd name="connsiteX32" fmla="*/ 11118705 w 16428338"/>
                <a:gd name="connsiteY32" fmla="*/ 7156845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1886591 w 16428338"/>
                <a:gd name="connsiteY31" fmla="*/ 8912940 h 15946069"/>
                <a:gd name="connsiteX32" fmla="*/ 11118705 w 16428338"/>
                <a:gd name="connsiteY32" fmla="*/ 7156845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0451507 w 16428338"/>
                <a:gd name="connsiteY31" fmla="*/ 8889075 h 15946069"/>
                <a:gd name="connsiteX32" fmla="*/ 11118705 w 16428338"/>
                <a:gd name="connsiteY32" fmla="*/ 7156845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2149687 w 16428338"/>
                <a:gd name="connsiteY31" fmla="*/ 8101619 h 15946069"/>
                <a:gd name="connsiteX32" fmla="*/ 11118705 w 16428338"/>
                <a:gd name="connsiteY32" fmla="*/ 7156845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13202"/>
                <a:gd name="connsiteY0" fmla="*/ 7436569 h 15946069"/>
                <a:gd name="connsiteX1" fmla="*/ 271294 w 16413202"/>
                <a:gd name="connsiteY1" fmla="*/ 8060457 h 15946069"/>
                <a:gd name="connsiteX2" fmla="*/ 379812 w 16413202"/>
                <a:gd name="connsiteY2" fmla="*/ 8675382 h 15946069"/>
                <a:gd name="connsiteX3" fmla="*/ 759624 w 16413202"/>
                <a:gd name="connsiteY3" fmla="*/ 9217969 h 15946069"/>
                <a:gd name="connsiteX4" fmla="*/ 687278 w 16413202"/>
                <a:gd name="connsiteY4" fmla="*/ 9670126 h 15946069"/>
                <a:gd name="connsiteX5" fmla="*/ 144687 w 16413202"/>
                <a:gd name="connsiteY5" fmla="*/ 9941420 h 15946069"/>
                <a:gd name="connsiteX6" fmla="*/ 343643 w 16413202"/>
                <a:gd name="connsiteY6" fmla="*/ 10592536 h 15946069"/>
                <a:gd name="connsiteX7" fmla="*/ 940487 w 16413202"/>
                <a:gd name="connsiteY7" fmla="*/ 10954252 h 15946069"/>
                <a:gd name="connsiteX8" fmla="*/ 596844 w 16413202"/>
                <a:gd name="connsiteY8" fmla="*/ 11786221 h 15946069"/>
                <a:gd name="connsiteX9" fmla="*/ 633017 w 16413202"/>
                <a:gd name="connsiteY9" fmla="*/ 12780969 h 15946069"/>
                <a:gd name="connsiteX10" fmla="*/ 198944 w 16413202"/>
                <a:gd name="connsiteY10" fmla="*/ 13341645 h 15946069"/>
                <a:gd name="connsiteX11" fmla="*/ 723451 w 16413202"/>
                <a:gd name="connsiteY11" fmla="*/ 13757629 h 15946069"/>
                <a:gd name="connsiteX12" fmla="*/ 1640036 w 16413202"/>
                <a:gd name="connsiteY12" fmla="*/ 13197151 h 15946069"/>
                <a:gd name="connsiteX13" fmla="*/ 1880971 w 16413202"/>
                <a:gd name="connsiteY13" fmla="*/ 13395906 h 15946069"/>
                <a:gd name="connsiteX14" fmla="*/ 2930086 w 16413202"/>
                <a:gd name="connsiteY14" fmla="*/ 12952832 h 15946069"/>
                <a:gd name="connsiteX15" fmla="*/ 3828256 w 16413202"/>
                <a:gd name="connsiteY15" fmla="*/ 13245188 h 15946069"/>
                <a:gd name="connsiteX16" fmla="*/ 4768739 w 16413202"/>
                <a:gd name="connsiteY16" fmla="*/ 13040205 h 15946069"/>
                <a:gd name="connsiteX17" fmla="*/ 5190751 w 16413202"/>
                <a:gd name="connsiteY17" fmla="*/ 13649115 h 15946069"/>
                <a:gd name="connsiteX18" fmla="*/ 5932290 w 16413202"/>
                <a:gd name="connsiteY18" fmla="*/ 13444132 h 15946069"/>
                <a:gd name="connsiteX19" fmla="*/ 6498992 w 16413202"/>
                <a:gd name="connsiteY19" fmla="*/ 12991975 h 15946069"/>
                <a:gd name="connsiteX20" fmla="*/ 7373161 w 16413202"/>
                <a:gd name="connsiteY20" fmla="*/ 13582800 h 15946069"/>
                <a:gd name="connsiteX21" fmla="*/ 8512588 w 16413202"/>
                <a:gd name="connsiteY21" fmla="*/ 13570738 h 15946069"/>
                <a:gd name="connsiteX22" fmla="*/ 9742454 w 16413202"/>
                <a:gd name="connsiteY22" fmla="*/ 14004811 h 15946069"/>
                <a:gd name="connsiteX23" fmla="*/ 10616683 w 16413202"/>
                <a:gd name="connsiteY23" fmla="*/ 15358294 h 15946069"/>
                <a:gd name="connsiteX24" fmla="*/ 11117010 w 16413202"/>
                <a:gd name="connsiteY24" fmla="*/ 15946069 h 15946069"/>
                <a:gd name="connsiteX25" fmla="*/ 11780218 w 16413202"/>
                <a:gd name="connsiteY25" fmla="*/ 13579811 h 15946069"/>
                <a:gd name="connsiteX26" fmla="*/ 12196146 w 16413202"/>
                <a:gd name="connsiteY26" fmla="*/ 11388328 h 15946069"/>
                <a:gd name="connsiteX27" fmla="*/ 14004775 w 16413202"/>
                <a:gd name="connsiteY27" fmla="*/ 11611395 h 15946069"/>
                <a:gd name="connsiteX28" fmla="*/ 15409477 w 16413202"/>
                <a:gd name="connsiteY28" fmla="*/ 11882693 h 15946069"/>
                <a:gd name="connsiteX29" fmla="*/ 16413199 w 16413202"/>
                <a:gd name="connsiteY29" fmla="*/ 10920339 h 15946069"/>
                <a:gd name="connsiteX30" fmla="*/ 10305329 w 16413202"/>
                <a:gd name="connsiteY30" fmla="*/ 10066739 h 15946069"/>
                <a:gd name="connsiteX31" fmla="*/ 12149687 w 16413202"/>
                <a:gd name="connsiteY31" fmla="*/ 8101619 h 15946069"/>
                <a:gd name="connsiteX32" fmla="*/ 11118705 w 16413202"/>
                <a:gd name="connsiteY32" fmla="*/ 7156845 h 15946069"/>
                <a:gd name="connsiteX33" fmla="*/ 10425568 w 16413202"/>
                <a:gd name="connsiteY33" fmla="*/ 7223642 h 15946069"/>
                <a:gd name="connsiteX34" fmla="*/ 10709437 w 16413202"/>
                <a:gd name="connsiteY34" fmla="*/ 6730245 h 15946069"/>
                <a:gd name="connsiteX35" fmla="*/ 10017677 w 16413202"/>
                <a:gd name="connsiteY35" fmla="*/ 5883475 h 15946069"/>
                <a:gd name="connsiteX36" fmla="*/ 9318595 w 16413202"/>
                <a:gd name="connsiteY36" fmla="*/ 5859197 h 15946069"/>
                <a:gd name="connsiteX37" fmla="*/ 9215073 w 16413202"/>
                <a:gd name="connsiteY37" fmla="*/ 5387392 h 15946069"/>
                <a:gd name="connsiteX38" fmla="*/ 8600211 w 16413202"/>
                <a:gd name="connsiteY38" fmla="*/ 5564744 h 15946069"/>
                <a:gd name="connsiteX39" fmla="*/ 8412926 w 16413202"/>
                <a:gd name="connsiteY39" fmla="*/ 4835463 h 15946069"/>
                <a:gd name="connsiteX40" fmla="*/ 7744624 w 16413202"/>
                <a:gd name="connsiteY40" fmla="*/ 4382387 h 15946069"/>
                <a:gd name="connsiteX41" fmla="*/ 8112983 w 16413202"/>
                <a:gd name="connsiteY41" fmla="*/ 3770361 h 15946069"/>
                <a:gd name="connsiteX42" fmla="*/ 7637793 w 16413202"/>
                <a:gd name="connsiteY42" fmla="*/ 2526072 h 15946069"/>
                <a:gd name="connsiteX43" fmla="*/ 7264687 w 16413202"/>
                <a:gd name="connsiteY43" fmla="*/ 2131091 h 15946069"/>
                <a:gd name="connsiteX44" fmla="*/ 6594245 w 16413202"/>
                <a:gd name="connsiteY44" fmla="*/ 2055834 h 15946069"/>
                <a:gd name="connsiteX45" fmla="*/ 6431470 w 16413202"/>
                <a:gd name="connsiteY45" fmla="*/ 1314295 h 15946069"/>
                <a:gd name="connsiteX46" fmla="*/ 5642908 w 16413202"/>
                <a:gd name="connsiteY46" fmla="*/ 1343233 h 15946069"/>
                <a:gd name="connsiteX47" fmla="*/ 5150959 w 16413202"/>
                <a:gd name="connsiteY47" fmla="*/ 1610907 h 15946069"/>
                <a:gd name="connsiteX48" fmla="*/ 5480133 w 16413202"/>
                <a:gd name="connsiteY48" fmla="*/ 2167963 h 15946069"/>
                <a:gd name="connsiteX49" fmla="*/ 4742216 w 16413202"/>
                <a:gd name="connsiteY49" fmla="*/ 2862495 h 15946069"/>
                <a:gd name="connsiteX50" fmla="*/ 2658667 w 16413202"/>
                <a:gd name="connsiteY50" fmla="*/ 0 h 15946069"/>
                <a:gd name="connsiteX51" fmla="*/ 2658682 w 16413202"/>
                <a:gd name="connsiteY51" fmla="*/ 1018890 h 15946069"/>
                <a:gd name="connsiteX52" fmla="*/ 1850829 w 16413202"/>
                <a:gd name="connsiteY52" fmla="*/ 1730283 h 15946069"/>
                <a:gd name="connsiteX53" fmla="*/ 1404694 w 16413202"/>
                <a:gd name="connsiteY53" fmla="*/ 2272862 h 15946069"/>
                <a:gd name="connsiteX54" fmla="*/ 2351216 w 16413202"/>
                <a:gd name="connsiteY54" fmla="*/ 3388182 h 15946069"/>
                <a:gd name="connsiteX55" fmla="*/ 2658682 w 16413202"/>
                <a:gd name="connsiteY55" fmla="*/ 4286458 h 15946069"/>
                <a:gd name="connsiteX56" fmla="*/ 1935228 w 16413202"/>
                <a:gd name="connsiteY56" fmla="*/ 5220918 h 15946069"/>
                <a:gd name="connsiteX57" fmla="*/ 875281 w 16413202"/>
                <a:gd name="connsiteY57" fmla="*/ 5166646 h 15946069"/>
                <a:gd name="connsiteX58" fmla="*/ 0 w 16413202"/>
                <a:gd name="connsiteY58" fmla="*/ 5890112 h 15946069"/>
                <a:gd name="connsiteX59" fmla="*/ 72345 w 16413202"/>
                <a:gd name="connsiteY59" fmla="*/ 6921032 h 15946069"/>
                <a:gd name="connsiteX60" fmla="*/ 477776 w 16413202"/>
                <a:gd name="connsiteY60" fmla="*/ 7436569 h 15946069"/>
                <a:gd name="connsiteX0" fmla="*/ 477776 w 16413202"/>
                <a:gd name="connsiteY0" fmla="*/ 7436569 h 15946069"/>
                <a:gd name="connsiteX1" fmla="*/ 271294 w 16413202"/>
                <a:gd name="connsiteY1" fmla="*/ 8060457 h 15946069"/>
                <a:gd name="connsiteX2" fmla="*/ 379812 w 16413202"/>
                <a:gd name="connsiteY2" fmla="*/ 8675382 h 15946069"/>
                <a:gd name="connsiteX3" fmla="*/ 759624 w 16413202"/>
                <a:gd name="connsiteY3" fmla="*/ 9217969 h 15946069"/>
                <a:gd name="connsiteX4" fmla="*/ 687278 w 16413202"/>
                <a:gd name="connsiteY4" fmla="*/ 9670126 h 15946069"/>
                <a:gd name="connsiteX5" fmla="*/ 144687 w 16413202"/>
                <a:gd name="connsiteY5" fmla="*/ 9941420 h 15946069"/>
                <a:gd name="connsiteX6" fmla="*/ 343643 w 16413202"/>
                <a:gd name="connsiteY6" fmla="*/ 10592536 h 15946069"/>
                <a:gd name="connsiteX7" fmla="*/ 940487 w 16413202"/>
                <a:gd name="connsiteY7" fmla="*/ 10954252 h 15946069"/>
                <a:gd name="connsiteX8" fmla="*/ 596844 w 16413202"/>
                <a:gd name="connsiteY8" fmla="*/ 11786221 h 15946069"/>
                <a:gd name="connsiteX9" fmla="*/ 633017 w 16413202"/>
                <a:gd name="connsiteY9" fmla="*/ 12780969 h 15946069"/>
                <a:gd name="connsiteX10" fmla="*/ 198944 w 16413202"/>
                <a:gd name="connsiteY10" fmla="*/ 13341645 h 15946069"/>
                <a:gd name="connsiteX11" fmla="*/ 723451 w 16413202"/>
                <a:gd name="connsiteY11" fmla="*/ 13757629 h 15946069"/>
                <a:gd name="connsiteX12" fmla="*/ 1640036 w 16413202"/>
                <a:gd name="connsiteY12" fmla="*/ 13197151 h 15946069"/>
                <a:gd name="connsiteX13" fmla="*/ 1880971 w 16413202"/>
                <a:gd name="connsiteY13" fmla="*/ 13395906 h 15946069"/>
                <a:gd name="connsiteX14" fmla="*/ 2930086 w 16413202"/>
                <a:gd name="connsiteY14" fmla="*/ 12952832 h 15946069"/>
                <a:gd name="connsiteX15" fmla="*/ 3828256 w 16413202"/>
                <a:gd name="connsiteY15" fmla="*/ 13245188 h 15946069"/>
                <a:gd name="connsiteX16" fmla="*/ 4768739 w 16413202"/>
                <a:gd name="connsiteY16" fmla="*/ 13040205 h 15946069"/>
                <a:gd name="connsiteX17" fmla="*/ 5190751 w 16413202"/>
                <a:gd name="connsiteY17" fmla="*/ 13649115 h 15946069"/>
                <a:gd name="connsiteX18" fmla="*/ 5932290 w 16413202"/>
                <a:gd name="connsiteY18" fmla="*/ 13444132 h 15946069"/>
                <a:gd name="connsiteX19" fmla="*/ 6498992 w 16413202"/>
                <a:gd name="connsiteY19" fmla="*/ 12991975 h 15946069"/>
                <a:gd name="connsiteX20" fmla="*/ 7373161 w 16413202"/>
                <a:gd name="connsiteY20" fmla="*/ 13582800 h 15946069"/>
                <a:gd name="connsiteX21" fmla="*/ 8512588 w 16413202"/>
                <a:gd name="connsiteY21" fmla="*/ 13570738 h 15946069"/>
                <a:gd name="connsiteX22" fmla="*/ 9742454 w 16413202"/>
                <a:gd name="connsiteY22" fmla="*/ 14004811 h 15946069"/>
                <a:gd name="connsiteX23" fmla="*/ 10616683 w 16413202"/>
                <a:gd name="connsiteY23" fmla="*/ 15358294 h 15946069"/>
                <a:gd name="connsiteX24" fmla="*/ 11117010 w 16413202"/>
                <a:gd name="connsiteY24" fmla="*/ 15946069 h 15946069"/>
                <a:gd name="connsiteX25" fmla="*/ 11780218 w 16413202"/>
                <a:gd name="connsiteY25" fmla="*/ 13579811 h 15946069"/>
                <a:gd name="connsiteX26" fmla="*/ 12196146 w 16413202"/>
                <a:gd name="connsiteY26" fmla="*/ 11388328 h 15946069"/>
                <a:gd name="connsiteX27" fmla="*/ 14004775 w 16413202"/>
                <a:gd name="connsiteY27" fmla="*/ 11611395 h 15946069"/>
                <a:gd name="connsiteX28" fmla="*/ 15409477 w 16413202"/>
                <a:gd name="connsiteY28" fmla="*/ 11882693 h 15946069"/>
                <a:gd name="connsiteX29" fmla="*/ 16413199 w 16413202"/>
                <a:gd name="connsiteY29" fmla="*/ 10920339 h 15946069"/>
                <a:gd name="connsiteX30" fmla="*/ 9276853 w 16413202"/>
                <a:gd name="connsiteY30" fmla="*/ 9446319 h 15946069"/>
                <a:gd name="connsiteX31" fmla="*/ 12149687 w 16413202"/>
                <a:gd name="connsiteY31" fmla="*/ 8101619 h 15946069"/>
                <a:gd name="connsiteX32" fmla="*/ 11118705 w 16413202"/>
                <a:gd name="connsiteY32" fmla="*/ 7156845 h 15946069"/>
                <a:gd name="connsiteX33" fmla="*/ 10425568 w 16413202"/>
                <a:gd name="connsiteY33" fmla="*/ 7223642 h 15946069"/>
                <a:gd name="connsiteX34" fmla="*/ 10709437 w 16413202"/>
                <a:gd name="connsiteY34" fmla="*/ 6730245 h 15946069"/>
                <a:gd name="connsiteX35" fmla="*/ 10017677 w 16413202"/>
                <a:gd name="connsiteY35" fmla="*/ 5883475 h 15946069"/>
                <a:gd name="connsiteX36" fmla="*/ 9318595 w 16413202"/>
                <a:gd name="connsiteY36" fmla="*/ 5859197 h 15946069"/>
                <a:gd name="connsiteX37" fmla="*/ 9215073 w 16413202"/>
                <a:gd name="connsiteY37" fmla="*/ 5387392 h 15946069"/>
                <a:gd name="connsiteX38" fmla="*/ 8600211 w 16413202"/>
                <a:gd name="connsiteY38" fmla="*/ 5564744 h 15946069"/>
                <a:gd name="connsiteX39" fmla="*/ 8412926 w 16413202"/>
                <a:gd name="connsiteY39" fmla="*/ 4835463 h 15946069"/>
                <a:gd name="connsiteX40" fmla="*/ 7744624 w 16413202"/>
                <a:gd name="connsiteY40" fmla="*/ 4382387 h 15946069"/>
                <a:gd name="connsiteX41" fmla="*/ 8112983 w 16413202"/>
                <a:gd name="connsiteY41" fmla="*/ 3770361 h 15946069"/>
                <a:gd name="connsiteX42" fmla="*/ 7637793 w 16413202"/>
                <a:gd name="connsiteY42" fmla="*/ 2526072 h 15946069"/>
                <a:gd name="connsiteX43" fmla="*/ 7264687 w 16413202"/>
                <a:gd name="connsiteY43" fmla="*/ 2131091 h 15946069"/>
                <a:gd name="connsiteX44" fmla="*/ 6594245 w 16413202"/>
                <a:gd name="connsiteY44" fmla="*/ 2055834 h 15946069"/>
                <a:gd name="connsiteX45" fmla="*/ 6431470 w 16413202"/>
                <a:gd name="connsiteY45" fmla="*/ 1314295 h 15946069"/>
                <a:gd name="connsiteX46" fmla="*/ 5642908 w 16413202"/>
                <a:gd name="connsiteY46" fmla="*/ 1343233 h 15946069"/>
                <a:gd name="connsiteX47" fmla="*/ 5150959 w 16413202"/>
                <a:gd name="connsiteY47" fmla="*/ 1610907 h 15946069"/>
                <a:gd name="connsiteX48" fmla="*/ 5480133 w 16413202"/>
                <a:gd name="connsiteY48" fmla="*/ 2167963 h 15946069"/>
                <a:gd name="connsiteX49" fmla="*/ 4742216 w 16413202"/>
                <a:gd name="connsiteY49" fmla="*/ 2862495 h 15946069"/>
                <a:gd name="connsiteX50" fmla="*/ 2658667 w 16413202"/>
                <a:gd name="connsiteY50" fmla="*/ 0 h 15946069"/>
                <a:gd name="connsiteX51" fmla="*/ 2658682 w 16413202"/>
                <a:gd name="connsiteY51" fmla="*/ 1018890 h 15946069"/>
                <a:gd name="connsiteX52" fmla="*/ 1850829 w 16413202"/>
                <a:gd name="connsiteY52" fmla="*/ 1730283 h 15946069"/>
                <a:gd name="connsiteX53" fmla="*/ 1404694 w 16413202"/>
                <a:gd name="connsiteY53" fmla="*/ 2272862 h 15946069"/>
                <a:gd name="connsiteX54" fmla="*/ 2351216 w 16413202"/>
                <a:gd name="connsiteY54" fmla="*/ 3388182 h 15946069"/>
                <a:gd name="connsiteX55" fmla="*/ 2658682 w 16413202"/>
                <a:gd name="connsiteY55" fmla="*/ 4286458 h 15946069"/>
                <a:gd name="connsiteX56" fmla="*/ 1935228 w 16413202"/>
                <a:gd name="connsiteY56" fmla="*/ 5220918 h 15946069"/>
                <a:gd name="connsiteX57" fmla="*/ 875281 w 16413202"/>
                <a:gd name="connsiteY57" fmla="*/ 5166646 h 15946069"/>
                <a:gd name="connsiteX58" fmla="*/ 0 w 16413202"/>
                <a:gd name="connsiteY58" fmla="*/ 5890112 h 15946069"/>
                <a:gd name="connsiteX59" fmla="*/ 72345 w 16413202"/>
                <a:gd name="connsiteY59" fmla="*/ 6921032 h 15946069"/>
                <a:gd name="connsiteX60" fmla="*/ 477776 w 16413202"/>
                <a:gd name="connsiteY60" fmla="*/ 7436569 h 15946069"/>
                <a:gd name="connsiteX0" fmla="*/ 477776 w 16413202"/>
                <a:gd name="connsiteY0" fmla="*/ 7436569 h 15946069"/>
                <a:gd name="connsiteX1" fmla="*/ 271294 w 16413202"/>
                <a:gd name="connsiteY1" fmla="*/ 8060457 h 15946069"/>
                <a:gd name="connsiteX2" fmla="*/ 379812 w 16413202"/>
                <a:gd name="connsiteY2" fmla="*/ 8675382 h 15946069"/>
                <a:gd name="connsiteX3" fmla="*/ 759624 w 16413202"/>
                <a:gd name="connsiteY3" fmla="*/ 9217969 h 15946069"/>
                <a:gd name="connsiteX4" fmla="*/ 687278 w 16413202"/>
                <a:gd name="connsiteY4" fmla="*/ 9670126 h 15946069"/>
                <a:gd name="connsiteX5" fmla="*/ 144687 w 16413202"/>
                <a:gd name="connsiteY5" fmla="*/ 9941420 h 15946069"/>
                <a:gd name="connsiteX6" fmla="*/ 343643 w 16413202"/>
                <a:gd name="connsiteY6" fmla="*/ 10592536 h 15946069"/>
                <a:gd name="connsiteX7" fmla="*/ 940487 w 16413202"/>
                <a:gd name="connsiteY7" fmla="*/ 10954252 h 15946069"/>
                <a:gd name="connsiteX8" fmla="*/ 596844 w 16413202"/>
                <a:gd name="connsiteY8" fmla="*/ 11786221 h 15946069"/>
                <a:gd name="connsiteX9" fmla="*/ 633017 w 16413202"/>
                <a:gd name="connsiteY9" fmla="*/ 12780969 h 15946069"/>
                <a:gd name="connsiteX10" fmla="*/ 198944 w 16413202"/>
                <a:gd name="connsiteY10" fmla="*/ 13341645 h 15946069"/>
                <a:gd name="connsiteX11" fmla="*/ 723451 w 16413202"/>
                <a:gd name="connsiteY11" fmla="*/ 13757629 h 15946069"/>
                <a:gd name="connsiteX12" fmla="*/ 1640036 w 16413202"/>
                <a:gd name="connsiteY12" fmla="*/ 13197151 h 15946069"/>
                <a:gd name="connsiteX13" fmla="*/ 1880971 w 16413202"/>
                <a:gd name="connsiteY13" fmla="*/ 13395906 h 15946069"/>
                <a:gd name="connsiteX14" fmla="*/ 2930086 w 16413202"/>
                <a:gd name="connsiteY14" fmla="*/ 12952832 h 15946069"/>
                <a:gd name="connsiteX15" fmla="*/ 3828256 w 16413202"/>
                <a:gd name="connsiteY15" fmla="*/ 13245188 h 15946069"/>
                <a:gd name="connsiteX16" fmla="*/ 4768739 w 16413202"/>
                <a:gd name="connsiteY16" fmla="*/ 13040205 h 15946069"/>
                <a:gd name="connsiteX17" fmla="*/ 5190751 w 16413202"/>
                <a:gd name="connsiteY17" fmla="*/ 13649115 h 15946069"/>
                <a:gd name="connsiteX18" fmla="*/ 5932290 w 16413202"/>
                <a:gd name="connsiteY18" fmla="*/ 13444132 h 15946069"/>
                <a:gd name="connsiteX19" fmla="*/ 6498992 w 16413202"/>
                <a:gd name="connsiteY19" fmla="*/ 12991975 h 15946069"/>
                <a:gd name="connsiteX20" fmla="*/ 7373161 w 16413202"/>
                <a:gd name="connsiteY20" fmla="*/ 13582800 h 15946069"/>
                <a:gd name="connsiteX21" fmla="*/ 8512588 w 16413202"/>
                <a:gd name="connsiteY21" fmla="*/ 13570738 h 15946069"/>
                <a:gd name="connsiteX22" fmla="*/ 9742454 w 16413202"/>
                <a:gd name="connsiteY22" fmla="*/ 14004811 h 15946069"/>
                <a:gd name="connsiteX23" fmla="*/ 10616683 w 16413202"/>
                <a:gd name="connsiteY23" fmla="*/ 15358294 h 15946069"/>
                <a:gd name="connsiteX24" fmla="*/ 11117010 w 16413202"/>
                <a:gd name="connsiteY24" fmla="*/ 15946069 h 15946069"/>
                <a:gd name="connsiteX25" fmla="*/ 11780218 w 16413202"/>
                <a:gd name="connsiteY25" fmla="*/ 13579811 h 15946069"/>
                <a:gd name="connsiteX26" fmla="*/ 12196146 w 16413202"/>
                <a:gd name="connsiteY26" fmla="*/ 11388328 h 15946069"/>
                <a:gd name="connsiteX27" fmla="*/ 14004775 w 16413202"/>
                <a:gd name="connsiteY27" fmla="*/ 11611395 h 15946069"/>
                <a:gd name="connsiteX28" fmla="*/ 15409477 w 16413202"/>
                <a:gd name="connsiteY28" fmla="*/ 11882693 h 15946069"/>
                <a:gd name="connsiteX29" fmla="*/ 16413199 w 16413202"/>
                <a:gd name="connsiteY29" fmla="*/ 10920339 h 15946069"/>
                <a:gd name="connsiteX30" fmla="*/ 11668657 w 16413202"/>
                <a:gd name="connsiteY30" fmla="*/ 8754316 h 15946069"/>
                <a:gd name="connsiteX31" fmla="*/ 12149687 w 16413202"/>
                <a:gd name="connsiteY31" fmla="*/ 8101619 h 15946069"/>
                <a:gd name="connsiteX32" fmla="*/ 11118705 w 16413202"/>
                <a:gd name="connsiteY32" fmla="*/ 7156845 h 15946069"/>
                <a:gd name="connsiteX33" fmla="*/ 10425568 w 16413202"/>
                <a:gd name="connsiteY33" fmla="*/ 7223642 h 15946069"/>
                <a:gd name="connsiteX34" fmla="*/ 10709437 w 16413202"/>
                <a:gd name="connsiteY34" fmla="*/ 6730245 h 15946069"/>
                <a:gd name="connsiteX35" fmla="*/ 10017677 w 16413202"/>
                <a:gd name="connsiteY35" fmla="*/ 5883475 h 15946069"/>
                <a:gd name="connsiteX36" fmla="*/ 9318595 w 16413202"/>
                <a:gd name="connsiteY36" fmla="*/ 5859197 h 15946069"/>
                <a:gd name="connsiteX37" fmla="*/ 9215073 w 16413202"/>
                <a:gd name="connsiteY37" fmla="*/ 5387392 h 15946069"/>
                <a:gd name="connsiteX38" fmla="*/ 8600211 w 16413202"/>
                <a:gd name="connsiteY38" fmla="*/ 5564744 h 15946069"/>
                <a:gd name="connsiteX39" fmla="*/ 8412926 w 16413202"/>
                <a:gd name="connsiteY39" fmla="*/ 4835463 h 15946069"/>
                <a:gd name="connsiteX40" fmla="*/ 7744624 w 16413202"/>
                <a:gd name="connsiteY40" fmla="*/ 4382387 h 15946069"/>
                <a:gd name="connsiteX41" fmla="*/ 8112983 w 16413202"/>
                <a:gd name="connsiteY41" fmla="*/ 3770361 h 15946069"/>
                <a:gd name="connsiteX42" fmla="*/ 7637793 w 16413202"/>
                <a:gd name="connsiteY42" fmla="*/ 2526072 h 15946069"/>
                <a:gd name="connsiteX43" fmla="*/ 7264687 w 16413202"/>
                <a:gd name="connsiteY43" fmla="*/ 2131091 h 15946069"/>
                <a:gd name="connsiteX44" fmla="*/ 6594245 w 16413202"/>
                <a:gd name="connsiteY44" fmla="*/ 2055834 h 15946069"/>
                <a:gd name="connsiteX45" fmla="*/ 6431470 w 16413202"/>
                <a:gd name="connsiteY45" fmla="*/ 1314295 h 15946069"/>
                <a:gd name="connsiteX46" fmla="*/ 5642908 w 16413202"/>
                <a:gd name="connsiteY46" fmla="*/ 1343233 h 15946069"/>
                <a:gd name="connsiteX47" fmla="*/ 5150959 w 16413202"/>
                <a:gd name="connsiteY47" fmla="*/ 1610907 h 15946069"/>
                <a:gd name="connsiteX48" fmla="*/ 5480133 w 16413202"/>
                <a:gd name="connsiteY48" fmla="*/ 2167963 h 15946069"/>
                <a:gd name="connsiteX49" fmla="*/ 4742216 w 16413202"/>
                <a:gd name="connsiteY49" fmla="*/ 2862495 h 15946069"/>
                <a:gd name="connsiteX50" fmla="*/ 2658667 w 16413202"/>
                <a:gd name="connsiteY50" fmla="*/ 0 h 15946069"/>
                <a:gd name="connsiteX51" fmla="*/ 2658682 w 16413202"/>
                <a:gd name="connsiteY51" fmla="*/ 1018890 h 15946069"/>
                <a:gd name="connsiteX52" fmla="*/ 1850829 w 16413202"/>
                <a:gd name="connsiteY52" fmla="*/ 1730283 h 15946069"/>
                <a:gd name="connsiteX53" fmla="*/ 1404694 w 16413202"/>
                <a:gd name="connsiteY53" fmla="*/ 2272862 h 15946069"/>
                <a:gd name="connsiteX54" fmla="*/ 2351216 w 16413202"/>
                <a:gd name="connsiteY54" fmla="*/ 3388182 h 15946069"/>
                <a:gd name="connsiteX55" fmla="*/ 2658682 w 16413202"/>
                <a:gd name="connsiteY55" fmla="*/ 4286458 h 15946069"/>
                <a:gd name="connsiteX56" fmla="*/ 1935228 w 16413202"/>
                <a:gd name="connsiteY56" fmla="*/ 5220918 h 15946069"/>
                <a:gd name="connsiteX57" fmla="*/ 875281 w 16413202"/>
                <a:gd name="connsiteY57" fmla="*/ 5166646 h 15946069"/>
                <a:gd name="connsiteX58" fmla="*/ 0 w 16413202"/>
                <a:gd name="connsiteY58" fmla="*/ 5890112 h 15946069"/>
                <a:gd name="connsiteX59" fmla="*/ 72345 w 16413202"/>
                <a:gd name="connsiteY59" fmla="*/ 6921032 h 15946069"/>
                <a:gd name="connsiteX60" fmla="*/ 477776 w 16413202"/>
                <a:gd name="connsiteY60" fmla="*/ 7436569 h 15946069"/>
                <a:gd name="connsiteX0" fmla="*/ 477776 w 15409480"/>
                <a:gd name="connsiteY0" fmla="*/ 7436569 h 15946069"/>
                <a:gd name="connsiteX1" fmla="*/ 271294 w 15409480"/>
                <a:gd name="connsiteY1" fmla="*/ 8060457 h 15946069"/>
                <a:gd name="connsiteX2" fmla="*/ 379812 w 15409480"/>
                <a:gd name="connsiteY2" fmla="*/ 8675382 h 15946069"/>
                <a:gd name="connsiteX3" fmla="*/ 759624 w 15409480"/>
                <a:gd name="connsiteY3" fmla="*/ 9217969 h 15946069"/>
                <a:gd name="connsiteX4" fmla="*/ 687278 w 15409480"/>
                <a:gd name="connsiteY4" fmla="*/ 9670126 h 15946069"/>
                <a:gd name="connsiteX5" fmla="*/ 144687 w 15409480"/>
                <a:gd name="connsiteY5" fmla="*/ 9941420 h 15946069"/>
                <a:gd name="connsiteX6" fmla="*/ 343643 w 15409480"/>
                <a:gd name="connsiteY6" fmla="*/ 10592536 h 15946069"/>
                <a:gd name="connsiteX7" fmla="*/ 940487 w 15409480"/>
                <a:gd name="connsiteY7" fmla="*/ 10954252 h 15946069"/>
                <a:gd name="connsiteX8" fmla="*/ 596844 w 15409480"/>
                <a:gd name="connsiteY8" fmla="*/ 11786221 h 15946069"/>
                <a:gd name="connsiteX9" fmla="*/ 633017 w 15409480"/>
                <a:gd name="connsiteY9" fmla="*/ 12780969 h 15946069"/>
                <a:gd name="connsiteX10" fmla="*/ 198944 w 15409480"/>
                <a:gd name="connsiteY10" fmla="*/ 13341645 h 15946069"/>
                <a:gd name="connsiteX11" fmla="*/ 723451 w 15409480"/>
                <a:gd name="connsiteY11" fmla="*/ 13757629 h 15946069"/>
                <a:gd name="connsiteX12" fmla="*/ 1640036 w 15409480"/>
                <a:gd name="connsiteY12" fmla="*/ 13197151 h 15946069"/>
                <a:gd name="connsiteX13" fmla="*/ 1880971 w 15409480"/>
                <a:gd name="connsiteY13" fmla="*/ 13395906 h 15946069"/>
                <a:gd name="connsiteX14" fmla="*/ 2930086 w 15409480"/>
                <a:gd name="connsiteY14" fmla="*/ 12952832 h 15946069"/>
                <a:gd name="connsiteX15" fmla="*/ 3828256 w 15409480"/>
                <a:gd name="connsiteY15" fmla="*/ 13245188 h 15946069"/>
                <a:gd name="connsiteX16" fmla="*/ 4768739 w 15409480"/>
                <a:gd name="connsiteY16" fmla="*/ 13040205 h 15946069"/>
                <a:gd name="connsiteX17" fmla="*/ 5190751 w 15409480"/>
                <a:gd name="connsiteY17" fmla="*/ 13649115 h 15946069"/>
                <a:gd name="connsiteX18" fmla="*/ 5932290 w 15409480"/>
                <a:gd name="connsiteY18" fmla="*/ 13444132 h 15946069"/>
                <a:gd name="connsiteX19" fmla="*/ 6498992 w 15409480"/>
                <a:gd name="connsiteY19" fmla="*/ 12991975 h 15946069"/>
                <a:gd name="connsiteX20" fmla="*/ 7373161 w 15409480"/>
                <a:gd name="connsiteY20" fmla="*/ 13582800 h 15946069"/>
                <a:gd name="connsiteX21" fmla="*/ 8512588 w 15409480"/>
                <a:gd name="connsiteY21" fmla="*/ 13570738 h 15946069"/>
                <a:gd name="connsiteX22" fmla="*/ 9742454 w 15409480"/>
                <a:gd name="connsiteY22" fmla="*/ 14004811 h 15946069"/>
                <a:gd name="connsiteX23" fmla="*/ 10616683 w 15409480"/>
                <a:gd name="connsiteY23" fmla="*/ 15358294 h 15946069"/>
                <a:gd name="connsiteX24" fmla="*/ 11117010 w 15409480"/>
                <a:gd name="connsiteY24" fmla="*/ 15946069 h 15946069"/>
                <a:gd name="connsiteX25" fmla="*/ 11780218 w 15409480"/>
                <a:gd name="connsiteY25" fmla="*/ 13579811 h 15946069"/>
                <a:gd name="connsiteX26" fmla="*/ 12196146 w 15409480"/>
                <a:gd name="connsiteY26" fmla="*/ 11388328 h 15946069"/>
                <a:gd name="connsiteX27" fmla="*/ 14004775 w 15409480"/>
                <a:gd name="connsiteY27" fmla="*/ 11611395 h 15946069"/>
                <a:gd name="connsiteX28" fmla="*/ 15409477 w 15409480"/>
                <a:gd name="connsiteY28" fmla="*/ 11882693 h 15946069"/>
                <a:gd name="connsiteX29" fmla="*/ 10457619 w 15409480"/>
                <a:gd name="connsiteY29" fmla="*/ 10753303 h 15946069"/>
                <a:gd name="connsiteX30" fmla="*/ 11668657 w 15409480"/>
                <a:gd name="connsiteY30" fmla="*/ 8754316 h 15946069"/>
                <a:gd name="connsiteX31" fmla="*/ 12149687 w 15409480"/>
                <a:gd name="connsiteY31" fmla="*/ 8101619 h 15946069"/>
                <a:gd name="connsiteX32" fmla="*/ 11118705 w 15409480"/>
                <a:gd name="connsiteY32" fmla="*/ 7156845 h 15946069"/>
                <a:gd name="connsiteX33" fmla="*/ 10425568 w 15409480"/>
                <a:gd name="connsiteY33" fmla="*/ 7223642 h 15946069"/>
                <a:gd name="connsiteX34" fmla="*/ 10709437 w 15409480"/>
                <a:gd name="connsiteY34" fmla="*/ 6730245 h 15946069"/>
                <a:gd name="connsiteX35" fmla="*/ 10017677 w 15409480"/>
                <a:gd name="connsiteY35" fmla="*/ 5883475 h 15946069"/>
                <a:gd name="connsiteX36" fmla="*/ 9318595 w 15409480"/>
                <a:gd name="connsiteY36" fmla="*/ 5859197 h 15946069"/>
                <a:gd name="connsiteX37" fmla="*/ 9215073 w 15409480"/>
                <a:gd name="connsiteY37" fmla="*/ 5387392 h 15946069"/>
                <a:gd name="connsiteX38" fmla="*/ 8600211 w 15409480"/>
                <a:gd name="connsiteY38" fmla="*/ 5564744 h 15946069"/>
                <a:gd name="connsiteX39" fmla="*/ 8412926 w 15409480"/>
                <a:gd name="connsiteY39" fmla="*/ 4835463 h 15946069"/>
                <a:gd name="connsiteX40" fmla="*/ 7744624 w 15409480"/>
                <a:gd name="connsiteY40" fmla="*/ 4382387 h 15946069"/>
                <a:gd name="connsiteX41" fmla="*/ 8112983 w 15409480"/>
                <a:gd name="connsiteY41" fmla="*/ 3770361 h 15946069"/>
                <a:gd name="connsiteX42" fmla="*/ 7637793 w 15409480"/>
                <a:gd name="connsiteY42" fmla="*/ 2526072 h 15946069"/>
                <a:gd name="connsiteX43" fmla="*/ 7264687 w 15409480"/>
                <a:gd name="connsiteY43" fmla="*/ 2131091 h 15946069"/>
                <a:gd name="connsiteX44" fmla="*/ 6594245 w 15409480"/>
                <a:gd name="connsiteY44" fmla="*/ 2055834 h 15946069"/>
                <a:gd name="connsiteX45" fmla="*/ 6431470 w 15409480"/>
                <a:gd name="connsiteY45" fmla="*/ 1314295 h 15946069"/>
                <a:gd name="connsiteX46" fmla="*/ 5642908 w 15409480"/>
                <a:gd name="connsiteY46" fmla="*/ 1343233 h 15946069"/>
                <a:gd name="connsiteX47" fmla="*/ 5150959 w 15409480"/>
                <a:gd name="connsiteY47" fmla="*/ 1610907 h 15946069"/>
                <a:gd name="connsiteX48" fmla="*/ 5480133 w 15409480"/>
                <a:gd name="connsiteY48" fmla="*/ 2167963 h 15946069"/>
                <a:gd name="connsiteX49" fmla="*/ 4742216 w 15409480"/>
                <a:gd name="connsiteY49" fmla="*/ 2862495 h 15946069"/>
                <a:gd name="connsiteX50" fmla="*/ 2658667 w 15409480"/>
                <a:gd name="connsiteY50" fmla="*/ 0 h 15946069"/>
                <a:gd name="connsiteX51" fmla="*/ 2658682 w 15409480"/>
                <a:gd name="connsiteY51" fmla="*/ 1018890 h 15946069"/>
                <a:gd name="connsiteX52" fmla="*/ 1850829 w 15409480"/>
                <a:gd name="connsiteY52" fmla="*/ 1730283 h 15946069"/>
                <a:gd name="connsiteX53" fmla="*/ 1404694 w 15409480"/>
                <a:gd name="connsiteY53" fmla="*/ 2272862 h 15946069"/>
                <a:gd name="connsiteX54" fmla="*/ 2351216 w 15409480"/>
                <a:gd name="connsiteY54" fmla="*/ 3388182 h 15946069"/>
                <a:gd name="connsiteX55" fmla="*/ 2658682 w 15409480"/>
                <a:gd name="connsiteY55" fmla="*/ 4286458 h 15946069"/>
                <a:gd name="connsiteX56" fmla="*/ 1935228 w 15409480"/>
                <a:gd name="connsiteY56" fmla="*/ 5220918 h 15946069"/>
                <a:gd name="connsiteX57" fmla="*/ 875281 w 15409480"/>
                <a:gd name="connsiteY57" fmla="*/ 5166646 h 15946069"/>
                <a:gd name="connsiteX58" fmla="*/ 0 w 15409480"/>
                <a:gd name="connsiteY58" fmla="*/ 5890112 h 15946069"/>
                <a:gd name="connsiteX59" fmla="*/ 72345 w 15409480"/>
                <a:gd name="connsiteY59" fmla="*/ 6921032 h 15946069"/>
                <a:gd name="connsiteX60" fmla="*/ 477776 w 15409480"/>
                <a:gd name="connsiteY60" fmla="*/ 7436569 h 15946069"/>
                <a:gd name="connsiteX0" fmla="*/ 477776 w 15409480"/>
                <a:gd name="connsiteY0" fmla="*/ 7436569 h 15946069"/>
                <a:gd name="connsiteX1" fmla="*/ 271294 w 15409480"/>
                <a:gd name="connsiteY1" fmla="*/ 8060457 h 15946069"/>
                <a:gd name="connsiteX2" fmla="*/ 379812 w 15409480"/>
                <a:gd name="connsiteY2" fmla="*/ 8675382 h 15946069"/>
                <a:gd name="connsiteX3" fmla="*/ 759624 w 15409480"/>
                <a:gd name="connsiteY3" fmla="*/ 9217969 h 15946069"/>
                <a:gd name="connsiteX4" fmla="*/ 687278 w 15409480"/>
                <a:gd name="connsiteY4" fmla="*/ 9670126 h 15946069"/>
                <a:gd name="connsiteX5" fmla="*/ 144687 w 15409480"/>
                <a:gd name="connsiteY5" fmla="*/ 9941420 h 15946069"/>
                <a:gd name="connsiteX6" fmla="*/ 343643 w 15409480"/>
                <a:gd name="connsiteY6" fmla="*/ 10592536 h 15946069"/>
                <a:gd name="connsiteX7" fmla="*/ 940487 w 15409480"/>
                <a:gd name="connsiteY7" fmla="*/ 10954252 h 15946069"/>
                <a:gd name="connsiteX8" fmla="*/ 596844 w 15409480"/>
                <a:gd name="connsiteY8" fmla="*/ 11786221 h 15946069"/>
                <a:gd name="connsiteX9" fmla="*/ 633017 w 15409480"/>
                <a:gd name="connsiteY9" fmla="*/ 12780969 h 15946069"/>
                <a:gd name="connsiteX10" fmla="*/ 198944 w 15409480"/>
                <a:gd name="connsiteY10" fmla="*/ 13341645 h 15946069"/>
                <a:gd name="connsiteX11" fmla="*/ 723451 w 15409480"/>
                <a:gd name="connsiteY11" fmla="*/ 13757629 h 15946069"/>
                <a:gd name="connsiteX12" fmla="*/ 1640036 w 15409480"/>
                <a:gd name="connsiteY12" fmla="*/ 13197151 h 15946069"/>
                <a:gd name="connsiteX13" fmla="*/ 1880971 w 15409480"/>
                <a:gd name="connsiteY13" fmla="*/ 13395906 h 15946069"/>
                <a:gd name="connsiteX14" fmla="*/ 2930086 w 15409480"/>
                <a:gd name="connsiteY14" fmla="*/ 12952832 h 15946069"/>
                <a:gd name="connsiteX15" fmla="*/ 3828256 w 15409480"/>
                <a:gd name="connsiteY15" fmla="*/ 13245188 h 15946069"/>
                <a:gd name="connsiteX16" fmla="*/ 4768739 w 15409480"/>
                <a:gd name="connsiteY16" fmla="*/ 13040205 h 15946069"/>
                <a:gd name="connsiteX17" fmla="*/ 5190751 w 15409480"/>
                <a:gd name="connsiteY17" fmla="*/ 13649115 h 15946069"/>
                <a:gd name="connsiteX18" fmla="*/ 5932290 w 15409480"/>
                <a:gd name="connsiteY18" fmla="*/ 13444132 h 15946069"/>
                <a:gd name="connsiteX19" fmla="*/ 6498992 w 15409480"/>
                <a:gd name="connsiteY19" fmla="*/ 12991975 h 15946069"/>
                <a:gd name="connsiteX20" fmla="*/ 7373161 w 15409480"/>
                <a:gd name="connsiteY20" fmla="*/ 13582800 h 15946069"/>
                <a:gd name="connsiteX21" fmla="*/ 8512588 w 15409480"/>
                <a:gd name="connsiteY21" fmla="*/ 13570738 h 15946069"/>
                <a:gd name="connsiteX22" fmla="*/ 9742454 w 15409480"/>
                <a:gd name="connsiteY22" fmla="*/ 14004811 h 15946069"/>
                <a:gd name="connsiteX23" fmla="*/ 10616683 w 15409480"/>
                <a:gd name="connsiteY23" fmla="*/ 15358294 h 15946069"/>
                <a:gd name="connsiteX24" fmla="*/ 11117010 w 15409480"/>
                <a:gd name="connsiteY24" fmla="*/ 15946069 h 15946069"/>
                <a:gd name="connsiteX25" fmla="*/ 11780218 w 15409480"/>
                <a:gd name="connsiteY25" fmla="*/ 13579811 h 15946069"/>
                <a:gd name="connsiteX26" fmla="*/ 12196146 w 15409480"/>
                <a:gd name="connsiteY26" fmla="*/ 11388328 h 15946069"/>
                <a:gd name="connsiteX27" fmla="*/ 14004775 w 15409480"/>
                <a:gd name="connsiteY27" fmla="*/ 11611395 h 15946069"/>
                <a:gd name="connsiteX28" fmla="*/ 15409477 w 15409480"/>
                <a:gd name="connsiteY28" fmla="*/ 11882693 h 15946069"/>
                <a:gd name="connsiteX29" fmla="*/ 10146682 w 15409480"/>
                <a:gd name="connsiteY29" fmla="*/ 10061295 h 15946069"/>
                <a:gd name="connsiteX30" fmla="*/ 11668657 w 15409480"/>
                <a:gd name="connsiteY30" fmla="*/ 8754316 h 15946069"/>
                <a:gd name="connsiteX31" fmla="*/ 12149687 w 15409480"/>
                <a:gd name="connsiteY31" fmla="*/ 8101619 h 15946069"/>
                <a:gd name="connsiteX32" fmla="*/ 11118705 w 15409480"/>
                <a:gd name="connsiteY32" fmla="*/ 7156845 h 15946069"/>
                <a:gd name="connsiteX33" fmla="*/ 10425568 w 15409480"/>
                <a:gd name="connsiteY33" fmla="*/ 7223642 h 15946069"/>
                <a:gd name="connsiteX34" fmla="*/ 10709437 w 15409480"/>
                <a:gd name="connsiteY34" fmla="*/ 6730245 h 15946069"/>
                <a:gd name="connsiteX35" fmla="*/ 10017677 w 15409480"/>
                <a:gd name="connsiteY35" fmla="*/ 5883475 h 15946069"/>
                <a:gd name="connsiteX36" fmla="*/ 9318595 w 15409480"/>
                <a:gd name="connsiteY36" fmla="*/ 5859197 h 15946069"/>
                <a:gd name="connsiteX37" fmla="*/ 9215073 w 15409480"/>
                <a:gd name="connsiteY37" fmla="*/ 5387392 h 15946069"/>
                <a:gd name="connsiteX38" fmla="*/ 8600211 w 15409480"/>
                <a:gd name="connsiteY38" fmla="*/ 5564744 h 15946069"/>
                <a:gd name="connsiteX39" fmla="*/ 8412926 w 15409480"/>
                <a:gd name="connsiteY39" fmla="*/ 4835463 h 15946069"/>
                <a:gd name="connsiteX40" fmla="*/ 7744624 w 15409480"/>
                <a:gd name="connsiteY40" fmla="*/ 4382387 h 15946069"/>
                <a:gd name="connsiteX41" fmla="*/ 8112983 w 15409480"/>
                <a:gd name="connsiteY41" fmla="*/ 3770361 h 15946069"/>
                <a:gd name="connsiteX42" fmla="*/ 7637793 w 15409480"/>
                <a:gd name="connsiteY42" fmla="*/ 2526072 h 15946069"/>
                <a:gd name="connsiteX43" fmla="*/ 7264687 w 15409480"/>
                <a:gd name="connsiteY43" fmla="*/ 2131091 h 15946069"/>
                <a:gd name="connsiteX44" fmla="*/ 6594245 w 15409480"/>
                <a:gd name="connsiteY44" fmla="*/ 2055834 h 15946069"/>
                <a:gd name="connsiteX45" fmla="*/ 6431470 w 15409480"/>
                <a:gd name="connsiteY45" fmla="*/ 1314295 h 15946069"/>
                <a:gd name="connsiteX46" fmla="*/ 5642908 w 15409480"/>
                <a:gd name="connsiteY46" fmla="*/ 1343233 h 15946069"/>
                <a:gd name="connsiteX47" fmla="*/ 5150959 w 15409480"/>
                <a:gd name="connsiteY47" fmla="*/ 1610907 h 15946069"/>
                <a:gd name="connsiteX48" fmla="*/ 5480133 w 15409480"/>
                <a:gd name="connsiteY48" fmla="*/ 2167963 h 15946069"/>
                <a:gd name="connsiteX49" fmla="*/ 4742216 w 15409480"/>
                <a:gd name="connsiteY49" fmla="*/ 2862495 h 15946069"/>
                <a:gd name="connsiteX50" fmla="*/ 2658667 w 15409480"/>
                <a:gd name="connsiteY50" fmla="*/ 0 h 15946069"/>
                <a:gd name="connsiteX51" fmla="*/ 2658682 w 15409480"/>
                <a:gd name="connsiteY51" fmla="*/ 1018890 h 15946069"/>
                <a:gd name="connsiteX52" fmla="*/ 1850829 w 15409480"/>
                <a:gd name="connsiteY52" fmla="*/ 1730283 h 15946069"/>
                <a:gd name="connsiteX53" fmla="*/ 1404694 w 15409480"/>
                <a:gd name="connsiteY53" fmla="*/ 2272862 h 15946069"/>
                <a:gd name="connsiteX54" fmla="*/ 2351216 w 15409480"/>
                <a:gd name="connsiteY54" fmla="*/ 3388182 h 15946069"/>
                <a:gd name="connsiteX55" fmla="*/ 2658682 w 15409480"/>
                <a:gd name="connsiteY55" fmla="*/ 4286458 h 15946069"/>
                <a:gd name="connsiteX56" fmla="*/ 1935228 w 15409480"/>
                <a:gd name="connsiteY56" fmla="*/ 5220918 h 15946069"/>
                <a:gd name="connsiteX57" fmla="*/ 875281 w 15409480"/>
                <a:gd name="connsiteY57" fmla="*/ 5166646 h 15946069"/>
                <a:gd name="connsiteX58" fmla="*/ 0 w 15409480"/>
                <a:gd name="connsiteY58" fmla="*/ 5890112 h 15946069"/>
                <a:gd name="connsiteX59" fmla="*/ 72345 w 15409480"/>
                <a:gd name="connsiteY59" fmla="*/ 6921032 h 15946069"/>
                <a:gd name="connsiteX60" fmla="*/ 477776 w 15409480"/>
                <a:gd name="connsiteY60" fmla="*/ 7436569 h 15946069"/>
                <a:gd name="connsiteX0" fmla="*/ 477776 w 15409480"/>
                <a:gd name="connsiteY0" fmla="*/ 7436569 h 15946069"/>
                <a:gd name="connsiteX1" fmla="*/ 271294 w 15409480"/>
                <a:gd name="connsiteY1" fmla="*/ 8060457 h 15946069"/>
                <a:gd name="connsiteX2" fmla="*/ 379812 w 15409480"/>
                <a:gd name="connsiteY2" fmla="*/ 8675382 h 15946069"/>
                <a:gd name="connsiteX3" fmla="*/ 759624 w 15409480"/>
                <a:gd name="connsiteY3" fmla="*/ 9217969 h 15946069"/>
                <a:gd name="connsiteX4" fmla="*/ 687278 w 15409480"/>
                <a:gd name="connsiteY4" fmla="*/ 9670126 h 15946069"/>
                <a:gd name="connsiteX5" fmla="*/ 144687 w 15409480"/>
                <a:gd name="connsiteY5" fmla="*/ 9941420 h 15946069"/>
                <a:gd name="connsiteX6" fmla="*/ 343643 w 15409480"/>
                <a:gd name="connsiteY6" fmla="*/ 10592536 h 15946069"/>
                <a:gd name="connsiteX7" fmla="*/ 940487 w 15409480"/>
                <a:gd name="connsiteY7" fmla="*/ 10954252 h 15946069"/>
                <a:gd name="connsiteX8" fmla="*/ 596844 w 15409480"/>
                <a:gd name="connsiteY8" fmla="*/ 11786221 h 15946069"/>
                <a:gd name="connsiteX9" fmla="*/ 633017 w 15409480"/>
                <a:gd name="connsiteY9" fmla="*/ 12780969 h 15946069"/>
                <a:gd name="connsiteX10" fmla="*/ 198944 w 15409480"/>
                <a:gd name="connsiteY10" fmla="*/ 13341645 h 15946069"/>
                <a:gd name="connsiteX11" fmla="*/ 723451 w 15409480"/>
                <a:gd name="connsiteY11" fmla="*/ 13757629 h 15946069"/>
                <a:gd name="connsiteX12" fmla="*/ 1640036 w 15409480"/>
                <a:gd name="connsiteY12" fmla="*/ 13197151 h 15946069"/>
                <a:gd name="connsiteX13" fmla="*/ 1880971 w 15409480"/>
                <a:gd name="connsiteY13" fmla="*/ 13395906 h 15946069"/>
                <a:gd name="connsiteX14" fmla="*/ 2930086 w 15409480"/>
                <a:gd name="connsiteY14" fmla="*/ 12952832 h 15946069"/>
                <a:gd name="connsiteX15" fmla="*/ 3828256 w 15409480"/>
                <a:gd name="connsiteY15" fmla="*/ 13245188 h 15946069"/>
                <a:gd name="connsiteX16" fmla="*/ 4768739 w 15409480"/>
                <a:gd name="connsiteY16" fmla="*/ 13040205 h 15946069"/>
                <a:gd name="connsiteX17" fmla="*/ 5190751 w 15409480"/>
                <a:gd name="connsiteY17" fmla="*/ 13649115 h 15946069"/>
                <a:gd name="connsiteX18" fmla="*/ 5932290 w 15409480"/>
                <a:gd name="connsiteY18" fmla="*/ 13444132 h 15946069"/>
                <a:gd name="connsiteX19" fmla="*/ 6498992 w 15409480"/>
                <a:gd name="connsiteY19" fmla="*/ 12991975 h 15946069"/>
                <a:gd name="connsiteX20" fmla="*/ 7373161 w 15409480"/>
                <a:gd name="connsiteY20" fmla="*/ 13582800 h 15946069"/>
                <a:gd name="connsiteX21" fmla="*/ 8512588 w 15409480"/>
                <a:gd name="connsiteY21" fmla="*/ 13570738 h 15946069"/>
                <a:gd name="connsiteX22" fmla="*/ 9742454 w 15409480"/>
                <a:gd name="connsiteY22" fmla="*/ 14004811 h 15946069"/>
                <a:gd name="connsiteX23" fmla="*/ 10616683 w 15409480"/>
                <a:gd name="connsiteY23" fmla="*/ 15358294 h 15946069"/>
                <a:gd name="connsiteX24" fmla="*/ 11117010 w 15409480"/>
                <a:gd name="connsiteY24" fmla="*/ 15946069 h 15946069"/>
                <a:gd name="connsiteX25" fmla="*/ 11780218 w 15409480"/>
                <a:gd name="connsiteY25" fmla="*/ 13579811 h 15946069"/>
                <a:gd name="connsiteX26" fmla="*/ 12196146 w 15409480"/>
                <a:gd name="connsiteY26" fmla="*/ 11388328 h 15946069"/>
                <a:gd name="connsiteX27" fmla="*/ 14004775 w 15409480"/>
                <a:gd name="connsiteY27" fmla="*/ 11611395 h 15946069"/>
                <a:gd name="connsiteX28" fmla="*/ 15409477 w 15409480"/>
                <a:gd name="connsiteY28" fmla="*/ 11882693 h 15946069"/>
                <a:gd name="connsiteX29" fmla="*/ 11533930 w 15409480"/>
                <a:gd name="connsiteY29" fmla="*/ 9393151 h 15946069"/>
                <a:gd name="connsiteX30" fmla="*/ 11668657 w 15409480"/>
                <a:gd name="connsiteY30" fmla="*/ 8754316 h 15946069"/>
                <a:gd name="connsiteX31" fmla="*/ 12149687 w 15409480"/>
                <a:gd name="connsiteY31" fmla="*/ 8101619 h 15946069"/>
                <a:gd name="connsiteX32" fmla="*/ 11118705 w 15409480"/>
                <a:gd name="connsiteY32" fmla="*/ 7156845 h 15946069"/>
                <a:gd name="connsiteX33" fmla="*/ 10425568 w 15409480"/>
                <a:gd name="connsiteY33" fmla="*/ 7223642 h 15946069"/>
                <a:gd name="connsiteX34" fmla="*/ 10709437 w 15409480"/>
                <a:gd name="connsiteY34" fmla="*/ 6730245 h 15946069"/>
                <a:gd name="connsiteX35" fmla="*/ 10017677 w 15409480"/>
                <a:gd name="connsiteY35" fmla="*/ 5883475 h 15946069"/>
                <a:gd name="connsiteX36" fmla="*/ 9318595 w 15409480"/>
                <a:gd name="connsiteY36" fmla="*/ 5859197 h 15946069"/>
                <a:gd name="connsiteX37" fmla="*/ 9215073 w 15409480"/>
                <a:gd name="connsiteY37" fmla="*/ 5387392 h 15946069"/>
                <a:gd name="connsiteX38" fmla="*/ 8600211 w 15409480"/>
                <a:gd name="connsiteY38" fmla="*/ 5564744 h 15946069"/>
                <a:gd name="connsiteX39" fmla="*/ 8412926 w 15409480"/>
                <a:gd name="connsiteY39" fmla="*/ 4835463 h 15946069"/>
                <a:gd name="connsiteX40" fmla="*/ 7744624 w 15409480"/>
                <a:gd name="connsiteY40" fmla="*/ 4382387 h 15946069"/>
                <a:gd name="connsiteX41" fmla="*/ 8112983 w 15409480"/>
                <a:gd name="connsiteY41" fmla="*/ 3770361 h 15946069"/>
                <a:gd name="connsiteX42" fmla="*/ 7637793 w 15409480"/>
                <a:gd name="connsiteY42" fmla="*/ 2526072 h 15946069"/>
                <a:gd name="connsiteX43" fmla="*/ 7264687 w 15409480"/>
                <a:gd name="connsiteY43" fmla="*/ 2131091 h 15946069"/>
                <a:gd name="connsiteX44" fmla="*/ 6594245 w 15409480"/>
                <a:gd name="connsiteY44" fmla="*/ 2055834 h 15946069"/>
                <a:gd name="connsiteX45" fmla="*/ 6431470 w 15409480"/>
                <a:gd name="connsiteY45" fmla="*/ 1314295 h 15946069"/>
                <a:gd name="connsiteX46" fmla="*/ 5642908 w 15409480"/>
                <a:gd name="connsiteY46" fmla="*/ 1343233 h 15946069"/>
                <a:gd name="connsiteX47" fmla="*/ 5150959 w 15409480"/>
                <a:gd name="connsiteY47" fmla="*/ 1610907 h 15946069"/>
                <a:gd name="connsiteX48" fmla="*/ 5480133 w 15409480"/>
                <a:gd name="connsiteY48" fmla="*/ 2167963 h 15946069"/>
                <a:gd name="connsiteX49" fmla="*/ 4742216 w 15409480"/>
                <a:gd name="connsiteY49" fmla="*/ 2862495 h 15946069"/>
                <a:gd name="connsiteX50" fmla="*/ 2658667 w 15409480"/>
                <a:gd name="connsiteY50" fmla="*/ 0 h 15946069"/>
                <a:gd name="connsiteX51" fmla="*/ 2658682 w 15409480"/>
                <a:gd name="connsiteY51" fmla="*/ 1018890 h 15946069"/>
                <a:gd name="connsiteX52" fmla="*/ 1850829 w 15409480"/>
                <a:gd name="connsiteY52" fmla="*/ 1730283 h 15946069"/>
                <a:gd name="connsiteX53" fmla="*/ 1404694 w 15409480"/>
                <a:gd name="connsiteY53" fmla="*/ 2272862 h 15946069"/>
                <a:gd name="connsiteX54" fmla="*/ 2351216 w 15409480"/>
                <a:gd name="connsiteY54" fmla="*/ 3388182 h 15946069"/>
                <a:gd name="connsiteX55" fmla="*/ 2658682 w 15409480"/>
                <a:gd name="connsiteY55" fmla="*/ 4286458 h 15946069"/>
                <a:gd name="connsiteX56" fmla="*/ 1935228 w 15409480"/>
                <a:gd name="connsiteY56" fmla="*/ 5220918 h 15946069"/>
                <a:gd name="connsiteX57" fmla="*/ 875281 w 15409480"/>
                <a:gd name="connsiteY57" fmla="*/ 5166646 h 15946069"/>
                <a:gd name="connsiteX58" fmla="*/ 0 w 15409480"/>
                <a:gd name="connsiteY58" fmla="*/ 5890112 h 15946069"/>
                <a:gd name="connsiteX59" fmla="*/ 72345 w 15409480"/>
                <a:gd name="connsiteY59" fmla="*/ 6921032 h 15946069"/>
                <a:gd name="connsiteX60" fmla="*/ 477776 w 15409480"/>
                <a:gd name="connsiteY60" fmla="*/ 7436569 h 15946069"/>
                <a:gd name="connsiteX0" fmla="*/ 477776 w 14004774"/>
                <a:gd name="connsiteY0" fmla="*/ 7436569 h 15946069"/>
                <a:gd name="connsiteX1" fmla="*/ 271294 w 14004774"/>
                <a:gd name="connsiteY1" fmla="*/ 8060457 h 15946069"/>
                <a:gd name="connsiteX2" fmla="*/ 379812 w 14004774"/>
                <a:gd name="connsiteY2" fmla="*/ 8675382 h 15946069"/>
                <a:gd name="connsiteX3" fmla="*/ 759624 w 14004774"/>
                <a:gd name="connsiteY3" fmla="*/ 9217969 h 15946069"/>
                <a:gd name="connsiteX4" fmla="*/ 687278 w 14004774"/>
                <a:gd name="connsiteY4" fmla="*/ 9670126 h 15946069"/>
                <a:gd name="connsiteX5" fmla="*/ 144687 w 14004774"/>
                <a:gd name="connsiteY5" fmla="*/ 9941420 h 15946069"/>
                <a:gd name="connsiteX6" fmla="*/ 343643 w 14004774"/>
                <a:gd name="connsiteY6" fmla="*/ 10592536 h 15946069"/>
                <a:gd name="connsiteX7" fmla="*/ 940487 w 14004774"/>
                <a:gd name="connsiteY7" fmla="*/ 10954252 h 15946069"/>
                <a:gd name="connsiteX8" fmla="*/ 596844 w 14004774"/>
                <a:gd name="connsiteY8" fmla="*/ 11786221 h 15946069"/>
                <a:gd name="connsiteX9" fmla="*/ 633017 w 14004774"/>
                <a:gd name="connsiteY9" fmla="*/ 12780969 h 15946069"/>
                <a:gd name="connsiteX10" fmla="*/ 198944 w 14004774"/>
                <a:gd name="connsiteY10" fmla="*/ 13341645 h 15946069"/>
                <a:gd name="connsiteX11" fmla="*/ 723451 w 14004774"/>
                <a:gd name="connsiteY11" fmla="*/ 13757629 h 15946069"/>
                <a:gd name="connsiteX12" fmla="*/ 1640036 w 14004774"/>
                <a:gd name="connsiteY12" fmla="*/ 13197151 h 15946069"/>
                <a:gd name="connsiteX13" fmla="*/ 1880971 w 14004774"/>
                <a:gd name="connsiteY13" fmla="*/ 13395906 h 15946069"/>
                <a:gd name="connsiteX14" fmla="*/ 2930086 w 14004774"/>
                <a:gd name="connsiteY14" fmla="*/ 12952832 h 15946069"/>
                <a:gd name="connsiteX15" fmla="*/ 3828256 w 14004774"/>
                <a:gd name="connsiteY15" fmla="*/ 13245188 h 15946069"/>
                <a:gd name="connsiteX16" fmla="*/ 4768739 w 14004774"/>
                <a:gd name="connsiteY16" fmla="*/ 13040205 h 15946069"/>
                <a:gd name="connsiteX17" fmla="*/ 5190751 w 14004774"/>
                <a:gd name="connsiteY17" fmla="*/ 13649115 h 15946069"/>
                <a:gd name="connsiteX18" fmla="*/ 5932290 w 14004774"/>
                <a:gd name="connsiteY18" fmla="*/ 13444132 h 15946069"/>
                <a:gd name="connsiteX19" fmla="*/ 6498992 w 14004774"/>
                <a:gd name="connsiteY19" fmla="*/ 12991975 h 15946069"/>
                <a:gd name="connsiteX20" fmla="*/ 7373161 w 14004774"/>
                <a:gd name="connsiteY20" fmla="*/ 13582800 h 15946069"/>
                <a:gd name="connsiteX21" fmla="*/ 8512588 w 14004774"/>
                <a:gd name="connsiteY21" fmla="*/ 13570738 h 15946069"/>
                <a:gd name="connsiteX22" fmla="*/ 9742454 w 14004774"/>
                <a:gd name="connsiteY22" fmla="*/ 14004811 h 15946069"/>
                <a:gd name="connsiteX23" fmla="*/ 10616683 w 14004774"/>
                <a:gd name="connsiteY23" fmla="*/ 15358294 h 15946069"/>
                <a:gd name="connsiteX24" fmla="*/ 11117010 w 14004774"/>
                <a:gd name="connsiteY24" fmla="*/ 15946069 h 15946069"/>
                <a:gd name="connsiteX25" fmla="*/ 11780218 w 14004774"/>
                <a:gd name="connsiteY25" fmla="*/ 13579811 h 15946069"/>
                <a:gd name="connsiteX26" fmla="*/ 12196146 w 14004774"/>
                <a:gd name="connsiteY26" fmla="*/ 11388328 h 15946069"/>
                <a:gd name="connsiteX27" fmla="*/ 14004775 w 14004774"/>
                <a:gd name="connsiteY27" fmla="*/ 11611395 h 15946069"/>
                <a:gd name="connsiteX28" fmla="*/ 10195350 w 14004774"/>
                <a:gd name="connsiteY28" fmla="*/ 10617991 h 15946069"/>
                <a:gd name="connsiteX29" fmla="*/ 11533930 w 14004774"/>
                <a:gd name="connsiteY29" fmla="*/ 9393151 h 15946069"/>
                <a:gd name="connsiteX30" fmla="*/ 11668657 w 14004774"/>
                <a:gd name="connsiteY30" fmla="*/ 8754316 h 15946069"/>
                <a:gd name="connsiteX31" fmla="*/ 12149687 w 14004774"/>
                <a:gd name="connsiteY31" fmla="*/ 8101619 h 15946069"/>
                <a:gd name="connsiteX32" fmla="*/ 11118705 w 14004774"/>
                <a:gd name="connsiteY32" fmla="*/ 7156845 h 15946069"/>
                <a:gd name="connsiteX33" fmla="*/ 10425568 w 14004774"/>
                <a:gd name="connsiteY33" fmla="*/ 7223642 h 15946069"/>
                <a:gd name="connsiteX34" fmla="*/ 10709437 w 14004774"/>
                <a:gd name="connsiteY34" fmla="*/ 6730245 h 15946069"/>
                <a:gd name="connsiteX35" fmla="*/ 10017677 w 14004774"/>
                <a:gd name="connsiteY35" fmla="*/ 5883475 h 15946069"/>
                <a:gd name="connsiteX36" fmla="*/ 9318595 w 14004774"/>
                <a:gd name="connsiteY36" fmla="*/ 5859197 h 15946069"/>
                <a:gd name="connsiteX37" fmla="*/ 9215073 w 14004774"/>
                <a:gd name="connsiteY37" fmla="*/ 5387392 h 15946069"/>
                <a:gd name="connsiteX38" fmla="*/ 8600211 w 14004774"/>
                <a:gd name="connsiteY38" fmla="*/ 5564744 h 15946069"/>
                <a:gd name="connsiteX39" fmla="*/ 8412926 w 14004774"/>
                <a:gd name="connsiteY39" fmla="*/ 4835463 h 15946069"/>
                <a:gd name="connsiteX40" fmla="*/ 7744624 w 14004774"/>
                <a:gd name="connsiteY40" fmla="*/ 4382387 h 15946069"/>
                <a:gd name="connsiteX41" fmla="*/ 8112983 w 14004774"/>
                <a:gd name="connsiteY41" fmla="*/ 3770361 h 15946069"/>
                <a:gd name="connsiteX42" fmla="*/ 7637793 w 14004774"/>
                <a:gd name="connsiteY42" fmla="*/ 2526072 h 15946069"/>
                <a:gd name="connsiteX43" fmla="*/ 7264687 w 14004774"/>
                <a:gd name="connsiteY43" fmla="*/ 2131091 h 15946069"/>
                <a:gd name="connsiteX44" fmla="*/ 6594245 w 14004774"/>
                <a:gd name="connsiteY44" fmla="*/ 2055834 h 15946069"/>
                <a:gd name="connsiteX45" fmla="*/ 6431470 w 14004774"/>
                <a:gd name="connsiteY45" fmla="*/ 1314295 h 15946069"/>
                <a:gd name="connsiteX46" fmla="*/ 5642908 w 14004774"/>
                <a:gd name="connsiteY46" fmla="*/ 1343233 h 15946069"/>
                <a:gd name="connsiteX47" fmla="*/ 5150959 w 14004774"/>
                <a:gd name="connsiteY47" fmla="*/ 1610907 h 15946069"/>
                <a:gd name="connsiteX48" fmla="*/ 5480133 w 14004774"/>
                <a:gd name="connsiteY48" fmla="*/ 2167963 h 15946069"/>
                <a:gd name="connsiteX49" fmla="*/ 4742216 w 14004774"/>
                <a:gd name="connsiteY49" fmla="*/ 2862495 h 15946069"/>
                <a:gd name="connsiteX50" fmla="*/ 2658667 w 14004774"/>
                <a:gd name="connsiteY50" fmla="*/ 0 h 15946069"/>
                <a:gd name="connsiteX51" fmla="*/ 2658682 w 14004774"/>
                <a:gd name="connsiteY51" fmla="*/ 1018890 h 15946069"/>
                <a:gd name="connsiteX52" fmla="*/ 1850829 w 14004774"/>
                <a:gd name="connsiteY52" fmla="*/ 1730283 h 15946069"/>
                <a:gd name="connsiteX53" fmla="*/ 1404694 w 14004774"/>
                <a:gd name="connsiteY53" fmla="*/ 2272862 h 15946069"/>
                <a:gd name="connsiteX54" fmla="*/ 2351216 w 14004774"/>
                <a:gd name="connsiteY54" fmla="*/ 3388182 h 15946069"/>
                <a:gd name="connsiteX55" fmla="*/ 2658682 w 14004774"/>
                <a:gd name="connsiteY55" fmla="*/ 4286458 h 15946069"/>
                <a:gd name="connsiteX56" fmla="*/ 1935228 w 14004774"/>
                <a:gd name="connsiteY56" fmla="*/ 5220918 h 15946069"/>
                <a:gd name="connsiteX57" fmla="*/ 875281 w 14004774"/>
                <a:gd name="connsiteY57" fmla="*/ 5166646 h 15946069"/>
                <a:gd name="connsiteX58" fmla="*/ 0 w 14004774"/>
                <a:gd name="connsiteY58" fmla="*/ 5890112 h 15946069"/>
                <a:gd name="connsiteX59" fmla="*/ 72345 w 14004774"/>
                <a:gd name="connsiteY59" fmla="*/ 6921032 h 15946069"/>
                <a:gd name="connsiteX60" fmla="*/ 477776 w 14004774"/>
                <a:gd name="connsiteY60" fmla="*/ 7436569 h 15946069"/>
                <a:gd name="connsiteX0" fmla="*/ 477776 w 14004774"/>
                <a:gd name="connsiteY0" fmla="*/ 7436569 h 15946069"/>
                <a:gd name="connsiteX1" fmla="*/ 271294 w 14004774"/>
                <a:gd name="connsiteY1" fmla="*/ 8060457 h 15946069"/>
                <a:gd name="connsiteX2" fmla="*/ 379812 w 14004774"/>
                <a:gd name="connsiteY2" fmla="*/ 8675382 h 15946069"/>
                <a:gd name="connsiteX3" fmla="*/ 759624 w 14004774"/>
                <a:gd name="connsiteY3" fmla="*/ 9217969 h 15946069"/>
                <a:gd name="connsiteX4" fmla="*/ 687278 w 14004774"/>
                <a:gd name="connsiteY4" fmla="*/ 9670126 h 15946069"/>
                <a:gd name="connsiteX5" fmla="*/ 144687 w 14004774"/>
                <a:gd name="connsiteY5" fmla="*/ 9941420 h 15946069"/>
                <a:gd name="connsiteX6" fmla="*/ 343643 w 14004774"/>
                <a:gd name="connsiteY6" fmla="*/ 10592536 h 15946069"/>
                <a:gd name="connsiteX7" fmla="*/ 940487 w 14004774"/>
                <a:gd name="connsiteY7" fmla="*/ 10954252 h 15946069"/>
                <a:gd name="connsiteX8" fmla="*/ 596844 w 14004774"/>
                <a:gd name="connsiteY8" fmla="*/ 11786221 h 15946069"/>
                <a:gd name="connsiteX9" fmla="*/ 633017 w 14004774"/>
                <a:gd name="connsiteY9" fmla="*/ 12780969 h 15946069"/>
                <a:gd name="connsiteX10" fmla="*/ 198944 w 14004774"/>
                <a:gd name="connsiteY10" fmla="*/ 13341645 h 15946069"/>
                <a:gd name="connsiteX11" fmla="*/ 723451 w 14004774"/>
                <a:gd name="connsiteY11" fmla="*/ 13757629 h 15946069"/>
                <a:gd name="connsiteX12" fmla="*/ 1640036 w 14004774"/>
                <a:gd name="connsiteY12" fmla="*/ 13197151 h 15946069"/>
                <a:gd name="connsiteX13" fmla="*/ 1880971 w 14004774"/>
                <a:gd name="connsiteY13" fmla="*/ 13395906 h 15946069"/>
                <a:gd name="connsiteX14" fmla="*/ 2930086 w 14004774"/>
                <a:gd name="connsiteY14" fmla="*/ 12952832 h 15946069"/>
                <a:gd name="connsiteX15" fmla="*/ 3828256 w 14004774"/>
                <a:gd name="connsiteY15" fmla="*/ 13245188 h 15946069"/>
                <a:gd name="connsiteX16" fmla="*/ 4768739 w 14004774"/>
                <a:gd name="connsiteY16" fmla="*/ 13040205 h 15946069"/>
                <a:gd name="connsiteX17" fmla="*/ 5190751 w 14004774"/>
                <a:gd name="connsiteY17" fmla="*/ 13649115 h 15946069"/>
                <a:gd name="connsiteX18" fmla="*/ 5932290 w 14004774"/>
                <a:gd name="connsiteY18" fmla="*/ 13444132 h 15946069"/>
                <a:gd name="connsiteX19" fmla="*/ 6498992 w 14004774"/>
                <a:gd name="connsiteY19" fmla="*/ 12991975 h 15946069"/>
                <a:gd name="connsiteX20" fmla="*/ 7373161 w 14004774"/>
                <a:gd name="connsiteY20" fmla="*/ 13582800 h 15946069"/>
                <a:gd name="connsiteX21" fmla="*/ 8512588 w 14004774"/>
                <a:gd name="connsiteY21" fmla="*/ 13570738 h 15946069"/>
                <a:gd name="connsiteX22" fmla="*/ 9742454 w 14004774"/>
                <a:gd name="connsiteY22" fmla="*/ 14004811 h 15946069"/>
                <a:gd name="connsiteX23" fmla="*/ 10616683 w 14004774"/>
                <a:gd name="connsiteY23" fmla="*/ 15358294 h 15946069"/>
                <a:gd name="connsiteX24" fmla="*/ 11117010 w 14004774"/>
                <a:gd name="connsiteY24" fmla="*/ 15946069 h 15946069"/>
                <a:gd name="connsiteX25" fmla="*/ 11780218 w 14004774"/>
                <a:gd name="connsiteY25" fmla="*/ 13579811 h 15946069"/>
                <a:gd name="connsiteX26" fmla="*/ 12196146 w 14004774"/>
                <a:gd name="connsiteY26" fmla="*/ 11388328 h 15946069"/>
                <a:gd name="connsiteX27" fmla="*/ 14004775 w 14004774"/>
                <a:gd name="connsiteY27" fmla="*/ 11611395 h 15946069"/>
                <a:gd name="connsiteX28" fmla="*/ 11893530 w 14004774"/>
                <a:gd name="connsiteY28" fmla="*/ 10283919 h 15946069"/>
                <a:gd name="connsiteX29" fmla="*/ 11533930 w 14004774"/>
                <a:gd name="connsiteY29" fmla="*/ 9393151 h 15946069"/>
                <a:gd name="connsiteX30" fmla="*/ 11668657 w 14004774"/>
                <a:gd name="connsiteY30" fmla="*/ 8754316 h 15946069"/>
                <a:gd name="connsiteX31" fmla="*/ 12149687 w 14004774"/>
                <a:gd name="connsiteY31" fmla="*/ 8101619 h 15946069"/>
                <a:gd name="connsiteX32" fmla="*/ 11118705 w 14004774"/>
                <a:gd name="connsiteY32" fmla="*/ 7156845 h 15946069"/>
                <a:gd name="connsiteX33" fmla="*/ 10425568 w 14004774"/>
                <a:gd name="connsiteY33" fmla="*/ 7223642 h 15946069"/>
                <a:gd name="connsiteX34" fmla="*/ 10709437 w 14004774"/>
                <a:gd name="connsiteY34" fmla="*/ 6730245 h 15946069"/>
                <a:gd name="connsiteX35" fmla="*/ 10017677 w 14004774"/>
                <a:gd name="connsiteY35" fmla="*/ 5883475 h 15946069"/>
                <a:gd name="connsiteX36" fmla="*/ 9318595 w 14004774"/>
                <a:gd name="connsiteY36" fmla="*/ 5859197 h 15946069"/>
                <a:gd name="connsiteX37" fmla="*/ 9215073 w 14004774"/>
                <a:gd name="connsiteY37" fmla="*/ 5387392 h 15946069"/>
                <a:gd name="connsiteX38" fmla="*/ 8600211 w 14004774"/>
                <a:gd name="connsiteY38" fmla="*/ 5564744 h 15946069"/>
                <a:gd name="connsiteX39" fmla="*/ 8412926 w 14004774"/>
                <a:gd name="connsiteY39" fmla="*/ 4835463 h 15946069"/>
                <a:gd name="connsiteX40" fmla="*/ 7744624 w 14004774"/>
                <a:gd name="connsiteY40" fmla="*/ 4382387 h 15946069"/>
                <a:gd name="connsiteX41" fmla="*/ 8112983 w 14004774"/>
                <a:gd name="connsiteY41" fmla="*/ 3770361 h 15946069"/>
                <a:gd name="connsiteX42" fmla="*/ 7637793 w 14004774"/>
                <a:gd name="connsiteY42" fmla="*/ 2526072 h 15946069"/>
                <a:gd name="connsiteX43" fmla="*/ 7264687 w 14004774"/>
                <a:gd name="connsiteY43" fmla="*/ 2131091 h 15946069"/>
                <a:gd name="connsiteX44" fmla="*/ 6594245 w 14004774"/>
                <a:gd name="connsiteY44" fmla="*/ 2055834 h 15946069"/>
                <a:gd name="connsiteX45" fmla="*/ 6431470 w 14004774"/>
                <a:gd name="connsiteY45" fmla="*/ 1314295 h 15946069"/>
                <a:gd name="connsiteX46" fmla="*/ 5642908 w 14004774"/>
                <a:gd name="connsiteY46" fmla="*/ 1343233 h 15946069"/>
                <a:gd name="connsiteX47" fmla="*/ 5150959 w 14004774"/>
                <a:gd name="connsiteY47" fmla="*/ 1610907 h 15946069"/>
                <a:gd name="connsiteX48" fmla="*/ 5480133 w 14004774"/>
                <a:gd name="connsiteY48" fmla="*/ 2167963 h 15946069"/>
                <a:gd name="connsiteX49" fmla="*/ 4742216 w 14004774"/>
                <a:gd name="connsiteY49" fmla="*/ 2862495 h 15946069"/>
                <a:gd name="connsiteX50" fmla="*/ 2658667 w 14004774"/>
                <a:gd name="connsiteY50" fmla="*/ 0 h 15946069"/>
                <a:gd name="connsiteX51" fmla="*/ 2658682 w 14004774"/>
                <a:gd name="connsiteY51" fmla="*/ 1018890 h 15946069"/>
                <a:gd name="connsiteX52" fmla="*/ 1850829 w 14004774"/>
                <a:gd name="connsiteY52" fmla="*/ 1730283 h 15946069"/>
                <a:gd name="connsiteX53" fmla="*/ 1404694 w 14004774"/>
                <a:gd name="connsiteY53" fmla="*/ 2272862 h 15946069"/>
                <a:gd name="connsiteX54" fmla="*/ 2351216 w 14004774"/>
                <a:gd name="connsiteY54" fmla="*/ 3388182 h 15946069"/>
                <a:gd name="connsiteX55" fmla="*/ 2658682 w 14004774"/>
                <a:gd name="connsiteY55" fmla="*/ 4286458 h 15946069"/>
                <a:gd name="connsiteX56" fmla="*/ 1935228 w 14004774"/>
                <a:gd name="connsiteY56" fmla="*/ 5220918 h 15946069"/>
                <a:gd name="connsiteX57" fmla="*/ 875281 w 14004774"/>
                <a:gd name="connsiteY57" fmla="*/ 5166646 h 15946069"/>
                <a:gd name="connsiteX58" fmla="*/ 0 w 14004774"/>
                <a:gd name="connsiteY58" fmla="*/ 5890112 h 15946069"/>
                <a:gd name="connsiteX59" fmla="*/ 72345 w 14004774"/>
                <a:gd name="connsiteY59" fmla="*/ 6921032 h 15946069"/>
                <a:gd name="connsiteX60" fmla="*/ 477776 w 14004774"/>
                <a:gd name="connsiteY60" fmla="*/ 7436569 h 15946069"/>
                <a:gd name="connsiteX0" fmla="*/ 477776 w 12196146"/>
                <a:gd name="connsiteY0" fmla="*/ 7436569 h 15946069"/>
                <a:gd name="connsiteX1" fmla="*/ 271294 w 12196146"/>
                <a:gd name="connsiteY1" fmla="*/ 8060457 h 15946069"/>
                <a:gd name="connsiteX2" fmla="*/ 379812 w 12196146"/>
                <a:gd name="connsiteY2" fmla="*/ 8675382 h 15946069"/>
                <a:gd name="connsiteX3" fmla="*/ 759624 w 12196146"/>
                <a:gd name="connsiteY3" fmla="*/ 9217969 h 15946069"/>
                <a:gd name="connsiteX4" fmla="*/ 687278 w 12196146"/>
                <a:gd name="connsiteY4" fmla="*/ 9670126 h 15946069"/>
                <a:gd name="connsiteX5" fmla="*/ 144687 w 12196146"/>
                <a:gd name="connsiteY5" fmla="*/ 9941420 h 15946069"/>
                <a:gd name="connsiteX6" fmla="*/ 343643 w 12196146"/>
                <a:gd name="connsiteY6" fmla="*/ 10592536 h 15946069"/>
                <a:gd name="connsiteX7" fmla="*/ 940487 w 12196146"/>
                <a:gd name="connsiteY7" fmla="*/ 10954252 h 15946069"/>
                <a:gd name="connsiteX8" fmla="*/ 596844 w 12196146"/>
                <a:gd name="connsiteY8" fmla="*/ 11786221 h 15946069"/>
                <a:gd name="connsiteX9" fmla="*/ 633017 w 12196146"/>
                <a:gd name="connsiteY9" fmla="*/ 12780969 h 15946069"/>
                <a:gd name="connsiteX10" fmla="*/ 198944 w 12196146"/>
                <a:gd name="connsiteY10" fmla="*/ 13341645 h 15946069"/>
                <a:gd name="connsiteX11" fmla="*/ 723451 w 12196146"/>
                <a:gd name="connsiteY11" fmla="*/ 13757629 h 15946069"/>
                <a:gd name="connsiteX12" fmla="*/ 1640036 w 12196146"/>
                <a:gd name="connsiteY12" fmla="*/ 13197151 h 15946069"/>
                <a:gd name="connsiteX13" fmla="*/ 1880971 w 12196146"/>
                <a:gd name="connsiteY13" fmla="*/ 13395906 h 15946069"/>
                <a:gd name="connsiteX14" fmla="*/ 2930086 w 12196146"/>
                <a:gd name="connsiteY14" fmla="*/ 12952832 h 15946069"/>
                <a:gd name="connsiteX15" fmla="*/ 3828256 w 12196146"/>
                <a:gd name="connsiteY15" fmla="*/ 13245188 h 15946069"/>
                <a:gd name="connsiteX16" fmla="*/ 4768739 w 12196146"/>
                <a:gd name="connsiteY16" fmla="*/ 13040205 h 15946069"/>
                <a:gd name="connsiteX17" fmla="*/ 5190751 w 12196146"/>
                <a:gd name="connsiteY17" fmla="*/ 13649115 h 15946069"/>
                <a:gd name="connsiteX18" fmla="*/ 5932290 w 12196146"/>
                <a:gd name="connsiteY18" fmla="*/ 13444132 h 15946069"/>
                <a:gd name="connsiteX19" fmla="*/ 6498992 w 12196146"/>
                <a:gd name="connsiteY19" fmla="*/ 12991975 h 15946069"/>
                <a:gd name="connsiteX20" fmla="*/ 7373161 w 12196146"/>
                <a:gd name="connsiteY20" fmla="*/ 13582800 h 15946069"/>
                <a:gd name="connsiteX21" fmla="*/ 8512588 w 12196146"/>
                <a:gd name="connsiteY21" fmla="*/ 13570738 h 15946069"/>
                <a:gd name="connsiteX22" fmla="*/ 9742454 w 12196146"/>
                <a:gd name="connsiteY22" fmla="*/ 14004811 h 15946069"/>
                <a:gd name="connsiteX23" fmla="*/ 10616683 w 12196146"/>
                <a:gd name="connsiteY23" fmla="*/ 15358294 h 15946069"/>
                <a:gd name="connsiteX24" fmla="*/ 11117010 w 12196146"/>
                <a:gd name="connsiteY24" fmla="*/ 15946069 h 15946069"/>
                <a:gd name="connsiteX25" fmla="*/ 11780218 w 12196146"/>
                <a:gd name="connsiteY25" fmla="*/ 13579811 h 15946069"/>
                <a:gd name="connsiteX26" fmla="*/ 12196146 w 12196146"/>
                <a:gd name="connsiteY26" fmla="*/ 11388328 h 15946069"/>
                <a:gd name="connsiteX27" fmla="*/ 9651694 w 12196146"/>
                <a:gd name="connsiteY27" fmla="*/ 10609178 h 15946069"/>
                <a:gd name="connsiteX28" fmla="*/ 11893530 w 12196146"/>
                <a:gd name="connsiteY28" fmla="*/ 10283919 h 15946069"/>
                <a:gd name="connsiteX29" fmla="*/ 11533930 w 12196146"/>
                <a:gd name="connsiteY29" fmla="*/ 9393151 h 15946069"/>
                <a:gd name="connsiteX30" fmla="*/ 11668657 w 12196146"/>
                <a:gd name="connsiteY30" fmla="*/ 8754316 h 15946069"/>
                <a:gd name="connsiteX31" fmla="*/ 12149687 w 12196146"/>
                <a:gd name="connsiteY31" fmla="*/ 8101619 h 15946069"/>
                <a:gd name="connsiteX32" fmla="*/ 11118705 w 12196146"/>
                <a:gd name="connsiteY32" fmla="*/ 7156845 h 15946069"/>
                <a:gd name="connsiteX33" fmla="*/ 10425568 w 12196146"/>
                <a:gd name="connsiteY33" fmla="*/ 7223642 h 15946069"/>
                <a:gd name="connsiteX34" fmla="*/ 10709437 w 12196146"/>
                <a:gd name="connsiteY34" fmla="*/ 6730245 h 15946069"/>
                <a:gd name="connsiteX35" fmla="*/ 10017677 w 12196146"/>
                <a:gd name="connsiteY35" fmla="*/ 5883475 h 15946069"/>
                <a:gd name="connsiteX36" fmla="*/ 9318595 w 12196146"/>
                <a:gd name="connsiteY36" fmla="*/ 5859197 h 15946069"/>
                <a:gd name="connsiteX37" fmla="*/ 9215073 w 12196146"/>
                <a:gd name="connsiteY37" fmla="*/ 5387392 h 15946069"/>
                <a:gd name="connsiteX38" fmla="*/ 8600211 w 12196146"/>
                <a:gd name="connsiteY38" fmla="*/ 5564744 h 15946069"/>
                <a:gd name="connsiteX39" fmla="*/ 8412926 w 12196146"/>
                <a:gd name="connsiteY39" fmla="*/ 4835463 h 15946069"/>
                <a:gd name="connsiteX40" fmla="*/ 7744624 w 12196146"/>
                <a:gd name="connsiteY40" fmla="*/ 4382387 h 15946069"/>
                <a:gd name="connsiteX41" fmla="*/ 8112983 w 12196146"/>
                <a:gd name="connsiteY41" fmla="*/ 3770361 h 15946069"/>
                <a:gd name="connsiteX42" fmla="*/ 7637793 w 12196146"/>
                <a:gd name="connsiteY42" fmla="*/ 2526072 h 15946069"/>
                <a:gd name="connsiteX43" fmla="*/ 7264687 w 12196146"/>
                <a:gd name="connsiteY43" fmla="*/ 2131091 h 15946069"/>
                <a:gd name="connsiteX44" fmla="*/ 6594245 w 12196146"/>
                <a:gd name="connsiteY44" fmla="*/ 2055834 h 15946069"/>
                <a:gd name="connsiteX45" fmla="*/ 6431470 w 12196146"/>
                <a:gd name="connsiteY45" fmla="*/ 1314295 h 15946069"/>
                <a:gd name="connsiteX46" fmla="*/ 5642908 w 12196146"/>
                <a:gd name="connsiteY46" fmla="*/ 1343233 h 15946069"/>
                <a:gd name="connsiteX47" fmla="*/ 5150959 w 12196146"/>
                <a:gd name="connsiteY47" fmla="*/ 1610907 h 15946069"/>
                <a:gd name="connsiteX48" fmla="*/ 5480133 w 12196146"/>
                <a:gd name="connsiteY48" fmla="*/ 2167963 h 15946069"/>
                <a:gd name="connsiteX49" fmla="*/ 4742216 w 12196146"/>
                <a:gd name="connsiteY49" fmla="*/ 2862495 h 15946069"/>
                <a:gd name="connsiteX50" fmla="*/ 2658667 w 12196146"/>
                <a:gd name="connsiteY50" fmla="*/ 0 h 15946069"/>
                <a:gd name="connsiteX51" fmla="*/ 2658682 w 12196146"/>
                <a:gd name="connsiteY51" fmla="*/ 1018890 h 15946069"/>
                <a:gd name="connsiteX52" fmla="*/ 1850829 w 12196146"/>
                <a:gd name="connsiteY52" fmla="*/ 1730283 h 15946069"/>
                <a:gd name="connsiteX53" fmla="*/ 1404694 w 12196146"/>
                <a:gd name="connsiteY53" fmla="*/ 2272862 h 15946069"/>
                <a:gd name="connsiteX54" fmla="*/ 2351216 w 12196146"/>
                <a:gd name="connsiteY54" fmla="*/ 3388182 h 15946069"/>
                <a:gd name="connsiteX55" fmla="*/ 2658682 w 12196146"/>
                <a:gd name="connsiteY55" fmla="*/ 4286458 h 15946069"/>
                <a:gd name="connsiteX56" fmla="*/ 1935228 w 12196146"/>
                <a:gd name="connsiteY56" fmla="*/ 5220918 h 15946069"/>
                <a:gd name="connsiteX57" fmla="*/ 875281 w 12196146"/>
                <a:gd name="connsiteY57" fmla="*/ 5166646 h 15946069"/>
                <a:gd name="connsiteX58" fmla="*/ 0 w 12196146"/>
                <a:gd name="connsiteY58" fmla="*/ 5890112 h 15946069"/>
                <a:gd name="connsiteX59" fmla="*/ 72345 w 12196146"/>
                <a:gd name="connsiteY59" fmla="*/ 6921032 h 15946069"/>
                <a:gd name="connsiteX60" fmla="*/ 477776 w 12196146"/>
                <a:gd name="connsiteY60" fmla="*/ 7436569 h 15946069"/>
                <a:gd name="connsiteX0" fmla="*/ 477776 w 12196146"/>
                <a:gd name="connsiteY0" fmla="*/ 7436569 h 15946069"/>
                <a:gd name="connsiteX1" fmla="*/ 271294 w 12196146"/>
                <a:gd name="connsiteY1" fmla="*/ 8060457 h 15946069"/>
                <a:gd name="connsiteX2" fmla="*/ 379812 w 12196146"/>
                <a:gd name="connsiteY2" fmla="*/ 8675382 h 15946069"/>
                <a:gd name="connsiteX3" fmla="*/ 759624 w 12196146"/>
                <a:gd name="connsiteY3" fmla="*/ 9217969 h 15946069"/>
                <a:gd name="connsiteX4" fmla="*/ 687278 w 12196146"/>
                <a:gd name="connsiteY4" fmla="*/ 9670126 h 15946069"/>
                <a:gd name="connsiteX5" fmla="*/ 144687 w 12196146"/>
                <a:gd name="connsiteY5" fmla="*/ 9941420 h 15946069"/>
                <a:gd name="connsiteX6" fmla="*/ 343643 w 12196146"/>
                <a:gd name="connsiteY6" fmla="*/ 10592536 h 15946069"/>
                <a:gd name="connsiteX7" fmla="*/ 940487 w 12196146"/>
                <a:gd name="connsiteY7" fmla="*/ 10954252 h 15946069"/>
                <a:gd name="connsiteX8" fmla="*/ 596844 w 12196146"/>
                <a:gd name="connsiteY8" fmla="*/ 11786221 h 15946069"/>
                <a:gd name="connsiteX9" fmla="*/ 633017 w 12196146"/>
                <a:gd name="connsiteY9" fmla="*/ 12780969 h 15946069"/>
                <a:gd name="connsiteX10" fmla="*/ 198944 w 12196146"/>
                <a:gd name="connsiteY10" fmla="*/ 13341645 h 15946069"/>
                <a:gd name="connsiteX11" fmla="*/ 723451 w 12196146"/>
                <a:gd name="connsiteY11" fmla="*/ 13757629 h 15946069"/>
                <a:gd name="connsiteX12" fmla="*/ 1640036 w 12196146"/>
                <a:gd name="connsiteY12" fmla="*/ 13197151 h 15946069"/>
                <a:gd name="connsiteX13" fmla="*/ 1880971 w 12196146"/>
                <a:gd name="connsiteY13" fmla="*/ 13395906 h 15946069"/>
                <a:gd name="connsiteX14" fmla="*/ 2930086 w 12196146"/>
                <a:gd name="connsiteY14" fmla="*/ 12952832 h 15946069"/>
                <a:gd name="connsiteX15" fmla="*/ 3828256 w 12196146"/>
                <a:gd name="connsiteY15" fmla="*/ 13245188 h 15946069"/>
                <a:gd name="connsiteX16" fmla="*/ 4768739 w 12196146"/>
                <a:gd name="connsiteY16" fmla="*/ 13040205 h 15946069"/>
                <a:gd name="connsiteX17" fmla="*/ 5190751 w 12196146"/>
                <a:gd name="connsiteY17" fmla="*/ 13649115 h 15946069"/>
                <a:gd name="connsiteX18" fmla="*/ 5932290 w 12196146"/>
                <a:gd name="connsiteY18" fmla="*/ 13444132 h 15946069"/>
                <a:gd name="connsiteX19" fmla="*/ 6498992 w 12196146"/>
                <a:gd name="connsiteY19" fmla="*/ 12991975 h 15946069"/>
                <a:gd name="connsiteX20" fmla="*/ 7373161 w 12196146"/>
                <a:gd name="connsiteY20" fmla="*/ 13582800 h 15946069"/>
                <a:gd name="connsiteX21" fmla="*/ 8512588 w 12196146"/>
                <a:gd name="connsiteY21" fmla="*/ 13570738 h 15946069"/>
                <a:gd name="connsiteX22" fmla="*/ 9742454 w 12196146"/>
                <a:gd name="connsiteY22" fmla="*/ 14004811 h 15946069"/>
                <a:gd name="connsiteX23" fmla="*/ 10616683 w 12196146"/>
                <a:gd name="connsiteY23" fmla="*/ 15358294 h 15946069"/>
                <a:gd name="connsiteX24" fmla="*/ 11117010 w 12196146"/>
                <a:gd name="connsiteY24" fmla="*/ 15946069 h 15946069"/>
                <a:gd name="connsiteX25" fmla="*/ 11780218 w 12196146"/>
                <a:gd name="connsiteY25" fmla="*/ 13579811 h 15946069"/>
                <a:gd name="connsiteX26" fmla="*/ 12196146 w 12196146"/>
                <a:gd name="connsiteY26" fmla="*/ 11388328 h 15946069"/>
                <a:gd name="connsiteX27" fmla="*/ 11899987 w 12196146"/>
                <a:gd name="connsiteY27" fmla="*/ 10752355 h 15946069"/>
                <a:gd name="connsiteX28" fmla="*/ 11893530 w 12196146"/>
                <a:gd name="connsiteY28" fmla="*/ 10283919 h 15946069"/>
                <a:gd name="connsiteX29" fmla="*/ 11533930 w 12196146"/>
                <a:gd name="connsiteY29" fmla="*/ 9393151 h 15946069"/>
                <a:gd name="connsiteX30" fmla="*/ 11668657 w 12196146"/>
                <a:gd name="connsiteY30" fmla="*/ 8754316 h 15946069"/>
                <a:gd name="connsiteX31" fmla="*/ 12149687 w 12196146"/>
                <a:gd name="connsiteY31" fmla="*/ 8101619 h 15946069"/>
                <a:gd name="connsiteX32" fmla="*/ 11118705 w 12196146"/>
                <a:gd name="connsiteY32" fmla="*/ 7156845 h 15946069"/>
                <a:gd name="connsiteX33" fmla="*/ 10425568 w 12196146"/>
                <a:gd name="connsiteY33" fmla="*/ 7223642 h 15946069"/>
                <a:gd name="connsiteX34" fmla="*/ 10709437 w 12196146"/>
                <a:gd name="connsiteY34" fmla="*/ 6730245 h 15946069"/>
                <a:gd name="connsiteX35" fmla="*/ 10017677 w 12196146"/>
                <a:gd name="connsiteY35" fmla="*/ 5883475 h 15946069"/>
                <a:gd name="connsiteX36" fmla="*/ 9318595 w 12196146"/>
                <a:gd name="connsiteY36" fmla="*/ 5859197 h 15946069"/>
                <a:gd name="connsiteX37" fmla="*/ 9215073 w 12196146"/>
                <a:gd name="connsiteY37" fmla="*/ 5387392 h 15946069"/>
                <a:gd name="connsiteX38" fmla="*/ 8600211 w 12196146"/>
                <a:gd name="connsiteY38" fmla="*/ 5564744 h 15946069"/>
                <a:gd name="connsiteX39" fmla="*/ 8412926 w 12196146"/>
                <a:gd name="connsiteY39" fmla="*/ 4835463 h 15946069"/>
                <a:gd name="connsiteX40" fmla="*/ 7744624 w 12196146"/>
                <a:gd name="connsiteY40" fmla="*/ 4382387 h 15946069"/>
                <a:gd name="connsiteX41" fmla="*/ 8112983 w 12196146"/>
                <a:gd name="connsiteY41" fmla="*/ 3770361 h 15946069"/>
                <a:gd name="connsiteX42" fmla="*/ 7637793 w 12196146"/>
                <a:gd name="connsiteY42" fmla="*/ 2526072 h 15946069"/>
                <a:gd name="connsiteX43" fmla="*/ 7264687 w 12196146"/>
                <a:gd name="connsiteY43" fmla="*/ 2131091 h 15946069"/>
                <a:gd name="connsiteX44" fmla="*/ 6594245 w 12196146"/>
                <a:gd name="connsiteY44" fmla="*/ 2055834 h 15946069"/>
                <a:gd name="connsiteX45" fmla="*/ 6431470 w 12196146"/>
                <a:gd name="connsiteY45" fmla="*/ 1314295 h 15946069"/>
                <a:gd name="connsiteX46" fmla="*/ 5642908 w 12196146"/>
                <a:gd name="connsiteY46" fmla="*/ 1343233 h 15946069"/>
                <a:gd name="connsiteX47" fmla="*/ 5150959 w 12196146"/>
                <a:gd name="connsiteY47" fmla="*/ 1610907 h 15946069"/>
                <a:gd name="connsiteX48" fmla="*/ 5480133 w 12196146"/>
                <a:gd name="connsiteY48" fmla="*/ 2167963 h 15946069"/>
                <a:gd name="connsiteX49" fmla="*/ 4742216 w 12196146"/>
                <a:gd name="connsiteY49" fmla="*/ 2862495 h 15946069"/>
                <a:gd name="connsiteX50" fmla="*/ 2658667 w 12196146"/>
                <a:gd name="connsiteY50" fmla="*/ 0 h 15946069"/>
                <a:gd name="connsiteX51" fmla="*/ 2658682 w 12196146"/>
                <a:gd name="connsiteY51" fmla="*/ 1018890 h 15946069"/>
                <a:gd name="connsiteX52" fmla="*/ 1850829 w 12196146"/>
                <a:gd name="connsiteY52" fmla="*/ 1730283 h 15946069"/>
                <a:gd name="connsiteX53" fmla="*/ 1404694 w 12196146"/>
                <a:gd name="connsiteY53" fmla="*/ 2272862 h 15946069"/>
                <a:gd name="connsiteX54" fmla="*/ 2351216 w 12196146"/>
                <a:gd name="connsiteY54" fmla="*/ 3388182 h 15946069"/>
                <a:gd name="connsiteX55" fmla="*/ 2658682 w 12196146"/>
                <a:gd name="connsiteY55" fmla="*/ 4286458 h 15946069"/>
                <a:gd name="connsiteX56" fmla="*/ 1935228 w 12196146"/>
                <a:gd name="connsiteY56" fmla="*/ 5220918 h 15946069"/>
                <a:gd name="connsiteX57" fmla="*/ 875281 w 12196146"/>
                <a:gd name="connsiteY57" fmla="*/ 5166646 h 15946069"/>
                <a:gd name="connsiteX58" fmla="*/ 0 w 12196146"/>
                <a:gd name="connsiteY58" fmla="*/ 5890112 h 15946069"/>
                <a:gd name="connsiteX59" fmla="*/ 72345 w 12196146"/>
                <a:gd name="connsiteY59" fmla="*/ 6921032 h 15946069"/>
                <a:gd name="connsiteX60" fmla="*/ 477776 w 12196146"/>
                <a:gd name="connsiteY60" fmla="*/ 7436569 h 15946069"/>
                <a:gd name="connsiteX0" fmla="*/ 477776 w 12149688"/>
                <a:gd name="connsiteY0" fmla="*/ 7436569 h 15946069"/>
                <a:gd name="connsiteX1" fmla="*/ 271294 w 12149688"/>
                <a:gd name="connsiteY1" fmla="*/ 8060457 h 15946069"/>
                <a:gd name="connsiteX2" fmla="*/ 379812 w 12149688"/>
                <a:gd name="connsiteY2" fmla="*/ 8675382 h 15946069"/>
                <a:gd name="connsiteX3" fmla="*/ 759624 w 12149688"/>
                <a:gd name="connsiteY3" fmla="*/ 9217969 h 15946069"/>
                <a:gd name="connsiteX4" fmla="*/ 687278 w 12149688"/>
                <a:gd name="connsiteY4" fmla="*/ 9670126 h 15946069"/>
                <a:gd name="connsiteX5" fmla="*/ 144687 w 12149688"/>
                <a:gd name="connsiteY5" fmla="*/ 9941420 h 15946069"/>
                <a:gd name="connsiteX6" fmla="*/ 343643 w 12149688"/>
                <a:gd name="connsiteY6" fmla="*/ 10592536 h 15946069"/>
                <a:gd name="connsiteX7" fmla="*/ 940487 w 12149688"/>
                <a:gd name="connsiteY7" fmla="*/ 10954252 h 15946069"/>
                <a:gd name="connsiteX8" fmla="*/ 596844 w 12149688"/>
                <a:gd name="connsiteY8" fmla="*/ 11786221 h 15946069"/>
                <a:gd name="connsiteX9" fmla="*/ 633017 w 12149688"/>
                <a:gd name="connsiteY9" fmla="*/ 12780969 h 15946069"/>
                <a:gd name="connsiteX10" fmla="*/ 198944 w 12149688"/>
                <a:gd name="connsiteY10" fmla="*/ 13341645 h 15946069"/>
                <a:gd name="connsiteX11" fmla="*/ 723451 w 12149688"/>
                <a:gd name="connsiteY11" fmla="*/ 13757629 h 15946069"/>
                <a:gd name="connsiteX12" fmla="*/ 1640036 w 12149688"/>
                <a:gd name="connsiteY12" fmla="*/ 13197151 h 15946069"/>
                <a:gd name="connsiteX13" fmla="*/ 1880971 w 12149688"/>
                <a:gd name="connsiteY13" fmla="*/ 13395906 h 15946069"/>
                <a:gd name="connsiteX14" fmla="*/ 2930086 w 12149688"/>
                <a:gd name="connsiteY14" fmla="*/ 12952832 h 15946069"/>
                <a:gd name="connsiteX15" fmla="*/ 3828256 w 12149688"/>
                <a:gd name="connsiteY15" fmla="*/ 13245188 h 15946069"/>
                <a:gd name="connsiteX16" fmla="*/ 4768739 w 12149688"/>
                <a:gd name="connsiteY16" fmla="*/ 13040205 h 15946069"/>
                <a:gd name="connsiteX17" fmla="*/ 5190751 w 12149688"/>
                <a:gd name="connsiteY17" fmla="*/ 13649115 h 15946069"/>
                <a:gd name="connsiteX18" fmla="*/ 5932290 w 12149688"/>
                <a:gd name="connsiteY18" fmla="*/ 13444132 h 15946069"/>
                <a:gd name="connsiteX19" fmla="*/ 6498992 w 12149688"/>
                <a:gd name="connsiteY19" fmla="*/ 12991975 h 15946069"/>
                <a:gd name="connsiteX20" fmla="*/ 7373161 w 12149688"/>
                <a:gd name="connsiteY20" fmla="*/ 13582800 h 15946069"/>
                <a:gd name="connsiteX21" fmla="*/ 8512588 w 12149688"/>
                <a:gd name="connsiteY21" fmla="*/ 13570738 h 15946069"/>
                <a:gd name="connsiteX22" fmla="*/ 9742454 w 12149688"/>
                <a:gd name="connsiteY22" fmla="*/ 14004811 h 15946069"/>
                <a:gd name="connsiteX23" fmla="*/ 10616683 w 12149688"/>
                <a:gd name="connsiteY23" fmla="*/ 15358294 h 15946069"/>
                <a:gd name="connsiteX24" fmla="*/ 11117010 w 12149688"/>
                <a:gd name="connsiteY24" fmla="*/ 15946069 h 15946069"/>
                <a:gd name="connsiteX25" fmla="*/ 11780218 w 12149688"/>
                <a:gd name="connsiteY25" fmla="*/ 13579811 h 15946069"/>
                <a:gd name="connsiteX26" fmla="*/ 8823707 w 12149688"/>
                <a:gd name="connsiteY26" fmla="*/ 11436049 h 15946069"/>
                <a:gd name="connsiteX27" fmla="*/ 11899987 w 12149688"/>
                <a:gd name="connsiteY27" fmla="*/ 10752355 h 15946069"/>
                <a:gd name="connsiteX28" fmla="*/ 11893530 w 12149688"/>
                <a:gd name="connsiteY28" fmla="*/ 10283919 h 15946069"/>
                <a:gd name="connsiteX29" fmla="*/ 11533930 w 12149688"/>
                <a:gd name="connsiteY29" fmla="*/ 9393151 h 15946069"/>
                <a:gd name="connsiteX30" fmla="*/ 11668657 w 12149688"/>
                <a:gd name="connsiteY30" fmla="*/ 8754316 h 15946069"/>
                <a:gd name="connsiteX31" fmla="*/ 12149687 w 12149688"/>
                <a:gd name="connsiteY31" fmla="*/ 8101619 h 15946069"/>
                <a:gd name="connsiteX32" fmla="*/ 11118705 w 12149688"/>
                <a:gd name="connsiteY32" fmla="*/ 7156845 h 15946069"/>
                <a:gd name="connsiteX33" fmla="*/ 10425568 w 12149688"/>
                <a:gd name="connsiteY33" fmla="*/ 7223642 h 15946069"/>
                <a:gd name="connsiteX34" fmla="*/ 10709437 w 12149688"/>
                <a:gd name="connsiteY34" fmla="*/ 6730245 h 15946069"/>
                <a:gd name="connsiteX35" fmla="*/ 10017677 w 12149688"/>
                <a:gd name="connsiteY35" fmla="*/ 5883475 h 15946069"/>
                <a:gd name="connsiteX36" fmla="*/ 9318595 w 12149688"/>
                <a:gd name="connsiteY36" fmla="*/ 5859197 h 15946069"/>
                <a:gd name="connsiteX37" fmla="*/ 9215073 w 12149688"/>
                <a:gd name="connsiteY37" fmla="*/ 5387392 h 15946069"/>
                <a:gd name="connsiteX38" fmla="*/ 8600211 w 12149688"/>
                <a:gd name="connsiteY38" fmla="*/ 5564744 h 15946069"/>
                <a:gd name="connsiteX39" fmla="*/ 8412926 w 12149688"/>
                <a:gd name="connsiteY39" fmla="*/ 4835463 h 15946069"/>
                <a:gd name="connsiteX40" fmla="*/ 7744624 w 12149688"/>
                <a:gd name="connsiteY40" fmla="*/ 4382387 h 15946069"/>
                <a:gd name="connsiteX41" fmla="*/ 8112983 w 12149688"/>
                <a:gd name="connsiteY41" fmla="*/ 3770361 h 15946069"/>
                <a:gd name="connsiteX42" fmla="*/ 7637793 w 12149688"/>
                <a:gd name="connsiteY42" fmla="*/ 2526072 h 15946069"/>
                <a:gd name="connsiteX43" fmla="*/ 7264687 w 12149688"/>
                <a:gd name="connsiteY43" fmla="*/ 2131091 h 15946069"/>
                <a:gd name="connsiteX44" fmla="*/ 6594245 w 12149688"/>
                <a:gd name="connsiteY44" fmla="*/ 2055834 h 15946069"/>
                <a:gd name="connsiteX45" fmla="*/ 6431470 w 12149688"/>
                <a:gd name="connsiteY45" fmla="*/ 1314295 h 15946069"/>
                <a:gd name="connsiteX46" fmla="*/ 5642908 w 12149688"/>
                <a:gd name="connsiteY46" fmla="*/ 1343233 h 15946069"/>
                <a:gd name="connsiteX47" fmla="*/ 5150959 w 12149688"/>
                <a:gd name="connsiteY47" fmla="*/ 1610907 h 15946069"/>
                <a:gd name="connsiteX48" fmla="*/ 5480133 w 12149688"/>
                <a:gd name="connsiteY48" fmla="*/ 2167963 h 15946069"/>
                <a:gd name="connsiteX49" fmla="*/ 4742216 w 12149688"/>
                <a:gd name="connsiteY49" fmla="*/ 2862495 h 15946069"/>
                <a:gd name="connsiteX50" fmla="*/ 2658667 w 12149688"/>
                <a:gd name="connsiteY50" fmla="*/ 0 h 15946069"/>
                <a:gd name="connsiteX51" fmla="*/ 2658682 w 12149688"/>
                <a:gd name="connsiteY51" fmla="*/ 1018890 h 15946069"/>
                <a:gd name="connsiteX52" fmla="*/ 1850829 w 12149688"/>
                <a:gd name="connsiteY52" fmla="*/ 1730283 h 15946069"/>
                <a:gd name="connsiteX53" fmla="*/ 1404694 w 12149688"/>
                <a:gd name="connsiteY53" fmla="*/ 2272862 h 15946069"/>
                <a:gd name="connsiteX54" fmla="*/ 2351216 w 12149688"/>
                <a:gd name="connsiteY54" fmla="*/ 3388182 h 15946069"/>
                <a:gd name="connsiteX55" fmla="*/ 2658682 w 12149688"/>
                <a:gd name="connsiteY55" fmla="*/ 4286458 h 15946069"/>
                <a:gd name="connsiteX56" fmla="*/ 1935228 w 12149688"/>
                <a:gd name="connsiteY56" fmla="*/ 5220918 h 15946069"/>
                <a:gd name="connsiteX57" fmla="*/ 875281 w 12149688"/>
                <a:gd name="connsiteY57" fmla="*/ 5166646 h 15946069"/>
                <a:gd name="connsiteX58" fmla="*/ 0 w 12149688"/>
                <a:gd name="connsiteY58" fmla="*/ 5890112 h 15946069"/>
                <a:gd name="connsiteX59" fmla="*/ 72345 w 12149688"/>
                <a:gd name="connsiteY59" fmla="*/ 6921032 h 15946069"/>
                <a:gd name="connsiteX60" fmla="*/ 477776 w 12149688"/>
                <a:gd name="connsiteY60" fmla="*/ 7436569 h 15946069"/>
                <a:gd name="connsiteX0" fmla="*/ 477776 w 12149688"/>
                <a:gd name="connsiteY0" fmla="*/ 7436569 h 15946069"/>
                <a:gd name="connsiteX1" fmla="*/ 271294 w 12149688"/>
                <a:gd name="connsiteY1" fmla="*/ 8060457 h 15946069"/>
                <a:gd name="connsiteX2" fmla="*/ 379812 w 12149688"/>
                <a:gd name="connsiteY2" fmla="*/ 8675382 h 15946069"/>
                <a:gd name="connsiteX3" fmla="*/ 759624 w 12149688"/>
                <a:gd name="connsiteY3" fmla="*/ 9217969 h 15946069"/>
                <a:gd name="connsiteX4" fmla="*/ 687278 w 12149688"/>
                <a:gd name="connsiteY4" fmla="*/ 9670126 h 15946069"/>
                <a:gd name="connsiteX5" fmla="*/ 144687 w 12149688"/>
                <a:gd name="connsiteY5" fmla="*/ 9941420 h 15946069"/>
                <a:gd name="connsiteX6" fmla="*/ 343643 w 12149688"/>
                <a:gd name="connsiteY6" fmla="*/ 10592536 h 15946069"/>
                <a:gd name="connsiteX7" fmla="*/ 940487 w 12149688"/>
                <a:gd name="connsiteY7" fmla="*/ 10954252 h 15946069"/>
                <a:gd name="connsiteX8" fmla="*/ 596844 w 12149688"/>
                <a:gd name="connsiteY8" fmla="*/ 11786221 h 15946069"/>
                <a:gd name="connsiteX9" fmla="*/ 633017 w 12149688"/>
                <a:gd name="connsiteY9" fmla="*/ 12780969 h 15946069"/>
                <a:gd name="connsiteX10" fmla="*/ 198944 w 12149688"/>
                <a:gd name="connsiteY10" fmla="*/ 13341645 h 15946069"/>
                <a:gd name="connsiteX11" fmla="*/ 723451 w 12149688"/>
                <a:gd name="connsiteY11" fmla="*/ 13757629 h 15946069"/>
                <a:gd name="connsiteX12" fmla="*/ 1640036 w 12149688"/>
                <a:gd name="connsiteY12" fmla="*/ 13197151 h 15946069"/>
                <a:gd name="connsiteX13" fmla="*/ 1880971 w 12149688"/>
                <a:gd name="connsiteY13" fmla="*/ 13395906 h 15946069"/>
                <a:gd name="connsiteX14" fmla="*/ 2930086 w 12149688"/>
                <a:gd name="connsiteY14" fmla="*/ 12952832 h 15946069"/>
                <a:gd name="connsiteX15" fmla="*/ 3828256 w 12149688"/>
                <a:gd name="connsiteY15" fmla="*/ 13245188 h 15946069"/>
                <a:gd name="connsiteX16" fmla="*/ 4768739 w 12149688"/>
                <a:gd name="connsiteY16" fmla="*/ 13040205 h 15946069"/>
                <a:gd name="connsiteX17" fmla="*/ 5190751 w 12149688"/>
                <a:gd name="connsiteY17" fmla="*/ 13649115 h 15946069"/>
                <a:gd name="connsiteX18" fmla="*/ 5932290 w 12149688"/>
                <a:gd name="connsiteY18" fmla="*/ 13444132 h 15946069"/>
                <a:gd name="connsiteX19" fmla="*/ 6498992 w 12149688"/>
                <a:gd name="connsiteY19" fmla="*/ 12991975 h 15946069"/>
                <a:gd name="connsiteX20" fmla="*/ 7373161 w 12149688"/>
                <a:gd name="connsiteY20" fmla="*/ 13582800 h 15946069"/>
                <a:gd name="connsiteX21" fmla="*/ 8512588 w 12149688"/>
                <a:gd name="connsiteY21" fmla="*/ 13570738 h 15946069"/>
                <a:gd name="connsiteX22" fmla="*/ 9742454 w 12149688"/>
                <a:gd name="connsiteY22" fmla="*/ 14004811 h 15946069"/>
                <a:gd name="connsiteX23" fmla="*/ 10616683 w 12149688"/>
                <a:gd name="connsiteY23" fmla="*/ 15358294 h 15946069"/>
                <a:gd name="connsiteX24" fmla="*/ 11117010 w 12149688"/>
                <a:gd name="connsiteY24" fmla="*/ 15946069 h 15946069"/>
                <a:gd name="connsiteX25" fmla="*/ 11780218 w 12149688"/>
                <a:gd name="connsiteY25" fmla="*/ 13579811 h 15946069"/>
                <a:gd name="connsiteX26" fmla="*/ 11980885 w 12149688"/>
                <a:gd name="connsiteY26" fmla="*/ 11483773 h 15946069"/>
                <a:gd name="connsiteX27" fmla="*/ 11899987 w 12149688"/>
                <a:gd name="connsiteY27" fmla="*/ 10752355 h 15946069"/>
                <a:gd name="connsiteX28" fmla="*/ 11893530 w 12149688"/>
                <a:gd name="connsiteY28" fmla="*/ 10283919 h 15946069"/>
                <a:gd name="connsiteX29" fmla="*/ 11533930 w 12149688"/>
                <a:gd name="connsiteY29" fmla="*/ 9393151 h 15946069"/>
                <a:gd name="connsiteX30" fmla="*/ 11668657 w 12149688"/>
                <a:gd name="connsiteY30" fmla="*/ 8754316 h 15946069"/>
                <a:gd name="connsiteX31" fmla="*/ 12149687 w 12149688"/>
                <a:gd name="connsiteY31" fmla="*/ 8101619 h 15946069"/>
                <a:gd name="connsiteX32" fmla="*/ 11118705 w 12149688"/>
                <a:gd name="connsiteY32" fmla="*/ 7156845 h 15946069"/>
                <a:gd name="connsiteX33" fmla="*/ 10425568 w 12149688"/>
                <a:gd name="connsiteY33" fmla="*/ 7223642 h 15946069"/>
                <a:gd name="connsiteX34" fmla="*/ 10709437 w 12149688"/>
                <a:gd name="connsiteY34" fmla="*/ 6730245 h 15946069"/>
                <a:gd name="connsiteX35" fmla="*/ 10017677 w 12149688"/>
                <a:gd name="connsiteY35" fmla="*/ 5883475 h 15946069"/>
                <a:gd name="connsiteX36" fmla="*/ 9318595 w 12149688"/>
                <a:gd name="connsiteY36" fmla="*/ 5859197 h 15946069"/>
                <a:gd name="connsiteX37" fmla="*/ 9215073 w 12149688"/>
                <a:gd name="connsiteY37" fmla="*/ 5387392 h 15946069"/>
                <a:gd name="connsiteX38" fmla="*/ 8600211 w 12149688"/>
                <a:gd name="connsiteY38" fmla="*/ 5564744 h 15946069"/>
                <a:gd name="connsiteX39" fmla="*/ 8412926 w 12149688"/>
                <a:gd name="connsiteY39" fmla="*/ 4835463 h 15946069"/>
                <a:gd name="connsiteX40" fmla="*/ 7744624 w 12149688"/>
                <a:gd name="connsiteY40" fmla="*/ 4382387 h 15946069"/>
                <a:gd name="connsiteX41" fmla="*/ 8112983 w 12149688"/>
                <a:gd name="connsiteY41" fmla="*/ 3770361 h 15946069"/>
                <a:gd name="connsiteX42" fmla="*/ 7637793 w 12149688"/>
                <a:gd name="connsiteY42" fmla="*/ 2526072 h 15946069"/>
                <a:gd name="connsiteX43" fmla="*/ 7264687 w 12149688"/>
                <a:gd name="connsiteY43" fmla="*/ 2131091 h 15946069"/>
                <a:gd name="connsiteX44" fmla="*/ 6594245 w 12149688"/>
                <a:gd name="connsiteY44" fmla="*/ 2055834 h 15946069"/>
                <a:gd name="connsiteX45" fmla="*/ 6431470 w 12149688"/>
                <a:gd name="connsiteY45" fmla="*/ 1314295 h 15946069"/>
                <a:gd name="connsiteX46" fmla="*/ 5642908 w 12149688"/>
                <a:gd name="connsiteY46" fmla="*/ 1343233 h 15946069"/>
                <a:gd name="connsiteX47" fmla="*/ 5150959 w 12149688"/>
                <a:gd name="connsiteY47" fmla="*/ 1610907 h 15946069"/>
                <a:gd name="connsiteX48" fmla="*/ 5480133 w 12149688"/>
                <a:gd name="connsiteY48" fmla="*/ 2167963 h 15946069"/>
                <a:gd name="connsiteX49" fmla="*/ 4742216 w 12149688"/>
                <a:gd name="connsiteY49" fmla="*/ 2862495 h 15946069"/>
                <a:gd name="connsiteX50" fmla="*/ 2658667 w 12149688"/>
                <a:gd name="connsiteY50" fmla="*/ 0 h 15946069"/>
                <a:gd name="connsiteX51" fmla="*/ 2658682 w 12149688"/>
                <a:gd name="connsiteY51" fmla="*/ 1018890 h 15946069"/>
                <a:gd name="connsiteX52" fmla="*/ 1850829 w 12149688"/>
                <a:gd name="connsiteY52" fmla="*/ 1730283 h 15946069"/>
                <a:gd name="connsiteX53" fmla="*/ 1404694 w 12149688"/>
                <a:gd name="connsiteY53" fmla="*/ 2272862 h 15946069"/>
                <a:gd name="connsiteX54" fmla="*/ 2351216 w 12149688"/>
                <a:gd name="connsiteY54" fmla="*/ 3388182 h 15946069"/>
                <a:gd name="connsiteX55" fmla="*/ 2658682 w 12149688"/>
                <a:gd name="connsiteY55" fmla="*/ 4286458 h 15946069"/>
                <a:gd name="connsiteX56" fmla="*/ 1935228 w 12149688"/>
                <a:gd name="connsiteY56" fmla="*/ 5220918 h 15946069"/>
                <a:gd name="connsiteX57" fmla="*/ 875281 w 12149688"/>
                <a:gd name="connsiteY57" fmla="*/ 5166646 h 15946069"/>
                <a:gd name="connsiteX58" fmla="*/ 0 w 12149688"/>
                <a:gd name="connsiteY58" fmla="*/ 5890112 h 15946069"/>
                <a:gd name="connsiteX59" fmla="*/ 72345 w 12149688"/>
                <a:gd name="connsiteY59" fmla="*/ 6921032 h 15946069"/>
                <a:gd name="connsiteX60" fmla="*/ 477776 w 12149688"/>
                <a:gd name="connsiteY60" fmla="*/ 7436569 h 15946069"/>
                <a:gd name="connsiteX0" fmla="*/ 477776 w 12149688"/>
                <a:gd name="connsiteY0" fmla="*/ 7436569 h 15946069"/>
                <a:gd name="connsiteX1" fmla="*/ 271294 w 12149688"/>
                <a:gd name="connsiteY1" fmla="*/ 8060457 h 15946069"/>
                <a:gd name="connsiteX2" fmla="*/ 379812 w 12149688"/>
                <a:gd name="connsiteY2" fmla="*/ 8675382 h 15946069"/>
                <a:gd name="connsiteX3" fmla="*/ 759624 w 12149688"/>
                <a:gd name="connsiteY3" fmla="*/ 9217969 h 15946069"/>
                <a:gd name="connsiteX4" fmla="*/ 687278 w 12149688"/>
                <a:gd name="connsiteY4" fmla="*/ 9670126 h 15946069"/>
                <a:gd name="connsiteX5" fmla="*/ 144687 w 12149688"/>
                <a:gd name="connsiteY5" fmla="*/ 9941420 h 15946069"/>
                <a:gd name="connsiteX6" fmla="*/ 343643 w 12149688"/>
                <a:gd name="connsiteY6" fmla="*/ 10592536 h 15946069"/>
                <a:gd name="connsiteX7" fmla="*/ 940487 w 12149688"/>
                <a:gd name="connsiteY7" fmla="*/ 10954252 h 15946069"/>
                <a:gd name="connsiteX8" fmla="*/ 596844 w 12149688"/>
                <a:gd name="connsiteY8" fmla="*/ 11786221 h 15946069"/>
                <a:gd name="connsiteX9" fmla="*/ 633017 w 12149688"/>
                <a:gd name="connsiteY9" fmla="*/ 12780969 h 15946069"/>
                <a:gd name="connsiteX10" fmla="*/ 198944 w 12149688"/>
                <a:gd name="connsiteY10" fmla="*/ 13341645 h 15946069"/>
                <a:gd name="connsiteX11" fmla="*/ 723451 w 12149688"/>
                <a:gd name="connsiteY11" fmla="*/ 13757629 h 15946069"/>
                <a:gd name="connsiteX12" fmla="*/ 1640036 w 12149688"/>
                <a:gd name="connsiteY12" fmla="*/ 13197151 h 15946069"/>
                <a:gd name="connsiteX13" fmla="*/ 1880971 w 12149688"/>
                <a:gd name="connsiteY13" fmla="*/ 13395906 h 15946069"/>
                <a:gd name="connsiteX14" fmla="*/ 2930086 w 12149688"/>
                <a:gd name="connsiteY14" fmla="*/ 12952832 h 15946069"/>
                <a:gd name="connsiteX15" fmla="*/ 3828256 w 12149688"/>
                <a:gd name="connsiteY15" fmla="*/ 13245188 h 15946069"/>
                <a:gd name="connsiteX16" fmla="*/ 4768739 w 12149688"/>
                <a:gd name="connsiteY16" fmla="*/ 13040205 h 15946069"/>
                <a:gd name="connsiteX17" fmla="*/ 5190751 w 12149688"/>
                <a:gd name="connsiteY17" fmla="*/ 13649115 h 15946069"/>
                <a:gd name="connsiteX18" fmla="*/ 5932290 w 12149688"/>
                <a:gd name="connsiteY18" fmla="*/ 13444132 h 15946069"/>
                <a:gd name="connsiteX19" fmla="*/ 6498992 w 12149688"/>
                <a:gd name="connsiteY19" fmla="*/ 12991975 h 15946069"/>
                <a:gd name="connsiteX20" fmla="*/ 7373161 w 12149688"/>
                <a:gd name="connsiteY20" fmla="*/ 13582800 h 15946069"/>
                <a:gd name="connsiteX21" fmla="*/ 8512588 w 12149688"/>
                <a:gd name="connsiteY21" fmla="*/ 13570738 h 15946069"/>
                <a:gd name="connsiteX22" fmla="*/ 9742454 w 12149688"/>
                <a:gd name="connsiteY22" fmla="*/ 14004811 h 15946069"/>
                <a:gd name="connsiteX23" fmla="*/ 10616683 w 12149688"/>
                <a:gd name="connsiteY23" fmla="*/ 15358294 h 15946069"/>
                <a:gd name="connsiteX24" fmla="*/ 11117010 w 12149688"/>
                <a:gd name="connsiteY24" fmla="*/ 15946069 h 15946069"/>
                <a:gd name="connsiteX25" fmla="*/ 11589945 w 12149688"/>
                <a:gd name="connsiteY25" fmla="*/ 15762811 h 15946069"/>
                <a:gd name="connsiteX26" fmla="*/ 11980885 w 12149688"/>
                <a:gd name="connsiteY26" fmla="*/ 11483773 h 15946069"/>
                <a:gd name="connsiteX27" fmla="*/ 11899987 w 12149688"/>
                <a:gd name="connsiteY27" fmla="*/ 10752355 h 15946069"/>
                <a:gd name="connsiteX28" fmla="*/ 11893530 w 12149688"/>
                <a:gd name="connsiteY28" fmla="*/ 10283919 h 15946069"/>
                <a:gd name="connsiteX29" fmla="*/ 11533930 w 12149688"/>
                <a:gd name="connsiteY29" fmla="*/ 9393151 h 15946069"/>
                <a:gd name="connsiteX30" fmla="*/ 11668657 w 12149688"/>
                <a:gd name="connsiteY30" fmla="*/ 8754316 h 15946069"/>
                <a:gd name="connsiteX31" fmla="*/ 12149687 w 12149688"/>
                <a:gd name="connsiteY31" fmla="*/ 8101619 h 15946069"/>
                <a:gd name="connsiteX32" fmla="*/ 11118705 w 12149688"/>
                <a:gd name="connsiteY32" fmla="*/ 7156845 h 15946069"/>
                <a:gd name="connsiteX33" fmla="*/ 10425568 w 12149688"/>
                <a:gd name="connsiteY33" fmla="*/ 7223642 h 15946069"/>
                <a:gd name="connsiteX34" fmla="*/ 10709437 w 12149688"/>
                <a:gd name="connsiteY34" fmla="*/ 6730245 h 15946069"/>
                <a:gd name="connsiteX35" fmla="*/ 10017677 w 12149688"/>
                <a:gd name="connsiteY35" fmla="*/ 5883475 h 15946069"/>
                <a:gd name="connsiteX36" fmla="*/ 9318595 w 12149688"/>
                <a:gd name="connsiteY36" fmla="*/ 5859197 h 15946069"/>
                <a:gd name="connsiteX37" fmla="*/ 9215073 w 12149688"/>
                <a:gd name="connsiteY37" fmla="*/ 5387392 h 15946069"/>
                <a:gd name="connsiteX38" fmla="*/ 8600211 w 12149688"/>
                <a:gd name="connsiteY38" fmla="*/ 5564744 h 15946069"/>
                <a:gd name="connsiteX39" fmla="*/ 8412926 w 12149688"/>
                <a:gd name="connsiteY39" fmla="*/ 4835463 h 15946069"/>
                <a:gd name="connsiteX40" fmla="*/ 7744624 w 12149688"/>
                <a:gd name="connsiteY40" fmla="*/ 4382387 h 15946069"/>
                <a:gd name="connsiteX41" fmla="*/ 8112983 w 12149688"/>
                <a:gd name="connsiteY41" fmla="*/ 3770361 h 15946069"/>
                <a:gd name="connsiteX42" fmla="*/ 7637793 w 12149688"/>
                <a:gd name="connsiteY42" fmla="*/ 2526072 h 15946069"/>
                <a:gd name="connsiteX43" fmla="*/ 7264687 w 12149688"/>
                <a:gd name="connsiteY43" fmla="*/ 2131091 h 15946069"/>
                <a:gd name="connsiteX44" fmla="*/ 6594245 w 12149688"/>
                <a:gd name="connsiteY44" fmla="*/ 2055834 h 15946069"/>
                <a:gd name="connsiteX45" fmla="*/ 6431470 w 12149688"/>
                <a:gd name="connsiteY45" fmla="*/ 1314295 h 15946069"/>
                <a:gd name="connsiteX46" fmla="*/ 5642908 w 12149688"/>
                <a:gd name="connsiteY46" fmla="*/ 1343233 h 15946069"/>
                <a:gd name="connsiteX47" fmla="*/ 5150959 w 12149688"/>
                <a:gd name="connsiteY47" fmla="*/ 1610907 h 15946069"/>
                <a:gd name="connsiteX48" fmla="*/ 5480133 w 12149688"/>
                <a:gd name="connsiteY48" fmla="*/ 2167963 h 15946069"/>
                <a:gd name="connsiteX49" fmla="*/ 4742216 w 12149688"/>
                <a:gd name="connsiteY49" fmla="*/ 2862495 h 15946069"/>
                <a:gd name="connsiteX50" fmla="*/ 2658667 w 12149688"/>
                <a:gd name="connsiteY50" fmla="*/ 0 h 15946069"/>
                <a:gd name="connsiteX51" fmla="*/ 2658682 w 12149688"/>
                <a:gd name="connsiteY51" fmla="*/ 1018890 h 15946069"/>
                <a:gd name="connsiteX52" fmla="*/ 1850829 w 12149688"/>
                <a:gd name="connsiteY52" fmla="*/ 1730283 h 15946069"/>
                <a:gd name="connsiteX53" fmla="*/ 1404694 w 12149688"/>
                <a:gd name="connsiteY53" fmla="*/ 2272862 h 15946069"/>
                <a:gd name="connsiteX54" fmla="*/ 2351216 w 12149688"/>
                <a:gd name="connsiteY54" fmla="*/ 3388182 h 15946069"/>
                <a:gd name="connsiteX55" fmla="*/ 2658682 w 12149688"/>
                <a:gd name="connsiteY55" fmla="*/ 4286458 h 15946069"/>
                <a:gd name="connsiteX56" fmla="*/ 1935228 w 12149688"/>
                <a:gd name="connsiteY56" fmla="*/ 5220918 h 15946069"/>
                <a:gd name="connsiteX57" fmla="*/ 875281 w 12149688"/>
                <a:gd name="connsiteY57" fmla="*/ 5166646 h 15946069"/>
                <a:gd name="connsiteX58" fmla="*/ 0 w 12149688"/>
                <a:gd name="connsiteY58" fmla="*/ 5890112 h 15946069"/>
                <a:gd name="connsiteX59" fmla="*/ 72345 w 12149688"/>
                <a:gd name="connsiteY59" fmla="*/ 6921032 h 15946069"/>
                <a:gd name="connsiteX60" fmla="*/ 477776 w 12149688"/>
                <a:gd name="connsiteY60" fmla="*/ 7436569 h 15946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2149688" h="15946069">
                  <a:moveTo>
                    <a:pt x="477776" y="7436569"/>
                  </a:moveTo>
                  <a:lnTo>
                    <a:pt x="271294" y="8060457"/>
                  </a:lnTo>
                  <a:lnTo>
                    <a:pt x="379812" y="8675382"/>
                  </a:lnTo>
                  <a:lnTo>
                    <a:pt x="759624" y="9217969"/>
                  </a:lnTo>
                  <a:lnTo>
                    <a:pt x="687278" y="9670126"/>
                  </a:lnTo>
                  <a:lnTo>
                    <a:pt x="144687" y="9941420"/>
                  </a:lnTo>
                  <a:lnTo>
                    <a:pt x="343643" y="10592536"/>
                  </a:lnTo>
                  <a:lnTo>
                    <a:pt x="940487" y="10954252"/>
                  </a:lnTo>
                  <a:lnTo>
                    <a:pt x="596844" y="11786221"/>
                  </a:lnTo>
                  <a:lnTo>
                    <a:pt x="633017" y="12780969"/>
                  </a:lnTo>
                  <a:lnTo>
                    <a:pt x="198944" y="13341645"/>
                  </a:lnTo>
                  <a:lnTo>
                    <a:pt x="723451" y="13757629"/>
                  </a:lnTo>
                  <a:lnTo>
                    <a:pt x="1640036" y="13197151"/>
                  </a:lnTo>
                  <a:lnTo>
                    <a:pt x="1880971" y="13395906"/>
                  </a:lnTo>
                  <a:lnTo>
                    <a:pt x="2930086" y="12952832"/>
                  </a:lnTo>
                  <a:lnTo>
                    <a:pt x="3828256" y="13245188"/>
                  </a:lnTo>
                  <a:lnTo>
                    <a:pt x="4768739" y="13040205"/>
                  </a:lnTo>
                  <a:lnTo>
                    <a:pt x="5190751" y="13649115"/>
                  </a:lnTo>
                  <a:lnTo>
                    <a:pt x="5932290" y="13444132"/>
                  </a:lnTo>
                  <a:lnTo>
                    <a:pt x="6498992" y="12991975"/>
                  </a:lnTo>
                  <a:lnTo>
                    <a:pt x="7373161" y="13582800"/>
                  </a:lnTo>
                  <a:lnTo>
                    <a:pt x="8512588" y="13570738"/>
                  </a:lnTo>
                  <a:lnTo>
                    <a:pt x="9742454" y="14004811"/>
                  </a:lnTo>
                  <a:lnTo>
                    <a:pt x="10616683" y="15358294"/>
                  </a:lnTo>
                  <a:lnTo>
                    <a:pt x="11117010" y="15946069"/>
                  </a:lnTo>
                  <a:lnTo>
                    <a:pt x="11589945" y="15762811"/>
                  </a:lnTo>
                  <a:lnTo>
                    <a:pt x="11980885" y="11483773"/>
                  </a:lnTo>
                  <a:lnTo>
                    <a:pt x="11899987" y="10752355"/>
                  </a:lnTo>
                  <a:cubicBezTo>
                    <a:pt x="11897835" y="10596210"/>
                    <a:pt x="11895682" y="10440064"/>
                    <a:pt x="11893530" y="10283919"/>
                  </a:cubicBezTo>
                  <a:lnTo>
                    <a:pt x="11533930" y="9393151"/>
                  </a:lnTo>
                  <a:lnTo>
                    <a:pt x="11668657" y="8754316"/>
                  </a:lnTo>
                  <a:lnTo>
                    <a:pt x="12149687" y="8101619"/>
                  </a:lnTo>
                  <a:lnTo>
                    <a:pt x="11118705" y="7156845"/>
                  </a:lnTo>
                  <a:lnTo>
                    <a:pt x="10425568" y="7223642"/>
                  </a:lnTo>
                  <a:lnTo>
                    <a:pt x="10709437" y="6730245"/>
                  </a:lnTo>
                  <a:lnTo>
                    <a:pt x="10017677" y="5883475"/>
                  </a:lnTo>
                  <a:lnTo>
                    <a:pt x="9318595" y="5859197"/>
                  </a:lnTo>
                  <a:lnTo>
                    <a:pt x="9215073" y="5387392"/>
                  </a:lnTo>
                  <a:lnTo>
                    <a:pt x="8600211" y="5564744"/>
                  </a:lnTo>
                  <a:lnTo>
                    <a:pt x="8412926" y="4835463"/>
                  </a:lnTo>
                  <a:lnTo>
                    <a:pt x="7744624" y="4382387"/>
                  </a:lnTo>
                  <a:lnTo>
                    <a:pt x="8112983" y="3770361"/>
                  </a:lnTo>
                  <a:lnTo>
                    <a:pt x="7637793" y="2526072"/>
                  </a:lnTo>
                  <a:lnTo>
                    <a:pt x="7264687" y="2131091"/>
                  </a:lnTo>
                  <a:lnTo>
                    <a:pt x="6594245" y="2055834"/>
                  </a:lnTo>
                  <a:lnTo>
                    <a:pt x="6431470" y="1314295"/>
                  </a:lnTo>
                  <a:lnTo>
                    <a:pt x="5642908" y="1343233"/>
                  </a:lnTo>
                  <a:lnTo>
                    <a:pt x="5150959" y="1610907"/>
                  </a:lnTo>
                  <a:lnTo>
                    <a:pt x="5480133" y="2167963"/>
                  </a:lnTo>
                  <a:lnTo>
                    <a:pt x="4742216" y="2862495"/>
                  </a:lnTo>
                  <a:lnTo>
                    <a:pt x="2658667" y="0"/>
                  </a:lnTo>
                  <a:lnTo>
                    <a:pt x="2658682" y="1018890"/>
                  </a:lnTo>
                  <a:lnTo>
                    <a:pt x="1850829" y="1730283"/>
                  </a:lnTo>
                  <a:lnTo>
                    <a:pt x="1404694" y="2272862"/>
                  </a:lnTo>
                  <a:lnTo>
                    <a:pt x="2351216" y="3388182"/>
                  </a:lnTo>
                  <a:lnTo>
                    <a:pt x="2658682" y="4286458"/>
                  </a:lnTo>
                  <a:lnTo>
                    <a:pt x="1935228" y="5220918"/>
                  </a:lnTo>
                  <a:lnTo>
                    <a:pt x="875281" y="5166646"/>
                  </a:lnTo>
                  <a:lnTo>
                    <a:pt x="0" y="5890112"/>
                  </a:lnTo>
                  <a:lnTo>
                    <a:pt x="72345" y="6921032"/>
                  </a:lnTo>
                  <a:lnTo>
                    <a:pt x="477776" y="7436569"/>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12" name="任意多边形 114">
              <a:extLst>
                <a:ext uri="{FF2B5EF4-FFF2-40B4-BE49-F238E27FC236}">
                  <a16:creationId xmlns:a16="http://schemas.microsoft.com/office/drawing/2014/main" id="{04B9F5D8-01A0-6D1C-6F6C-D3ABB7BA4F95}"/>
                </a:ext>
              </a:extLst>
            </p:cNvPr>
            <p:cNvSpPr>
              <a:spLocks/>
            </p:cNvSpPr>
            <p:nvPr/>
          </p:nvSpPr>
          <p:spPr bwMode="auto">
            <a:xfrm>
              <a:off x="8255970" y="3854122"/>
              <a:ext cx="2381346" cy="1737972"/>
            </a:xfrm>
            <a:custGeom>
              <a:avLst/>
              <a:gdLst>
                <a:gd name="connsiteX0" fmla="*/ 0 w 17157070"/>
                <a:gd name="connsiteY0" fmla="*/ 4521645 h 12886678"/>
                <a:gd name="connsiteX1" fmla="*/ 613837 w 17157070"/>
                <a:gd name="connsiteY1" fmla="*/ 6900003 h 12886678"/>
                <a:gd name="connsiteX2" fmla="*/ 1518338 w 17157070"/>
                <a:gd name="connsiteY2" fmla="*/ 7768153 h 12886678"/>
                <a:gd name="connsiteX3" fmla="*/ 1735898 w 17157070"/>
                <a:gd name="connsiteY3" fmla="*/ 8600077 h 12886678"/>
                <a:gd name="connsiteX4" fmla="*/ 3137400 w 17157070"/>
                <a:gd name="connsiteY4" fmla="*/ 9124637 h 12886678"/>
                <a:gd name="connsiteX5" fmla="*/ 3453963 w 17157070"/>
                <a:gd name="connsiteY5" fmla="*/ 10481128 h 12886678"/>
                <a:gd name="connsiteX6" fmla="*/ 4168520 w 17157070"/>
                <a:gd name="connsiteY6" fmla="*/ 11855697 h 12886678"/>
                <a:gd name="connsiteX7" fmla="*/ 4162343 w 17157070"/>
                <a:gd name="connsiteY7" fmla="*/ 12886678 h 12886678"/>
                <a:gd name="connsiteX8" fmla="*/ 4605215 w 17157070"/>
                <a:gd name="connsiteY8" fmla="*/ 12802514 h 12886678"/>
                <a:gd name="connsiteX9" fmla="*/ 4840336 w 17157070"/>
                <a:gd name="connsiteY9" fmla="*/ 12513132 h 12886678"/>
                <a:gd name="connsiteX10" fmla="*/ 6070201 w 17157070"/>
                <a:gd name="connsiteY10" fmla="*/ 12531224 h 12886678"/>
                <a:gd name="connsiteX11" fmla="*/ 6884082 w 17157070"/>
                <a:gd name="connsiteY11" fmla="*/ 11934372 h 12886678"/>
                <a:gd name="connsiteX12" fmla="*/ 7716051 w 17157070"/>
                <a:gd name="connsiteY12" fmla="*/ 12259931 h 12886678"/>
                <a:gd name="connsiteX13" fmla="*/ 8584189 w 17157070"/>
                <a:gd name="connsiteY13" fmla="*/ 12060979 h 12886678"/>
                <a:gd name="connsiteX14" fmla="*/ 9289552 w 17157070"/>
                <a:gd name="connsiteY14" fmla="*/ 12259931 h 12886678"/>
                <a:gd name="connsiteX15" fmla="*/ 10139605 w 17157070"/>
                <a:gd name="connsiteY15" fmla="*/ 11862031 h 12886678"/>
                <a:gd name="connsiteX16" fmla="*/ 10664108 w 17157070"/>
                <a:gd name="connsiteY16" fmla="*/ 12079067 h 12886678"/>
                <a:gd name="connsiteX17" fmla="*/ 11387555 w 17157070"/>
                <a:gd name="connsiteY17" fmla="*/ 11988637 h 12886678"/>
                <a:gd name="connsiteX18" fmla="*/ 11966315 w 17157070"/>
                <a:gd name="connsiteY18" fmla="*/ 12712092 h 12886678"/>
                <a:gd name="connsiteX19" fmla="*/ 12942975 w 17157070"/>
                <a:gd name="connsiteY19" fmla="*/ 12476963 h 12886678"/>
                <a:gd name="connsiteX20" fmla="*/ 13575992 w 17157070"/>
                <a:gd name="connsiteY20" fmla="*/ 12874863 h 12886678"/>
                <a:gd name="connsiteX21" fmla="*/ 13973888 w 17157070"/>
                <a:gd name="connsiteY21" fmla="*/ 12784430 h 12886678"/>
                <a:gd name="connsiteX22" fmla="*/ 14028146 w 17157070"/>
                <a:gd name="connsiteY22" fmla="*/ 12241839 h 12886678"/>
                <a:gd name="connsiteX23" fmla="*/ 13594073 w 17157070"/>
                <a:gd name="connsiteY23" fmla="*/ 12187582 h 12886678"/>
                <a:gd name="connsiteX24" fmla="*/ 13612161 w 17157070"/>
                <a:gd name="connsiteY24" fmla="*/ 11500303 h 12886678"/>
                <a:gd name="connsiteX25" fmla="*/ 14190925 w 17157070"/>
                <a:gd name="connsiteY25" fmla="*/ 11355616 h 12886678"/>
                <a:gd name="connsiteX26" fmla="*/ 13865366 w 17157070"/>
                <a:gd name="connsiteY26" fmla="*/ 10885371 h 12886678"/>
                <a:gd name="connsiteX27" fmla="*/ 14136664 w 17157070"/>
                <a:gd name="connsiteY27" fmla="*/ 10487475 h 12886678"/>
                <a:gd name="connsiteX28" fmla="*/ 14703435 w 17157070"/>
                <a:gd name="connsiteY28" fmla="*/ 10514571 h 12886678"/>
                <a:gd name="connsiteX29" fmla="*/ 14661163 w 17157070"/>
                <a:gd name="connsiteY29" fmla="*/ 10342787 h 12886678"/>
                <a:gd name="connsiteX30" fmla="*/ 14335608 w 17157070"/>
                <a:gd name="connsiteY30" fmla="*/ 10180012 h 12886678"/>
                <a:gd name="connsiteX31" fmla="*/ 14498387 w 17157070"/>
                <a:gd name="connsiteY31" fmla="*/ 9601248 h 12886678"/>
                <a:gd name="connsiteX32" fmla="*/ 13847278 w 17157070"/>
                <a:gd name="connsiteY32" fmla="*/ 8696934 h 12886678"/>
                <a:gd name="connsiteX33" fmla="*/ 13340864 w 17157070"/>
                <a:gd name="connsiteY33" fmla="*/ 7991571 h 12886678"/>
                <a:gd name="connsiteX34" fmla="*/ 13123831 w 17157070"/>
                <a:gd name="connsiteY34" fmla="*/ 6906393 h 12886678"/>
                <a:gd name="connsiteX35" fmla="*/ 13232349 w 17157070"/>
                <a:gd name="connsiteY35" fmla="*/ 6219119 h 12886678"/>
                <a:gd name="connsiteX36" fmla="*/ 12273778 w 17157070"/>
                <a:gd name="connsiteY36" fmla="*/ 6252280 h 12886678"/>
                <a:gd name="connsiteX37" fmla="*/ 12201432 w 17157070"/>
                <a:gd name="connsiteY37" fmla="*/ 5854380 h 12886678"/>
                <a:gd name="connsiteX38" fmla="*/ 12508887 w 17157070"/>
                <a:gd name="connsiteY38" fmla="*/ 5350985 h 12886678"/>
                <a:gd name="connsiteX39" fmla="*/ 13774933 w 17157070"/>
                <a:gd name="connsiteY39" fmla="*/ 4573269 h 12886678"/>
                <a:gd name="connsiteX40" fmla="*/ 15294184 w 17157070"/>
                <a:gd name="connsiteY40" fmla="*/ 4066854 h 12886678"/>
                <a:gd name="connsiteX41" fmla="*/ 15746333 w 17157070"/>
                <a:gd name="connsiteY41" fmla="*/ 4392409 h 12886678"/>
                <a:gd name="connsiteX42" fmla="*/ 16578306 w 17157070"/>
                <a:gd name="connsiteY42" fmla="*/ 4103027 h 12886678"/>
                <a:gd name="connsiteX43" fmla="*/ 17084732 w 17157070"/>
                <a:gd name="connsiteY43" fmla="*/ 4500935 h 12886678"/>
                <a:gd name="connsiteX44" fmla="*/ 17157070 w 17157070"/>
                <a:gd name="connsiteY44" fmla="*/ 3560444 h 12886678"/>
                <a:gd name="connsiteX45" fmla="*/ 16433615 w 17157070"/>
                <a:gd name="connsiteY45" fmla="*/ 3470014 h 12886678"/>
                <a:gd name="connsiteX46" fmla="*/ 16415865 w 17157070"/>
                <a:gd name="connsiteY46" fmla="*/ 2853862 h 12886678"/>
                <a:gd name="connsiteX47" fmla="*/ 15963191 w 17157070"/>
                <a:gd name="connsiteY47" fmla="*/ 2993318 h 12886678"/>
                <a:gd name="connsiteX48" fmla="*/ 14923009 w 17157070"/>
                <a:gd name="connsiteY48" fmla="*/ 1763435 h 12886678"/>
                <a:gd name="connsiteX49" fmla="*/ 14244644 w 17157070"/>
                <a:gd name="connsiteY49" fmla="*/ 325540 h 12886678"/>
                <a:gd name="connsiteX50" fmla="*/ 13367278 w 17157070"/>
                <a:gd name="connsiteY50" fmla="*/ 614945 h 12886678"/>
                <a:gd name="connsiteX51" fmla="*/ 12218563 w 17157070"/>
                <a:gd name="connsiteY51" fmla="*/ 623988 h 12886678"/>
                <a:gd name="connsiteX52" fmla="*/ 11323109 w 17157070"/>
                <a:gd name="connsiteY52" fmla="*/ 36169 h 12886678"/>
                <a:gd name="connsiteX53" fmla="*/ 10780410 w 17157070"/>
                <a:gd name="connsiteY53" fmla="*/ 488337 h 12886678"/>
                <a:gd name="connsiteX54" fmla="*/ 10038717 w 17157070"/>
                <a:gd name="connsiteY54" fmla="*/ 687288 h 12886678"/>
                <a:gd name="connsiteX55" fmla="*/ 9622651 w 17157070"/>
                <a:gd name="connsiteY55" fmla="*/ 81389 h 12886678"/>
                <a:gd name="connsiteX56" fmla="*/ 8672925 w 17157070"/>
                <a:gd name="connsiteY56" fmla="*/ 280344 h 12886678"/>
                <a:gd name="connsiteX57" fmla="*/ 7759379 w 17157070"/>
                <a:gd name="connsiteY57" fmla="*/ 0 h 12886678"/>
                <a:gd name="connsiteX58" fmla="*/ 6729494 w 17157070"/>
                <a:gd name="connsiteY58" fmla="*/ 443189 h 12886678"/>
                <a:gd name="connsiteX59" fmla="*/ 6493079 w 17157070"/>
                <a:gd name="connsiteY59" fmla="*/ 1012843 h 12886678"/>
                <a:gd name="connsiteX60" fmla="*/ 6710175 w 17157070"/>
                <a:gd name="connsiteY60" fmla="*/ 2161345 h 12886678"/>
                <a:gd name="connsiteX61" fmla="*/ 4141784 w 17157070"/>
                <a:gd name="connsiteY61" fmla="*/ 2086470 h 12886678"/>
                <a:gd name="connsiteX62" fmla="*/ 2314296 w 17157070"/>
                <a:gd name="connsiteY62" fmla="*/ 2369327 h 12886678"/>
                <a:gd name="connsiteX63" fmla="*/ 1334589 w 17157070"/>
                <a:gd name="connsiteY63" fmla="*/ 3174199 h 12886678"/>
                <a:gd name="connsiteX64" fmla="*/ 0 w 17157070"/>
                <a:gd name="connsiteY64" fmla="*/ 4521645 h 12886678"/>
                <a:gd name="connsiteX0" fmla="*/ 0 w 17157070"/>
                <a:gd name="connsiteY0" fmla="*/ 4521645 h 12886678"/>
                <a:gd name="connsiteX1" fmla="*/ 613837 w 17157070"/>
                <a:gd name="connsiteY1" fmla="*/ 6900003 h 12886678"/>
                <a:gd name="connsiteX2" fmla="*/ 1518338 w 17157070"/>
                <a:gd name="connsiteY2" fmla="*/ 7768153 h 12886678"/>
                <a:gd name="connsiteX3" fmla="*/ 1735898 w 17157070"/>
                <a:gd name="connsiteY3" fmla="*/ 8600077 h 12886678"/>
                <a:gd name="connsiteX4" fmla="*/ 3137400 w 17157070"/>
                <a:gd name="connsiteY4" fmla="*/ 9124637 h 12886678"/>
                <a:gd name="connsiteX5" fmla="*/ 3453963 w 17157070"/>
                <a:gd name="connsiteY5" fmla="*/ 10481128 h 12886678"/>
                <a:gd name="connsiteX6" fmla="*/ 4168520 w 17157070"/>
                <a:gd name="connsiteY6" fmla="*/ 11855697 h 12886678"/>
                <a:gd name="connsiteX7" fmla="*/ 4162343 w 17157070"/>
                <a:gd name="connsiteY7" fmla="*/ 12886678 h 12886678"/>
                <a:gd name="connsiteX8" fmla="*/ 4605215 w 17157070"/>
                <a:gd name="connsiteY8" fmla="*/ 12802514 h 12886678"/>
                <a:gd name="connsiteX9" fmla="*/ 4840336 w 17157070"/>
                <a:gd name="connsiteY9" fmla="*/ 12513132 h 12886678"/>
                <a:gd name="connsiteX10" fmla="*/ 6070201 w 17157070"/>
                <a:gd name="connsiteY10" fmla="*/ 12531224 h 12886678"/>
                <a:gd name="connsiteX11" fmla="*/ 6884082 w 17157070"/>
                <a:gd name="connsiteY11" fmla="*/ 11934372 h 12886678"/>
                <a:gd name="connsiteX12" fmla="*/ 7716051 w 17157070"/>
                <a:gd name="connsiteY12" fmla="*/ 12259931 h 12886678"/>
                <a:gd name="connsiteX13" fmla="*/ 8584189 w 17157070"/>
                <a:gd name="connsiteY13" fmla="*/ 12060979 h 12886678"/>
                <a:gd name="connsiteX14" fmla="*/ 9289552 w 17157070"/>
                <a:gd name="connsiteY14" fmla="*/ 12259931 h 12886678"/>
                <a:gd name="connsiteX15" fmla="*/ 10139605 w 17157070"/>
                <a:gd name="connsiteY15" fmla="*/ 11862031 h 12886678"/>
                <a:gd name="connsiteX16" fmla="*/ 10664108 w 17157070"/>
                <a:gd name="connsiteY16" fmla="*/ 12079067 h 12886678"/>
                <a:gd name="connsiteX17" fmla="*/ 11387555 w 17157070"/>
                <a:gd name="connsiteY17" fmla="*/ 11988637 h 12886678"/>
                <a:gd name="connsiteX18" fmla="*/ 11966315 w 17157070"/>
                <a:gd name="connsiteY18" fmla="*/ 12712092 h 12886678"/>
                <a:gd name="connsiteX19" fmla="*/ 12942975 w 17157070"/>
                <a:gd name="connsiteY19" fmla="*/ 12476963 h 12886678"/>
                <a:gd name="connsiteX20" fmla="*/ 13575992 w 17157070"/>
                <a:gd name="connsiteY20" fmla="*/ 12874863 h 12886678"/>
                <a:gd name="connsiteX21" fmla="*/ 13973888 w 17157070"/>
                <a:gd name="connsiteY21" fmla="*/ 12784430 h 12886678"/>
                <a:gd name="connsiteX22" fmla="*/ 14028146 w 17157070"/>
                <a:gd name="connsiteY22" fmla="*/ 12241839 h 12886678"/>
                <a:gd name="connsiteX23" fmla="*/ 13594073 w 17157070"/>
                <a:gd name="connsiteY23" fmla="*/ 12187582 h 12886678"/>
                <a:gd name="connsiteX24" fmla="*/ 13612161 w 17157070"/>
                <a:gd name="connsiteY24" fmla="*/ 11500303 h 12886678"/>
                <a:gd name="connsiteX25" fmla="*/ 14190925 w 17157070"/>
                <a:gd name="connsiteY25" fmla="*/ 11355616 h 12886678"/>
                <a:gd name="connsiteX26" fmla="*/ 13865366 w 17157070"/>
                <a:gd name="connsiteY26" fmla="*/ 10885371 h 12886678"/>
                <a:gd name="connsiteX27" fmla="*/ 14136664 w 17157070"/>
                <a:gd name="connsiteY27" fmla="*/ 10487475 h 12886678"/>
                <a:gd name="connsiteX28" fmla="*/ 14703435 w 17157070"/>
                <a:gd name="connsiteY28" fmla="*/ 10514571 h 12886678"/>
                <a:gd name="connsiteX29" fmla="*/ 14661163 w 17157070"/>
                <a:gd name="connsiteY29" fmla="*/ 10342787 h 12886678"/>
                <a:gd name="connsiteX30" fmla="*/ 14335608 w 17157070"/>
                <a:gd name="connsiteY30" fmla="*/ 10180012 h 12886678"/>
                <a:gd name="connsiteX31" fmla="*/ 14498387 w 17157070"/>
                <a:gd name="connsiteY31" fmla="*/ 9601248 h 12886678"/>
                <a:gd name="connsiteX32" fmla="*/ 13847278 w 17157070"/>
                <a:gd name="connsiteY32" fmla="*/ 8696934 h 12886678"/>
                <a:gd name="connsiteX33" fmla="*/ 13340864 w 17157070"/>
                <a:gd name="connsiteY33" fmla="*/ 7991571 h 12886678"/>
                <a:gd name="connsiteX34" fmla="*/ 13123831 w 17157070"/>
                <a:gd name="connsiteY34" fmla="*/ 6906393 h 12886678"/>
                <a:gd name="connsiteX35" fmla="*/ 13232349 w 17157070"/>
                <a:gd name="connsiteY35" fmla="*/ 6219119 h 12886678"/>
                <a:gd name="connsiteX36" fmla="*/ 12273778 w 17157070"/>
                <a:gd name="connsiteY36" fmla="*/ 6252280 h 12886678"/>
                <a:gd name="connsiteX37" fmla="*/ 12201432 w 17157070"/>
                <a:gd name="connsiteY37" fmla="*/ 5854380 h 12886678"/>
                <a:gd name="connsiteX38" fmla="*/ 12508887 w 17157070"/>
                <a:gd name="connsiteY38" fmla="*/ 5350985 h 12886678"/>
                <a:gd name="connsiteX39" fmla="*/ 13774933 w 17157070"/>
                <a:gd name="connsiteY39" fmla="*/ 4573269 h 12886678"/>
                <a:gd name="connsiteX40" fmla="*/ 15294184 w 17157070"/>
                <a:gd name="connsiteY40" fmla="*/ 4066854 h 12886678"/>
                <a:gd name="connsiteX41" fmla="*/ 15746333 w 17157070"/>
                <a:gd name="connsiteY41" fmla="*/ 4392409 h 12886678"/>
                <a:gd name="connsiteX42" fmla="*/ 16578306 w 17157070"/>
                <a:gd name="connsiteY42" fmla="*/ 4103027 h 12886678"/>
                <a:gd name="connsiteX43" fmla="*/ 17084732 w 17157070"/>
                <a:gd name="connsiteY43" fmla="*/ 4500935 h 12886678"/>
                <a:gd name="connsiteX44" fmla="*/ 17157070 w 17157070"/>
                <a:gd name="connsiteY44" fmla="*/ 3560444 h 12886678"/>
                <a:gd name="connsiteX45" fmla="*/ 16433615 w 17157070"/>
                <a:gd name="connsiteY45" fmla="*/ 3470014 h 12886678"/>
                <a:gd name="connsiteX46" fmla="*/ 16415865 w 17157070"/>
                <a:gd name="connsiteY46" fmla="*/ 2853862 h 12886678"/>
                <a:gd name="connsiteX47" fmla="*/ 15963191 w 17157070"/>
                <a:gd name="connsiteY47" fmla="*/ 2993318 h 12886678"/>
                <a:gd name="connsiteX48" fmla="*/ 14923009 w 17157070"/>
                <a:gd name="connsiteY48" fmla="*/ 1763435 h 12886678"/>
                <a:gd name="connsiteX49" fmla="*/ 14244644 w 17157070"/>
                <a:gd name="connsiteY49" fmla="*/ 325540 h 12886678"/>
                <a:gd name="connsiteX50" fmla="*/ 13367278 w 17157070"/>
                <a:gd name="connsiteY50" fmla="*/ 614945 h 12886678"/>
                <a:gd name="connsiteX51" fmla="*/ 12218563 w 17157070"/>
                <a:gd name="connsiteY51" fmla="*/ 623988 h 12886678"/>
                <a:gd name="connsiteX52" fmla="*/ 11323109 w 17157070"/>
                <a:gd name="connsiteY52" fmla="*/ 36169 h 12886678"/>
                <a:gd name="connsiteX53" fmla="*/ 10780410 w 17157070"/>
                <a:gd name="connsiteY53" fmla="*/ 488337 h 12886678"/>
                <a:gd name="connsiteX54" fmla="*/ 10038717 w 17157070"/>
                <a:gd name="connsiteY54" fmla="*/ 687288 h 12886678"/>
                <a:gd name="connsiteX55" fmla="*/ 9622651 w 17157070"/>
                <a:gd name="connsiteY55" fmla="*/ 81389 h 12886678"/>
                <a:gd name="connsiteX56" fmla="*/ 8672925 w 17157070"/>
                <a:gd name="connsiteY56" fmla="*/ 280344 h 12886678"/>
                <a:gd name="connsiteX57" fmla="*/ 7759379 w 17157070"/>
                <a:gd name="connsiteY57" fmla="*/ 0 h 12886678"/>
                <a:gd name="connsiteX58" fmla="*/ 6729494 w 17157070"/>
                <a:gd name="connsiteY58" fmla="*/ 443189 h 12886678"/>
                <a:gd name="connsiteX59" fmla="*/ 6493079 w 17157070"/>
                <a:gd name="connsiteY59" fmla="*/ 1012843 h 12886678"/>
                <a:gd name="connsiteX60" fmla="*/ 4437471 w 17157070"/>
                <a:gd name="connsiteY60" fmla="*/ 2805824 h 12886678"/>
                <a:gd name="connsiteX61" fmla="*/ 4141784 w 17157070"/>
                <a:gd name="connsiteY61" fmla="*/ 2086470 h 12886678"/>
                <a:gd name="connsiteX62" fmla="*/ 2314296 w 17157070"/>
                <a:gd name="connsiteY62" fmla="*/ 2369327 h 12886678"/>
                <a:gd name="connsiteX63" fmla="*/ 1334589 w 17157070"/>
                <a:gd name="connsiteY63" fmla="*/ 3174199 h 12886678"/>
                <a:gd name="connsiteX64" fmla="*/ 0 w 17157070"/>
                <a:gd name="connsiteY64" fmla="*/ 4521645 h 12886678"/>
                <a:gd name="connsiteX0" fmla="*/ 0 w 17157070"/>
                <a:gd name="connsiteY0" fmla="*/ 4521645 h 12886678"/>
                <a:gd name="connsiteX1" fmla="*/ 613837 w 17157070"/>
                <a:gd name="connsiteY1" fmla="*/ 6900003 h 12886678"/>
                <a:gd name="connsiteX2" fmla="*/ 1518338 w 17157070"/>
                <a:gd name="connsiteY2" fmla="*/ 7768153 h 12886678"/>
                <a:gd name="connsiteX3" fmla="*/ 1735898 w 17157070"/>
                <a:gd name="connsiteY3" fmla="*/ 8600077 h 12886678"/>
                <a:gd name="connsiteX4" fmla="*/ 3137400 w 17157070"/>
                <a:gd name="connsiteY4" fmla="*/ 9124637 h 12886678"/>
                <a:gd name="connsiteX5" fmla="*/ 3453963 w 17157070"/>
                <a:gd name="connsiteY5" fmla="*/ 10481128 h 12886678"/>
                <a:gd name="connsiteX6" fmla="*/ 4168520 w 17157070"/>
                <a:gd name="connsiteY6" fmla="*/ 11855697 h 12886678"/>
                <a:gd name="connsiteX7" fmla="*/ 4162343 w 17157070"/>
                <a:gd name="connsiteY7" fmla="*/ 12886678 h 12886678"/>
                <a:gd name="connsiteX8" fmla="*/ 4605215 w 17157070"/>
                <a:gd name="connsiteY8" fmla="*/ 12802514 h 12886678"/>
                <a:gd name="connsiteX9" fmla="*/ 4840336 w 17157070"/>
                <a:gd name="connsiteY9" fmla="*/ 12513132 h 12886678"/>
                <a:gd name="connsiteX10" fmla="*/ 6070201 w 17157070"/>
                <a:gd name="connsiteY10" fmla="*/ 12531224 h 12886678"/>
                <a:gd name="connsiteX11" fmla="*/ 6884082 w 17157070"/>
                <a:gd name="connsiteY11" fmla="*/ 11934372 h 12886678"/>
                <a:gd name="connsiteX12" fmla="*/ 7716051 w 17157070"/>
                <a:gd name="connsiteY12" fmla="*/ 12259931 h 12886678"/>
                <a:gd name="connsiteX13" fmla="*/ 8584189 w 17157070"/>
                <a:gd name="connsiteY13" fmla="*/ 12060979 h 12886678"/>
                <a:gd name="connsiteX14" fmla="*/ 9289552 w 17157070"/>
                <a:gd name="connsiteY14" fmla="*/ 12259931 h 12886678"/>
                <a:gd name="connsiteX15" fmla="*/ 10139605 w 17157070"/>
                <a:gd name="connsiteY15" fmla="*/ 11862031 h 12886678"/>
                <a:gd name="connsiteX16" fmla="*/ 10664108 w 17157070"/>
                <a:gd name="connsiteY16" fmla="*/ 12079067 h 12886678"/>
                <a:gd name="connsiteX17" fmla="*/ 11387555 w 17157070"/>
                <a:gd name="connsiteY17" fmla="*/ 11988637 h 12886678"/>
                <a:gd name="connsiteX18" fmla="*/ 11966315 w 17157070"/>
                <a:gd name="connsiteY18" fmla="*/ 12712092 h 12886678"/>
                <a:gd name="connsiteX19" fmla="*/ 12942975 w 17157070"/>
                <a:gd name="connsiteY19" fmla="*/ 12476963 h 12886678"/>
                <a:gd name="connsiteX20" fmla="*/ 13575992 w 17157070"/>
                <a:gd name="connsiteY20" fmla="*/ 12874863 h 12886678"/>
                <a:gd name="connsiteX21" fmla="*/ 13973888 w 17157070"/>
                <a:gd name="connsiteY21" fmla="*/ 12784430 h 12886678"/>
                <a:gd name="connsiteX22" fmla="*/ 14028146 w 17157070"/>
                <a:gd name="connsiteY22" fmla="*/ 12241839 h 12886678"/>
                <a:gd name="connsiteX23" fmla="*/ 13594073 w 17157070"/>
                <a:gd name="connsiteY23" fmla="*/ 12187582 h 12886678"/>
                <a:gd name="connsiteX24" fmla="*/ 13612161 w 17157070"/>
                <a:gd name="connsiteY24" fmla="*/ 11500303 h 12886678"/>
                <a:gd name="connsiteX25" fmla="*/ 14190925 w 17157070"/>
                <a:gd name="connsiteY25" fmla="*/ 11355616 h 12886678"/>
                <a:gd name="connsiteX26" fmla="*/ 13865366 w 17157070"/>
                <a:gd name="connsiteY26" fmla="*/ 10885371 h 12886678"/>
                <a:gd name="connsiteX27" fmla="*/ 14136664 w 17157070"/>
                <a:gd name="connsiteY27" fmla="*/ 10487475 h 12886678"/>
                <a:gd name="connsiteX28" fmla="*/ 14703435 w 17157070"/>
                <a:gd name="connsiteY28" fmla="*/ 10514571 h 12886678"/>
                <a:gd name="connsiteX29" fmla="*/ 14661163 w 17157070"/>
                <a:gd name="connsiteY29" fmla="*/ 10342787 h 12886678"/>
                <a:gd name="connsiteX30" fmla="*/ 14335608 w 17157070"/>
                <a:gd name="connsiteY30" fmla="*/ 10180012 h 12886678"/>
                <a:gd name="connsiteX31" fmla="*/ 14498387 w 17157070"/>
                <a:gd name="connsiteY31" fmla="*/ 9601248 h 12886678"/>
                <a:gd name="connsiteX32" fmla="*/ 13847278 w 17157070"/>
                <a:gd name="connsiteY32" fmla="*/ 8696934 h 12886678"/>
                <a:gd name="connsiteX33" fmla="*/ 13340864 w 17157070"/>
                <a:gd name="connsiteY33" fmla="*/ 7991571 h 12886678"/>
                <a:gd name="connsiteX34" fmla="*/ 13123831 w 17157070"/>
                <a:gd name="connsiteY34" fmla="*/ 6906393 h 12886678"/>
                <a:gd name="connsiteX35" fmla="*/ 13232349 w 17157070"/>
                <a:gd name="connsiteY35" fmla="*/ 6219119 h 12886678"/>
                <a:gd name="connsiteX36" fmla="*/ 12273778 w 17157070"/>
                <a:gd name="connsiteY36" fmla="*/ 6252280 h 12886678"/>
                <a:gd name="connsiteX37" fmla="*/ 12201432 w 17157070"/>
                <a:gd name="connsiteY37" fmla="*/ 5854380 h 12886678"/>
                <a:gd name="connsiteX38" fmla="*/ 12508887 w 17157070"/>
                <a:gd name="connsiteY38" fmla="*/ 5350985 h 12886678"/>
                <a:gd name="connsiteX39" fmla="*/ 13774933 w 17157070"/>
                <a:gd name="connsiteY39" fmla="*/ 4573269 h 12886678"/>
                <a:gd name="connsiteX40" fmla="*/ 15294184 w 17157070"/>
                <a:gd name="connsiteY40" fmla="*/ 4066854 h 12886678"/>
                <a:gd name="connsiteX41" fmla="*/ 15746333 w 17157070"/>
                <a:gd name="connsiteY41" fmla="*/ 4392409 h 12886678"/>
                <a:gd name="connsiteX42" fmla="*/ 16578306 w 17157070"/>
                <a:gd name="connsiteY42" fmla="*/ 4103027 h 12886678"/>
                <a:gd name="connsiteX43" fmla="*/ 17084732 w 17157070"/>
                <a:gd name="connsiteY43" fmla="*/ 4500935 h 12886678"/>
                <a:gd name="connsiteX44" fmla="*/ 17157070 w 17157070"/>
                <a:gd name="connsiteY44" fmla="*/ 3560444 h 12886678"/>
                <a:gd name="connsiteX45" fmla="*/ 16433615 w 17157070"/>
                <a:gd name="connsiteY45" fmla="*/ 3470014 h 12886678"/>
                <a:gd name="connsiteX46" fmla="*/ 16415865 w 17157070"/>
                <a:gd name="connsiteY46" fmla="*/ 2853862 h 12886678"/>
                <a:gd name="connsiteX47" fmla="*/ 15963191 w 17157070"/>
                <a:gd name="connsiteY47" fmla="*/ 2993318 h 12886678"/>
                <a:gd name="connsiteX48" fmla="*/ 14923009 w 17157070"/>
                <a:gd name="connsiteY48" fmla="*/ 1763435 h 12886678"/>
                <a:gd name="connsiteX49" fmla="*/ 14244644 w 17157070"/>
                <a:gd name="connsiteY49" fmla="*/ 325540 h 12886678"/>
                <a:gd name="connsiteX50" fmla="*/ 13367278 w 17157070"/>
                <a:gd name="connsiteY50" fmla="*/ 614945 h 12886678"/>
                <a:gd name="connsiteX51" fmla="*/ 12218563 w 17157070"/>
                <a:gd name="connsiteY51" fmla="*/ 623988 h 12886678"/>
                <a:gd name="connsiteX52" fmla="*/ 11323109 w 17157070"/>
                <a:gd name="connsiteY52" fmla="*/ 36169 h 12886678"/>
                <a:gd name="connsiteX53" fmla="*/ 10780410 w 17157070"/>
                <a:gd name="connsiteY53" fmla="*/ 488337 h 12886678"/>
                <a:gd name="connsiteX54" fmla="*/ 10038717 w 17157070"/>
                <a:gd name="connsiteY54" fmla="*/ 687288 h 12886678"/>
                <a:gd name="connsiteX55" fmla="*/ 9622651 w 17157070"/>
                <a:gd name="connsiteY55" fmla="*/ 81389 h 12886678"/>
                <a:gd name="connsiteX56" fmla="*/ 8672925 w 17157070"/>
                <a:gd name="connsiteY56" fmla="*/ 280344 h 12886678"/>
                <a:gd name="connsiteX57" fmla="*/ 7759379 w 17157070"/>
                <a:gd name="connsiteY57" fmla="*/ 0 h 12886678"/>
                <a:gd name="connsiteX58" fmla="*/ 6729494 w 17157070"/>
                <a:gd name="connsiteY58" fmla="*/ 443189 h 12886678"/>
                <a:gd name="connsiteX59" fmla="*/ 4437471 w 17157070"/>
                <a:gd name="connsiteY59" fmla="*/ 2805824 h 12886678"/>
                <a:gd name="connsiteX60" fmla="*/ 4141784 w 17157070"/>
                <a:gd name="connsiteY60" fmla="*/ 2086470 h 12886678"/>
                <a:gd name="connsiteX61" fmla="*/ 2314296 w 17157070"/>
                <a:gd name="connsiteY61" fmla="*/ 2369327 h 12886678"/>
                <a:gd name="connsiteX62" fmla="*/ 1334589 w 17157070"/>
                <a:gd name="connsiteY62" fmla="*/ 3174199 h 12886678"/>
                <a:gd name="connsiteX63" fmla="*/ 0 w 17157070"/>
                <a:gd name="connsiteY63" fmla="*/ 4521645 h 12886678"/>
                <a:gd name="connsiteX0" fmla="*/ 0 w 17157070"/>
                <a:gd name="connsiteY0" fmla="*/ 4521645 h 12886678"/>
                <a:gd name="connsiteX1" fmla="*/ 613837 w 17157070"/>
                <a:gd name="connsiteY1" fmla="*/ 6900003 h 12886678"/>
                <a:gd name="connsiteX2" fmla="*/ 1518338 w 17157070"/>
                <a:gd name="connsiteY2" fmla="*/ 7768153 h 12886678"/>
                <a:gd name="connsiteX3" fmla="*/ 1735898 w 17157070"/>
                <a:gd name="connsiteY3" fmla="*/ 8600077 h 12886678"/>
                <a:gd name="connsiteX4" fmla="*/ 3137400 w 17157070"/>
                <a:gd name="connsiteY4" fmla="*/ 9124637 h 12886678"/>
                <a:gd name="connsiteX5" fmla="*/ 3453963 w 17157070"/>
                <a:gd name="connsiteY5" fmla="*/ 10481128 h 12886678"/>
                <a:gd name="connsiteX6" fmla="*/ 4168520 w 17157070"/>
                <a:gd name="connsiteY6" fmla="*/ 11855697 h 12886678"/>
                <a:gd name="connsiteX7" fmla="*/ 4162343 w 17157070"/>
                <a:gd name="connsiteY7" fmla="*/ 12886678 h 12886678"/>
                <a:gd name="connsiteX8" fmla="*/ 4605215 w 17157070"/>
                <a:gd name="connsiteY8" fmla="*/ 12802514 h 12886678"/>
                <a:gd name="connsiteX9" fmla="*/ 4840336 w 17157070"/>
                <a:gd name="connsiteY9" fmla="*/ 12513132 h 12886678"/>
                <a:gd name="connsiteX10" fmla="*/ 6070201 w 17157070"/>
                <a:gd name="connsiteY10" fmla="*/ 12531224 h 12886678"/>
                <a:gd name="connsiteX11" fmla="*/ 6884082 w 17157070"/>
                <a:gd name="connsiteY11" fmla="*/ 11934372 h 12886678"/>
                <a:gd name="connsiteX12" fmla="*/ 7716051 w 17157070"/>
                <a:gd name="connsiteY12" fmla="*/ 12259931 h 12886678"/>
                <a:gd name="connsiteX13" fmla="*/ 8584189 w 17157070"/>
                <a:gd name="connsiteY13" fmla="*/ 12060979 h 12886678"/>
                <a:gd name="connsiteX14" fmla="*/ 9289552 w 17157070"/>
                <a:gd name="connsiteY14" fmla="*/ 12259931 h 12886678"/>
                <a:gd name="connsiteX15" fmla="*/ 10139605 w 17157070"/>
                <a:gd name="connsiteY15" fmla="*/ 11862031 h 12886678"/>
                <a:gd name="connsiteX16" fmla="*/ 10664108 w 17157070"/>
                <a:gd name="connsiteY16" fmla="*/ 12079067 h 12886678"/>
                <a:gd name="connsiteX17" fmla="*/ 11387555 w 17157070"/>
                <a:gd name="connsiteY17" fmla="*/ 11988637 h 12886678"/>
                <a:gd name="connsiteX18" fmla="*/ 11966315 w 17157070"/>
                <a:gd name="connsiteY18" fmla="*/ 12712092 h 12886678"/>
                <a:gd name="connsiteX19" fmla="*/ 12942975 w 17157070"/>
                <a:gd name="connsiteY19" fmla="*/ 12476963 h 12886678"/>
                <a:gd name="connsiteX20" fmla="*/ 13575992 w 17157070"/>
                <a:gd name="connsiteY20" fmla="*/ 12874863 h 12886678"/>
                <a:gd name="connsiteX21" fmla="*/ 13973888 w 17157070"/>
                <a:gd name="connsiteY21" fmla="*/ 12784430 h 12886678"/>
                <a:gd name="connsiteX22" fmla="*/ 14028146 w 17157070"/>
                <a:gd name="connsiteY22" fmla="*/ 12241839 h 12886678"/>
                <a:gd name="connsiteX23" fmla="*/ 13594073 w 17157070"/>
                <a:gd name="connsiteY23" fmla="*/ 12187582 h 12886678"/>
                <a:gd name="connsiteX24" fmla="*/ 13612161 w 17157070"/>
                <a:gd name="connsiteY24" fmla="*/ 11500303 h 12886678"/>
                <a:gd name="connsiteX25" fmla="*/ 14190925 w 17157070"/>
                <a:gd name="connsiteY25" fmla="*/ 11355616 h 12886678"/>
                <a:gd name="connsiteX26" fmla="*/ 13865366 w 17157070"/>
                <a:gd name="connsiteY26" fmla="*/ 10885371 h 12886678"/>
                <a:gd name="connsiteX27" fmla="*/ 14136664 w 17157070"/>
                <a:gd name="connsiteY27" fmla="*/ 10487475 h 12886678"/>
                <a:gd name="connsiteX28" fmla="*/ 14703435 w 17157070"/>
                <a:gd name="connsiteY28" fmla="*/ 10514571 h 12886678"/>
                <a:gd name="connsiteX29" fmla="*/ 14661163 w 17157070"/>
                <a:gd name="connsiteY29" fmla="*/ 10342787 h 12886678"/>
                <a:gd name="connsiteX30" fmla="*/ 14335608 w 17157070"/>
                <a:gd name="connsiteY30" fmla="*/ 10180012 h 12886678"/>
                <a:gd name="connsiteX31" fmla="*/ 14498387 w 17157070"/>
                <a:gd name="connsiteY31" fmla="*/ 9601248 h 12886678"/>
                <a:gd name="connsiteX32" fmla="*/ 13847278 w 17157070"/>
                <a:gd name="connsiteY32" fmla="*/ 8696934 h 12886678"/>
                <a:gd name="connsiteX33" fmla="*/ 13340864 w 17157070"/>
                <a:gd name="connsiteY33" fmla="*/ 7991571 h 12886678"/>
                <a:gd name="connsiteX34" fmla="*/ 13123831 w 17157070"/>
                <a:gd name="connsiteY34" fmla="*/ 6906393 h 12886678"/>
                <a:gd name="connsiteX35" fmla="*/ 13232349 w 17157070"/>
                <a:gd name="connsiteY35" fmla="*/ 6219119 h 12886678"/>
                <a:gd name="connsiteX36" fmla="*/ 12273778 w 17157070"/>
                <a:gd name="connsiteY36" fmla="*/ 6252280 h 12886678"/>
                <a:gd name="connsiteX37" fmla="*/ 12201432 w 17157070"/>
                <a:gd name="connsiteY37" fmla="*/ 5854380 h 12886678"/>
                <a:gd name="connsiteX38" fmla="*/ 12508887 w 17157070"/>
                <a:gd name="connsiteY38" fmla="*/ 5350985 h 12886678"/>
                <a:gd name="connsiteX39" fmla="*/ 13774933 w 17157070"/>
                <a:gd name="connsiteY39" fmla="*/ 4573269 h 12886678"/>
                <a:gd name="connsiteX40" fmla="*/ 15294184 w 17157070"/>
                <a:gd name="connsiteY40" fmla="*/ 4066854 h 12886678"/>
                <a:gd name="connsiteX41" fmla="*/ 15746333 w 17157070"/>
                <a:gd name="connsiteY41" fmla="*/ 4392409 h 12886678"/>
                <a:gd name="connsiteX42" fmla="*/ 16578306 w 17157070"/>
                <a:gd name="connsiteY42" fmla="*/ 4103027 h 12886678"/>
                <a:gd name="connsiteX43" fmla="*/ 17084732 w 17157070"/>
                <a:gd name="connsiteY43" fmla="*/ 4500935 h 12886678"/>
                <a:gd name="connsiteX44" fmla="*/ 17157070 w 17157070"/>
                <a:gd name="connsiteY44" fmla="*/ 3560444 h 12886678"/>
                <a:gd name="connsiteX45" fmla="*/ 16433615 w 17157070"/>
                <a:gd name="connsiteY45" fmla="*/ 3470014 h 12886678"/>
                <a:gd name="connsiteX46" fmla="*/ 16415865 w 17157070"/>
                <a:gd name="connsiteY46" fmla="*/ 2853862 h 12886678"/>
                <a:gd name="connsiteX47" fmla="*/ 15963191 w 17157070"/>
                <a:gd name="connsiteY47" fmla="*/ 2993318 h 12886678"/>
                <a:gd name="connsiteX48" fmla="*/ 14923009 w 17157070"/>
                <a:gd name="connsiteY48" fmla="*/ 1763435 h 12886678"/>
                <a:gd name="connsiteX49" fmla="*/ 14244644 w 17157070"/>
                <a:gd name="connsiteY49" fmla="*/ 325540 h 12886678"/>
                <a:gd name="connsiteX50" fmla="*/ 13367278 w 17157070"/>
                <a:gd name="connsiteY50" fmla="*/ 614945 h 12886678"/>
                <a:gd name="connsiteX51" fmla="*/ 12218563 w 17157070"/>
                <a:gd name="connsiteY51" fmla="*/ 623988 h 12886678"/>
                <a:gd name="connsiteX52" fmla="*/ 11323109 w 17157070"/>
                <a:gd name="connsiteY52" fmla="*/ 36169 h 12886678"/>
                <a:gd name="connsiteX53" fmla="*/ 10780410 w 17157070"/>
                <a:gd name="connsiteY53" fmla="*/ 488337 h 12886678"/>
                <a:gd name="connsiteX54" fmla="*/ 10038717 w 17157070"/>
                <a:gd name="connsiteY54" fmla="*/ 687288 h 12886678"/>
                <a:gd name="connsiteX55" fmla="*/ 9622651 w 17157070"/>
                <a:gd name="connsiteY55" fmla="*/ 81389 h 12886678"/>
                <a:gd name="connsiteX56" fmla="*/ 8672925 w 17157070"/>
                <a:gd name="connsiteY56" fmla="*/ 280344 h 12886678"/>
                <a:gd name="connsiteX57" fmla="*/ 7759379 w 17157070"/>
                <a:gd name="connsiteY57" fmla="*/ 0 h 12886678"/>
                <a:gd name="connsiteX58" fmla="*/ 4432864 w 17157070"/>
                <a:gd name="connsiteY58" fmla="*/ 3474612 h 12886678"/>
                <a:gd name="connsiteX59" fmla="*/ 4437471 w 17157070"/>
                <a:gd name="connsiteY59" fmla="*/ 2805824 h 12886678"/>
                <a:gd name="connsiteX60" fmla="*/ 4141784 w 17157070"/>
                <a:gd name="connsiteY60" fmla="*/ 2086470 h 12886678"/>
                <a:gd name="connsiteX61" fmla="*/ 2314296 w 17157070"/>
                <a:gd name="connsiteY61" fmla="*/ 2369327 h 12886678"/>
                <a:gd name="connsiteX62" fmla="*/ 1334589 w 17157070"/>
                <a:gd name="connsiteY62" fmla="*/ 3174199 h 12886678"/>
                <a:gd name="connsiteX63" fmla="*/ 0 w 17157070"/>
                <a:gd name="connsiteY63" fmla="*/ 4521645 h 12886678"/>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10780410 w 17157070"/>
                <a:gd name="connsiteY53" fmla="*/ 452168 h 12850509"/>
                <a:gd name="connsiteX54" fmla="*/ 10038717 w 17157070"/>
                <a:gd name="connsiteY54" fmla="*/ 651119 h 12850509"/>
                <a:gd name="connsiteX55" fmla="*/ 9622651 w 17157070"/>
                <a:gd name="connsiteY55" fmla="*/ 45220 h 12850509"/>
                <a:gd name="connsiteX56" fmla="*/ 8672925 w 17157070"/>
                <a:gd name="connsiteY56" fmla="*/ 244175 h 12850509"/>
                <a:gd name="connsiteX57" fmla="*/ 4432864 w 17157070"/>
                <a:gd name="connsiteY57" fmla="*/ 3438443 h 12850509"/>
                <a:gd name="connsiteX58" fmla="*/ 4437471 w 17157070"/>
                <a:gd name="connsiteY58" fmla="*/ 2769655 h 12850509"/>
                <a:gd name="connsiteX59" fmla="*/ 4141784 w 17157070"/>
                <a:gd name="connsiteY59" fmla="*/ 2050301 h 12850509"/>
                <a:gd name="connsiteX60" fmla="*/ 2314296 w 17157070"/>
                <a:gd name="connsiteY60" fmla="*/ 2333158 h 12850509"/>
                <a:gd name="connsiteX61" fmla="*/ 1334589 w 17157070"/>
                <a:gd name="connsiteY61" fmla="*/ 3138030 h 12850509"/>
                <a:gd name="connsiteX62" fmla="*/ 0 w 17157070"/>
                <a:gd name="connsiteY62" fmla="*/ 4485476 h 12850509"/>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10780410 w 17157070"/>
                <a:gd name="connsiteY53" fmla="*/ 452168 h 12850509"/>
                <a:gd name="connsiteX54" fmla="*/ 10038717 w 17157070"/>
                <a:gd name="connsiteY54" fmla="*/ 651119 h 12850509"/>
                <a:gd name="connsiteX55" fmla="*/ 9622651 w 17157070"/>
                <a:gd name="connsiteY55" fmla="*/ 45220 h 12850509"/>
                <a:gd name="connsiteX56" fmla="*/ 4653822 w 17157070"/>
                <a:gd name="connsiteY56" fmla="*/ 3991678 h 12850509"/>
                <a:gd name="connsiteX57" fmla="*/ 4432864 w 17157070"/>
                <a:gd name="connsiteY57" fmla="*/ 3438443 h 12850509"/>
                <a:gd name="connsiteX58" fmla="*/ 4437471 w 17157070"/>
                <a:gd name="connsiteY58" fmla="*/ 2769655 h 12850509"/>
                <a:gd name="connsiteX59" fmla="*/ 4141784 w 17157070"/>
                <a:gd name="connsiteY59" fmla="*/ 2050301 h 12850509"/>
                <a:gd name="connsiteX60" fmla="*/ 2314296 w 17157070"/>
                <a:gd name="connsiteY60" fmla="*/ 2333158 h 12850509"/>
                <a:gd name="connsiteX61" fmla="*/ 1334589 w 17157070"/>
                <a:gd name="connsiteY61" fmla="*/ 3138030 h 12850509"/>
                <a:gd name="connsiteX62" fmla="*/ 0 w 17157070"/>
                <a:gd name="connsiteY62" fmla="*/ 4485476 h 12850509"/>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10780410 w 17157070"/>
                <a:gd name="connsiteY53" fmla="*/ 452168 h 12850509"/>
                <a:gd name="connsiteX54" fmla="*/ 10038717 w 17157070"/>
                <a:gd name="connsiteY54" fmla="*/ 651119 h 12850509"/>
                <a:gd name="connsiteX55" fmla="*/ 4653822 w 17157070"/>
                <a:gd name="connsiteY55" fmla="*/ 3991678 h 12850509"/>
                <a:gd name="connsiteX56" fmla="*/ 4432864 w 17157070"/>
                <a:gd name="connsiteY56" fmla="*/ 3438443 h 12850509"/>
                <a:gd name="connsiteX57" fmla="*/ 4437471 w 17157070"/>
                <a:gd name="connsiteY57" fmla="*/ 2769655 h 12850509"/>
                <a:gd name="connsiteX58" fmla="*/ 4141784 w 17157070"/>
                <a:gd name="connsiteY58" fmla="*/ 2050301 h 12850509"/>
                <a:gd name="connsiteX59" fmla="*/ 2314296 w 17157070"/>
                <a:gd name="connsiteY59" fmla="*/ 2333158 h 12850509"/>
                <a:gd name="connsiteX60" fmla="*/ 1334589 w 17157070"/>
                <a:gd name="connsiteY60" fmla="*/ 3138030 h 12850509"/>
                <a:gd name="connsiteX61" fmla="*/ 0 w 17157070"/>
                <a:gd name="connsiteY61" fmla="*/ 4485476 h 12850509"/>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10780410 w 17157070"/>
                <a:gd name="connsiteY53" fmla="*/ 452168 h 12850509"/>
                <a:gd name="connsiteX54" fmla="*/ 4416749 w 17157070"/>
                <a:gd name="connsiteY54" fmla="*/ 4541845 h 12850509"/>
                <a:gd name="connsiteX55" fmla="*/ 4653822 w 17157070"/>
                <a:gd name="connsiteY55" fmla="*/ 3991678 h 12850509"/>
                <a:gd name="connsiteX56" fmla="*/ 4432864 w 17157070"/>
                <a:gd name="connsiteY56" fmla="*/ 3438443 h 12850509"/>
                <a:gd name="connsiteX57" fmla="*/ 4437471 w 17157070"/>
                <a:gd name="connsiteY57" fmla="*/ 2769655 h 12850509"/>
                <a:gd name="connsiteX58" fmla="*/ 4141784 w 17157070"/>
                <a:gd name="connsiteY58" fmla="*/ 2050301 h 12850509"/>
                <a:gd name="connsiteX59" fmla="*/ 2314296 w 17157070"/>
                <a:gd name="connsiteY59" fmla="*/ 2333158 h 12850509"/>
                <a:gd name="connsiteX60" fmla="*/ 1334589 w 17157070"/>
                <a:gd name="connsiteY60" fmla="*/ 3138030 h 12850509"/>
                <a:gd name="connsiteX61" fmla="*/ 0 w 17157070"/>
                <a:gd name="connsiteY61" fmla="*/ 4485476 h 12850509"/>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4416749 w 17157070"/>
                <a:gd name="connsiteY53" fmla="*/ 4541845 h 12850509"/>
                <a:gd name="connsiteX54" fmla="*/ 4653822 w 17157070"/>
                <a:gd name="connsiteY54" fmla="*/ 3991678 h 12850509"/>
                <a:gd name="connsiteX55" fmla="*/ 4432864 w 17157070"/>
                <a:gd name="connsiteY55" fmla="*/ 3438443 h 12850509"/>
                <a:gd name="connsiteX56" fmla="*/ 4437471 w 17157070"/>
                <a:gd name="connsiteY56" fmla="*/ 2769655 h 12850509"/>
                <a:gd name="connsiteX57" fmla="*/ 4141784 w 17157070"/>
                <a:gd name="connsiteY57" fmla="*/ 2050301 h 12850509"/>
                <a:gd name="connsiteX58" fmla="*/ 2314296 w 17157070"/>
                <a:gd name="connsiteY58" fmla="*/ 2333158 h 12850509"/>
                <a:gd name="connsiteX59" fmla="*/ 1334589 w 17157070"/>
                <a:gd name="connsiteY59" fmla="*/ 3138030 h 12850509"/>
                <a:gd name="connsiteX60" fmla="*/ 0 w 17157070"/>
                <a:gd name="connsiteY60" fmla="*/ 4485476 h 12850509"/>
                <a:gd name="connsiteX0" fmla="*/ 0 w 17157070"/>
                <a:gd name="connsiteY0" fmla="*/ 4196103 h 12561136"/>
                <a:gd name="connsiteX1" fmla="*/ 613837 w 17157070"/>
                <a:gd name="connsiteY1" fmla="*/ 6574461 h 12561136"/>
                <a:gd name="connsiteX2" fmla="*/ 1518338 w 17157070"/>
                <a:gd name="connsiteY2" fmla="*/ 7442611 h 12561136"/>
                <a:gd name="connsiteX3" fmla="*/ 1735898 w 17157070"/>
                <a:gd name="connsiteY3" fmla="*/ 8274535 h 12561136"/>
                <a:gd name="connsiteX4" fmla="*/ 3137400 w 17157070"/>
                <a:gd name="connsiteY4" fmla="*/ 8799095 h 12561136"/>
                <a:gd name="connsiteX5" fmla="*/ 3453963 w 17157070"/>
                <a:gd name="connsiteY5" fmla="*/ 10155586 h 12561136"/>
                <a:gd name="connsiteX6" fmla="*/ 4168520 w 17157070"/>
                <a:gd name="connsiteY6" fmla="*/ 11530155 h 12561136"/>
                <a:gd name="connsiteX7" fmla="*/ 4162343 w 17157070"/>
                <a:gd name="connsiteY7" fmla="*/ 12561136 h 12561136"/>
                <a:gd name="connsiteX8" fmla="*/ 4605215 w 17157070"/>
                <a:gd name="connsiteY8" fmla="*/ 12476972 h 12561136"/>
                <a:gd name="connsiteX9" fmla="*/ 4840336 w 17157070"/>
                <a:gd name="connsiteY9" fmla="*/ 12187590 h 12561136"/>
                <a:gd name="connsiteX10" fmla="*/ 6070201 w 17157070"/>
                <a:gd name="connsiteY10" fmla="*/ 12205682 h 12561136"/>
                <a:gd name="connsiteX11" fmla="*/ 6884082 w 17157070"/>
                <a:gd name="connsiteY11" fmla="*/ 11608830 h 12561136"/>
                <a:gd name="connsiteX12" fmla="*/ 7716051 w 17157070"/>
                <a:gd name="connsiteY12" fmla="*/ 11934389 h 12561136"/>
                <a:gd name="connsiteX13" fmla="*/ 8584189 w 17157070"/>
                <a:gd name="connsiteY13" fmla="*/ 11735437 h 12561136"/>
                <a:gd name="connsiteX14" fmla="*/ 9289552 w 17157070"/>
                <a:gd name="connsiteY14" fmla="*/ 11934389 h 12561136"/>
                <a:gd name="connsiteX15" fmla="*/ 10139605 w 17157070"/>
                <a:gd name="connsiteY15" fmla="*/ 11536489 h 12561136"/>
                <a:gd name="connsiteX16" fmla="*/ 10664108 w 17157070"/>
                <a:gd name="connsiteY16" fmla="*/ 11753525 h 12561136"/>
                <a:gd name="connsiteX17" fmla="*/ 11387555 w 17157070"/>
                <a:gd name="connsiteY17" fmla="*/ 11663095 h 12561136"/>
                <a:gd name="connsiteX18" fmla="*/ 11966315 w 17157070"/>
                <a:gd name="connsiteY18" fmla="*/ 12386550 h 12561136"/>
                <a:gd name="connsiteX19" fmla="*/ 12942975 w 17157070"/>
                <a:gd name="connsiteY19" fmla="*/ 12151421 h 12561136"/>
                <a:gd name="connsiteX20" fmla="*/ 13575992 w 17157070"/>
                <a:gd name="connsiteY20" fmla="*/ 12549321 h 12561136"/>
                <a:gd name="connsiteX21" fmla="*/ 13973888 w 17157070"/>
                <a:gd name="connsiteY21" fmla="*/ 12458888 h 12561136"/>
                <a:gd name="connsiteX22" fmla="*/ 14028146 w 17157070"/>
                <a:gd name="connsiteY22" fmla="*/ 11916297 h 12561136"/>
                <a:gd name="connsiteX23" fmla="*/ 13594073 w 17157070"/>
                <a:gd name="connsiteY23" fmla="*/ 11862040 h 12561136"/>
                <a:gd name="connsiteX24" fmla="*/ 13612161 w 17157070"/>
                <a:gd name="connsiteY24" fmla="*/ 11174761 h 12561136"/>
                <a:gd name="connsiteX25" fmla="*/ 14190925 w 17157070"/>
                <a:gd name="connsiteY25" fmla="*/ 11030074 h 12561136"/>
                <a:gd name="connsiteX26" fmla="*/ 13865366 w 17157070"/>
                <a:gd name="connsiteY26" fmla="*/ 10559829 h 12561136"/>
                <a:gd name="connsiteX27" fmla="*/ 14136664 w 17157070"/>
                <a:gd name="connsiteY27" fmla="*/ 10161933 h 12561136"/>
                <a:gd name="connsiteX28" fmla="*/ 14703435 w 17157070"/>
                <a:gd name="connsiteY28" fmla="*/ 10189029 h 12561136"/>
                <a:gd name="connsiteX29" fmla="*/ 14661163 w 17157070"/>
                <a:gd name="connsiteY29" fmla="*/ 10017245 h 12561136"/>
                <a:gd name="connsiteX30" fmla="*/ 14335608 w 17157070"/>
                <a:gd name="connsiteY30" fmla="*/ 9854470 h 12561136"/>
                <a:gd name="connsiteX31" fmla="*/ 14498387 w 17157070"/>
                <a:gd name="connsiteY31" fmla="*/ 9275706 h 12561136"/>
                <a:gd name="connsiteX32" fmla="*/ 13847278 w 17157070"/>
                <a:gd name="connsiteY32" fmla="*/ 8371392 h 12561136"/>
                <a:gd name="connsiteX33" fmla="*/ 13340864 w 17157070"/>
                <a:gd name="connsiteY33" fmla="*/ 7666029 h 12561136"/>
                <a:gd name="connsiteX34" fmla="*/ 13123831 w 17157070"/>
                <a:gd name="connsiteY34" fmla="*/ 6580851 h 12561136"/>
                <a:gd name="connsiteX35" fmla="*/ 13232349 w 17157070"/>
                <a:gd name="connsiteY35" fmla="*/ 5893577 h 12561136"/>
                <a:gd name="connsiteX36" fmla="*/ 12273778 w 17157070"/>
                <a:gd name="connsiteY36" fmla="*/ 5926738 h 12561136"/>
                <a:gd name="connsiteX37" fmla="*/ 12201432 w 17157070"/>
                <a:gd name="connsiteY37" fmla="*/ 5528838 h 12561136"/>
                <a:gd name="connsiteX38" fmla="*/ 12508887 w 17157070"/>
                <a:gd name="connsiteY38" fmla="*/ 5025443 h 12561136"/>
                <a:gd name="connsiteX39" fmla="*/ 13774933 w 17157070"/>
                <a:gd name="connsiteY39" fmla="*/ 4247727 h 12561136"/>
                <a:gd name="connsiteX40" fmla="*/ 15294184 w 17157070"/>
                <a:gd name="connsiteY40" fmla="*/ 3741312 h 12561136"/>
                <a:gd name="connsiteX41" fmla="*/ 15746333 w 17157070"/>
                <a:gd name="connsiteY41" fmla="*/ 4066867 h 12561136"/>
                <a:gd name="connsiteX42" fmla="*/ 16578306 w 17157070"/>
                <a:gd name="connsiteY42" fmla="*/ 3777485 h 12561136"/>
                <a:gd name="connsiteX43" fmla="*/ 17084732 w 17157070"/>
                <a:gd name="connsiteY43" fmla="*/ 4175393 h 12561136"/>
                <a:gd name="connsiteX44" fmla="*/ 17157070 w 17157070"/>
                <a:gd name="connsiteY44" fmla="*/ 3234902 h 12561136"/>
                <a:gd name="connsiteX45" fmla="*/ 16433615 w 17157070"/>
                <a:gd name="connsiteY45" fmla="*/ 3144472 h 12561136"/>
                <a:gd name="connsiteX46" fmla="*/ 16415865 w 17157070"/>
                <a:gd name="connsiteY46" fmla="*/ 2528320 h 12561136"/>
                <a:gd name="connsiteX47" fmla="*/ 15963191 w 17157070"/>
                <a:gd name="connsiteY47" fmla="*/ 2667776 h 12561136"/>
                <a:gd name="connsiteX48" fmla="*/ 14923009 w 17157070"/>
                <a:gd name="connsiteY48" fmla="*/ 1437893 h 12561136"/>
                <a:gd name="connsiteX49" fmla="*/ 14244644 w 17157070"/>
                <a:gd name="connsiteY49" fmla="*/ -2 h 12561136"/>
                <a:gd name="connsiteX50" fmla="*/ 13367278 w 17157070"/>
                <a:gd name="connsiteY50" fmla="*/ 289403 h 12561136"/>
                <a:gd name="connsiteX51" fmla="*/ 12218563 w 17157070"/>
                <a:gd name="connsiteY51" fmla="*/ 298446 h 12561136"/>
                <a:gd name="connsiteX52" fmla="*/ 4600673 w 17157070"/>
                <a:gd name="connsiteY52" fmla="*/ 4675479 h 12561136"/>
                <a:gd name="connsiteX53" fmla="*/ 4416749 w 17157070"/>
                <a:gd name="connsiteY53" fmla="*/ 4252472 h 12561136"/>
                <a:gd name="connsiteX54" fmla="*/ 4653822 w 17157070"/>
                <a:gd name="connsiteY54" fmla="*/ 3702305 h 12561136"/>
                <a:gd name="connsiteX55" fmla="*/ 4432864 w 17157070"/>
                <a:gd name="connsiteY55" fmla="*/ 3149070 h 12561136"/>
                <a:gd name="connsiteX56" fmla="*/ 4437471 w 17157070"/>
                <a:gd name="connsiteY56" fmla="*/ 2480282 h 12561136"/>
                <a:gd name="connsiteX57" fmla="*/ 4141784 w 17157070"/>
                <a:gd name="connsiteY57" fmla="*/ 1760928 h 12561136"/>
                <a:gd name="connsiteX58" fmla="*/ 2314296 w 17157070"/>
                <a:gd name="connsiteY58" fmla="*/ 2043785 h 12561136"/>
                <a:gd name="connsiteX59" fmla="*/ 1334589 w 17157070"/>
                <a:gd name="connsiteY59" fmla="*/ 2848657 h 12561136"/>
                <a:gd name="connsiteX60" fmla="*/ 0 w 17157070"/>
                <a:gd name="connsiteY60" fmla="*/ 4196103 h 12561136"/>
                <a:gd name="connsiteX0" fmla="*/ 0 w 17157070"/>
                <a:gd name="connsiteY0" fmla="*/ 4196103 h 12561136"/>
                <a:gd name="connsiteX1" fmla="*/ 613837 w 17157070"/>
                <a:gd name="connsiteY1" fmla="*/ 6574461 h 12561136"/>
                <a:gd name="connsiteX2" fmla="*/ 1518338 w 17157070"/>
                <a:gd name="connsiteY2" fmla="*/ 7442611 h 12561136"/>
                <a:gd name="connsiteX3" fmla="*/ 1735898 w 17157070"/>
                <a:gd name="connsiteY3" fmla="*/ 8274535 h 12561136"/>
                <a:gd name="connsiteX4" fmla="*/ 3137400 w 17157070"/>
                <a:gd name="connsiteY4" fmla="*/ 8799095 h 12561136"/>
                <a:gd name="connsiteX5" fmla="*/ 3453963 w 17157070"/>
                <a:gd name="connsiteY5" fmla="*/ 10155586 h 12561136"/>
                <a:gd name="connsiteX6" fmla="*/ 4168520 w 17157070"/>
                <a:gd name="connsiteY6" fmla="*/ 11530155 h 12561136"/>
                <a:gd name="connsiteX7" fmla="*/ 4162343 w 17157070"/>
                <a:gd name="connsiteY7" fmla="*/ 12561136 h 12561136"/>
                <a:gd name="connsiteX8" fmla="*/ 4605215 w 17157070"/>
                <a:gd name="connsiteY8" fmla="*/ 12476972 h 12561136"/>
                <a:gd name="connsiteX9" fmla="*/ 4840336 w 17157070"/>
                <a:gd name="connsiteY9" fmla="*/ 12187590 h 12561136"/>
                <a:gd name="connsiteX10" fmla="*/ 6070201 w 17157070"/>
                <a:gd name="connsiteY10" fmla="*/ 12205682 h 12561136"/>
                <a:gd name="connsiteX11" fmla="*/ 6884082 w 17157070"/>
                <a:gd name="connsiteY11" fmla="*/ 11608830 h 12561136"/>
                <a:gd name="connsiteX12" fmla="*/ 7716051 w 17157070"/>
                <a:gd name="connsiteY12" fmla="*/ 11934389 h 12561136"/>
                <a:gd name="connsiteX13" fmla="*/ 8584189 w 17157070"/>
                <a:gd name="connsiteY13" fmla="*/ 11735437 h 12561136"/>
                <a:gd name="connsiteX14" fmla="*/ 9289552 w 17157070"/>
                <a:gd name="connsiteY14" fmla="*/ 11934389 h 12561136"/>
                <a:gd name="connsiteX15" fmla="*/ 10139605 w 17157070"/>
                <a:gd name="connsiteY15" fmla="*/ 11536489 h 12561136"/>
                <a:gd name="connsiteX16" fmla="*/ 10664108 w 17157070"/>
                <a:gd name="connsiteY16" fmla="*/ 11753525 h 12561136"/>
                <a:gd name="connsiteX17" fmla="*/ 11387555 w 17157070"/>
                <a:gd name="connsiteY17" fmla="*/ 11663095 h 12561136"/>
                <a:gd name="connsiteX18" fmla="*/ 11966315 w 17157070"/>
                <a:gd name="connsiteY18" fmla="*/ 12386550 h 12561136"/>
                <a:gd name="connsiteX19" fmla="*/ 12942975 w 17157070"/>
                <a:gd name="connsiteY19" fmla="*/ 12151421 h 12561136"/>
                <a:gd name="connsiteX20" fmla="*/ 13575992 w 17157070"/>
                <a:gd name="connsiteY20" fmla="*/ 12549321 h 12561136"/>
                <a:gd name="connsiteX21" fmla="*/ 13973888 w 17157070"/>
                <a:gd name="connsiteY21" fmla="*/ 12458888 h 12561136"/>
                <a:gd name="connsiteX22" fmla="*/ 14028146 w 17157070"/>
                <a:gd name="connsiteY22" fmla="*/ 11916297 h 12561136"/>
                <a:gd name="connsiteX23" fmla="*/ 13594073 w 17157070"/>
                <a:gd name="connsiteY23" fmla="*/ 11862040 h 12561136"/>
                <a:gd name="connsiteX24" fmla="*/ 13612161 w 17157070"/>
                <a:gd name="connsiteY24" fmla="*/ 11174761 h 12561136"/>
                <a:gd name="connsiteX25" fmla="*/ 14190925 w 17157070"/>
                <a:gd name="connsiteY25" fmla="*/ 11030074 h 12561136"/>
                <a:gd name="connsiteX26" fmla="*/ 13865366 w 17157070"/>
                <a:gd name="connsiteY26" fmla="*/ 10559829 h 12561136"/>
                <a:gd name="connsiteX27" fmla="*/ 14136664 w 17157070"/>
                <a:gd name="connsiteY27" fmla="*/ 10161933 h 12561136"/>
                <a:gd name="connsiteX28" fmla="*/ 14703435 w 17157070"/>
                <a:gd name="connsiteY28" fmla="*/ 10189029 h 12561136"/>
                <a:gd name="connsiteX29" fmla="*/ 14661163 w 17157070"/>
                <a:gd name="connsiteY29" fmla="*/ 10017245 h 12561136"/>
                <a:gd name="connsiteX30" fmla="*/ 14335608 w 17157070"/>
                <a:gd name="connsiteY30" fmla="*/ 9854470 h 12561136"/>
                <a:gd name="connsiteX31" fmla="*/ 14498387 w 17157070"/>
                <a:gd name="connsiteY31" fmla="*/ 9275706 h 12561136"/>
                <a:gd name="connsiteX32" fmla="*/ 13847278 w 17157070"/>
                <a:gd name="connsiteY32" fmla="*/ 8371392 h 12561136"/>
                <a:gd name="connsiteX33" fmla="*/ 13340864 w 17157070"/>
                <a:gd name="connsiteY33" fmla="*/ 7666029 h 12561136"/>
                <a:gd name="connsiteX34" fmla="*/ 13123831 w 17157070"/>
                <a:gd name="connsiteY34" fmla="*/ 6580851 h 12561136"/>
                <a:gd name="connsiteX35" fmla="*/ 13232349 w 17157070"/>
                <a:gd name="connsiteY35" fmla="*/ 5893577 h 12561136"/>
                <a:gd name="connsiteX36" fmla="*/ 12273778 w 17157070"/>
                <a:gd name="connsiteY36" fmla="*/ 5926738 h 12561136"/>
                <a:gd name="connsiteX37" fmla="*/ 12201432 w 17157070"/>
                <a:gd name="connsiteY37" fmla="*/ 5528838 h 12561136"/>
                <a:gd name="connsiteX38" fmla="*/ 12508887 w 17157070"/>
                <a:gd name="connsiteY38" fmla="*/ 5025443 h 12561136"/>
                <a:gd name="connsiteX39" fmla="*/ 13774933 w 17157070"/>
                <a:gd name="connsiteY39" fmla="*/ 4247727 h 12561136"/>
                <a:gd name="connsiteX40" fmla="*/ 15294184 w 17157070"/>
                <a:gd name="connsiteY40" fmla="*/ 3741312 h 12561136"/>
                <a:gd name="connsiteX41" fmla="*/ 15746333 w 17157070"/>
                <a:gd name="connsiteY41" fmla="*/ 4066867 h 12561136"/>
                <a:gd name="connsiteX42" fmla="*/ 16578306 w 17157070"/>
                <a:gd name="connsiteY42" fmla="*/ 3777485 h 12561136"/>
                <a:gd name="connsiteX43" fmla="*/ 17084732 w 17157070"/>
                <a:gd name="connsiteY43" fmla="*/ 4175393 h 12561136"/>
                <a:gd name="connsiteX44" fmla="*/ 17157070 w 17157070"/>
                <a:gd name="connsiteY44" fmla="*/ 3234902 h 12561136"/>
                <a:gd name="connsiteX45" fmla="*/ 16433615 w 17157070"/>
                <a:gd name="connsiteY45" fmla="*/ 3144472 h 12561136"/>
                <a:gd name="connsiteX46" fmla="*/ 16415865 w 17157070"/>
                <a:gd name="connsiteY46" fmla="*/ 2528320 h 12561136"/>
                <a:gd name="connsiteX47" fmla="*/ 15963191 w 17157070"/>
                <a:gd name="connsiteY47" fmla="*/ 2667776 h 12561136"/>
                <a:gd name="connsiteX48" fmla="*/ 14923009 w 17157070"/>
                <a:gd name="connsiteY48" fmla="*/ 1437893 h 12561136"/>
                <a:gd name="connsiteX49" fmla="*/ 14244644 w 17157070"/>
                <a:gd name="connsiteY49" fmla="*/ -2 h 12561136"/>
                <a:gd name="connsiteX50" fmla="*/ 13367278 w 17157070"/>
                <a:gd name="connsiteY50" fmla="*/ 289403 h 12561136"/>
                <a:gd name="connsiteX51" fmla="*/ 4600673 w 17157070"/>
                <a:gd name="connsiteY51" fmla="*/ 4675479 h 12561136"/>
                <a:gd name="connsiteX52" fmla="*/ 4416749 w 17157070"/>
                <a:gd name="connsiteY52" fmla="*/ 4252472 h 12561136"/>
                <a:gd name="connsiteX53" fmla="*/ 4653822 w 17157070"/>
                <a:gd name="connsiteY53" fmla="*/ 3702305 h 12561136"/>
                <a:gd name="connsiteX54" fmla="*/ 4432864 w 17157070"/>
                <a:gd name="connsiteY54" fmla="*/ 3149070 h 12561136"/>
                <a:gd name="connsiteX55" fmla="*/ 4437471 w 17157070"/>
                <a:gd name="connsiteY55" fmla="*/ 2480282 h 12561136"/>
                <a:gd name="connsiteX56" fmla="*/ 4141784 w 17157070"/>
                <a:gd name="connsiteY56" fmla="*/ 1760928 h 12561136"/>
                <a:gd name="connsiteX57" fmla="*/ 2314296 w 17157070"/>
                <a:gd name="connsiteY57" fmla="*/ 2043785 h 12561136"/>
                <a:gd name="connsiteX58" fmla="*/ 1334589 w 17157070"/>
                <a:gd name="connsiteY58" fmla="*/ 2848657 h 12561136"/>
                <a:gd name="connsiteX59" fmla="*/ 0 w 17157070"/>
                <a:gd name="connsiteY59" fmla="*/ 4196103 h 12561136"/>
                <a:gd name="connsiteX0" fmla="*/ 0 w 17157070"/>
                <a:gd name="connsiteY0" fmla="*/ 4196103 h 12561136"/>
                <a:gd name="connsiteX1" fmla="*/ 613837 w 17157070"/>
                <a:gd name="connsiteY1" fmla="*/ 6574461 h 12561136"/>
                <a:gd name="connsiteX2" fmla="*/ 1518338 w 17157070"/>
                <a:gd name="connsiteY2" fmla="*/ 7442611 h 12561136"/>
                <a:gd name="connsiteX3" fmla="*/ 1735898 w 17157070"/>
                <a:gd name="connsiteY3" fmla="*/ 8274535 h 12561136"/>
                <a:gd name="connsiteX4" fmla="*/ 3137400 w 17157070"/>
                <a:gd name="connsiteY4" fmla="*/ 8799095 h 12561136"/>
                <a:gd name="connsiteX5" fmla="*/ 3453963 w 17157070"/>
                <a:gd name="connsiteY5" fmla="*/ 10155586 h 12561136"/>
                <a:gd name="connsiteX6" fmla="*/ 4168520 w 17157070"/>
                <a:gd name="connsiteY6" fmla="*/ 11530155 h 12561136"/>
                <a:gd name="connsiteX7" fmla="*/ 4162343 w 17157070"/>
                <a:gd name="connsiteY7" fmla="*/ 12561136 h 12561136"/>
                <a:gd name="connsiteX8" fmla="*/ 4605215 w 17157070"/>
                <a:gd name="connsiteY8" fmla="*/ 12476972 h 12561136"/>
                <a:gd name="connsiteX9" fmla="*/ 4840336 w 17157070"/>
                <a:gd name="connsiteY9" fmla="*/ 12187590 h 12561136"/>
                <a:gd name="connsiteX10" fmla="*/ 6070201 w 17157070"/>
                <a:gd name="connsiteY10" fmla="*/ 12205682 h 12561136"/>
                <a:gd name="connsiteX11" fmla="*/ 6884082 w 17157070"/>
                <a:gd name="connsiteY11" fmla="*/ 11608830 h 12561136"/>
                <a:gd name="connsiteX12" fmla="*/ 7716051 w 17157070"/>
                <a:gd name="connsiteY12" fmla="*/ 11934389 h 12561136"/>
                <a:gd name="connsiteX13" fmla="*/ 8584189 w 17157070"/>
                <a:gd name="connsiteY13" fmla="*/ 11735437 h 12561136"/>
                <a:gd name="connsiteX14" fmla="*/ 9289552 w 17157070"/>
                <a:gd name="connsiteY14" fmla="*/ 11934389 h 12561136"/>
                <a:gd name="connsiteX15" fmla="*/ 10139605 w 17157070"/>
                <a:gd name="connsiteY15" fmla="*/ 11536489 h 12561136"/>
                <a:gd name="connsiteX16" fmla="*/ 10664108 w 17157070"/>
                <a:gd name="connsiteY16" fmla="*/ 11753525 h 12561136"/>
                <a:gd name="connsiteX17" fmla="*/ 11387555 w 17157070"/>
                <a:gd name="connsiteY17" fmla="*/ 11663095 h 12561136"/>
                <a:gd name="connsiteX18" fmla="*/ 11966315 w 17157070"/>
                <a:gd name="connsiteY18" fmla="*/ 12386550 h 12561136"/>
                <a:gd name="connsiteX19" fmla="*/ 12942975 w 17157070"/>
                <a:gd name="connsiteY19" fmla="*/ 12151421 h 12561136"/>
                <a:gd name="connsiteX20" fmla="*/ 13575992 w 17157070"/>
                <a:gd name="connsiteY20" fmla="*/ 12549321 h 12561136"/>
                <a:gd name="connsiteX21" fmla="*/ 13973888 w 17157070"/>
                <a:gd name="connsiteY21" fmla="*/ 12458888 h 12561136"/>
                <a:gd name="connsiteX22" fmla="*/ 14028146 w 17157070"/>
                <a:gd name="connsiteY22" fmla="*/ 11916297 h 12561136"/>
                <a:gd name="connsiteX23" fmla="*/ 13594073 w 17157070"/>
                <a:gd name="connsiteY23" fmla="*/ 11862040 h 12561136"/>
                <a:gd name="connsiteX24" fmla="*/ 13612161 w 17157070"/>
                <a:gd name="connsiteY24" fmla="*/ 11174761 h 12561136"/>
                <a:gd name="connsiteX25" fmla="*/ 14190925 w 17157070"/>
                <a:gd name="connsiteY25" fmla="*/ 11030074 h 12561136"/>
                <a:gd name="connsiteX26" fmla="*/ 13865366 w 17157070"/>
                <a:gd name="connsiteY26" fmla="*/ 10559829 h 12561136"/>
                <a:gd name="connsiteX27" fmla="*/ 14136664 w 17157070"/>
                <a:gd name="connsiteY27" fmla="*/ 10161933 h 12561136"/>
                <a:gd name="connsiteX28" fmla="*/ 14703435 w 17157070"/>
                <a:gd name="connsiteY28" fmla="*/ 10189029 h 12561136"/>
                <a:gd name="connsiteX29" fmla="*/ 14661163 w 17157070"/>
                <a:gd name="connsiteY29" fmla="*/ 10017245 h 12561136"/>
                <a:gd name="connsiteX30" fmla="*/ 14335608 w 17157070"/>
                <a:gd name="connsiteY30" fmla="*/ 9854470 h 12561136"/>
                <a:gd name="connsiteX31" fmla="*/ 14498387 w 17157070"/>
                <a:gd name="connsiteY31" fmla="*/ 9275706 h 12561136"/>
                <a:gd name="connsiteX32" fmla="*/ 13847278 w 17157070"/>
                <a:gd name="connsiteY32" fmla="*/ 8371392 h 12561136"/>
                <a:gd name="connsiteX33" fmla="*/ 13340864 w 17157070"/>
                <a:gd name="connsiteY33" fmla="*/ 7666029 h 12561136"/>
                <a:gd name="connsiteX34" fmla="*/ 13123831 w 17157070"/>
                <a:gd name="connsiteY34" fmla="*/ 6580851 h 12561136"/>
                <a:gd name="connsiteX35" fmla="*/ 13232349 w 17157070"/>
                <a:gd name="connsiteY35" fmla="*/ 5893577 h 12561136"/>
                <a:gd name="connsiteX36" fmla="*/ 12273778 w 17157070"/>
                <a:gd name="connsiteY36" fmla="*/ 5926738 h 12561136"/>
                <a:gd name="connsiteX37" fmla="*/ 12201432 w 17157070"/>
                <a:gd name="connsiteY37" fmla="*/ 5528838 h 12561136"/>
                <a:gd name="connsiteX38" fmla="*/ 12508887 w 17157070"/>
                <a:gd name="connsiteY38" fmla="*/ 5025443 h 12561136"/>
                <a:gd name="connsiteX39" fmla="*/ 13774933 w 17157070"/>
                <a:gd name="connsiteY39" fmla="*/ 4247727 h 12561136"/>
                <a:gd name="connsiteX40" fmla="*/ 15294184 w 17157070"/>
                <a:gd name="connsiteY40" fmla="*/ 3741312 h 12561136"/>
                <a:gd name="connsiteX41" fmla="*/ 15746333 w 17157070"/>
                <a:gd name="connsiteY41" fmla="*/ 4066867 h 12561136"/>
                <a:gd name="connsiteX42" fmla="*/ 16578306 w 17157070"/>
                <a:gd name="connsiteY42" fmla="*/ 3777485 h 12561136"/>
                <a:gd name="connsiteX43" fmla="*/ 17084732 w 17157070"/>
                <a:gd name="connsiteY43" fmla="*/ 4175393 h 12561136"/>
                <a:gd name="connsiteX44" fmla="*/ 17157070 w 17157070"/>
                <a:gd name="connsiteY44" fmla="*/ 3234902 h 12561136"/>
                <a:gd name="connsiteX45" fmla="*/ 16433615 w 17157070"/>
                <a:gd name="connsiteY45" fmla="*/ 3144472 h 12561136"/>
                <a:gd name="connsiteX46" fmla="*/ 16415865 w 17157070"/>
                <a:gd name="connsiteY46" fmla="*/ 2528320 h 12561136"/>
                <a:gd name="connsiteX47" fmla="*/ 15963191 w 17157070"/>
                <a:gd name="connsiteY47" fmla="*/ 2667776 h 12561136"/>
                <a:gd name="connsiteX48" fmla="*/ 14923009 w 17157070"/>
                <a:gd name="connsiteY48" fmla="*/ 1437893 h 12561136"/>
                <a:gd name="connsiteX49" fmla="*/ 14244644 w 17157070"/>
                <a:gd name="connsiteY49" fmla="*/ -2 h 12561136"/>
                <a:gd name="connsiteX50" fmla="*/ 4898441 w 17157070"/>
                <a:gd name="connsiteY50" fmla="*/ 4943950 h 12561136"/>
                <a:gd name="connsiteX51" fmla="*/ 4600673 w 17157070"/>
                <a:gd name="connsiteY51" fmla="*/ 4675479 h 12561136"/>
                <a:gd name="connsiteX52" fmla="*/ 4416749 w 17157070"/>
                <a:gd name="connsiteY52" fmla="*/ 4252472 h 12561136"/>
                <a:gd name="connsiteX53" fmla="*/ 4653822 w 17157070"/>
                <a:gd name="connsiteY53" fmla="*/ 3702305 h 12561136"/>
                <a:gd name="connsiteX54" fmla="*/ 4432864 w 17157070"/>
                <a:gd name="connsiteY54" fmla="*/ 3149070 h 12561136"/>
                <a:gd name="connsiteX55" fmla="*/ 4437471 w 17157070"/>
                <a:gd name="connsiteY55" fmla="*/ 2480282 h 12561136"/>
                <a:gd name="connsiteX56" fmla="*/ 4141784 w 17157070"/>
                <a:gd name="connsiteY56" fmla="*/ 1760928 h 12561136"/>
                <a:gd name="connsiteX57" fmla="*/ 2314296 w 17157070"/>
                <a:gd name="connsiteY57" fmla="*/ 2043785 h 12561136"/>
                <a:gd name="connsiteX58" fmla="*/ 1334589 w 17157070"/>
                <a:gd name="connsiteY58" fmla="*/ 2848657 h 12561136"/>
                <a:gd name="connsiteX59" fmla="*/ 0 w 17157070"/>
                <a:gd name="connsiteY59" fmla="*/ 4196103 h 12561136"/>
                <a:gd name="connsiteX0" fmla="*/ 0 w 17157070"/>
                <a:gd name="connsiteY0" fmla="*/ 2758209 h 11123242"/>
                <a:gd name="connsiteX1" fmla="*/ 613837 w 17157070"/>
                <a:gd name="connsiteY1" fmla="*/ 5136567 h 11123242"/>
                <a:gd name="connsiteX2" fmla="*/ 1518338 w 17157070"/>
                <a:gd name="connsiteY2" fmla="*/ 6004717 h 11123242"/>
                <a:gd name="connsiteX3" fmla="*/ 1735898 w 17157070"/>
                <a:gd name="connsiteY3" fmla="*/ 6836641 h 11123242"/>
                <a:gd name="connsiteX4" fmla="*/ 3137400 w 17157070"/>
                <a:gd name="connsiteY4" fmla="*/ 7361201 h 11123242"/>
                <a:gd name="connsiteX5" fmla="*/ 3453963 w 17157070"/>
                <a:gd name="connsiteY5" fmla="*/ 8717692 h 11123242"/>
                <a:gd name="connsiteX6" fmla="*/ 4168520 w 17157070"/>
                <a:gd name="connsiteY6" fmla="*/ 10092261 h 11123242"/>
                <a:gd name="connsiteX7" fmla="*/ 4162343 w 17157070"/>
                <a:gd name="connsiteY7" fmla="*/ 11123242 h 11123242"/>
                <a:gd name="connsiteX8" fmla="*/ 4605215 w 17157070"/>
                <a:gd name="connsiteY8" fmla="*/ 11039078 h 11123242"/>
                <a:gd name="connsiteX9" fmla="*/ 4840336 w 17157070"/>
                <a:gd name="connsiteY9" fmla="*/ 10749696 h 11123242"/>
                <a:gd name="connsiteX10" fmla="*/ 6070201 w 17157070"/>
                <a:gd name="connsiteY10" fmla="*/ 10767788 h 11123242"/>
                <a:gd name="connsiteX11" fmla="*/ 6884082 w 17157070"/>
                <a:gd name="connsiteY11" fmla="*/ 10170936 h 11123242"/>
                <a:gd name="connsiteX12" fmla="*/ 7716051 w 17157070"/>
                <a:gd name="connsiteY12" fmla="*/ 10496495 h 11123242"/>
                <a:gd name="connsiteX13" fmla="*/ 8584189 w 17157070"/>
                <a:gd name="connsiteY13" fmla="*/ 10297543 h 11123242"/>
                <a:gd name="connsiteX14" fmla="*/ 9289552 w 17157070"/>
                <a:gd name="connsiteY14" fmla="*/ 10496495 h 11123242"/>
                <a:gd name="connsiteX15" fmla="*/ 10139605 w 17157070"/>
                <a:gd name="connsiteY15" fmla="*/ 10098595 h 11123242"/>
                <a:gd name="connsiteX16" fmla="*/ 10664108 w 17157070"/>
                <a:gd name="connsiteY16" fmla="*/ 10315631 h 11123242"/>
                <a:gd name="connsiteX17" fmla="*/ 11387555 w 17157070"/>
                <a:gd name="connsiteY17" fmla="*/ 10225201 h 11123242"/>
                <a:gd name="connsiteX18" fmla="*/ 11966315 w 17157070"/>
                <a:gd name="connsiteY18" fmla="*/ 10948656 h 11123242"/>
                <a:gd name="connsiteX19" fmla="*/ 12942975 w 17157070"/>
                <a:gd name="connsiteY19" fmla="*/ 10713527 h 11123242"/>
                <a:gd name="connsiteX20" fmla="*/ 13575992 w 17157070"/>
                <a:gd name="connsiteY20" fmla="*/ 11111427 h 11123242"/>
                <a:gd name="connsiteX21" fmla="*/ 13973888 w 17157070"/>
                <a:gd name="connsiteY21" fmla="*/ 11020994 h 11123242"/>
                <a:gd name="connsiteX22" fmla="*/ 14028146 w 17157070"/>
                <a:gd name="connsiteY22" fmla="*/ 10478403 h 11123242"/>
                <a:gd name="connsiteX23" fmla="*/ 13594073 w 17157070"/>
                <a:gd name="connsiteY23" fmla="*/ 10424146 h 11123242"/>
                <a:gd name="connsiteX24" fmla="*/ 13612161 w 17157070"/>
                <a:gd name="connsiteY24" fmla="*/ 9736867 h 11123242"/>
                <a:gd name="connsiteX25" fmla="*/ 14190925 w 17157070"/>
                <a:gd name="connsiteY25" fmla="*/ 9592180 h 11123242"/>
                <a:gd name="connsiteX26" fmla="*/ 13865366 w 17157070"/>
                <a:gd name="connsiteY26" fmla="*/ 9121935 h 11123242"/>
                <a:gd name="connsiteX27" fmla="*/ 14136664 w 17157070"/>
                <a:gd name="connsiteY27" fmla="*/ 8724039 h 11123242"/>
                <a:gd name="connsiteX28" fmla="*/ 14703435 w 17157070"/>
                <a:gd name="connsiteY28" fmla="*/ 8751135 h 11123242"/>
                <a:gd name="connsiteX29" fmla="*/ 14661163 w 17157070"/>
                <a:gd name="connsiteY29" fmla="*/ 8579351 h 11123242"/>
                <a:gd name="connsiteX30" fmla="*/ 14335608 w 17157070"/>
                <a:gd name="connsiteY30" fmla="*/ 8416576 h 11123242"/>
                <a:gd name="connsiteX31" fmla="*/ 14498387 w 17157070"/>
                <a:gd name="connsiteY31" fmla="*/ 7837812 h 11123242"/>
                <a:gd name="connsiteX32" fmla="*/ 13847278 w 17157070"/>
                <a:gd name="connsiteY32" fmla="*/ 6933498 h 11123242"/>
                <a:gd name="connsiteX33" fmla="*/ 13340864 w 17157070"/>
                <a:gd name="connsiteY33" fmla="*/ 6228135 h 11123242"/>
                <a:gd name="connsiteX34" fmla="*/ 13123831 w 17157070"/>
                <a:gd name="connsiteY34" fmla="*/ 5142957 h 11123242"/>
                <a:gd name="connsiteX35" fmla="*/ 13232349 w 17157070"/>
                <a:gd name="connsiteY35" fmla="*/ 4455683 h 11123242"/>
                <a:gd name="connsiteX36" fmla="*/ 12273778 w 17157070"/>
                <a:gd name="connsiteY36" fmla="*/ 4488844 h 11123242"/>
                <a:gd name="connsiteX37" fmla="*/ 12201432 w 17157070"/>
                <a:gd name="connsiteY37" fmla="*/ 4090944 h 11123242"/>
                <a:gd name="connsiteX38" fmla="*/ 12508887 w 17157070"/>
                <a:gd name="connsiteY38" fmla="*/ 3587549 h 11123242"/>
                <a:gd name="connsiteX39" fmla="*/ 13774933 w 17157070"/>
                <a:gd name="connsiteY39" fmla="*/ 2809833 h 11123242"/>
                <a:gd name="connsiteX40" fmla="*/ 15294184 w 17157070"/>
                <a:gd name="connsiteY40" fmla="*/ 2303418 h 11123242"/>
                <a:gd name="connsiteX41" fmla="*/ 15746333 w 17157070"/>
                <a:gd name="connsiteY41" fmla="*/ 2628973 h 11123242"/>
                <a:gd name="connsiteX42" fmla="*/ 16578306 w 17157070"/>
                <a:gd name="connsiteY42" fmla="*/ 2339591 h 11123242"/>
                <a:gd name="connsiteX43" fmla="*/ 17084732 w 17157070"/>
                <a:gd name="connsiteY43" fmla="*/ 2737499 h 11123242"/>
                <a:gd name="connsiteX44" fmla="*/ 17157070 w 17157070"/>
                <a:gd name="connsiteY44" fmla="*/ 1797008 h 11123242"/>
                <a:gd name="connsiteX45" fmla="*/ 16433615 w 17157070"/>
                <a:gd name="connsiteY45" fmla="*/ 1706578 h 11123242"/>
                <a:gd name="connsiteX46" fmla="*/ 16415865 w 17157070"/>
                <a:gd name="connsiteY46" fmla="*/ 1090426 h 11123242"/>
                <a:gd name="connsiteX47" fmla="*/ 15963191 w 17157070"/>
                <a:gd name="connsiteY47" fmla="*/ 1229882 h 11123242"/>
                <a:gd name="connsiteX48" fmla="*/ 14923009 w 17157070"/>
                <a:gd name="connsiteY48" fmla="*/ -1 h 11123242"/>
                <a:gd name="connsiteX49" fmla="*/ 5153802 w 17157070"/>
                <a:gd name="connsiteY49" fmla="*/ 3455348 h 11123242"/>
                <a:gd name="connsiteX50" fmla="*/ 4898441 w 17157070"/>
                <a:gd name="connsiteY50" fmla="*/ 3506056 h 11123242"/>
                <a:gd name="connsiteX51" fmla="*/ 4600673 w 17157070"/>
                <a:gd name="connsiteY51" fmla="*/ 3237585 h 11123242"/>
                <a:gd name="connsiteX52" fmla="*/ 4416749 w 17157070"/>
                <a:gd name="connsiteY52" fmla="*/ 2814578 h 11123242"/>
                <a:gd name="connsiteX53" fmla="*/ 4653822 w 17157070"/>
                <a:gd name="connsiteY53" fmla="*/ 2264411 h 11123242"/>
                <a:gd name="connsiteX54" fmla="*/ 4432864 w 17157070"/>
                <a:gd name="connsiteY54" fmla="*/ 1711176 h 11123242"/>
                <a:gd name="connsiteX55" fmla="*/ 4437471 w 17157070"/>
                <a:gd name="connsiteY55" fmla="*/ 1042388 h 11123242"/>
                <a:gd name="connsiteX56" fmla="*/ 4141784 w 17157070"/>
                <a:gd name="connsiteY56" fmla="*/ 323034 h 11123242"/>
                <a:gd name="connsiteX57" fmla="*/ 2314296 w 17157070"/>
                <a:gd name="connsiteY57" fmla="*/ 605891 h 11123242"/>
                <a:gd name="connsiteX58" fmla="*/ 1334589 w 17157070"/>
                <a:gd name="connsiteY58" fmla="*/ 1410763 h 11123242"/>
                <a:gd name="connsiteX59" fmla="*/ 0 w 17157070"/>
                <a:gd name="connsiteY59" fmla="*/ 2758209 h 11123242"/>
                <a:gd name="connsiteX0" fmla="*/ 0 w 17157070"/>
                <a:gd name="connsiteY0" fmla="*/ 2435175 h 10800208"/>
                <a:gd name="connsiteX1" fmla="*/ 613837 w 17157070"/>
                <a:gd name="connsiteY1" fmla="*/ 4813533 h 10800208"/>
                <a:gd name="connsiteX2" fmla="*/ 1518338 w 17157070"/>
                <a:gd name="connsiteY2" fmla="*/ 5681683 h 10800208"/>
                <a:gd name="connsiteX3" fmla="*/ 1735898 w 17157070"/>
                <a:gd name="connsiteY3" fmla="*/ 6513607 h 10800208"/>
                <a:gd name="connsiteX4" fmla="*/ 3137400 w 17157070"/>
                <a:gd name="connsiteY4" fmla="*/ 7038167 h 10800208"/>
                <a:gd name="connsiteX5" fmla="*/ 3453963 w 17157070"/>
                <a:gd name="connsiteY5" fmla="*/ 8394658 h 10800208"/>
                <a:gd name="connsiteX6" fmla="*/ 4168520 w 17157070"/>
                <a:gd name="connsiteY6" fmla="*/ 9769227 h 10800208"/>
                <a:gd name="connsiteX7" fmla="*/ 4162343 w 17157070"/>
                <a:gd name="connsiteY7" fmla="*/ 10800208 h 10800208"/>
                <a:gd name="connsiteX8" fmla="*/ 4605215 w 17157070"/>
                <a:gd name="connsiteY8" fmla="*/ 10716044 h 10800208"/>
                <a:gd name="connsiteX9" fmla="*/ 4840336 w 17157070"/>
                <a:gd name="connsiteY9" fmla="*/ 10426662 h 10800208"/>
                <a:gd name="connsiteX10" fmla="*/ 6070201 w 17157070"/>
                <a:gd name="connsiteY10" fmla="*/ 10444754 h 10800208"/>
                <a:gd name="connsiteX11" fmla="*/ 6884082 w 17157070"/>
                <a:gd name="connsiteY11" fmla="*/ 9847902 h 10800208"/>
                <a:gd name="connsiteX12" fmla="*/ 7716051 w 17157070"/>
                <a:gd name="connsiteY12" fmla="*/ 10173461 h 10800208"/>
                <a:gd name="connsiteX13" fmla="*/ 8584189 w 17157070"/>
                <a:gd name="connsiteY13" fmla="*/ 9974509 h 10800208"/>
                <a:gd name="connsiteX14" fmla="*/ 9289552 w 17157070"/>
                <a:gd name="connsiteY14" fmla="*/ 10173461 h 10800208"/>
                <a:gd name="connsiteX15" fmla="*/ 10139605 w 17157070"/>
                <a:gd name="connsiteY15" fmla="*/ 9775561 h 10800208"/>
                <a:gd name="connsiteX16" fmla="*/ 10664108 w 17157070"/>
                <a:gd name="connsiteY16" fmla="*/ 9992597 h 10800208"/>
                <a:gd name="connsiteX17" fmla="*/ 11387555 w 17157070"/>
                <a:gd name="connsiteY17" fmla="*/ 9902167 h 10800208"/>
                <a:gd name="connsiteX18" fmla="*/ 11966315 w 17157070"/>
                <a:gd name="connsiteY18" fmla="*/ 10625622 h 10800208"/>
                <a:gd name="connsiteX19" fmla="*/ 12942975 w 17157070"/>
                <a:gd name="connsiteY19" fmla="*/ 10390493 h 10800208"/>
                <a:gd name="connsiteX20" fmla="*/ 13575992 w 17157070"/>
                <a:gd name="connsiteY20" fmla="*/ 10788393 h 10800208"/>
                <a:gd name="connsiteX21" fmla="*/ 13973888 w 17157070"/>
                <a:gd name="connsiteY21" fmla="*/ 10697960 h 10800208"/>
                <a:gd name="connsiteX22" fmla="*/ 14028146 w 17157070"/>
                <a:gd name="connsiteY22" fmla="*/ 10155369 h 10800208"/>
                <a:gd name="connsiteX23" fmla="*/ 13594073 w 17157070"/>
                <a:gd name="connsiteY23" fmla="*/ 10101112 h 10800208"/>
                <a:gd name="connsiteX24" fmla="*/ 13612161 w 17157070"/>
                <a:gd name="connsiteY24" fmla="*/ 9413833 h 10800208"/>
                <a:gd name="connsiteX25" fmla="*/ 14190925 w 17157070"/>
                <a:gd name="connsiteY25" fmla="*/ 9269146 h 10800208"/>
                <a:gd name="connsiteX26" fmla="*/ 13865366 w 17157070"/>
                <a:gd name="connsiteY26" fmla="*/ 8798901 h 10800208"/>
                <a:gd name="connsiteX27" fmla="*/ 14136664 w 17157070"/>
                <a:gd name="connsiteY27" fmla="*/ 8401005 h 10800208"/>
                <a:gd name="connsiteX28" fmla="*/ 14703435 w 17157070"/>
                <a:gd name="connsiteY28" fmla="*/ 8428101 h 10800208"/>
                <a:gd name="connsiteX29" fmla="*/ 14661163 w 17157070"/>
                <a:gd name="connsiteY29" fmla="*/ 8256317 h 10800208"/>
                <a:gd name="connsiteX30" fmla="*/ 14335608 w 17157070"/>
                <a:gd name="connsiteY30" fmla="*/ 8093542 h 10800208"/>
                <a:gd name="connsiteX31" fmla="*/ 14498387 w 17157070"/>
                <a:gd name="connsiteY31" fmla="*/ 7514778 h 10800208"/>
                <a:gd name="connsiteX32" fmla="*/ 13847278 w 17157070"/>
                <a:gd name="connsiteY32" fmla="*/ 6610464 h 10800208"/>
                <a:gd name="connsiteX33" fmla="*/ 13340864 w 17157070"/>
                <a:gd name="connsiteY33" fmla="*/ 5905101 h 10800208"/>
                <a:gd name="connsiteX34" fmla="*/ 13123831 w 17157070"/>
                <a:gd name="connsiteY34" fmla="*/ 4819923 h 10800208"/>
                <a:gd name="connsiteX35" fmla="*/ 13232349 w 17157070"/>
                <a:gd name="connsiteY35" fmla="*/ 4132649 h 10800208"/>
                <a:gd name="connsiteX36" fmla="*/ 12273778 w 17157070"/>
                <a:gd name="connsiteY36" fmla="*/ 4165810 h 10800208"/>
                <a:gd name="connsiteX37" fmla="*/ 12201432 w 17157070"/>
                <a:gd name="connsiteY37" fmla="*/ 3767910 h 10800208"/>
                <a:gd name="connsiteX38" fmla="*/ 12508887 w 17157070"/>
                <a:gd name="connsiteY38" fmla="*/ 3264515 h 10800208"/>
                <a:gd name="connsiteX39" fmla="*/ 13774933 w 17157070"/>
                <a:gd name="connsiteY39" fmla="*/ 2486799 h 10800208"/>
                <a:gd name="connsiteX40" fmla="*/ 15294184 w 17157070"/>
                <a:gd name="connsiteY40" fmla="*/ 1980384 h 10800208"/>
                <a:gd name="connsiteX41" fmla="*/ 15746333 w 17157070"/>
                <a:gd name="connsiteY41" fmla="*/ 2305939 h 10800208"/>
                <a:gd name="connsiteX42" fmla="*/ 16578306 w 17157070"/>
                <a:gd name="connsiteY42" fmla="*/ 2016557 h 10800208"/>
                <a:gd name="connsiteX43" fmla="*/ 17084732 w 17157070"/>
                <a:gd name="connsiteY43" fmla="*/ 2414465 h 10800208"/>
                <a:gd name="connsiteX44" fmla="*/ 17157070 w 17157070"/>
                <a:gd name="connsiteY44" fmla="*/ 1473974 h 10800208"/>
                <a:gd name="connsiteX45" fmla="*/ 16433615 w 17157070"/>
                <a:gd name="connsiteY45" fmla="*/ 1383544 h 10800208"/>
                <a:gd name="connsiteX46" fmla="*/ 16415865 w 17157070"/>
                <a:gd name="connsiteY46" fmla="*/ 767392 h 10800208"/>
                <a:gd name="connsiteX47" fmla="*/ 15963191 w 17157070"/>
                <a:gd name="connsiteY47" fmla="*/ 906848 h 10800208"/>
                <a:gd name="connsiteX48" fmla="*/ 5153802 w 17157070"/>
                <a:gd name="connsiteY48" fmla="*/ 3132314 h 10800208"/>
                <a:gd name="connsiteX49" fmla="*/ 4898441 w 17157070"/>
                <a:gd name="connsiteY49" fmla="*/ 3183022 h 10800208"/>
                <a:gd name="connsiteX50" fmla="*/ 4600673 w 17157070"/>
                <a:gd name="connsiteY50" fmla="*/ 2914551 h 10800208"/>
                <a:gd name="connsiteX51" fmla="*/ 4416749 w 17157070"/>
                <a:gd name="connsiteY51" fmla="*/ 2491544 h 10800208"/>
                <a:gd name="connsiteX52" fmla="*/ 4653822 w 17157070"/>
                <a:gd name="connsiteY52" fmla="*/ 1941377 h 10800208"/>
                <a:gd name="connsiteX53" fmla="*/ 4432864 w 17157070"/>
                <a:gd name="connsiteY53" fmla="*/ 1388142 h 10800208"/>
                <a:gd name="connsiteX54" fmla="*/ 4437471 w 17157070"/>
                <a:gd name="connsiteY54" fmla="*/ 719354 h 10800208"/>
                <a:gd name="connsiteX55" fmla="*/ 4141784 w 17157070"/>
                <a:gd name="connsiteY55" fmla="*/ 0 h 10800208"/>
                <a:gd name="connsiteX56" fmla="*/ 2314296 w 17157070"/>
                <a:gd name="connsiteY56" fmla="*/ 282857 h 10800208"/>
                <a:gd name="connsiteX57" fmla="*/ 1334589 w 17157070"/>
                <a:gd name="connsiteY57" fmla="*/ 1087729 h 10800208"/>
                <a:gd name="connsiteX58" fmla="*/ 0 w 17157070"/>
                <a:gd name="connsiteY58" fmla="*/ 2435175 h 10800208"/>
                <a:gd name="connsiteX0" fmla="*/ 0 w 17157070"/>
                <a:gd name="connsiteY0" fmla="*/ 2435175 h 10800208"/>
                <a:gd name="connsiteX1" fmla="*/ 613837 w 17157070"/>
                <a:gd name="connsiteY1" fmla="*/ 4813533 h 10800208"/>
                <a:gd name="connsiteX2" fmla="*/ 1518338 w 17157070"/>
                <a:gd name="connsiteY2" fmla="*/ 5681683 h 10800208"/>
                <a:gd name="connsiteX3" fmla="*/ 1735898 w 17157070"/>
                <a:gd name="connsiteY3" fmla="*/ 6513607 h 10800208"/>
                <a:gd name="connsiteX4" fmla="*/ 3137400 w 17157070"/>
                <a:gd name="connsiteY4" fmla="*/ 7038167 h 10800208"/>
                <a:gd name="connsiteX5" fmla="*/ 3453963 w 17157070"/>
                <a:gd name="connsiteY5" fmla="*/ 8394658 h 10800208"/>
                <a:gd name="connsiteX6" fmla="*/ 4168520 w 17157070"/>
                <a:gd name="connsiteY6" fmla="*/ 9769227 h 10800208"/>
                <a:gd name="connsiteX7" fmla="*/ 4162343 w 17157070"/>
                <a:gd name="connsiteY7" fmla="*/ 10800208 h 10800208"/>
                <a:gd name="connsiteX8" fmla="*/ 4605215 w 17157070"/>
                <a:gd name="connsiteY8" fmla="*/ 10716044 h 10800208"/>
                <a:gd name="connsiteX9" fmla="*/ 4840336 w 17157070"/>
                <a:gd name="connsiteY9" fmla="*/ 10426662 h 10800208"/>
                <a:gd name="connsiteX10" fmla="*/ 6070201 w 17157070"/>
                <a:gd name="connsiteY10" fmla="*/ 10444754 h 10800208"/>
                <a:gd name="connsiteX11" fmla="*/ 6884082 w 17157070"/>
                <a:gd name="connsiteY11" fmla="*/ 9847902 h 10800208"/>
                <a:gd name="connsiteX12" fmla="*/ 7716051 w 17157070"/>
                <a:gd name="connsiteY12" fmla="*/ 10173461 h 10800208"/>
                <a:gd name="connsiteX13" fmla="*/ 8584189 w 17157070"/>
                <a:gd name="connsiteY13" fmla="*/ 9974509 h 10800208"/>
                <a:gd name="connsiteX14" fmla="*/ 9289552 w 17157070"/>
                <a:gd name="connsiteY14" fmla="*/ 10173461 h 10800208"/>
                <a:gd name="connsiteX15" fmla="*/ 10139605 w 17157070"/>
                <a:gd name="connsiteY15" fmla="*/ 9775561 h 10800208"/>
                <a:gd name="connsiteX16" fmla="*/ 10664108 w 17157070"/>
                <a:gd name="connsiteY16" fmla="*/ 9992597 h 10800208"/>
                <a:gd name="connsiteX17" fmla="*/ 11387555 w 17157070"/>
                <a:gd name="connsiteY17" fmla="*/ 9902167 h 10800208"/>
                <a:gd name="connsiteX18" fmla="*/ 11966315 w 17157070"/>
                <a:gd name="connsiteY18" fmla="*/ 10625622 h 10800208"/>
                <a:gd name="connsiteX19" fmla="*/ 12942975 w 17157070"/>
                <a:gd name="connsiteY19" fmla="*/ 10390493 h 10800208"/>
                <a:gd name="connsiteX20" fmla="*/ 13575992 w 17157070"/>
                <a:gd name="connsiteY20" fmla="*/ 10788393 h 10800208"/>
                <a:gd name="connsiteX21" fmla="*/ 13973888 w 17157070"/>
                <a:gd name="connsiteY21" fmla="*/ 10697960 h 10800208"/>
                <a:gd name="connsiteX22" fmla="*/ 14028146 w 17157070"/>
                <a:gd name="connsiteY22" fmla="*/ 10155369 h 10800208"/>
                <a:gd name="connsiteX23" fmla="*/ 13594073 w 17157070"/>
                <a:gd name="connsiteY23" fmla="*/ 10101112 h 10800208"/>
                <a:gd name="connsiteX24" fmla="*/ 13612161 w 17157070"/>
                <a:gd name="connsiteY24" fmla="*/ 9413833 h 10800208"/>
                <a:gd name="connsiteX25" fmla="*/ 14190925 w 17157070"/>
                <a:gd name="connsiteY25" fmla="*/ 9269146 h 10800208"/>
                <a:gd name="connsiteX26" fmla="*/ 13865366 w 17157070"/>
                <a:gd name="connsiteY26" fmla="*/ 8798901 h 10800208"/>
                <a:gd name="connsiteX27" fmla="*/ 14136664 w 17157070"/>
                <a:gd name="connsiteY27" fmla="*/ 8401005 h 10800208"/>
                <a:gd name="connsiteX28" fmla="*/ 14703435 w 17157070"/>
                <a:gd name="connsiteY28" fmla="*/ 8428101 h 10800208"/>
                <a:gd name="connsiteX29" fmla="*/ 14661163 w 17157070"/>
                <a:gd name="connsiteY29" fmla="*/ 8256317 h 10800208"/>
                <a:gd name="connsiteX30" fmla="*/ 14335608 w 17157070"/>
                <a:gd name="connsiteY30" fmla="*/ 8093542 h 10800208"/>
                <a:gd name="connsiteX31" fmla="*/ 14498387 w 17157070"/>
                <a:gd name="connsiteY31" fmla="*/ 7514778 h 10800208"/>
                <a:gd name="connsiteX32" fmla="*/ 13847278 w 17157070"/>
                <a:gd name="connsiteY32" fmla="*/ 6610464 h 10800208"/>
                <a:gd name="connsiteX33" fmla="*/ 13340864 w 17157070"/>
                <a:gd name="connsiteY33" fmla="*/ 5905101 h 10800208"/>
                <a:gd name="connsiteX34" fmla="*/ 13123831 w 17157070"/>
                <a:gd name="connsiteY34" fmla="*/ 4819923 h 10800208"/>
                <a:gd name="connsiteX35" fmla="*/ 13232349 w 17157070"/>
                <a:gd name="connsiteY35" fmla="*/ 4132649 h 10800208"/>
                <a:gd name="connsiteX36" fmla="*/ 12273778 w 17157070"/>
                <a:gd name="connsiteY36" fmla="*/ 4165810 h 10800208"/>
                <a:gd name="connsiteX37" fmla="*/ 12201432 w 17157070"/>
                <a:gd name="connsiteY37" fmla="*/ 3767910 h 10800208"/>
                <a:gd name="connsiteX38" fmla="*/ 12508887 w 17157070"/>
                <a:gd name="connsiteY38" fmla="*/ 3264515 h 10800208"/>
                <a:gd name="connsiteX39" fmla="*/ 13774933 w 17157070"/>
                <a:gd name="connsiteY39" fmla="*/ 2486799 h 10800208"/>
                <a:gd name="connsiteX40" fmla="*/ 15294184 w 17157070"/>
                <a:gd name="connsiteY40" fmla="*/ 1980384 h 10800208"/>
                <a:gd name="connsiteX41" fmla="*/ 15746333 w 17157070"/>
                <a:gd name="connsiteY41" fmla="*/ 2305939 h 10800208"/>
                <a:gd name="connsiteX42" fmla="*/ 16578306 w 17157070"/>
                <a:gd name="connsiteY42" fmla="*/ 2016557 h 10800208"/>
                <a:gd name="connsiteX43" fmla="*/ 17084732 w 17157070"/>
                <a:gd name="connsiteY43" fmla="*/ 2414465 h 10800208"/>
                <a:gd name="connsiteX44" fmla="*/ 17157070 w 17157070"/>
                <a:gd name="connsiteY44" fmla="*/ 1473974 h 10800208"/>
                <a:gd name="connsiteX45" fmla="*/ 16433615 w 17157070"/>
                <a:gd name="connsiteY45" fmla="*/ 1383544 h 10800208"/>
                <a:gd name="connsiteX46" fmla="*/ 16415865 w 17157070"/>
                <a:gd name="connsiteY46" fmla="*/ 767392 h 10800208"/>
                <a:gd name="connsiteX47" fmla="*/ 5365184 w 17157070"/>
                <a:gd name="connsiteY47" fmla="*/ 3460880 h 10800208"/>
                <a:gd name="connsiteX48" fmla="*/ 5153802 w 17157070"/>
                <a:gd name="connsiteY48" fmla="*/ 3132314 h 10800208"/>
                <a:gd name="connsiteX49" fmla="*/ 4898441 w 17157070"/>
                <a:gd name="connsiteY49" fmla="*/ 3183022 h 10800208"/>
                <a:gd name="connsiteX50" fmla="*/ 4600673 w 17157070"/>
                <a:gd name="connsiteY50" fmla="*/ 2914551 h 10800208"/>
                <a:gd name="connsiteX51" fmla="*/ 4416749 w 17157070"/>
                <a:gd name="connsiteY51" fmla="*/ 2491544 h 10800208"/>
                <a:gd name="connsiteX52" fmla="*/ 4653822 w 17157070"/>
                <a:gd name="connsiteY52" fmla="*/ 1941377 h 10800208"/>
                <a:gd name="connsiteX53" fmla="*/ 4432864 w 17157070"/>
                <a:gd name="connsiteY53" fmla="*/ 1388142 h 10800208"/>
                <a:gd name="connsiteX54" fmla="*/ 4437471 w 17157070"/>
                <a:gd name="connsiteY54" fmla="*/ 719354 h 10800208"/>
                <a:gd name="connsiteX55" fmla="*/ 4141784 w 17157070"/>
                <a:gd name="connsiteY55" fmla="*/ 0 h 10800208"/>
                <a:gd name="connsiteX56" fmla="*/ 2314296 w 17157070"/>
                <a:gd name="connsiteY56" fmla="*/ 282857 h 10800208"/>
                <a:gd name="connsiteX57" fmla="*/ 1334589 w 17157070"/>
                <a:gd name="connsiteY57" fmla="*/ 1087729 h 10800208"/>
                <a:gd name="connsiteX58" fmla="*/ 0 w 17157070"/>
                <a:gd name="connsiteY58" fmla="*/ 2435175 h 10800208"/>
                <a:gd name="connsiteX0" fmla="*/ 0 w 17157070"/>
                <a:gd name="connsiteY0" fmla="*/ 2435175 h 10800208"/>
                <a:gd name="connsiteX1" fmla="*/ 613837 w 17157070"/>
                <a:gd name="connsiteY1" fmla="*/ 4813533 h 10800208"/>
                <a:gd name="connsiteX2" fmla="*/ 1518338 w 17157070"/>
                <a:gd name="connsiteY2" fmla="*/ 5681683 h 10800208"/>
                <a:gd name="connsiteX3" fmla="*/ 1735898 w 17157070"/>
                <a:gd name="connsiteY3" fmla="*/ 6513607 h 10800208"/>
                <a:gd name="connsiteX4" fmla="*/ 3137400 w 17157070"/>
                <a:gd name="connsiteY4" fmla="*/ 7038167 h 10800208"/>
                <a:gd name="connsiteX5" fmla="*/ 3453963 w 17157070"/>
                <a:gd name="connsiteY5" fmla="*/ 8394658 h 10800208"/>
                <a:gd name="connsiteX6" fmla="*/ 4168520 w 17157070"/>
                <a:gd name="connsiteY6" fmla="*/ 9769227 h 10800208"/>
                <a:gd name="connsiteX7" fmla="*/ 4162343 w 17157070"/>
                <a:gd name="connsiteY7" fmla="*/ 10800208 h 10800208"/>
                <a:gd name="connsiteX8" fmla="*/ 4605215 w 17157070"/>
                <a:gd name="connsiteY8" fmla="*/ 10716044 h 10800208"/>
                <a:gd name="connsiteX9" fmla="*/ 4840336 w 17157070"/>
                <a:gd name="connsiteY9" fmla="*/ 10426662 h 10800208"/>
                <a:gd name="connsiteX10" fmla="*/ 6070201 w 17157070"/>
                <a:gd name="connsiteY10" fmla="*/ 10444754 h 10800208"/>
                <a:gd name="connsiteX11" fmla="*/ 6884082 w 17157070"/>
                <a:gd name="connsiteY11" fmla="*/ 9847902 h 10800208"/>
                <a:gd name="connsiteX12" fmla="*/ 7716051 w 17157070"/>
                <a:gd name="connsiteY12" fmla="*/ 10173461 h 10800208"/>
                <a:gd name="connsiteX13" fmla="*/ 8584189 w 17157070"/>
                <a:gd name="connsiteY13" fmla="*/ 9974509 h 10800208"/>
                <a:gd name="connsiteX14" fmla="*/ 9289552 w 17157070"/>
                <a:gd name="connsiteY14" fmla="*/ 10173461 h 10800208"/>
                <a:gd name="connsiteX15" fmla="*/ 10139605 w 17157070"/>
                <a:gd name="connsiteY15" fmla="*/ 9775561 h 10800208"/>
                <a:gd name="connsiteX16" fmla="*/ 10664108 w 17157070"/>
                <a:gd name="connsiteY16" fmla="*/ 9992597 h 10800208"/>
                <a:gd name="connsiteX17" fmla="*/ 11387555 w 17157070"/>
                <a:gd name="connsiteY17" fmla="*/ 9902167 h 10800208"/>
                <a:gd name="connsiteX18" fmla="*/ 11966315 w 17157070"/>
                <a:gd name="connsiteY18" fmla="*/ 10625622 h 10800208"/>
                <a:gd name="connsiteX19" fmla="*/ 12942975 w 17157070"/>
                <a:gd name="connsiteY19" fmla="*/ 10390493 h 10800208"/>
                <a:gd name="connsiteX20" fmla="*/ 13575992 w 17157070"/>
                <a:gd name="connsiteY20" fmla="*/ 10788393 h 10800208"/>
                <a:gd name="connsiteX21" fmla="*/ 13973888 w 17157070"/>
                <a:gd name="connsiteY21" fmla="*/ 10697960 h 10800208"/>
                <a:gd name="connsiteX22" fmla="*/ 14028146 w 17157070"/>
                <a:gd name="connsiteY22" fmla="*/ 10155369 h 10800208"/>
                <a:gd name="connsiteX23" fmla="*/ 13594073 w 17157070"/>
                <a:gd name="connsiteY23" fmla="*/ 10101112 h 10800208"/>
                <a:gd name="connsiteX24" fmla="*/ 13612161 w 17157070"/>
                <a:gd name="connsiteY24" fmla="*/ 9413833 h 10800208"/>
                <a:gd name="connsiteX25" fmla="*/ 14190925 w 17157070"/>
                <a:gd name="connsiteY25" fmla="*/ 9269146 h 10800208"/>
                <a:gd name="connsiteX26" fmla="*/ 13865366 w 17157070"/>
                <a:gd name="connsiteY26" fmla="*/ 8798901 h 10800208"/>
                <a:gd name="connsiteX27" fmla="*/ 14136664 w 17157070"/>
                <a:gd name="connsiteY27" fmla="*/ 8401005 h 10800208"/>
                <a:gd name="connsiteX28" fmla="*/ 14703435 w 17157070"/>
                <a:gd name="connsiteY28" fmla="*/ 8428101 h 10800208"/>
                <a:gd name="connsiteX29" fmla="*/ 14661163 w 17157070"/>
                <a:gd name="connsiteY29" fmla="*/ 8256317 h 10800208"/>
                <a:gd name="connsiteX30" fmla="*/ 14335608 w 17157070"/>
                <a:gd name="connsiteY30" fmla="*/ 8093542 h 10800208"/>
                <a:gd name="connsiteX31" fmla="*/ 14498387 w 17157070"/>
                <a:gd name="connsiteY31" fmla="*/ 7514778 h 10800208"/>
                <a:gd name="connsiteX32" fmla="*/ 13847278 w 17157070"/>
                <a:gd name="connsiteY32" fmla="*/ 6610464 h 10800208"/>
                <a:gd name="connsiteX33" fmla="*/ 13340864 w 17157070"/>
                <a:gd name="connsiteY33" fmla="*/ 5905101 h 10800208"/>
                <a:gd name="connsiteX34" fmla="*/ 13123831 w 17157070"/>
                <a:gd name="connsiteY34" fmla="*/ 4819923 h 10800208"/>
                <a:gd name="connsiteX35" fmla="*/ 13232349 w 17157070"/>
                <a:gd name="connsiteY35" fmla="*/ 4132649 h 10800208"/>
                <a:gd name="connsiteX36" fmla="*/ 12273778 w 17157070"/>
                <a:gd name="connsiteY36" fmla="*/ 4165810 h 10800208"/>
                <a:gd name="connsiteX37" fmla="*/ 12201432 w 17157070"/>
                <a:gd name="connsiteY37" fmla="*/ 3767910 h 10800208"/>
                <a:gd name="connsiteX38" fmla="*/ 12508887 w 17157070"/>
                <a:gd name="connsiteY38" fmla="*/ 3264515 h 10800208"/>
                <a:gd name="connsiteX39" fmla="*/ 13774933 w 17157070"/>
                <a:gd name="connsiteY39" fmla="*/ 2486799 h 10800208"/>
                <a:gd name="connsiteX40" fmla="*/ 15294184 w 17157070"/>
                <a:gd name="connsiteY40" fmla="*/ 1980384 h 10800208"/>
                <a:gd name="connsiteX41" fmla="*/ 15746333 w 17157070"/>
                <a:gd name="connsiteY41" fmla="*/ 2305939 h 10800208"/>
                <a:gd name="connsiteX42" fmla="*/ 16578306 w 17157070"/>
                <a:gd name="connsiteY42" fmla="*/ 2016557 h 10800208"/>
                <a:gd name="connsiteX43" fmla="*/ 17084732 w 17157070"/>
                <a:gd name="connsiteY43" fmla="*/ 2414465 h 10800208"/>
                <a:gd name="connsiteX44" fmla="*/ 17157070 w 17157070"/>
                <a:gd name="connsiteY44" fmla="*/ 1473974 h 10800208"/>
                <a:gd name="connsiteX45" fmla="*/ 16433615 w 17157070"/>
                <a:gd name="connsiteY45" fmla="*/ 1383544 h 10800208"/>
                <a:gd name="connsiteX46" fmla="*/ 5365184 w 17157070"/>
                <a:gd name="connsiteY46" fmla="*/ 3460880 h 10800208"/>
                <a:gd name="connsiteX47" fmla="*/ 5153802 w 17157070"/>
                <a:gd name="connsiteY47" fmla="*/ 3132314 h 10800208"/>
                <a:gd name="connsiteX48" fmla="*/ 4898441 w 17157070"/>
                <a:gd name="connsiteY48" fmla="*/ 3183022 h 10800208"/>
                <a:gd name="connsiteX49" fmla="*/ 4600673 w 17157070"/>
                <a:gd name="connsiteY49" fmla="*/ 2914551 h 10800208"/>
                <a:gd name="connsiteX50" fmla="*/ 4416749 w 17157070"/>
                <a:gd name="connsiteY50" fmla="*/ 2491544 h 10800208"/>
                <a:gd name="connsiteX51" fmla="*/ 4653822 w 17157070"/>
                <a:gd name="connsiteY51" fmla="*/ 1941377 h 10800208"/>
                <a:gd name="connsiteX52" fmla="*/ 4432864 w 17157070"/>
                <a:gd name="connsiteY52" fmla="*/ 1388142 h 10800208"/>
                <a:gd name="connsiteX53" fmla="*/ 4437471 w 17157070"/>
                <a:gd name="connsiteY53" fmla="*/ 719354 h 10800208"/>
                <a:gd name="connsiteX54" fmla="*/ 4141784 w 17157070"/>
                <a:gd name="connsiteY54" fmla="*/ 0 h 10800208"/>
                <a:gd name="connsiteX55" fmla="*/ 2314296 w 17157070"/>
                <a:gd name="connsiteY55" fmla="*/ 282857 h 10800208"/>
                <a:gd name="connsiteX56" fmla="*/ 1334589 w 17157070"/>
                <a:gd name="connsiteY56" fmla="*/ 1087729 h 10800208"/>
                <a:gd name="connsiteX57" fmla="*/ 0 w 17157070"/>
                <a:gd name="connsiteY57" fmla="*/ 2435175 h 10800208"/>
                <a:gd name="connsiteX0" fmla="*/ 0 w 17157070"/>
                <a:gd name="connsiteY0" fmla="*/ 2435175 h 10800208"/>
                <a:gd name="connsiteX1" fmla="*/ 613837 w 17157070"/>
                <a:gd name="connsiteY1" fmla="*/ 4813533 h 10800208"/>
                <a:gd name="connsiteX2" fmla="*/ 1518338 w 17157070"/>
                <a:gd name="connsiteY2" fmla="*/ 5681683 h 10800208"/>
                <a:gd name="connsiteX3" fmla="*/ 1735898 w 17157070"/>
                <a:gd name="connsiteY3" fmla="*/ 6513607 h 10800208"/>
                <a:gd name="connsiteX4" fmla="*/ 3137400 w 17157070"/>
                <a:gd name="connsiteY4" fmla="*/ 7038167 h 10800208"/>
                <a:gd name="connsiteX5" fmla="*/ 3453963 w 17157070"/>
                <a:gd name="connsiteY5" fmla="*/ 8394658 h 10800208"/>
                <a:gd name="connsiteX6" fmla="*/ 4168520 w 17157070"/>
                <a:gd name="connsiteY6" fmla="*/ 9769227 h 10800208"/>
                <a:gd name="connsiteX7" fmla="*/ 4162343 w 17157070"/>
                <a:gd name="connsiteY7" fmla="*/ 10800208 h 10800208"/>
                <a:gd name="connsiteX8" fmla="*/ 4605215 w 17157070"/>
                <a:gd name="connsiteY8" fmla="*/ 10716044 h 10800208"/>
                <a:gd name="connsiteX9" fmla="*/ 4840336 w 17157070"/>
                <a:gd name="connsiteY9" fmla="*/ 10426662 h 10800208"/>
                <a:gd name="connsiteX10" fmla="*/ 6070201 w 17157070"/>
                <a:gd name="connsiteY10" fmla="*/ 10444754 h 10800208"/>
                <a:gd name="connsiteX11" fmla="*/ 6884082 w 17157070"/>
                <a:gd name="connsiteY11" fmla="*/ 9847902 h 10800208"/>
                <a:gd name="connsiteX12" fmla="*/ 7716051 w 17157070"/>
                <a:gd name="connsiteY12" fmla="*/ 10173461 h 10800208"/>
                <a:gd name="connsiteX13" fmla="*/ 8584189 w 17157070"/>
                <a:gd name="connsiteY13" fmla="*/ 9974509 h 10800208"/>
                <a:gd name="connsiteX14" fmla="*/ 9289552 w 17157070"/>
                <a:gd name="connsiteY14" fmla="*/ 10173461 h 10800208"/>
                <a:gd name="connsiteX15" fmla="*/ 10139605 w 17157070"/>
                <a:gd name="connsiteY15" fmla="*/ 9775561 h 10800208"/>
                <a:gd name="connsiteX16" fmla="*/ 10664108 w 17157070"/>
                <a:gd name="connsiteY16" fmla="*/ 9992597 h 10800208"/>
                <a:gd name="connsiteX17" fmla="*/ 11387555 w 17157070"/>
                <a:gd name="connsiteY17" fmla="*/ 9902167 h 10800208"/>
                <a:gd name="connsiteX18" fmla="*/ 11966315 w 17157070"/>
                <a:gd name="connsiteY18" fmla="*/ 10625622 h 10800208"/>
                <a:gd name="connsiteX19" fmla="*/ 12942975 w 17157070"/>
                <a:gd name="connsiteY19" fmla="*/ 10390493 h 10800208"/>
                <a:gd name="connsiteX20" fmla="*/ 13575992 w 17157070"/>
                <a:gd name="connsiteY20" fmla="*/ 10788393 h 10800208"/>
                <a:gd name="connsiteX21" fmla="*/ 13973888 w 17157070"/>
                <a:gd name="connsiteY21" fmla="*/ 10697960 h 10800208"/>
                <a:gd name="connsiteX22" fmla="*/ 14028146 w 17157070"/>
                <a:gd name="connsiteY22" fmla="*/ 10155369 h 10800208"/>
                <a:gd name="connsiteX23" fmla="*/ 13594073 w 17157070"/>
                <a:gd name="connsiteY23" fmla="*/ 10101112 h 10800208"/>
                <a:gd name="connsiteX24" fmla="*/ 13612161 w 17157070"/>
                <a:gd name="connsiteY24" fmla="*/ 9413833 h 10800208"/>
                <a:gd name="connsiteX25" fmla="*/ 14190925 w 17157070"/>
                <a:gd name="connsiteY25" fmla="*/ 9269146 h 10800208"/>
                <a:gd name="connsiteX26" fmla="*/ 13865366 w 17157070"/>
                <a:gd name="connsiteY26" fmla="*/ 8798901 h 10800208"/>
                <a:gd name="connsiteX27" fmla="*/ 14136664 w 17157070"/>
                <a:gd name="connsiteY27" fmla="*/ 8401005 h 10800208"/>
                <a:gd name="connsiteX28" fmla="*/ 14703435 w 17157070"/>
                <a:gd name="connsiteY28" fmla="*/ 8428101 h 10800208"/>
                <a:gd name="connsiteX29" fmla="*/ 14661163 w 17157070"/>
                <a:gd name="connsiteY29" fmla="*/ 8256317 h 10800208"/>
                <a:gd name="connsiteX30" fmla="*/ 14335608 w 17157070"/>
                <a:gd name="connsiteY30" fmla="*/ 8093542 h 10800208"/>
                <a:gd name="connsiteX31" fmla="*/ 14498387 w 17157070"/>
                <a:gd name="connsiteY31" fmla="*/ 7514778 h 10800208"/>
                <a:gd name="connsiteX32" fmla="*/ 13847278 w 17157070"/>
                <a:gd name="connsiteY32" fmla="*/ 6610464 h 10800208"/>
                <a:gd name="connsiteX33" fmla="*/ 13340864 w 17157070"/>
                <a:gd name="connsiteY33" fmla="*/ 5905101 h 10800208"/>
                <a:gd name="connsiteX34" fmla="*/ 13123831 w 17157070"/>
                <a:gd name="connsiteY34" fmla="*/ 4819923 h 10800208"/>
                <a:gd name="connsiteX35" fmla="*/ 13232349 w 17157070"/>
                <a:gd name="connsiteY35" fmla="*/ 4132649 h 10800208"/>
                <a:gd name="connsiteX36" fmla="*/ 12273778 w 17157070"/>
                <a:gd name="connsiteY36" fmla="*/ 4165810 h 10800208"/>
                <a:gd name="connsiteX37" fmla="*/ 12201432 w 17157070"/>
                <a:gd name="connsiteY37" fmla="*/ 3767910 h 10800208"/>
                <a:gd name="connsiteX38" fmla="*/ 12508887 w 17157070"/>
                <a:gd name="connsiteY38" fmla="*/ 3264515 h 10800208"/>
                <a:gd name="connsiteX39" fmla="*/ 13774933 w 17157070"/>
                <a:gd name="connsiteY39" fmla="*/ 2486799 h 10800208"/>
                <a:gd name="connsiteX40" fmla="*/ 15294184 w 17157070"/>
                <a:gd name="connsiteY40" fmla="*/ 1980384 h 10800208"/>
                <a:gd name="connsiteX41" fmla="*/ 15746333 w 17157070"/>
                <a:gd name="connsiteY41" fmla="*/ 2305939 h 10800208"/>
                <a:gd name="connsiteX42" fmla="*/ 16578306 w 17157070"/>
                <a:gd name="connsiteY42" fmla="*/ 2016557 h 10800208"/>
                <a:gd name="connsiteX43" fmla="*/ 17084732 w 17157070"/>
                <a:gd name="connsiteY43" fmla="*/ 2414465 h 10800208"/>
                <a:gd name="connsiteX44" fmla="*/ 17157070 w 17157070"/>
                <a:gd name="connsiteY44" fmla="*/ 1473974 h 10800208"/>
                <a:gd name="connsiteX45" fmla="*/ 5596373 w 17157070"/>
                <a:gd name="connsiteY45" fmla="*/ 4033059 h 10800208"/>
                <a:gd name="connsiteX46" fmla="*/ 5365184 w 17157070"/>
                <a:gd name="connsiteY46" fmla="*/ 3460880 h 10800208"/>
                <a:gd name="connsiteX47" fmla="*/ 5153802 w 17157070"/>
                <a:gd name="connsiteY47" fmla="*/ 3132314 h 10800208"/>
                <a:gd name="connsiteX48" fmla="*/ 4898441 w 17157070"/>
                <a:gd name="connsiteY48" fmla="*/ 3183022 h 10800208"/>
                <a:gd name="connsiteX49" fmla="*/ 4600673 w 17157070"/>
                <a:gd name="connsiteY49" fmla="*/ 2914551 h 10800208"/>
                <a:gd name="connsiteX50" fmla="*/ 4416749 w 17157070"/>
                <a:gd name="connsiteY50" fmla="*/ 2491544 h 10800208"/>
                <a:gd name="connsiteX51" fmla="*/ 4653822 w 17157070"/>
                <a:gd name="connsiteY51" fmla="*/ 1941377 h 10800208"/>
                <a:gd name="connsiteX52" fmla="*/ 4432864 w 17157070"/>
                <a:gd name="connsiteY52" fmla="*/ 1388142 h 10800208"/>
                <a:gd name="connsiteX53" fmla="*/ 4437471 w 17157070"/>
                <a:gd name="connsiteY53" fmla="*/ 719354 h 10800208"/>
                <a:gd name="connsiteX54" fmla="*/ 4141784 w 17157070"/>
                <a:gd name="connsiteY54" fmla="*/ 0 h 10800208"/>
                <a:gd name="connsiteX55" fmla="*/ 2314296 w 17157070"/>
                <a:gd name="connsiteY55" fmla="*/ 282857 h 10800208"/>
                <a:gd name="connsiteX56" fmla="*/ 1334589 w 17157070"/>
                <a:gd name="connsiteY56" fmla="*/ 1087729 h 10800208"/>
                <a:gd name="connsiteX57" fmla="*/ 0 w 17157070"/>
                <a:gd name="connsiteY57" fmla="*/ 2435175 h 10800208"/>
                <a:gd name="connsiteX0" fmla="*/ 0 w 17084730"/>
                <a:gd name="connsiteY0" fmla="*/ 2435175 h 10800208"/>
                <a:gd name="connsiteX1" fmla="*/ 613837 w 17084730"/>
                <a:gd name="connsiteY1" fmla="*/ 4813533 h 10800208"/>
                <a:gd name="connsiteX2" fmla="*/ 1518338 w 17084730"/>
                <a:gd name="connsiteY2" fmla="*/ 5681683 h 10800208"/>
                <a:gd name="connsiteX3" fmla="*/ 1735898 w 17084730"/>
                <a:gd name="connsiteY3" fmla="*/ 6513607 h 10800208"/>
                <a:gd name="connsiteX4" fmla="*/ 3137400 w 17084730"/>
                <a:gd name="connsiteY4" fmla="*/ 7038167 h 10800208"/>
                <a:gd name="connsiteX5" fmla="*/ 3453963 w 17084730"/>
                <a:gd name="connsiteY5" fmla="*/ 8394658 h 10800208"/>
                <a:gd name="connsiteX6" fmla="*/ 4168520 w 17084730"/>
                <a:gd name="connsiteY6" fmla="*/ 9769227 h 10800208"/>
                <a:gd name="connsiteX7" fmla="*/ 4162343 w 17084730"/>
                <a:gd name="connsiteY7" fmla="*/ 10800208 h 10800208"/>
                <a:gd name="connsiteX8" fmla="*/ 4605215 w 17084730"/>
                <a:gd name="connsiteY8" fmla="*/ 10716044 h 10800208"/>
                <a:gd name="connsiteX9" fmla="*/ 4840336 w 17084730"/>
                <a:gd name="connsiteY9" fmla="*/ 10426662 h 10800208"/>
                <a:gd name="connsiteX10" fmla="*/ 6070201 w 17084730"/>
                <a:gd name="connsiteY10" fmla="*/ 10444754 h 10800208"/>
                <a:gd name="connsiteX11" fmla="*/ 6884082 w 17084730"/>
                <a:gd name="connsiteY11" fmla="*/ 9847902 h 10800208"/>
                <a:gd name="connsiteX12" fmla="*/ 7716051 w 17084730"/>
                <a:gd name="connsiteY12" fmla="*/ 10173461 h 10800208"/>
                <a:gd name="connsiteX13" fmla="*/ 8584189 w 17084730"/>
                <a:gd name="connsiteY13" fmla="*/ 9974509 h 10800208"/>
                <a:gd name="connsiteX14" fmla="*/ 9289552 w 17084730"/>
                <a:gd name="connsiteY14" fmla="*/ 10173461 h 10800208"/>
                <a:gd name="connsiteX15" fmla="*/ 10139605 w 17084730"/>
                <a:gd name="connsiteY15" fmla="*/ 9775561 h 10800208"/>
                <a:gd name="connsiteX16" fmla="*/ 10664108 w 17084730"/>
                <a:gd name="connsiteY16" fmla="*/ 9992597 h 10800208"/>
                <a:gd name="connsiteX17" fmla="*/ 11387555 w 17084730"/>
                <a:gd name="connsiteY17" fmla="*/ 9902167 h 10800208"/>
                <a:gd name="connsiteX18" fmla="*/ 11966315 w 17084730"/>
                <a:gd name="connsiteY18" fmla="*/ 10625622 h 10800208"/>
                <a:gd name="connsiteX19" fmla="*/ 12942975 w 17084730"/>
                <a:gd name="connsiteY19" fmla="*/ 10390493 h 10800208"/>
                <a:gd name="connsiteX20" fmla="*/ 13575992 w 17084730"/>
                <a:gd name="connsiteY20" fmla="*/ 10788393 h 10800208"/>
                <a:gd name="connsiteX21" fmla="*/ 13973888 w 17084730"/>
                <a:gd name="connsiteY21" fmla="*/ 10697960 h 10800208"/>
                <a:gd name="connsiteX22" fmla="*/ 14028146 w 17084730"/>
                <a:gd name="connsiteY22" fmla="*/ 10155369 h 10800208"/>
                <a:gd name="connsiteX23" fmla="*/ 13594073 w 17084730"/>
                <a:gd name="connsiteY23" fmla="*/ 10101112 h 10800208"/>
                <a:gd name="connsiteX24" fmla="*/ 13612161 w 17084730"/>
                <a:gd name="connsiteY24" fmla="*/ 9413833 h 10800208"/>
                <a:gd name="connsiteX25" fmla="*/ 14190925 w 17084730"/>
                <a:gd name="connsiteY25" fmla="*/ 9269146 h 10800208"/>
                <a:gd name="connsiteX26" fmla="*/ 13865366 w 17084730"/>
                <a:gd name="connsiteY26" fmla="*/ 8798901 h 10800208"/>
                <a:gd name="connsiteX27" fmla="*/ 14136664 w 17084730"/>
                <a:gd name="connsiteY27" fmla="*/ 8401005 h 10800208"/>
                <a:gd name="connsiteX28" fmla="*/ 14703435 w 17084730"/>
                <a:gd name="connsiteY28" fmla="*/ 8428101 h 10800208"/>
                <a:gd name="connsiteX29" fmla="*/ 14661163 w 17084730"/>
                <a:gd name="connsiteY29" fmla="*/ 8256317 h 10800208"/>
                <a:gd name="connsiteX30" fmla="*/ 14335608 w 17084730"/>
                <a:gd name="connsiteY30" fmla="*/ 8093542 h 10800208"/>
                <a:gd name="connsiteX31" fmla="*/ 14498387 w 17084730"/>
                <a:gd name="connsiteY31" fmla="*/ 7514778 h 10800208"/>
                <a:gd name="connsiteX32" fmla="*/ 13847278 w 17084730"/>
                <a:gd name="connsiteY32" fmla="*/ 6610464 h 10800208"/>
                <a:gd name="connsiteX33" fmla="*/ 13340864 w 17084730"/>
                <a:gd name="connsiteY33" fmla="*/ 5905101 h 10800208"/>
                <a:gd name="connsiteX34" fmla="*/ 13123831 w 17084730"/>
                <a:gd name="connsiteY34" fmla="*/ 4819923 h 10800208"/>
                <a:gd name="connsiteX35" fmla="*/ 13232349 w 17084730"/>
                <a:gd name="connsiteY35" fmla="*/ 4132649 h 10800208"/>
                <a:gd name="connsiteX36" fmla="*/ 12273778 w 17084730"/>
                <a:gd name="connsiteY36" fmla="*/ 4165810 h 10800208"/>
                <a:gd name="connsiteX37" fmla="*/ 12201432 w 17084730"/>
                <a:gd name="connsiteY37" fmla="*/ 3767910 h 10800208"/>
                <a:gd name="connsiteX38" fmla="*/ 12508887 w 17084730"/>
                <a:gd name="connsiteY38" fmla="*/ 3264515 h 10800208"/>
                <a:gd name="connsiteX39" fmla="*/ 13774933 w 17084730"/>
                <a:gd name="connsiteY39" fmla="*/ 2486799 h 10800208"/>
                <a:gd name="connsiteX40" fmla="*/ 15294184 w 17084730"/>
                <a:gd name="connsiteY40" fmla="*/ 1980384 h 10800208"/>
                <a:gd name="connsiteX41" fmla="*/ 15746333 w 17084730"/>
                <a:gd name="connsiteY41" fmla="*/ 2305939 h 10800208"/>
                <a:gd name="connsiteX42" fmla="*/ 16578306 w 17084730"/>
                <a:gd name="connsiteY42" fmla="*/ 2016557 h 10800208"/>
                <a:gd name="connsiteX43" fmla="*/ 17084732 w 17084730"/>
                <a:gd name="connsiteY43" fmla="*/ 2414465 h 10800208"/>
                <a:gd name="connsiteX44" fmla="*/ 5596373 w 17084730"/>
                <a:gd name="connsiteY44" fmla="*/ 4033059 h 10800208"/>
                <a:gd name="connsiteX45" fmla="*/ 5365184 w 17084730"/>
                <a:gd name="connsiteY45" fmla="*/ 3460880 h 10800208"/>
                <a:gd name="connsiteX46" fmla="*/ 5153802 w 17084730"/>
                <a:gd name="connsiteY46" fmla="*/ 3132314 h 10800208"/>
                <a:gd name="connsiteX47" fmla="*/ 4898441 w 17084730"/>
                <a:gd name="connsiteY47" fmla="*/ 3183022 h 10800208"/>
                <a:gd name="connsiteX48" fmla="*/ 4600673 w 17084730"/>
                <a:gd name="connsiteY48" fmla="*/ 2914551 h 10800208"/>
                <a:gd name="connsiteX49" fmla="*/ 4416749 w 17084730"/>
                <a:gd name="connsiteY49" fmla="*/ 2491544 h 10800208"/>
                <a:gd name="connsiteX50" fmla="*/ 4653822 w 17084730"/>
                <a:gd name="connsiteY50" fmla="*/ 1941377 h 10800208"/>
                <a:gd name="connsiteX51" fmla="*/ 4432864 w 17084730"/>
                <a:gd name="connsiteY51" fmla="*/ 1388142 h 10800208"/>
                <a:gd name="connsiteX52" fmla="*/ 4437471 w 17084730"/>
                <a:gd name="connsiteY52" fmla="*/ 719354 h 10800208"/>
                <a:gd name="connsiteX53" fmla="*/ 4141784 w 17084730"/>
                <a:gd name="connsiteY53" fmla="*/ 0 h 10800208"/>
                <a:gd name="connsiteX54" fmla="*/ 2314296 w 17084730"/>
                <a:gd name="connsiteY54" fmla="*/ 282857 h 10800208"/>
                <a:gd name="connsiteX55" fmla="*/ 1334589 w 17084730"/>
                <a:gd name="connsiteY55" fmla="*/ 1087729 h 10800208"/>
                <a:gd name="connsiteX56" fmla="*/ 0 w 17084730"/>
                <a:gd name="connsiteY56" fmla="*/ 2435175 h 10800208"/>
                <a:gd name="connsiteX0" fmla="*/ 0 w 16578304"/>
                <a:gd name="connsiteY0" fmla="*/ 2435175 h 10800208"/>
                <a:gd name="connsiteX1" fmla="*/ 613837 w 16578304"/>
                <a:gd name="connsiteY1" fmla="*/ 4813533 h 10800208"/>
                <a:gd name="connsiteX2" fmla="*/ 1518338 w 16578304"/>
                <a:gd name="connsiteY2" fmla="*/ 5681683 h 10800208"/>
                <a:gd name="connsiteX3" fmla="*/ 1735898 w 16578304"/>
                <a:gd name="connsiteY3" fmla="*/ 6513607 h 10800208"/>
                <a:gd name="connsiteX4" fmla="*/ 3137400 w 16578304"/>
                <a:gd name="connsiteY4" fmla="*/ 7038167 h 10800208"/>
                <a:gd name="connsiteX5" fmla="*/ 3453963 w 16578304"/>
                <a:gd name="connsiteY5" fmla="*/ 8394658 h 10800208"/>
                <a:gd name="connsiteX6" fmla="*/ 4168520 w 16578304"/>
                <a:gd name="connsiteY6" fmla="*/ 9769227 h 10800208"/>
                <a:gd name="connsiteX7" fmla="*/ 4162343 w 16578304"/>
                <a:gd name="connsiteY7" fmla="*/ 10800208 h 10800208"/>
                <a:gd name="connsiteX8" fmla="*/ 4605215 w 16578304"/>
                <a:gd name="connsiteY8" fmla="*/ 10716044 h 10800208"/>
                <a:gd name="connsiteX9" fmla="*/ 4840336 w 16578304"/>
                <a:gd name="connsiteY9" fmla="*/ 10426662 h 10800208"/>
                <a:gd name="connsiteX10" fmla="*/ 6070201 w 16578304"/>
                <a:gd name="connsiteY10" fmla="*/ 10444754 h 10800208"/>
                <a:gd name="connsiteX11" fmla="*/ 6884082 w 16578304"/>
                <a:gd name="connsiteY11" fmla="*/ 9847902 h 10800208"/>
                <a:gd name="connsiteX12" fmla="*/ 7716051 w 16578304"/>
                <a:gd name="connsiteY12" fmla="*/ 10173461 h 10800208"/>
                <a:gd name="connsiteX13" fmla="*/ 8584189 w 16578304"/>
                <a:gd name="connsiteY13" fmla="*/ 9974509 h 10800208"/>
                <a:gd name="connsiteX14" fmla="*/ 9289552 w 16578304"/>
                <a:gd name="connsiteY14" fmla="*/ 10173461 h 10800208"/>
                <a:gd name="connsiteX15" fmla="*/ 10139605 w 16578304"/>
                <a:gd name="connsiteY15" fmla="*/ 9775561 h 10800208"/>
                <a:gd name="connsiteX16" fmla="*/ 10664108 w 16578304"/>
                <a:gd name="connsiteY16" fmla="*/ 9992597 h 10800208"/>
                <a:gd name="connsiteX17" fmla="*/ 11387555 w 16578304"/>
                <a:gd name="connsiteY17" fmla="*/ 9902167 h 10800208"/>
                <a:gd name="connsiteX18" fmla="*/ 11966315 w 16578304"/>
                <a:gd name="connsiteY18" fmla="*/ 10625622 h 10800208"/>
                <a:gd name="connsiteX19" fmla="*/ 12942975 w 16578304"/>
                <a:gd name="connsiteY19" fmla="*/ 10390493 h 10800208"/>
                <a:gd name="connsiteX20" fmla="*/ 13575992 w 16578304"/>
                <a:gd name="connsiteY20" fmla="*/ 10788393 h 10800208"/>
                <a:gd name="connsiteX21" fmla="*/ 13973888 w 16578304"/>
                <a:gd name="connsiteY21" fmla="*/ 10697960 h 10800208"/>
                <a:gd name="connsiteX22" fmla="*/ 14028146 w 16578304"/>
                <a:gd name="connsiteY22" fmla="*/ 10155369 h 10800208"/>
                <a:gd name="connsiteX23" fmla="*/ 13594073 w 16578304"/>
                <a:gd name="connsiteY23" fmla="*/ 10101112 h 10800208"/>
                <a:gd name="connsiteX24" fmla="*/ 13612161 w 16578304"/>
                <a:gd name="connsiteY24" fmla="*/ 9413833 h 10800208"/>
                <a:gd name="connsiteX25" fmla="*/ 14190925 w 16578304"/>
                <a:gd name="connsiteY25" fmla="*/ 9269146 h 10800208"/>
                <a:gd name="connsiteX26" fmla="*/ 13865366 w 16578304"/>
                <a:gd name="connsiteY26" fmla="*/ 8798901 h 10800208"/>
                <a:gd name="connsiteX27" fmla="*/ 14136664 w 16578304"/>
                <a:gd name="connsiteY27" fmla="*/ 8401005 h 10800208"/>
                <a:gd name="connsiteX28" fmla="*/ 14703435 w 16578304"/>
                <a:gd name="connsiteY28" fmla="*/ 8428101 h 10800208"/>
                <a:gd name="connsiteX29" fmla="*/ 14661163 w 16578304"/>
                <a:gd name="connsiteY29" fmla="*/ 8256317 h 10800208"/>
                <a:gd name="connsiteX30" fmla="*/ 14335608 w 16578304"/>
                <a:gd name="connsiteY30" fmla="*/ 8093542 h 10800208"/>
                <a:gd name="connsiteX31" fmla="*/ 14498387 w 16578304"/>
                <a:gd name="connsiteY31" fmla="*/ 7514778 h 10800208"/>
                <a:gd name="connsiteX32" fmla="*/ 13847278 w 16578304"/>
                <a:gd name="connsiteY32" fmla="*/ 6610464 h 10800208"/>
                <a:gd name="connsiteX33" fmla="*/ 13340864 w 16578304"/>
                <a:gd name="connsiteY33" fmla="*/ 5905101 h 10800208"/>
                <a:gd name="connsiteX34" fmla="*/ 13123831 w 16578304"/>
                <a:gd name="connsiteY34" fmla="*/ 4819923 h 10800208"/>
                <a:gd name="connsiteX35" fmla="*/ 13232349 w 16578304"/>
                <a:gd name="connsiteY35" fmla="*/ 4132649 h 10800208"/>
                <a:gd name="connsiteX36" fmla="*/ 12273778 w 16578304"/>
                <a:gd name="connsiteY36" fmla="*/ 4165810 h 10800208"/>
                <a:gd name="connsiteX37" fmla="*/ 12201432 w 16578304"/>
                <a:gd name="connsiteY37" fmla="*/ 3767910 h 10800208"/>
                <a:gd name="connsiteX38" fmla="*/ 12508887 w 16578304"/>
                <a:gd name="connsiteY38" fmla="*/ 3264515 h 10800208"/>
                <a:gd name="connsiteX39" fmla="*/ 13774933 w 16578304"/>
                <a:gd name="connsiteY39" fmla="*/ 2486799 h 10800208"/>
                <a:gd name="connsiteX40" fmla="*/ 15294184 w 16578304"/>
                <a:gd name="connsiteY40" fmla="*/ 1980384 h 10800208"/>
                <a:gd name="connsiteX41" fmla="*/ 15746333 w 16578304"/>
                <a:gd name="connsiteY41" fmla="*/ 2305939 h 10800208"/>
                <a:gd name="connsiteX42" fmla="*/ 16578306 w 16578304"/>
                <a:gd name="connsiteY42" fmla="*/ 2016557 h 10800208"/>
                <a:gd name="connsiteX43" fmla="*/ 6319261 w 16578304"/>
                <a:gd name="connsiteY43" fmla="*/ 4419497 h 10800208"/>
                <a:gd name="connsiteX44" fmla="*/ 5596373 w 16578304"/>
                <a:gd name="connsiteY44" fmla="*/ 4033059 h 10800208"/>
                <a:gd name="connsiteX45" fmla="*/ 5365184 w 16578304"/>
                <a:gd name="connsiteY45" fmla="*/ 3460880 h 10800208"/>
                <a:gd name="connsiteX46" fmla="*/ 5153802 w 16578304"/>
                <a:gd name="connsiteY46" fmla="*/ 3132314 h 10800208"/>
                <a:gd name="connsiteX47" fmla="*/ 4898441 w 16578304"/>
                <a:gd name="connsiteY47" fmla="*/ 3183022 h 10800208"/>
                <a:gd name="connsiteX48" fmla="*/ 4600673 w 16578304"/>
                <a:gd name="connsiteY48" fmla="*/ 2914551 h 10800208"/>
                <a:gd name="connsiteX49" fmla="*/ 4416749 w 16578304"/>
                <a:gd name="connsiteY49" fmla="*/ 2491544 h 10800208"/>
                <a:gd name="connsiteX50" fmla="*/ 4653822 w 16578304"/>
                <a:gd name="connsiteY50" fmla="*/ 1941377 h 10800208"/>
                <a:gd name="connsiteX51" fmla="*/ 4432864 w 16578304"/>
                <a:gd name="connsiteY51" fmla="*/ 1388142 h 10800208"/>
                <a:gd name="connsiteX52" fmla="*/ 4437471 w 16578304"/>
                <a:gd name="connsiteY52" fmla="*/ 719354 h 10800208"/>
                <a:gd name="connsiteX53" fmla="*/ 4141784 w 16578304"/>
                <a:gd name="connsiteY53" fmla="*/ 0 h 10800208"/>
                <a:gd name="connsiteX54" fmla="*/ 2314296 w 16578304"/>
                <a:gd name="connsiteY54" fmla="*/ 282857 h 10800208"/>
                <a:gd name="connsiteX55" fmla="*/ 1334589 w 16578304"/>
                <a:gd name="connsiteY55" fmla="*/ 1087729 h 10800208"/>
                <a:gd name="connsiteX56" fmla="*/ 0 w 16578304"/>
                <a:gd name="connsiteY56" fmla="*/ 2435175 h 10800208"/>
                <a:gd name="connsiteX0" fmla="*/ 0 w 15746332"/>
                <a:gd name="connsiteY0" fmla="*/ 2435175 h 10800208"/>
                <a:gd name="connsiteX1" fmla="*/ 613837 w 15746332"/>
                <a:gd name="connsiteY1" fmla="*/ 4813533 h 10800208"/>
                <a:gd name="connsiteX2" fmla="*/ 1518338 w 15746332"/>
                <a:gd name="connsiteY2" fmla="*/ 5681683 h 10800208"/>
                <a:gd name="connsiteX3" fmla="*/ 1735898 w 15746332"/>
                <a:gd name="connsiteY3" fmla="*/ 6513607 h 10800208"/>
                <a:gd name="connsiteX4" fmla="*/ 3137400 w 15746332"/>
                <a:gd name="connsiteY4" fmla="*/ 7038167 h 10800208"/>
                <a:gd name="connsiteX5" fmla="*/ 3453963 w 15746332"/>
                <a:gd name="connsiteY5" fmla="*/ 8394658 h 10800208"/>
                <a:gd name="connsiteX6" fmla="*/ 4168520 w 15746332"/>
                <a:gd name="connsiteY6" fmla="*/ 9769227 h 10800208"/>
                <a:gd name="connsiteX7" fmla="*/ 4162343 w 15746332"/>
                <a:gd name="connsiteY7" fmla="*/ 10800208 h 10800208"/>
                <a:gd name="connsiteX8" fmla="*/ 4605215 w 15746332"/>
                <a:gd name="connsiteY8" fmla="*/ 10716044 h 10800208"/>
                <a:gd name="connsiteX9" fmla="*/ 4840336 w 15746332"/>
                <a:gd name="connsiteY9" fmla="*/ 10426662 h 10800208"/>
                <a:gd name="connsiteX10" fmla="*/ 6070201 w 15746332"/>
                <a:gd name="connsiteY10" fmla="*/ 10444754 h 10800208"/>
                <a:gd name="connsiteX11" fmla="*/ 6884082 w 15746332"/>
                <a:gd name="connsiteY11" fmla="*/ 9847902 h 10800208"/>
                <a:gd name="connsiteX12" fmla="*/ 7716051 w 15746332"/>
                <a:gd name="connsiteY12" fmla="*/ 10173461 h 10800208"/>
                <a:gd name="connsiteX13" fmla="*/ 8584189 w 15746332"/>
                <a:gd name="connsiteY13" fmla="*/ 9974509 h 10800208"/>
                <a:gd name="connsiteX14" fmla="*/ 9289552 w 15746332"/>
                <a:gd name="connsiteY14" fmla="*/ 10173461 h 10800208"/>
                <a:gd name="connsiteX15" fmla="*/ 10139605 w 15746332"/>
                <a:gd name="connsiteY15" fmla="*/ 9775561 h 10800208"/>
                <a:gd name="connsiteX16" fmla="*/ 10664108 w 15746332"/>
                <a:gd name="connsiteY16" fmla="*/ 9992597 h 10800208"/>
                <a:gd name="connsiteX17" fmla="*/ 11387555 w 15746332"/>
                <a:gd name="connsiteY17" fmla="*/ 9902167 h 10800208"/>
                <a:gd name="connsiteX18" fmla="*/ 11966315 w 15746332"/>
                <a:gd name="connsiteY18" fmla="*/ 10625622 h 10800208"/>
                <a:gd name="connsiteX19" fmla="*/ 12942975 w 15746332"/>
                <a:gd name="connsiteY19" fmla="*/ 10390493 h 10800208"/>
                <a:gd name="connsiteX20" fmla="*/ 13575992 w 15746332"/>
                <a:gd name="connsiteY20" fmla="*/ 10788393 h 10800208"/>
                <a:gd name="connsiteX21" fmla="*/ 13973888 w 15746332"/>
                <a:gd name="connsiteY21" fmla="*/ 10697960 h 10800208"/>
                <a:gd name="connsiteX22" fmla="*/ 14028146 w 15746332"/>
                <a:gd name="connsiteY22" fmla="*/ 10155369 h 10800208"/>
                <a:gd name="connsiteX23" fmla="*/ 13594073 w 15746332"/>
                <a:gd name="connsiteY23" fmla="*/ 10101112 h 10800208"/>
                <a:gd name="connsiteX24" fmla="*/ 13612161 w 15746332"/>
                <a:gd name="connsiteY24" fmla="*/ 9413833 h 10800208"/>
                <a:gd name="connsiteX25" fmla="*/ 14190925 w 15746332"/>
                <a:gd name="connsiteY25" fmla="*/ 9269146 h 10800208"/>
                <a:gd name="connsiteX26" fmla="*/ 13865366 w 15746332"/>
                <a:gd name="connsiteY26" fmla="*/ 8798901 h 10800208"/>
                <a:gd name="connsiteX27" fmla="*/ 14136664 w 15746332"/>
                <a:gd name="connsiteY27" fmla="*/ 8401005 h 10800208"/>
                <a:gd name="connsiteX28" fmla="*/ 14703435 w 15746332"/>
                <a:gd name="connsiteY28" fmla="*/ 8428101 h 10800208"/>
                <a:gd name="connsiteX29" fmla="*/ 14661163 w 15746332"/>
                <a:gd name="connsiteY29" fmla="*/ 8256317 h 10800208"/>
                <a:gd name="connsiteX30" fmla="*/ 14335608 w 15746332"/>
                <a:gd name="connsiteY30" fmla="*/ 8093542 h 10800208"/>
                <a:gd name="connsiteX31" fmla="*/ 14498387 w 15746332"/>
                <a:gd name="connsiteY31" fmla="*/ 7514778 h 10800208"/>
                <a:gd name="connsiteX32" fmla="*/ 13847278 w 15746332"/>
                <a:gd name="connsiteY32" fmla="*/ 6610464 h 10800208"/>
                <a:gd name="connsiteX33" fmla="*/ 13340864 w 15746332"/>
                <a:gd name="connsiteY33" fmla="*/ 5905101 h 10800208"/>
                <a:gd name="connsiteX34" fmla="*/ 13123831 w 15746332"/>
                <a:gd name="connsiteY34" fmla="*/ 4819923 h 10800208"/>
                <a:gd name="connsiteX35" fmla="*/ 13232349 w 15746332"/>
                <a:gd name="connsiteY35" fmla="*/ 4132649 h 10800208"/>
                <a:gd name="connsiteX36" fmla="*/ 12273778 w 15746332"/>
                <a:gd name="connsiteY36" fmla="*/ 4165810 h 10800208"/>
                <a:gd name="connsiteX37" fmla="*/ 12201432 w 15746332"/>
                <a:gd name="connsiteY37" fmla="*/ 3767910 h 10800208"/>
                <a:gd name="connsiteX38" fmla="*/ 12508887 w 15746332"/>
                <a:gd name="connsiteY38" fmla="*/ 3264515 h 10800208"/>
                <a:gd name="connsiteX39" fmla="*/ 13774933 w 15746332"/>
                <a:gd name="connsiteY39" fmla="*/ 2486799 h 10800208"/>
                <a:gd name="connsiteX40" fmla="*/ 15294184 w 15746332"/>
                <a:gd name="connsiteY40" fmla="*/ 1980384 h 10800208"/>
                <a:gd name="connsiteX41" fmla="*/ 15746333 w 15746332"/>
                <a:gd name="connsiteY41" fmla="*/ 2305939 h 10800208"/>
                <a:gd name="connsiteX42" fmla="*/ 6319261 w 15746332"/>
                <a:gd name="connsiteY42" fmla="*/ 4419497 h 10800208"/>
                <a:gd name="connsiteX43" fmla="*/ 5596373 w 15746332"/>
                <a:gd name="connsiteY43" fmla="*/ 4033059 h 10800208"/>
                <a:gd name="connsiteX44" fmla="*/ 5365184 w 15746332"/>
                <a:gd name="connsiteY44" fmla="*/ 3460880 h 10800208"/>
                <a:gd name="connsiteX45" fmla="*/ 5153802 w 15746332"/>
                <a:gd name="connsiteY45" fmla="*/ 3132314 h 10800208"/>
                <a:gd name="connsiteX46" fmla="*/ 4898441 w 15746332"/>
                <a:gd name="connsiteY46" fmla="*/ 3183022 h 10800208"/>
                <a:gd name="connsiteX47" fmla="*/ 4600673 w 15746332"/>
                <a:gd name="connsiteY47" fmla="*/ 2914551 h 10800208"/>
                <a:gd name="connsiteX48" fmla="*/ 4416749 w 15746332"/>
                <a:gd name="connsiteY48" fmla="*/ 2491544 h 10800208"/>
                <a:gd name="connsiteX49" fmla="*/ 4653822 w 15746332"/>
                <a:gd name="connsiteY49" fmla="*/ 1941377 h 10800208"/>
                <a:gd name="connsiteX50" fmla="*/ 4432864 w 15746332"/>
                <a:gd name="connsiteY50" fmla="*/ 1388142 h 10800208"/>
                <a:gd name="connsiteX51" fmla="*/ 4437471 w 15746332"/>
                <a:gd name="connsiteY51" fmla="*/ 719354 h 10800208"/>
                <a:gd name="connsiteX52" fmla="*/ 4141784 w 15746332"/>
                <a:gd name="connsiteY52" fmla="*/ 0 h 10800208"/>
                <a:gd name="connsiteX53" fmla="*/ 2314296 w 15746332"/>
                <a:gd name="connsiteY53" fmla="*/ 282857 h 10800208"/>
                <a:gd name="connsiteX54" fmla="*/ 1334589 w 15746332"/>
                <a:gd name="connsiteY54" fmla="*/ 1087729 h 10800208"/>
                <a:gd name="connsiteX55" fmla="*/ 0 w 15746332"/>
                <a:gd name="connsiteY55" fmla="*/ 2435175 h 10800208"/>
                <a:gd name="connsiteX0" fmla="*/ 0 w 15294185"/>
                <a:gd name="connsiteY0" fmla="*/ 2435175 h 10800208"/>
                <a:gd name="connsiteX1" fmla="*/ 613837 w 15294185"/>
                <a:gd name="connsiteY1" fmla="*/ 4813533 h 10800208"/>
                <a:gd name="connsiteX2" fmla="*/ 1518338 w 15294185"/>
                <a:gd name="connsiteY2" fmla="*/ 5681683 h 10800208"/>
                <a:gd name="connsiteX3" fmla="*/ 1735898 w 15294185"/>
                <a:gd name="connsiteY3" fmla="*/ 6513607 h 10800208"/>
                <a:gd name="connsiteX4" fmla="*/ 3137400 w 15294185"/>
                <a:gd name="connsiteY4" fmla="*/ 7038167 h 10800208"/>
                <a:gd name="connsiteX5" fmla="*/ 3453963 w 15294185"/>
                <a:gd name="connsiteY5" fmla="*/ 8394658 h 10800208"/>
                <a:gd name="connsiteX6" fmla="*/ 4168520 w 15294185"/>
                <a:gd name="connsiteY6" fmla="*/ 9769227 h 10800208"/>
                <a:gd name="connsiteX7" fmla="*/ 4162343 w 15294185"/>
                <a:gd name="connsiteY7" fmla="*/ 10800208 h 10800208"/>
                <a:gd name="connsiteX8" fmla="*/ 4605215 w 15294185"/>
                <a:gd name="connsiteY8" fmla="*/ 10716044 h 10800208"/>
                <a:gd name="connsiteX9" fmla="*/ 4840336 w 15294185"/>
                <a:gd name="connsiteY9" fmla="*/ 10426662 h 10800208"/>
                <a:gd name="connsiteX10" fmla="*/ 6070201 w 15294185"/>
                <a:gd name="connsiteY10" fmla="*/ 10444754 h 10800208"/>
                <a:gd name="connsiteX11" fmla="*/ 6884082 w 15294185"/>
                <a:gd name="connsiteY11" fmla="*/ 9847902 h 10800208"/>
                <a:gd name="connsiteX12" fmla="*/ 7716051 w 15294185"/>
                <a:gd name="connsiteY12" fmla="*/ 10173461 h 10800208"/>
                <a:gd name="connsiteX13" fmla="*/ 8584189 w 15294185"/>
                <a:gd name="connsiteY13" fmla="*/ 9974509 h 10800208"/>
                <a:gd name="connsiteX14" fmla="*/ 9289552 w 15294185"/>
                <a:gd name="connsiteY14" fmla="*/ 10173461 h 10800208"/>
                <a:gd name="connsiteX15" fmla="*/ 10139605 w 15294185"/>
                <a:gd name="connsiteY15" fmla="*/ 9775561 h 10800208"/>
                <a:gd name="connsiteX16" fmla="*/ 10664108 w 15294185"/>
                <a:gd name="connsiteY16" fmla="*/ 9992597 h 10800208"/>
                <a:gd name="connsiteX17" fmla="*/ 11387555 w 15294185"/>
                <a:gd name="connsiteY17" fmla="*/ 9902167 h 10800208"/>
                <a:gd name="connsiteX18" fmla="*/ 11966315 w 15294185"/>
                <a:gd name="connsiteY18" fmla="*/ 10625622 h 10800208"/>
                <a:gd name="connsiteX19" fmla="*/ 12942975 w 15294185"/>
                <a:gd name="connsiteY19" fmla="*/ 10390493 h 10800208"/>
                <a:gd name="connsiteX20" fmla="*/ 13575992 w 15294185"/>
                <a:gd name="connsiteY20" fmla="*/ 10788393 h 10800208"/>
                <a:gd name="connsiteX21" fmla="*/ 13973888 w 15294185"/>
                <a:gd name="connsiteY21" fmla="*/ 10697960 h 10800208"/>
                <a:gd name="connsiteX22" fmla="*/ 14028146 w 15294185"/>
                <a:gd name="connsiteY22" fmla="*/ 10155369 h 10800208"/>
                <a:gd name="connsiteX23" fmla="*/ 13594073 w 15294185"/>
                <a:gd name="connsiteY23" fmla="*/ 10101112 h 10800208"/>
                <a:gd name="connsiteX24" fmla="*/ 13612161 w 15294185"/>
                <a:gd name="connsiteY24" fmla="*/ 9413833 h 10800208"/>
                <a:gd name="connsiteX25" fmla="*/ 14190925 w 15294185"/>
                <a:gd name="connsiteY25" fmla="*/ 9269146 h 10800208"/>
                <a:gd name="connsiteX26" fmla="*/ 13865366 w 15294185"/>
                <a:gd name="connsiteY26" fmla="*/ 8798901 h 10800208"/>
                <a:gd name="connsiteX27" fmla="*/ 14136664 w 15294185"/>
                <a:gd name="connsiteY27" fmla="*/ 8401005 h 10800208"/>
                <a:gd name="connsiteX28" fmla="*/ 14703435 w 15294185"/>
                <a:gd name="connsiteY28" fmla="*/ 8428101 h 10800208"/>
                <a:gd name="connsiteX29" fmla="*/ 14661163 w 15294185"/>
                <a:gd name="connsiteY29" fmla="*/ 8256317 h 10800208"/>
                <a:gd name="connsiteX30" fmla="*/ 14335608 w 15294185"/>
                <a:gd name="connsiteY30" fmla="*/ 8093542 h 10800208"/>
                <a:gd name="connsiteX31" fmla="*/ 14498387 w 15294185"/>
                <a:gd name="connsiteY31" fmla="*/ 7514778 h 10800208"/>
                <a:gd name="connsiteX32" fmla="*/ 13847278 w 15294185"/>
                <a:gd name="connsiteY32" fmla="*/ 6610464 h 10800208"/>
                <a:gd name="connsiteX33" fmla="*/ 13340864 w 15294185"/>
                <a:gd name="connsiteY33" fmla="*/ 5905101 h 10800208"/>
                <a:gd name="connsiteX34" fmla="*/ 13123831 w 15294185"/>
                <a:gd name="connsiteY34" fmla="*/ 4819923 h 10800208"/>
                <a:gd name="connsiteX35" fmla="*/ 13232349 w 15294185"/>
                <a:gd name="connsiteY35" fmla="*/ 4132649 h 10800208"/>
                <a:gd name="connsiteX36" fmla="*/ 12273778 w 15294185"/>
                <a:gd name="connsiteY36" fmla="*/ 4165810 h 10800208"/>
                <a:gd name="connsiteX37" fmla="*/ 12201432 w 15294185"/>
                <a:gd name="connsiteY37" fmla="*/ 3767910 h 10800208"/>
                <a:gd name="connsiteX38" fmla="*/ 12508887 w 15294185"/>
                <a:gd name="connsiteY38" fmla="*/ 3264515 h 10800208"/>
                <a:gd name="connsiteX39" fmla="*/ 13774933 w 15294185"/>
                <a:gd name="connsiteY39" fmla="*/ 2486799 h 10800208"/>
                <a:gd name="connsiteX40" fmla="*/ 15294184 w 15294185"/>
                <a:gd name="connsiteY40" fmla="*/ 1980384 h 10800208"/>
                <a:gd name="connsiteX41" fmla="*/ 6319261 w 15294185"/>
                <a:gd name="connsiteY41" fmla="*/ 4419497 h 10800208"/>
                <a:gd name="connsiteX42" fmla="*/ 5596373 w 15294185"/>
                <a:gd name="connsiteY42" fmla="*/ 4033059 h 10800208"/>
                <a:gd name="connsiteX43" fmla="*/ 5365184 w 15294185"/>
                <a:gd name="connsiteY43" fmla="*/ 3460880 h 10800208"/>
                <a:gd name="connsiteX44" fmla="*/ 5153802 w 15294185"/>
                <a:gd name="connsiteY44" fmla="*/ 3132314 h 10800208"/>
                <a:gd name="connsiteX45" fmla="*/ 4898441 w 15294185"/>
                <a:gd name="connsiteY45" fmla="*/ 3183022 h 10800208"/>
                <a:gd name="connsiteX46" fmla="*/ 4600673 w 15294185"/>
                <a:gd name="connsiteY46" fmla="*/ 2914551 h 10800208"/>
                <a:gd name="connsiteX47" fmla="*/ 4416749 w 15294185"/>
                <a:gd name="connsiteY47" fmla="*/ 2491544 h 10800208"/>
                <a:gd name="connsiteX48" fmla="*/ 4653822 w 15294185"/>
                <a:gd name="connsiteY48" fmla="*/ 1941377 h 10800208"/>
                <a:gd name="connsiteX49" fmla="*/ 4432864 w 15294185"/>
                <a:gd name="connsiteY49" fmla="*/ 1388142 h 10800208"/>
                <a:gd name="connsiteX50" fmla="*/ 4437471 w 15294185"/>
                <a:gd name="connsiteY50" fmla="*/ 719354 h 10800208"/>
                <a:gd name="connsiteX51" fmla="*/ 4141784 w 15294185"/>
                <a:gd name="connsiteY51" fmla="*/ 0 h 10800208"/>
                <a:gd name="connsiteX52" fmla="*/ 2314296 w 15294185"/>
                <a:gd name="connsiteY52" fmla="*/ 282857 h 10800208"/>
                <a:gd name="connsiteX53" fmla="*/ 1334589 w 15294185"/>
                <a:gd name="connsiteY53" fmla="*/ 1087729 h 10800208"/>
                <a:gd name="connsiteX54" fmla="*/ 0 w 15294185"/>
                <a:gd name="connsiteY54"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12273778 w 14703435"/>
                <a:gd name="connsiteY36" fmla="*/ 4165810 h 10800208"/>
                <a:gd name="connsiteX37" fmla="*/ 12201432 w 14703435"/>
                <a:gd name="connsiteY37" fmla="*/ 3767910 h 10800208"/>
                <a:gd name="connsiteX38" fmla="*/ 12508887 w 14703435"/>
                <a:gd name="connsiteY38" fmla="*/ 3264515 h 10800208"/>
                <a:gd name="connsiteX39" fmla="*/ 13774933 w 14703435"/>
                <a:gd name="connsiteY39" fmla="*/ 2486799 h 10800208"/>
                <a:gd name="connsiteX40" fmla="*/ 6319261 w 14703435"/>
                <a:gd name="connsiteY40" fmla="*/ 4419497 h 10800208"/>
                <a:gd name="connsiteX41" fmla="*/ 5596373 w 14703435"/>
                <a:gd name="connsiteY41" fmla="*/ 4033059 h 10800208"/>
                <a:gd name="connsiteX42" fmla="*/ 5365184 w 14703435"/>
                <a:gd name="connsiteY42" fmla="*/ 3460880 h 10800208"/>
                <a:gd name="connsiteX43" fmla="*/ 5153802 w 14703435"/>
                <a:gd name="connsiteY43" fmla="*/ 3132314 h 10800208"/>
                <a:gd name="connsiteX44" fmla="*/ 4898441 w 14703435"/>
                <a:gd name="connsiteY44" fmla="*/ 3183022 h 10800208"/>
                <a:gd name="connsiteX45" fmla="*/ 4600673 w 14703435"/>
                <a:gd name="connsiteY45" fmla="*/ 2914551 h 10800208"/>
                <a:gd name="connsiteX46" fmla="*/ 4416749 w 14703435"/>
                <a:gd name="connsiteY46" fmla="*/ 2491544 h 10800208"/>
                <a:gd name="connsiteX47" fmla="*/ 4653822 w 14703435"/>
                <a:gd name="connsiteY47" fmla="*/ 1941377 h 10800208"/>
                <a:gd name="connsiteX48" fmla="*/ 4432864 w 14703435"/>
                <a:gd name="connsiteY48" fmla="*/ 1388142 h 10800208"/>
                <a:gd name="connsiteX49" fmla="*/ 4437471 w 14703435"/>
                <a:gd name="connsiteY49" fmla="*/ 719354 h 10800208"/>
                <a:gd name="connsiteX50" fmla="*/ 4141784 w 14703435"/>
                <a:gd name="connsiteY50" fmla="*/ 0 h 10800208"/>
                <a:gd name="connsiteX51" fmla="*/ 2314296 w 14703435"/>
                <a:gd name="connsiteY51" fmla="*/ 282857 h 10800208"/>
                <a:gd name="connsiteX52" fmla="*/ 1334589 w 14703435"/>
                <a:gd name="connsiteY52" fmla="*/ 1087729 h 10800208"/>
                <a:gd name="connsiteX53" fmla="*/ 0 w 14703435"/>
                <a:gd name="connsiteY53"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12273778 w 14703435"/>
                <a:gd name="connsiteY36" fmla="*/ 4165810 h 10800208"/>
                <a:gd name="connsiteX37" fmla="*/ 12201432 w 14703435"/>
                <a:gd name="connsiteY37" fmla="*/ 3767910 h 10800208"/>
                <a:gd name="connsiteX38" fmla="*/ 12508887 w 14703435"/>
                <a:gd name="connsiteY38" fmla="*/ 32645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12273778 w 14703435"/>
                <a:gd name="connsiteY36" fmla="*/ 4165810 h 10800208"/>
                <a:gd name="connsiteX37" fmla="*/ 12201432 w 14703435"/>
                <a:gd name="connsiteY37" fmla="*/ 3767910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12273778 w 14703435"/>
                <a:gd name="connsiteY36" fmla="*/ 4165810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9824147 w 14703435"/>
                <a:gd name="connsiteY33" fmla="*/ 6931488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1909491 w 14703435"/>
                <a:gd name="connsiteY32" fmla="*/ 6300156 h 10800208"/>
                <a:gd name="connsiteX33" fmla="*/ 9824147 w 14703435"/>
                <a:gd name="connsiteY33" fmla="*/ 6931488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3924235 w 14703435"/>
                <a:gd name="connsiteY31" fmla="*/ 6560001 h 10800208"/>
                <a:gd name="connsiteX32" fmla="*/ 11909491 w 14703435"/>
                <a:gd name="connsiteY32" fmla="*/ 6300156 h 10800208"/>
                <a:gd name="connsiteX33" fmla="*/ 9824147 w 14703435"/>
                <a:gd name="connsiteY33" fmla="*/ 6931488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407378 w 14703435"/>
                <a:gd name="connsiteY30" fmla="*/ 7544542 h 10800208"/>
                <a:gd name="connsiteX31" fmla="*/ 13924235 w 14703435"/>
                <a:gd name="connsiteY31" fmla="*/ 6560001 h 10800208"/>
                <a:gd name="connsiteX32" fmla="*/ 11909491 w 14703435"/>
                <a:gd name="connsiteY32" fmla="*/ 6300156 h 10800208"/>
                <a:gd name="connsiteX33" fmla="*/ 9824147 w 14703435"/>
                <a:gd name="connsiteY33" fmla="*/ 6931488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341812 h 10706845"/>
                <a:gd name="connsiteX1" fmla="*/ 613837 w 14703435"/>
                <a:gd name="connsiteY1" fmla="*/ 4720170 h 10706845"/>
                <a:gd name="connsiteX2" fmla="*/ 1518338 w 14703435"/>
                <a:gd name="connsiteY2" fmla="*/ 5588320 h 10706845"/>
                <a:gd name="connsiteX3" fmla="*/ 1735898 w 14703435"/>
                <a:gd name="connsiteY3" fmla="*/ 6420244 h 10706845"/>
                <a:gd name="connsiteX4" fmla="*/ 3137400 w 14703435"/>
                <a:gd name="connsiteY4" fmla="*/ 6944804 h 10706845"/>
                <a:gd name="connsiteX5" fmla="*/ 3453963 w 14703435"/>
                <a:gd name="connsiteY5" fmla="*/ 8301295 h 10706845"/>
                <a:gd name="connsiteX6" fmla="*/ 4168520 w 14703435"/>
                <a:gd name="connsiteY6" fmla="*/ 9675864 h 10706845"/>
                <a:gd name="connsiteX7" fmla="*/ 4162343 w 14703435"/>
                <a:gd name="connsiteY7" fmla="*/ 10706845 h 10706845"/>
                <a:gd name="connsiteX8" fmla="*/ 4605215 w 14703435"/>
                <a:gd name="connsiteY8" fmla="*/ 10622681 h 10706845"/>
                <a:gd name="connsiteX9" fmla="*/ 4840336 w 14703435"/>
                <a:gd name="connsiteY9" fmla="*/ 10333299 h 10706845"/>
                <a:gd name="connsiteX10" fmla="*/ 6070201 w 14703435"/>
                <a:gd name="connsiteY10" fmla="*/ 10351391 h 10706845"/>
                <a:gd name="connsiteX11" fmla="*/ 6884082 w 14703435"/>
                <a:gd name="connsiteY11" fmla="*/ 9754539 h 10706845"/>
                <a:gd name="connsiteX12" fmla="*/ 7716051 w 14703435"/>
                <a:gd name="connsiteY12" fmla="*/ 10080098 h 10706845"/>
                <a:gd name="connsiteX13" fmla="*/ 8584189 w 14703435"/>
                <a:gd name="connsiteY13" fmla="*/ 9881146 h 10706845"/>
                <a:gd name="connsiteX14" fmla="*/ 9289552 w 14703435"/>
                <a:gd name="connsiteY14" fmla="*/ 10080098 h 10706845"/>
                <a:gd name="connsiteX15" fmla="*/ 10139605 w 14703435"/>
                <a:gd name="connsiteY15" fmla="*/ 9682198 h 10706845"/>
                <a:gd name="connsiteX16" fmla="*/ 10664108 w 14703435"/>
                <a:gd name="connsiteY16" fmla="*/ 9899234 h 10706845"/>
                <a:gd name="connsiteX17" fmla="*/ 11387555 w 14703435"/>
                <a:gd name="connsiteY17" fmla="*/ 9808804 h 10706845"/>
                <a:gd name="connsiteX18" fmla="*/ 11966315 w 14703435"/>
                <a:gd name="connsiteY18" fmla="*/ 10532259 h 10706845"/>
                <a:gd name="connsiteX19" fmla="*/ 12942975 w 14703435"/>
                <a:gd name="connsiteY19" fmla="*/ 10297130 h 10706845"/>
                <a:gd name="connsiteX20" fmla="*/ 13575992 w 14703435"/>
                <a:gd name="connsiteY20" fmla="*/ 10695030 h 10706845"/>
                <a:gd name="connsiteX21" fmla="*/ 13973888 w 14703435"/>
                <a:gd name="connsiteY21" fmla="*/ 10604597 h 10706845"/>
                <a:gd name="connsiteX22" fmla="*/ 14028146 w 14703435"/>
                <a:gd name="connsiteY22" fmla="*/ 10062006 h 10706845"/>
                <a:gd name="connsiteX23" fmla="*/ 13594073 w 14703435"/>
                <a:gd name="connsiteY23" fmla="*/ 10007749 h 10706845"/>
                <a:gd name="connsiteX24" fmla="*/ 13612161 w 14703435"/>
                <a:gd name="connsiteY24" fmla="*/ 9320470 h 10706845"/>
                <a:gd name="connsiteX25" fmla="*/ 14190925 w 14703435"/>
                <a:gd name="connsiteY25" fmla="*/ 9175783 h 10706845"/>
                <a:gd name="connsiteX26" fmla="*/ 13865366 w 14703435"/>
                <a:gd name="connsiteY26" fmla="*/ 8705538 h 10706845"/>
                <a:gd name="connsiteX27" fmla="*/ 14136664 w 14703435"/>
                <a:gd name="connsiteY27" fmla="*/ 8307642 h 10706845"/>
                <a:gd name="connsiteX28" fmla="*/ 14703435 w 14703435"/>
                <a:gd name="connsiteY28" fmla="*/ 8334738 h 10706845"/>
                <a:gd name="connsiteX29" fmla="*/ 14661163 w 14703435"/>
                <a:gd name="connsiteY29" fmla="*/ 8162954 h 10706845"/>
                <a:gd name="connsiteX30" fmla="*/ 14407378 w 14703435"/>
                <a:gd name="connsiteY30" fmla="*/ 7451179 h 10706845"/>
                <a:gd name="connsiteX31" fmla="*/ 13924235 w 14703435"/>
                <a:gd name="connsiteY31" fmla="*/ 6466638 h 10706845"/>
                <a:gd name="connsiteX32" fmla="*/ 11909491 w 14703435"/>
                <a:gd name="connsiteY32" fmla="*/ 6206793 h 10706845"/>
                <a:gd name="connsiteX33" fmla="*/ 9824147 w 14703435"/>
                <a:gd name="connsiteY33" fmla="*/ 6838125 h 10706845"/>
                <a:gd name="connsiteX34" fmla="*/ 8482717 w 14703435"/>
                <a:gd name="connsiteY34" fmla="*/ 6994165 h 10706845"/>
                <a:gd name="connsiteX35" fmla="*/ 8328079 w 14703435"/>
                <a:gd name="connsiteY35" fmla="*/ 6569451 h 10706845"/>
                <a:gd name="connsiteX36" fmla="*/ 7632672 w 14703435"/>
                <a:gd name="connsiteY36" fmla="*/ 6387789 h 10706845"/>
                <a:gd name="connsiteX37" fmla="*/ 7081852 w 14703435"/>
                <a:gd name="connsiteY37" fmla="*/ 5966020 h 10706845"/>
                <a:gd name="connsiteX38" fmla="*/ 6336686 w 14703435"/>
                <a:gd name="connsiteY38" fmla="*/ 5128452 h 10706845"/>
                <a:gd name="connsiteX39" fmla="*/ 6319261 w 14703435"/>
                <a:gd name="connsiteY39" fmla="*/ 4326134 h 10706845"/>
                <a:gd name="connsiteX40" fmla="*/ 5596373 w 14703435"/>
                <a:gd name="connsiteY40" fmla="*/ 3939696 h 10706845"/>
                <a:gd name="connsiteX41" fmla="*/ 5365184 w 14703435"/>
                <a:gd name="connsiteY41" fmla="*/ 3367517 h 10706845"/>
                <a:gd name="connsiteX42" fmla="*/ 5153802 w 14703435"/>
                <a:gd name="connsiteY42" fmla="*/ 3038951 h 10706845"/>
                <a:gd name="connsiteX43" fmla="*/ 4898441 w 14703435"/>
                <a:gd name="connsiteY43" fmla="*/ 3089659 h 10706845"/>
                <a:gd name="connsiteX44" fmla="*/ 4600673 w 14703435"/>
                <a:gd name="connsiteY44" fmla="*/ 2821188 h 10706845"/>
                <a:gd name="connsiteX45" fmla="*/ 4416749 w 14703435"/>
                <a:gd name="connsiteY45" fmla="*/ 2398181 h 10706845"/>
                <a:gd name="connsiteX46" fmla="*/ 4653822 w 14703435"/>
                <a:gd name="connsiteY46" fmla="*/ 1848014 h 10706845"/>
                <a:gd name="connsiteX47" fmla="*/ 4432864 w 14703435"/>
                <a:gd name="connsiteY47" fmla="*/ 1294779 h 10706845"/>
                <a:gd name="connsiteX48" fmla="*/ 4437471 w 14703435"/>
                <a:gd name="connsiteY48" fmla="*/ 625991 h 10706845"/>
                <a:gd name="connsiteX49" fmla="*/ 4141784 w 14703435"/>
                <a:gd name="connsiteY49" fmla="*/ 0 h 10706845"/>
                <a:gd name="connsiteX50" fmla="*/ 2314296 w 14703435"/>
                <a:gd name="connsiteY50" fmla="*/ 189494 h 10706845"/>
                <a:gd name="connsiteX51" fmla="*/ 1334589 w 14703435"/>
                <a:gd name="connsiteY51" fmla="*/ 994366 h 10706845"/>
                <a:gd name="connsiteX52" fmla="*/ 0 w 14703435"/>
                <a:gd name="connsiteY52" fmla="*/ 2341812 h 10706845"/>
                <a:gd name="connsiteX0" fmla="*/ 0 w 14703435"/>
                <a:gd name="connsiteY0" fmla="*/ 2341812 h 10706845"/>
                <a:gd name="connsiteX1" fmla="*/ 613837 w 14703435"/>
                <a:gd name="connsiteY1" fmla="*/ 4720170 h 10706845"/>
                <a:gd name="connsiteX2" fmla="*/ 1518338 w 14703435"/>
                <a:gd name="connsiteY2" fmla="*/ 5588320 h 10706845"/>
                <a:gd name="connsiteX3" fmla="*/ 1735898 w 14703435"/>
                <a:gd name="connsiteY3" fmla="*/ 6420244 h 10706845"/>
                <a:gd name="connsiteX4" fmla="*/ 3137400 w 14703435"/>
                <a:gd name="connsiteY4" fmla="*/ 6944804 h 10706845"/>
                <a:gd name="connsiteX5" fmla="*/ 3453963 w 14703435"/>
                <a:gd name="connsiteY5" fmla="*/ 8301295 h 10706845"/>
                <a:gd name="connsiteX6" fmla="*/ 4168520 w 14703435"/>
                <a:gd name="connsiteY6" fmla="*/ 9675864 h 10706845"/>
                <a:gd name="connsiteX7" fmla="*/ 4162343 w 14703435"/>
                <a:gd name="connsiteY7" fmla="*/ 10706845 h 10706845"/>
                <a:gd name="connsiteX8" fmla="*/ 4605215 w 14703435"/>
                <a:gd name="connsiteY8" fmla="*/ 10622681 h 10706845"/>
                <a:gd name="connsiteX9" fmla="*/ 4840336 w 14703435"/>
                <a:gd name="connsiteY9" fmla="*/ 10333299 h 10706845"/>
                <a:gd name="connsiteX10" fmla="*/ 6070201 w 14703435"/>
                <a:gd name="connsiteY10" fmla="*/ 10351391 h 10706845"/>
                <a:gd name="connsiteX11" fmla="*/ 6884082 w 14703435"/>
                <a:gd name="connsiteY11" fmla="*/ 9754539 h 10706845"/>
                <a:gd name="connsiteX12" fmla="*/ 7716051 w 14703435"/>
                <a:gd name="connsiteY12" fmla="*/ 10080098 h 10706845"/>
                <a:gd name="connsiteX13" fmla="*/ 8584189 w 14703435"/>
                <a:gd name="connsiteY13" fmla="*/ 9881146 h 10706845"/>
                <a:gd name="connsiteX14" fmla="*/ 9289552 w 14703435"/>
                <a:gd name="connsiteY14" fmla="*/ 10080098 h 10706845"/>
                <a:gd name="connsiteX15" fmla="*/ 10139605 w 14703435"/>
                <a:gd name="connsiteY15" fmla="*/ 9682198 h 10706845"/>
                <a:gd name="connsiteX16" fmla="*/ 10664108 w 14703435"/>
                <a:gd name="connsiteY16" fmla="*/ 9899234 h 10706845"/>
                <a:gd name="connsiteX17" fmla="*/ 11387555 w 14703435"/>
                <a:gd name="connsiteY17" fmla="*/ 9808804 h 10706845"/>
                <a:gd name="connsiteX18" fmla="*/ 11966315 w 14703435"/>
                <a:gd name="connsiteY18" fmla="*/ 10532259 h 10706845"/>
                <a:gd name="connsiteX19" fmla="*/ 12942975 w 14703435"/>
                <a:gd name="connsiteY19" fmla="*/ 10297130 h 10706845"/>
                <a:gd name="connsiteX20" fmla="*/ 13575992 w 14703435"/>
                <a:gd name="connsiteY20" fmla="*/ 10695030 h 10706845"/>
                <a:gd name="connsiteX21" fmla="*/ 13973888 w 14703435"/>
                <a:gd name="connsiteY21" fmla="*/ 10604597 h 10706845"/>
                <a:gd name="connsiteX22" fmla="*/ 14028146 w 14703435"/>
                <a:gd name="connsiteY22" fmla="*/ 10062006 h 10706845"/>
                <a:gd name="connsiteX23" fmla="*/ 13594073 w 14703435"/>
                <a:gd name="connsiteY23" fmla="*/ 10007749 h 10706845"/>
                <a:gd name="connsiteX24" fmla="*/ 13612161 w 14703435"/>
                <a:gd name="connsiteY24" fmla="*/ 9320470 h 10706845"/>
                <a:gd name="connsiteX25" fmla="*/ 14190925 w 14703435"/>
                <a:gd name="connsiteY25" fmla="*/ 9175783 h 10706845"/>
                <a:gd name="connsiteX26" fmla="*/ 13865366 w 14703435"/>
                <a:gd name="connsiteY26" fmla="*/ 8705538 h 10706845"/>
                <a:gd name="connsiteX27" fmla="*/ 14136664 w 14703435"/>
                <a:gd name="connsiteY27" fmla="*/ 8307642 h 10706845"/>
                <a:gd name="connsiteX28" fmla="*/ 14703435 w 14703435"/>
                <a:gd name="connsiteY28" fmla="*/ 8334738 h 10706845"/>
                <a:gd name="connsiteX29" fmla="*/ 14255660 w 14703435"/>
                <a:gd name="connsiteY29" fmla="*/ 8007340 h 10706845"/>
                <a:gd name="connsiteX30" fmla="*/ 14407378 w 14703435"/>
                <a:gd name="connsiteY30" fmla="*/ 7451179 h 10706845"/>
                <a:gd name="connsiteX31" fmla="*/ 13924235 w 14703435"/>
                <a:gd name="connsiteY31" fmla="*/ 6466638 h 10706845"/>
                <a:gd name="connsiteX32" fmla="*/ 11909491 w 14703435"/>
                <a:gd name="connsiteY32" fmla="*/ 6206793 h 10706845"/>
                <a:gd name="connsiteX33" fmla="*/ 9824147 w 14703435"/>
                <a:gd name="connsiteY33" fmla="*/ 6838125 h 10706845"/>
                <a:gd name="connsiteX34" fmla="*/ 8482717 w 14703435"/>
                <a:gd name="connsiteY34" fmla="*/ 6994165 h 10706845"/>
                <a:gd name="connsiteX35" fmla="*/ 8328079 w 14703435"/>
                <a:gd name="connsiteY35" fmla="*/ 6569451 h 10706845"/>
                <a:gd name="connsiteX36" fmla="*/ 7632672 w 14703435"/>
                <a:gd name="connsiteY36" fmla="*/ 6387789 h 10706845"/>
                <a:gd name="connsiteX37" fmla="*/ 7081852 w 14703435"/>
                <a:gd name="connsiteY37" fmla="*/ 5966020 h 10706845"/>
                <a:gd name="connsiteX38" fmla="*/ 6336686 w 14703435"/>
                <a:gd name="connsiteY38" fmla="*/ 5128452 h 10706845"/>
                <a:gd name="connsiteX39" fmla="*/ 6319261 w 14703435"/>
                <a:gd name="connsiteY39" fmla="*/ 4326134 h 10706845"/>
                <a:gd name="connsiteX40" fmla="*/ 5596373 w 14703435"/>
                <a:gd name="connsiteY40" fmla="*/ 3939696 h 10706845"/>
                <a:gd name="connsiteX41" fmla="*/ 5365184 w 14703435"/>
                <a:gd name="connsiteY41" fmla="*/ 3367517 h 10706845"/>
                <a:gd name="connsiteX42" fmla="*/ 5153802 w 14703435"/>
                <a:gd name="connsiteY42" fmla="*/ 3038951 h 10706845"/>
                <a:gd name="connsiteX43" fmla="*/ 4898441 w 14703435"/>
                <a:gd name="connsiteY43" fmla="*/ 3089659 h 10706845"/>
                <a:gd name="connsiteX44" fmla="*/ 4600673 w 14703435"/>
                <a:gd name="connsiteY44" fmla="*/ 2821188 h 10706845"/>
                <a:gd name="connsiteX45" fmla="*/ 4416749 w 14703435"/>
                <a:gd name="connsiteY45" fmla="*/ 2398181 h 10706845"/>
                <a:gd name="connsiteX46" fmla="*/ 4653822 w 14703435"/>
                <a:gd name="connsiteY46" fmla="*/ 1848014 h 10706845"/>
                <a:gd name="connsiteX47" fmla="*/ 4432864 w 14703435"/>
                <a:gd name="connsiteY47" fmla="*/ 1294779 h 10706845"/>
                <a:gd name="connsiteX48" fmla="*/ 4437471 w 14703435"/>
                <a:gd name="connsiteY48" fmla="*/ 625991 h 10706845"/>
                <a:gd name="connsiteX49" fmla="*/ 4141784 w 14703435"/>
                <a:gd name="connsiteY49" fmla="*/ 0 h 10706845"/>
                <a:gd name="connsiteX50" fmla="*/ 2314296 w 14703435"/>
                <a:gd name="connsiteY50" fmla="*/ 189494 h 10706845"/>
                <a:gd name="connsiteX51" fmla="*/ 1334589 w 14703435"/>
                <a:gd name="connsiteY51" fmla="*/ 994366 h 10706845"/>
                <a:gd name="connsiteX52" fmla="*/ 0 w 14703435"/>
                <a:gd name="connsiteY52" fmla="*/ 2341812 h 10706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4703435" h="10706845">
                  <a:moveTo>
                    <a:pt x="0" y="2341812"/>
                  </a:moveTo>
                  <a:lnTo>
                    <a:pt x="613837" y="4720170"/>
                  </a:lnTo>
                  <a:lnTo>
                    <a:pt x="1518338" y="5588320"/>
                  </a:lnTo>
                  <a:lnTo>
                    <a:pt x="1735898" y="6420244"/>
                  </a:lnTo>
                  <a:lnTo>
                    <a:pt x="3137400" y="6944804"/>
                  </a:lnTo>
                  <a:lnTo>
                    <a:pt x="3453963" y="8301295"/>
                  </a:lnTo>
                  <a:lnTo>
                    <a:pt x="4168520" y="9675864"/>
                  </a:lnTo>
                  <a:lnTo>
                    <a:pt x="4162343" y="10706845"/>
                  </a:lnTo>
                  <a:lnTo>
                    <a:pt x="4605215" y="10622681"/>
                  </a:lnTo>
                  <a:lnTo>
                    <a:pt x="4840336" y="10333299"/>
                  </a:lnTo>
                  <a:lnTo>
                    <a:pt x="6070201" y="10351391"/>
                  </a:lnTo>
                  <a:lnTo>
                    <a:pt x="6884082" y="9754539"/>
                  </a:lnTo>
                  <a:lnTo>
                    <a:pt x="7716051" y="10080098"/>
                  </a:lnTo>
                  <a:lnTo>
                    <a:pt x="8584189" y="9881146"/>
                  </a:lnTo>
                  <a:lnTo>
                    <a:pt x="9289552" y="10080098"/>
                  </a:lnTo>
                  <a:lnTo>
                    <a:pt x="10139605" y="9682198"/>
                  </a:lnTo>
                  <a:lnTo>
                    <a:pt x="10664108" y="9899234"/>
                  </a:lnTo>
                  <a:lnTo>
                    <a:pt x="11387555" y="9808804"/>
                  </a:lnTo>
                  <a:lnTo>
                    <a:pt x="11966315" y="10532259"/>
                  </a:lnTo>
                  <a:lnTo>
                    <a:pt x="12942975" y="10297130"/>
                  </a:lnTo>
                  <a:lnTo>
                    <a:pt x="13575992" y="10695030"/>
                  </a:lnTo>
                  <a:lnTo>
                    <a:pt x="13973888" y="10604597"/>
                  </a:lnTo>
                  <a:lnTo>
                    <a:pt x="14028146" y="10062006"/>
                  </a:lnTo>
                  <a:lnTo>
                    <a:pt x="13594073" y="10007749"/>
                  </a:lnTo>
                  <a:lnTo>
                    <a:pt x="13612161" y="9320470"/>
                  </a:lnTo>
                  <a:lnTo>
                    <a:pt x="14190925" y="9175783"/>
                  </a:lnTo>
                  <a:lnTo>
                    <a:pt x="13865366" y="8705538"/>
                  </a:lnTo>
                  <a:lnTo>
                    <a:pt x="14136664" y="8307642"/>
                  </a:lnTo>
                  <a:lnTo>
                    <a:pt x="14703435" y="8334738"/>
                  </a:lnTo>
                  <a:lnTo>
                    <a:pt x="14255660" y="8007340"/>
                  </a:lnTo>
                  <a:lnTo>
                    <a:pt x="14407378" y="7451179"/>
                  </a:lnTo>
                  <a:lnTo>
                    <a:pt x="13924235" y="6466638"/>
                  </a:lnTo>
                  <a:lnTo>
                    <a:pt x="11909491" y="6206793"/>
                  </a:lnTo>
                  <a:lnTo>
                    <a:pt x="9824147" y="6838125"/>
                  </a:lnTo>
                  <a:lnTo>
                    <a:pt x="8482717" y="6994165"/>
                  </a:lnTo>
                  <a:lnTo>
                    <a:pt x="8328079" y="6569451"/>
                  </a:lnTo>
                  <a:lnTo>
                    <a:pt x="7632672" y="6387789"/>
                  </a:lnTo>
                  <a:lnTo>
                    <a:pt x="7081852" y="5966020"/>
                  </a:lnTo>
                  <a:lnTo>
                    <a:pt x="6336686" y="5128452"/>
                  </a:lnTo>
                  <a:lnTo>
                    <a:pt x="6319261" y="4326134"/>
                  </a:lnTo>
                  <a:lnTo>
                    <a:pt x="5596373" y="3939696"/>
                  </a:lnTo>
                  <a:lnTo>
                    <a:pt x="5365184" y="3367517"/>
                  </a:lnTo>
                  <a:lnTo>
                    <a:pt x="5153802" y="3038951"/>
                  </a:lnTo>
                  <a:lnTo>
                    <a:pt x="4898441" y="3089659"/>
                  </a:lnTo>
                  <a:lnTo>
                    <a:pt x="4600673" y="2821188"/>
                  </a:lnTo>
                  <a:lnTo>
                    <a:pt x="4416749" y="2398181"/>
                  </a:lnTo>
                  <a:lnTo>
                    <a:pt x="4653822" y="1848014"/>
                  </a:lnTo>
                  <a:lnTo>
                    <a:pt x="4432864" y="1294779"/>
                  </a:lnTo>
                  <a:cubicBezTo>
                    <a:pt x="4434400" y="1071850"/>
                    <a:pt x="4435935" y="848920"/>
                    <a:pt x="4437471" y="625991"/>
                  </a:cubicBezTo>
                  <a:lnTo>
                    <a:pt x="4141784" y="0"/>
                  </a:lnTo>
                  <a:lnTo>
                    <a:pt x="2314296" y="189494"/>
                  </a:lnTo>
                  <a:lnTo>
                    <a:pt x="1334589" y="994366"/>
                  </a:lnTo>
                  <a:lnTo>
                    <a:pt x="0" y="2341812"/>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grpSp>
      <p:sp>
        <p:nvSpPr>
          <p:cNvPr id="3" name="Прямоугольник 2">
            <a:extLst>
              <a:ext uri="{FF2B5EF4-FFF2-40B4-BE49-F238E27FC236}">
                <a16:creationId xmlns:a16="http://schemas.microsoft.com/office/drawing/2014/main" id="{895D1ABD-7C20-80F6-07DB-99D52BAAC6A3}"/>
              </a:ext>
            </a:extLst>
          </p:cNvPr>
          <p:cNvSpPr/>
          <p:nvPr/>
        </p:nvSpPr>
        <p:spPr>
          <a:xfrm>
            <a:off x="297685" y="168269"/>
            <a:ext cx="12028602" cy="464230"/>
          </a:xfrm>
          <a:prstGeom prst="rect">
            <a:avLst/>
          </a:prstGeom>
        </p:spPr>
        <p:txBody>
          <a:bodyPr wrap="square" lIns="91440" tIns="45720" rIns="91440" bIns="45720" anchor="t">
            <a:spAutoFit/>
          </a:bodyPr>
          <a:lstStyle/>
          <a:p>
            <a:pPr marL="0" marR="0" lvl="0" indent="0" algn="l" defTabSz="914400" rtl="0" eaLnBrk="1" fontAlgn="auto" latinLnBrk="0" hangingPunct="1">
              <a:lnSpc>
                <a:spcPts val="2946"/>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mn-cs"/>
              </a:rPr>
              <a:t>DISTRIBUTION OF AGRICULTURAL LAND</a:t>
            </a:r>
            <a:endParaRPr kumimoji="0" lang="ru-RU" sz="30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mn-cs"/>
            </a:endParaRPr>
          </a:p>
        </p:txBody>
      </p:sp>
      <p:sp>
        <p:nvSpPr>
          <p:cNvPr id="2" name="TextBox 1">
            <a:extLst>
              <a:ext uri="{FF2B5EF4-FFF2-40B4-BE49-F238E27FC236}">
                <a16:creationId xmlns:a16="http://schemas.microsoft.com/office/drawing/2014/main" id="{B6D6CA09-0658-7335-6210-501B5640A797}"/>
              </a:ext>
            </a:extLst>
          </p:cNvPr>
          <p:cNvSpPr txBox="1"/>
          <p:nvPr/>
        </p:nvSpPr>
        <p:spPr>
          <a:xfrm>
            <a:off x="554589" y="2763179"/>
            <a:ext cx="1462396" cy="307777"/>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E2841">
                    <a:lumMod val="75000"/>
                    <a:lumOff val="25000"/>
                  </a:srgbClr>
                </a:solidFill>
                <a:effectLst/>
                <a:uLnTx/>
                <a:uFillTx/>
                <a:latin typeface="Century Gothic"/>
                <a:ea typeface="+mn-ea"/>
                <a:cs typeface="+mn-cs"/>
              </a:rPr>
              <a:t>Aktobe</a:t>
            </a:r>
            <a:r>
              <a:rPr kumimoji="0" lang="ru-KZ" sz="1400" b="0" i="0" u="none" strike="noStrike" kern="1200" cap="none" spc="0" normalizeH="0" baseline="0" noProof="0" dirty="0">
                <a:ln>
                  <a:noFill/>
                </a:ln>
                <a:solidFill>
                  <a:srgbClr val="0E2841">
                    <a:lumMod val="75000"/>
                    <a:lumOff val="25000"/>
                  </a:srgbClr>
                </a:solidFill>
                <a:effectLst/>
                <a:uLnTx/>
                <a:uFillTx/>
                <a:latin typeface="Century Gothic"/>
                <a:ea typeface="+mn-ea"/>
                <a:cs typeface="+mn-cs"/>
              </a:rPr>
              <a:t>  </a:t>
            </a:r>
          </a:p>
        </p:txBody>
      </p:sp>
      <p:sp>
        <p:nvSpPr>
          <p:cNvPr id="5" name="TextBox 4">
            <a:extLst>
              <a:ext uri="{FF2B5EF4-FFF2-40B4-BE49-F238E27FC236}">
                <a16:creationId xmlns:a16="http://schemas.microsoft.com/office/drawing/2014/main" id="{6D8FA94B-F682-43FB-DCBD-4A9F1BF02CEE}"/>
              </a:ext>
            </a:extLst>
          </p:cNvPr>
          <p:cNvSpPr txBox="1"/>
          <p:nvPr/>
        </p:nvSpPr>
        <p:spPr>
          <a:xfrm>
            <a:off x="507753" y="3090879"/>
            <a:ext cx="2488209" cy="707886"/>
          </a:xfrm>
          <a:prstGeom prst="rect">
            <a:avLst/>
          </a:prstGeom>
          <a:noFill/>
        </p:spPr>
        <p:txBody>
          <a:bodyPr wrap="square" lIns="91440" tIns="45720" rIns="91440" bIns="45720" anchor="t">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3%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arable land</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93,8%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pasture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1,7%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hayfield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1,8%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fallow land</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endParaRPr>
          </a:p>
        </p:txBody>
      </p:sp>
      <p:sp>
        <p:nvSpPr>
          <p:cNvPr id="6" name="TextBox 5">
            <a:extLst>
              <a:ext uri="{FF2B5EF4-FFF2-40B4-BE49-F238E27FC236}">
                <a16:creationId xmlns:a16="http://schemas.microsoft.com/office/drawing/2014/main" id="{344744C8-16E1-A9F4-71C2-8F5F0100192A}"/>
              </a:ext>
            </a:extLst>
          </p:cNvPr>
          <p:cNvSpPr txBox="1"/>
          <p:nvPr/>
        </p:nvSpPr>
        <p:spPr>
          <a:xfrm>
            <a:off x="548167" y="5186148"/>
            <a:ext cx="17836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E2841">
                    <a:lumMod val="75000"/>
                    <a:lumOff val="25000"/>
                  </a:srgbClr>
                </a:solidFill>
                <a:effectLst/>
                <a:uLnTx/>
                <a:uFillTx/>
                <a:latin typeface="Century Gothic" panose="020B0502020202020204" pitchFamily="34" charset="0"/>
                <a:ea typeface="+mn-ea"/>
                <a:cs typeface="+mn-cs"/>
              </a:rPr>
              <a:t>Mangystau</a:t>
            </a:r>
            <a:endParaRPr kumimoji="0" lang="ru-KZ" sz="1400" b="0"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endParaRPr>
          </a:p>
        </p:txBody>
      </p:sp>
      <p:sp>
        <p:nvSpPr>
          <p:cNvPr id="29" name="TextBox 28">
            <a:extLst>
              <a:ext uri="{FF2B5EF4-FFF2-40B4-BE49-F238E27FC236}">
                <a16:creationId xmlns:a16="http://schemas.microsoft.com/office/drawing/2014/main" id="{C8D55B32-5AD8-3D2E-B1D4-140FD92832B5}"/>
              </a:ext>
            </a:extLst>
          </p:cNvPr>
          <p:cNvSpPr txBox="1"/>
          <p:nvPr/>
        </p:nvSpPr>
        <p:spPr>
          <a:xfrm>
            <a:off x="524549" y="5531657"/>
            <a:ext cx="1482672" cy="253916"/>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100%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astures</a:t>
            </a:r>
          </a:p>
        </p:txBody>
      </p:sp>
      <p:sp>
        <p:nvSpPr>
          <p:cNvPr id="30" name="TextBox 29">
            <a:extLst>
              <a:ext uri="{FF2B5EF4-FFF2-40B4-BE49-F238E27FC236}">
                <a16:creationId xmlns:a16="http://schemas.microsoft.com/office/drawing/2014/main" id="{01C571E3-01EC-9AAA-7D26-490A3F0967F1}"/>
              </a:ext>
            </a:extLst>
          </p:cNvPr>
          <p:cNvSpPr txBox="1"/>
          <p:nvPr/>
        </p:nvSpPr>
        <p:spPr>
          <a:xfrm>
            <a:off x="3788603" y="4377918"/>
            <a:ext cx="1573368" cy="707886"/>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2%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rable land</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96,4%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asture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1%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ayfield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0,7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fallow land</a:t>
            </a:r>
            <a:endParaRPr kumimoji="0" lang="en-US"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31" name="TextBox 30">
            <a:extLst>
              <a:ext uri="{FF2B5EF4-FFF2-40B4-BE49-F238E27FC236}">
                <a16:creationId xmlns:a16="http://schemas.microsoft.com/office/drawing/2014/main" id="{C891AE3E-1DD5-2B5E-3924-895F1E968706}"/>
              </a:ext>
            </a:extLst>
          </p:cNvPr>
          <p:cNvSpPr txBox="1"/>
          <p:nvPr/>
        </p:nvSpPr>
        <p:spPr>
          <a:xfrm>
            <a:off x="3756345" y="4033299"/>
            <a:ext cx="168595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Kyzylorda</a:t>
            </a:r>
            <a:endParaRPr kumimoji="0" lang="ru-KZ" sz="1400" b="0"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endParaRPr>
          </a:p>
        </p:txBody>
      </p:sp>
      <p:sp>
        <p:nvSpPr>
          <p:cNvPr id="32" name="TextBox 31">
            <a:extLst>
              <a:ext uri="{FF2B5EF4-FFF2-40B4-BE49-F238E27FC236}">
                <a16:creationId xmlns:a16="http://schemas.microsoft.com/office/drawing/2014/main" id="{61D7BD5B-4216-C58B-B5FE-F9EED36A8B6A}"/>
              </a:ext>
            </a:extLst>
          </p:cNvPr>
          <p:cNvSpPr txBox="1"/>
          <p:nvPr/>
        </p:nvSpPr>
        <p:spPr>
          <a:xfrm>
            <a:off x="6789036" y="5498068"/>
            <a:ext cx="145148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E2841">
                    <a:lumMod val="75000"/>
                    <a:lumOff val="25000"/>
                  </a:srgbClr>
                </a:solidFill>
                <a:effectLst/>
                <a:uLnTx/>
                <a:uFillTx/>
                <a:latin typeface="Century Gothic" panose="020B0502020202020204" pitchFamily="34" charset="0"/>
                <a:ea typeface="+mn-ea"/>
                <a:cs typeface="+mn-cs"/>
              </a:rPr>
              <a:t>Jambyl</a:t>
            </a:r>
            <a:endParaRPr kumimoji="0" lang="ru-KZ" sz="1400" b="0"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endParaRPr>
          </a:p>
        </p:txBody>
      </p:sp>
      <p:sp>
        <p:nvSpPr>
          <p:cNvPr id="35" name="TextBox 34">
            <a:extLst>
              <a:ext uri="{FF2B5EF4-FFF2-40B4-BE49-F238E27FC236}">
                <a16:creationId xmlns:a16="http://schemas.microsoft.com/office/drawing/2014/main" id="{9835F9CC-67F1-679F-CDC7-B5FE571E1BF6}"/>
              </a:ext>
            </a:extLst>
          </p:cNvPr>
          <p:cNvSpPr txBox="1"/>
          <p:nvPr/>
        </p:nvSpPr>
        <p:spPr>
          <a:xfrm>
            <a:off x="6675233" y="5834135"/>
            <a:ext cx="2354493" cy="707886"/>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9%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rable land</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88,1%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asture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2,7%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ayfield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0,1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erennial planting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37" name="TextBox 36">
            <a:extLst>
              <a:ext uri="{FF2B5EF4-FFF2-40B4-BE49-F238E27FC236}">
                <a16:creationId xmlns:a16="http://schemas.microsoft.com/office/drawing/2014/main" id="{D5CFB855-B081-EDE7-22C2-24CB64D6D7EA}"/>
              </a:ext>
            </a:extLst>
          </p:cNvPr>
          <p:cNvSpPr txBox="1"/>
          <p:nvPr/>
        </p:nvSpPr>
        <p:spPr>
          <a:xfrm>
            <a:off x="9478298" y="4073178"/>
            <a:ext cx="163781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E2841">
                    <a:lumMod val="75000"/>
                    <a:lumOff val="25000"/>
                  </a:srgbClr>
                </a:solidFill>
                <a:effectLst/>
                <a:uLnTx/>
                <a:uFillTx/>
                <a:latin typeface="Century Gothic" panose="020B0502020202020204" pitchFamily="34" charset="0"/>
                <a:ea typeface="+mn-ea"/>
                <a:cs typeface="+mn-cs"/>
              </a:rPr>
              <a:t>Jetisu</a:t>
            </a:r>
            <a:endParaRPr kumimoji="0" lang="ru-RU" sz="1400" b="0"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endParaRPr>
          </a:p>
        </p:txBody>
      </p:sp>
      <p:sp>
        <p:nvSpPr>
          <p:cNvPr id="38" name="TextBox 37">
            <a:extLst>
              <a:ext uri="{FF2B5EF4-FFF2-40B4-BE49-F238E27FC236}">
                <a16:creationId xmlns:a16="http://schemas.microsoft.com/office/drawing/2014/main" id="{21A2099A-6FA5-662B-7A3E-76E7E4922E42}"/>
              </a:ext>
            </a:extLst>
          </p:cNvPr>
          <p:cNvSpPr txBox="1"/>
          <p:nvPr/>
        </p:nvSpPr>
        <p:spPr>
          <a:xfrm>
            <a:off x="9511314" y="4427217"/>
            <a:ext cx="2556656" cy="861774"/>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8%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rable land</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87,8%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asture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2,7%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ayfield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1%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fallow land</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0,4%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erennial plantings</a:t>
            </a:r>
          </a:p>
        </p:txBody>
      </p:sp>
      <p:sp>
        <p:nvSpPr>
          <p:cNvPr id="39" name="TextBox 38">
            <a:extLst>
              <a:ext uri="{FF2B5EF4-FFF2-40B4-BE49-F238E27FC236}">
                <a16:creationId xmlns:a16="http://schemas.microsoft.com/office/drawing/2014/main" id="{B8BA7B11-356B-03D8-A3D8-8C281CB3CD20}"/>
              </a:ext>
            </a:extLst>
          </p:cNvPr>
          <p:cNvSpPr txBox="1"/>
          <p:nvPr/>
        </p:nvSpPr>
        <p:spPr>
          <a:xfrm>
            <a:off x="7146526" y="2759401"/>
            <a:ext cx="174631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Karaganda</a:t>
            </a:r>
            <a:endParaRPr kumimoji="0" lang="ru-KZ" sz="1400" b="0"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endParaRPr>
          </a:p>
        </p:txBody>
      </p:sp>
      <p:sp>
        <p:nvSpPr>
          <p:cNvPr id="40" name="TextBox 39">
            <a:extLst>
              <a:ext uri="{FF2B5EF4-FFF2-40B4-BE49-F238E27FC236}">
                <a16:creationId xmlns:a16="http://schemas.microsoft.com/office/drawing/2014/main" id="{CB73ABFC-B273-02F5-4B76-32DE8BFF6CE7}"/>
              </a:ext>
            </a:extLst>
          </p:cNvPr>
          <p:cNvSpPr txBox="1"/>
          <p:nvPr/>
        </p:nvSpPr>
        <p:spPr>
          <a:xfrm>
            <a:off x="7146526" y="3110548"/>
            <a:ext cx="1484119" cy="553998"/>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98,5%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asture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0,7%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ayfield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0,5%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fallow land</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42" name="TextBox 41">
            <a:extLst>
              <a:ext uri="{FF2B5EF4-FFF2-40B4-BE49-F238E27FC236}">
                <a16:creationId xmlns:a16="http://schemas.microsoft.com/office/drawing/2014/main" id="{2525CDBF-13E3-ECDE-4E92-CD83ECDFC9C4}"/>
              </a:ext>
            </a:extLst>
          </p:cNvPr>
          <p:cNvSpPr txBox="1"/>
          <p:nvPr/>
        </p:nvSpPr>
        <p:spPr>
          <a:xfrm>
            <a:off x="5870947" y="3943113"/>
            <a:ext cx="1706275" cy="553998"/>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98,5%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asture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0,7%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ayfield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0,5%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fallow land</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44" name="TextBox 43">
            <a:extLst>
              <a:ext uri="{FF2B5EF4-FFF2-40B4-BE49-F238E27FC236}">
                <a16:creationId xmlns:a16="http://schemas.microsoft.com/office/drawing/2014/main" id="{B7D6D410-C39B-DAFF-E630-8F8B4946422F}"/>
              </a:ext>
            </a:extLst>
          </p:cNvPr>
          <p:cNvSpPr txBox="1"/>
          <p:nvPr/>
        </p:nvSpPr>
        <p:spPr>
          <a:xfrm>
            <a:off x="2233729" y="739352"/>
            <a:ext cx="15671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Akmola</a:t>
            </a:r>
            <a:endParaRPr kumimoji="0" lang="ru-RU" sz="1400" b="0"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endParaRPr>
          </a:p>
        </p:txBody>
      </p:sp>
      <p:sp>
        <p:nvSpPr>
          <p:cNvPr id="46" name="TextBox 45">
            <a:extLst>
              <a:ext uri="{FF2B5EF4-FFF2-40B4-BE49-F238E27FC236}">
                <a16:creationId xmlns:a16="http://schemas.microsoft.com/office/drawing/2014/main" id="{306258B8-93E4-43A7-3A5C-1DCDE84FAF59}"/>
              </a:ext>
            </a:extLst>
          </p:cNvPr>
          <p:cNvSpPr txBox="1"/>
          <p:nvPr/>
        </p:nvSpPr>
        <p:spPr>
          <a:xfrm>
            <a:off x="2184873" y="1100107"/>
            <a:ext cx="1880022" cy="861774"/>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47%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rable land</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48,4%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asture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1,8%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ayfield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2,4%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fallow land</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0,1%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erennial plantings</a:t>
            </a:r>
          </a:p>
        </p:txBody>
      </p:sp>
      <p:sp>
        <p:nvSpPr>
          <p:cNvPr id="47" name="TextBox 46">
            <a:extLst>
              <a:ext uri="{FF2B5EF4-FFF2-40B4-BE49-F238E27FC236}">
                <a16:creationId xmlns:a16="http://schemas.microsoft.com/office/drawing/2014/main" id="{5464BB2E-7199-760A-C9BA-ACB290EBE193}"/>
              </a:ext>
            </a:extLst>
          </p:cNvPr>
          <p:cNvSpPr txBox="1"/>
          <p:nvPr/>
        </p:nvSpPr>
        <p:spPr>
          <a:xfrm>
            <a:off x="5868673" y="3595815"/>
            <a:ext cx="131674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E2841">
                    <a:lumMod val="75000"/>
                    <a:lumOff val="25000"/>
                  </a:srgbClr>
                </a:solidFill>
                <a:effectLst/>
                <a:uLnTx/>
                <a:uFillTx/>
                <a:latin typeface="Century Gothic" panose="020B0502020202020204" pitchFamily="34" charset="0"/>
                <a:ea typeface="+mn-ea"/>
                <a:cs typeface="+mn-cs"/>
              </a:rPr>
              <a:t>Ulytau</a:t>
            </a:r>
            <a:endParaRPr kumimoji="0" lang="en-US" sz="1400" b="0"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endParaRPr>
          </a:p>
        </p:txBody>
      </p:sp>
      <p:sp>
        <p:nvSpPr>
          <p:cNvPr id="51" name="TextBox 50">
            <a:extLst>
              <a:ext uri="{FF2B5EF4-FFF2-40B4-BE49-F238E27FC236}">
                <a16:creationId xmlns:a16="http://schemas.microsoft.com/office/drawing/2014/main" id="{7CEDF362-60AD-11DB-C89D-2F2153DA57DD}"/>
              </a:ext>
            </a:extLst>
          </p:cNvPr>
          <p:cNvSpPr txBox="1"/>
          <p:nvPr/>
        </p:nvSpPr>
        <p:spPr>
          <a:xfrm>
            <a:off x="8657344" y="1230510"/>
            <a:ext cx="1523566" cy="707886"/>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19%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rable land</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74,3%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asture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2,7%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ayfield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4,3%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fallow land</a:t>
            </a:r>
          </a:p>
        </p:txBody>
      </p:sp>
      <p:sp>
        <p:nvSpPr>
          <p:cNvPr id="52" name="TextBox 51">
            <a:extLst>
              <a:ext uri="{FF2B5EF4-FFF2-40B4-BE49-F238E27FC236}">
                <a16:creationId xmlns:a16="http://schemas.microsoft.com/office/drawing/2014/main" id="{F7215BEB-0F9D-CCE7-52B5-669B7CE97C12}"/>
              </a:ext>
            </a:extLst>
          </p:cNvPr>
          <p:cNvSpPr txBox="1"/>
          <p:nvPr/>
        </p:nvSpPr>
        <p:spPr>
          <a:xfrm>
            <a:off x="8657344" y="897682"/>
            <a:ext cx="150041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Pavlodar</a:t>
            </a:r>
            <a:endParaRPr kumimoji="0" lang="ru-KZ" sz="1400" b="0"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endParaRPr>
          </a:p>
        </p:txBody>
      </p:sp>
      <p:sp>
        <p:nvSpPr>
          <p:cNvPr id="53" name="Овал 52">
            <a:extLst>
              <a:ext uri="{FF2B5EF4-FFF2-40B4-BE49-F238E27FC236}">
                <a16:creationId xmlns:a16="http://schemas.microsoft.com/office/drawing/2014/main" id="{FDC79AB6-D899-F458-09AA-E2E3B9484CB1}"/>
              </a:ext>
            </a:extLst>
          </p:cNvPr>
          <p:cNvSpPr/>
          <p:nvPr/>
        </p:nvSpPr>
        <p:spPr>
          <a:xfrm>
            <a:off x="3442721" y="4637551"/>
            <a:ext cx="79326" cy="79434"/>
          </a:xfrm>
          <a:prstGeom prst="ellipse">
            <a:avLst/>
          </a:prstGeom>
          <a:solidFill>
            <a:schemeClr val="tx2">
              <a:lumMod val="25000"/>
              <a:lumOff val="75000"/>
            </a:schemeClr>
          </a:solidFill>
          <a:ln>
            <a:solidFill>
              <a:schemeClr val="tx2">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54" name="Овал 53">
            <a:extLst>
              <a:ext uri="{FF2B5EF4-FFF2-40B4-BE49-F238E27FC236}">
                <a16:creationId xmlns:a16="http://schemas.microsoft.com/office/drawing/2014/main" id="{B78FA338-4899-7A4D-9B08-35FBA9081E28}"/>
              </a:ext>
            </a:extLst>
          </p:cNvPr>
          <p:cNvSpPr/>
          <p:nvPr/>
        </p:nvSpPr>
        <p:spPr>
          <a:xfrm>
            <a:off x="410769" y="5426947"/>
            <a:ext cx="143820" cy="151442"/>
          </a:xfrm>
          <a:prstGeom prst="ellipse">
            <a:avLst/>
          </a:prstGeom>
          <a:solidFill>
            <a:schemeClr val="tx2">
              <a:lumMod val="75000"/>
              <a:lumOff val="25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55" name="Овал 54">
            <a:extLst>
              <a:ext uri="{FF2B5EF4-FFF2-40B4-BE49-F238E27FC236}">
                <a16:creationId xmlns:a16="http://schemas.microsoft.com/office/drawing/2014/main" id="{2BB20EA5-C099-80D7-962B-A52709E97E74}"/>
              </a:ext>
            </a:extLst>
          </p:cNvPr>
          <p:cNvSpPr/>
          <p:nvPr/>
        </p:nvSpPr>
        <p:spPr>
          <a:xfrm>
            <a:off x="419586" y="3008200"/>
            <a:ext cx="143820" cy="151442"/>
          </a:xfrm>
          <a:prstGeom prst="ellipse">
            <a:avLst/>
          </a:prstGeom>
          <a:solidFill>
            <a:schemeClr val="tx2">
              <a:lumMod val="75000"/>
              <a:lumOff val="25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58" name="Овал 57">
            <a:extLst>
              <a:ext uri="{FF2B5EF4-FFF2-40B4-BE49-F238E27FC236}">
                <a16:creationId xmlns:a16="http://schemas.microsoft.com/office/drawing/2014/main" id="{CE0B9B33-240A-5207-AD39-D3C2E312CF29}"/>
              </a:ext>
            </a:extLst>
          </p:cNvPr>
          <p:cNvSpPr/>
          <p:nvPr/>
        </p:nvSpPr>
        <p:spPr>
          <a:xfrm>
            <a:off x="11036219" y="5677249"/>
            <a:ext cx="143820" cy="151442"/>
          </a:xfrm>
          <a:prstGeom prst="ellipse">
            <a:avLst/>
          </a:prstGeom>
          <a:solidFill>
            <a:schemeClr val="tx2">
              <a:lumMod val="75000"/>
              <a:lumOff val="25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59" name="Овал 58">
            <a:extLst>
              <a:ext uri="{FF2B5EF4-FFF2-40B4-BE49-F238E27FC236}">
                <a16:creationId xmlns:a16="http://schemas.microsoft.com/office/drawing/2014/main" id="{04432409-7D44-6B1C-4CD4-961098C6CEB4}"/>
              </a:ext>
            </a:extLst>
          </p:cNvPr>
          <p:cNvSpPr/>
          <p:nvPr/>
        </p:nvSpPr>
        <p:spPr>
          <a:xfrm>
            <a:off x="11254089" y="4338374"/>
            <a:ext cx="143820" cy="151442"/>
          </a:xfrm>
          <a:prstGeom prst="ellipse">
            <a:avLst/>
          </a:prstGeom>
          <a:solidFill>
            <a:schemeClr val="tx2">
              <a:lumMod val="75000"/>
              <a:lumOff val="25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62" name="Овал 61">
            <a:extLst>
              <a:ext uri="{FF2B5EF4-FFF2-40B4-BE49-F238E27FC236}">
                <a16:creationId xmlns:a16="http://schemas.microsoft.com/office/drawing/2014/main" id="{5663D345-D275-AA0B-0D46-26C1D20186B9}"/>
              </a:ext>
            </a:extLst>
          </p:cNvPr>
          <p:cNvSpPr/>
          <p:nvPr/>
        </p:nvSpPr>
        <p:spPr>
          <a:xfrm>
            <a:off x="6552158" y="2526943"/>
            <a:ext cx="79326" cy="79434"/>
          </a:xfrm>
          <a:prstGeom prst="ellipse">
            <a:avLst/>
          </a:prstGeom>
          <a:solidFill>
            <a:schemeClr val="tx2">
              <a:lumMod val="25000"/>
              <a:lumOff val="75000"/>
            </a:schemeClr>
          </a:solidFill>
          <a:ln>
            <a:solidFill>
              <a:schemeClr val="tx2">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64" name="Овал 63">
            <a:extLst>
              <a:ext uri="{FF2B5EF4-FFF2-40B4-BE49-F238E27FC236}">
                <a16:creationId xmlns:a16="http://schemas.microsoft.com/office/drawing/2014/main" id="{7BE9362C-3642-079C-AC17-45B6719004B3}"/>
              </a:ext>
            </a:extLst>
          </p:cNvPr>
          <p:cNvSpPr/>
          <p:nvPr/>
        </p:nvSpPr>
        <p:spPr>
          <a:xfrm>
            <a:off x="8699819" y="3365584"/>
            <a:ext cx="79326" cy="79434"/>
          </a:xfrm>
          <a:prstGeom prst="ellipse">
            <a:avLst/>
          </a:prstGeom>
          <a:solidFill>
            <a:schemeClr val="tx2">
              <a:lumMod val="25000"/>
              <a:lumOff val="75000"/>
            </a:schemeClr>
          </a:solidFill>
          <a:ln>
            <a:solidFill>
              <a:schemeClr val="tx2">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70" name="Овал 69">
            <a:extLst>
              <a:ext uri="{FF2B5EF4-FFF2-40B4-BE49-F238E27FC236}">
                <a16:creationId xmlns:a16="http://schemas.microsoft.com/office/drawing/2014/main" id="{6C0297A1-2841-25A1-239C-2EBD110CAEA4}"/>
              </a:ext>
            </a:extLst>
          </p:cNvPr>
          <p:cNvSpPr/>
          <p:nvPr/>
        </p:nvSpPr>
        <p:spPr>
          <a:xfrm>
            <a:off x="8299488" y="4148831"/>
            <a:ext cx="79326" cy="79434"/>
          </a:xfrm>
          <a:prstGeom prst="ellipse">
            <a:avLst/>
          </a:prstGeom>
          <a:solidFill>
            <a:schemeClr val="tx2">
              <a:lumMod val="25000"/>
              <a:lumOff val="75000"/>
            </a:schemeClr>
          </a:solidFill>
          <a:ln>
            <a:solidFill>
              <a:schemeClr val="tx2">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73" name="Овал 72">
            <a:extLst>
              <a:ext uri="{FF2B5EF4-FFF2-40B4-BE49-F238E27FC236}">
                <a16:creationId xmlns:a16="http://schemas.microsoft.com/office/drawing/2014/main" id="{5D9D9519-A08D-F3E9-E30D-6D6B875450BF}"/>
              </a:ext>
            </a:extLst>
          </p:cNvPr>
          <p:cNvSpPr/>
          <p:nvPr/>
        </p:nvSpPr>
        <p:spPr>
          <a:xfrm>
            <a:off x="7098821" y="4727705"/>
            <a:ext cx="79326" cy="79434"/>
          </a:xfrm>
          <a:prstGeom prst="ellipse">
            <a:avLst/>
          </a:prstGeom>
          <a:solidFill>
            <a:schemeClr val="tx2">
              <a:lumMod val="25000"/>
              <a:lumOff val="75000"/>
            </a:schemeClr>
          </a:solidFill>
          <a:ln>
            <a:solidFill>
              <a:schemeClr val="tx2">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75" name="Овал 74">
            <a:extLst>
              <a:ext uri="{FF2B5EF4-FFF2-40B4-BE49-F238E27FC236}">
                <a16:creationId xmlns:a16="http://schemas.microsoft.com/office/drawing/2014/main" id="{4BB15CDB-F0D8-7325-4AA2-B72718C174BB}"/>
              </a:ext>
            </a:extLst>
          </p:cNvPr>
          <p:cNvSpPr/>
          <p:nvPr/>
        </p:nvSpPr>
        <p:spPr>
          <a:xfrm>
            <a:off x="6343290" y="5219823"/>
            <a:ext cx="79326" cy="79434"/>
          </a:xfrm>
          <a:prstGeom prst="ellipse">
            <a:avLst/>
          </a:prstGeom>
          <a:solidFill>
            <a:schemeClr val="tx2">
              <a:lumMod val="25000"/>
              <a:lumOff val="75000"/>
            </a:schemeClr>
          </a:solidFill>
          <a:ln>
            <a:solidFill>
              <a:schemeClr val="tx2">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76" name="Овал 75">
            <a:extLst>
              <a:ext uri="{FF2B5EF4-FFF2-40B4-BE49-F238E27FC236}">
                <a16:creationId xmlns:a16="http://schemas.microsoft.com/office/drawing/2014/main" id="{BE8192BB-A354-565B-4742-A82F521CB51C}"/>
              </a:ext>
            </a:extLst>
          </p:cNvPr>
          <p:cNvSpPr/>
          <p:nvPr/>
        </p:nvSpPr>
        <p:spPr>
          <a:xfrm>
            <a:off x="4556043" y="3402832"/>
            <a:ext cx="79326" cy="79434"/>
          </a:xfrm>
          <a:prstGeom prst="ellipse">
            <a:avLst/>
          </a:prstGeom>
          <a:solidFill>
            <a:schemeClr val="tx2">
              <a:lumMod val="25000"/>
              <a:lumOff val="75000"/>
            </a:schemeClr>
          </a:solidFill>
          <a:ln>
            <a:solidFill>
              <a:schemeClr val="tx2">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cxnSp>
        <p:nvCxnSpPr>
          <p:cNvPr id="78" name="Прямая соединительная линия 77">
            <a:extLst>
              <a:ext uri="{FF2B5EF4-FFF2-40B4-BE49-F238E27FC236}">
                <a16:creationId xmlns:a16="http://schemas.microsoft.com/office/drawing/2014/main" id="{6AE47A0C-2E73-3559-C88B-6CB3793E3645}"/>
              </a:ext>
            </a:extLst>
          </p:cNvPr>
          <p:cNvCxnSpPr>
            <a:cxnSpLocks/>
          </p:cNvCxnSpPr>
          <p:nvPr/>
        </p:nvCxnSpPr>
        <p:spPr>
          <a:xfrm>
            <a:off x="559425" y="3089130"/>
            <a:ext cx="2187144" cy="6432"/>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80" name="Прямая соединительная линия 79">
            <a:extLst>
              <a:ext uri="{FF2B5EF4-FFF2-40B4-BE49-F238E27FC236}">
                <a16:creationId xmlns:a16="http://schemas.microsoft.com/office/drawing/2014/main" id="{F5AA0FE2-CA14-A17E-0DB1-029CF83BA396}"/>
              </a:ext>
            </a:extLst>
          </p:cNvPr>
          <p:cNvCxnSpPr>
            <a:cxnSpLocks/>
            <a:stCxn id="76" idx="2"/>
          </p:cNvCxnSpPr>
          <p:nvPr/>
        </p:nvCxnSpPr>
        <p:spPr>
          <a:xfrm flipH="1" flipV="1">
            <a:off x="2740327" y="3094505"/>
            <a:ext cx="1815716" cy="348044"/>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85" name="Прямая соединительная линия 84">
            <a:extLst>
              <a:ext uri="{FF2B5EF4-FFF2-40B4-BE49-F238E27FC236}">
                <a16:creationId xmlns:a16="http://schemas.microsoft.com/office/drawing/2014/main" id="{7737A402-6AB3-CF1D-2B8D-52818B7DCDEC}"/>
              </a:ext>
            </a:extLst>
          </p:cNvPr>
          <p:cNvCxnSpPr>
            <a:cxnSpLocks/>
          </p:cNvCxnSpPr>
          <p:nvPr/>
        </p:nvCxnSpPr>
        <p:spPr>
          <a:xfrm flipV="1">
            <a:off x="544067" y="5504628"/>
            <a:ext cx="1625952" cy="7207"/>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87" name="Прямая соединительная линия 86">
            <a:extLst>
              <a:ext uri="{FF2B5EF4-FFF2-40B4-BE49-F238E27FC236}">
                <a16:creationId xmlns:a16="http://schemas.microsoft.com/office/drawing/2014/main" id="{D0D0C0B5-7709-EDC5-0146-91CC7D7514C8}"/>
              </a:ext>
            </a:extLst>
          </p:cNvPr>
          <p:cNvCxnSpPr>
            <a:cxnSpLocks/>
          </p:cNvCxnSpPr>
          <p:nvPr/>
        </p:nvCxnSpPr>
        <p:spPr>
          <a:xfrm flipH="1">
            <a:off x="2171903" y="4705352"/>
            <a:ext cx="1282435" cy="804630"/>
          </a:xfrm>
          <a:prstGeom prst="line">
            <a:avLst/>
          </a:prstGeom>
          <a:ln/>
        </p:spPr>
        <p:style>
          <a:lnRef idx="1">
            <a:schemeClr val="accent1"/>
          </a:lnRef>
          <a:fillRef idx="0">
            <a:schemeClr val="accent1"/>
          </a:fillRef>
          <a:effectRef idx="0">
            <a:schemeClr val="accent1"/>
          </a:effectRef>
          <a:fontRef idx="minor">
            <a:schemeClr val="tx1"/>
          </a:fontRef>
        </p:style>
      </p:cxnSp>
      <p:sp>
        <p:nvSpPr>
          <p:cNvPr id="93" name="Овал 92">
            <a:extLst>
              <a:ext uri="{FF2B5EF4-FFF2-40B4-BE49-F238E27FC236}">
                <a16:creationId xmlns:a16="http://schemas.microsoft.com/office/drawing/2014/main" id="{5E2FE194-098C-55C6-DC17-38F97A56147A}"/>
              </a:ext>
            </a:extLst>
          </p:cNvPr>
          <p:cNvSpPr/>
          <p:nvPr/>
        </p:nvSpPr>
        <p:spPr>
          <a:xfrm>
            <a:off x="2901103" y="5556899"/>
            <a:ext cx="143820" cy="151442"/>
          </a:xfrm>
          <a:prstGeom prst="ellipse">
            <a:avLst/>
          </a:prstGeom>
          <a:solidFill>
            <a:schemeClr val="tx2">
              <a:lumMod val="75000"/>
              <a:lumOff val="25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cxnSp>
        <p:nvCxnSpPr>
          <p:cNvPr id="94" name="Прямая соединительная линия 93">
            <a:extLst>
              <a:ext uri="{FF2B5EF4-FFF2-40B4-BE49-F238E27FC236}">
                <a16:creationId xmlns:a16="http://schemas.microsoft.com/office/drawing/2014/main" id="{CD6FD555-CDFB-1E0F-7E5F-67934E2E3EF4}"/>
              </a:ext>
            </a:extLst>
          </p:cNvPr>
          <p:cNvCxnSpPr>
            <a:cxnSpLocks/>
          </p:cNvCxnSpPr>
          <p:nvPr/>
        </p:nvCxnSpPr>
        <p:spPr>
          <a:xfrm flipH="1">
            <a:off x="2995963" y="5642183"/>
            <a:ext cx="1639406" cy="0"/>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95" name="Прямая соединительная линия 94">
            <a:extLst>
              <a:ext uri="{FF2B5EF4-FFF2-40B4-BE49-F238E27FC236}">
                <a16:creationId xmlns:a16="http://schemas.microsoft.com/office/drawing/2014/main" id="{595F5CAD-A35F-AE1E-639E-6E6F33D6C5A2}"/>
              </a:ext>
            </a:extLst>
          </p:cNvPr>
          <p:cNvCxnSpPr>
            <a:cxnSpLocks/>
          </p:cNvCxnSpPr>
          <p:nvPr/>
        </p:nvCxnSpPr>
        <p:spPr>
          <a:xfrm>
            <a:off x="9346007" y="5755412"/>
            <a:ext cx="1708036" cy="0"/>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4" name="Прямая соединительная линия 3">
            <a:extLst>
              <a:ext uri="{FF2B5EF4-FFF2-40B4-BE49-F238E27FC236}">
                <a16:creationId xmlns:a16="http://schemas.microsoft.com/office/drawing/2014/main" id="{D64E9A8F-5589-B713-798A-7F6A6D4C9951}"/>
              </a:ext>
            </a:extLst>
          </p:cNvPr>
          <p:cNvCxnSpPr>
            <a:cxnSpLocks/>
          </p:cNvCxnSpPr>
          <p:nvPr/>
        </p:nvCxnSpPr>
        <p:spPr>
          <a:xfrm>
            <a:off x="9457372" y="4407743"/>
            <a:ext cx="1811568" cy="9282"/>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34" name="Прямая соединительная линия 33">
            <a:extLst>
              <a:ext uri="{FF2B5EF4-FFF2-40B4-BE49-F238E27FC236}">
                <a16:creationId xmlns:a16="http://schemas.microsoft.com/office/drawing/2014/main" id="{614AFC19-732F-C947-8E20-445420301B9C}"/>
              </a:ext>
            </a:extLst>
          </p:cNvPr>
          <p:cNvCxnSpPr>
            <a:cxnSpLocks/>
          </p:cNvCxnSpPr>
          <p:nvPr/>
        </p:nvCxnSpPr>
        <p:spPr>
          <a:xfrm flipV="1">
            <a:off x="7120525" y="3090879"/>
            <a:ext cx="1345348" cy="4364"/>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36" name="Прямая соединительная линия 35">
            <a:extLst>
              <a:ext uri="{FF2B5EF4-FFF2-40B4-BE49-F238E27FC236}">
                <a16:creationId xmlns:a16="http://schemas.microsoft.com/office/drawing/2014/main" id="{D9A01352-BE80-6ACC-E835-42F6BCEF9D5D}"/>
              </a:ext>
            </a:extLst>
          </p:cNvPr>
          <p:cNvCxnSpPr>
            <a:cxnSpLocks/>
          </p:cNvCxnSpPr>
          <p:nvPr/>
        </p:nvCxnSpPr>
        <p:spPr>
          <a:xfrm flipV="1">
            <a:off x="2201739" y="1076561"/>
            <a:ext cx="1344650" cy="3001"/>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63" name="Прямая соединительная линия 62">
            <a:extLst>
              <a:ext uri="{FF2B5EF4-FFF2-40B4-BE49-F238E27FC236}">
                <a16:creationId xmlns:a16="http://schemas.microsoft.com/office/drawing/2014/main" id="{31C8AE44-74D8-165C-88E6-9B1967EA3756}"/>
              </a:ext>
            </a:extLst>
          </p:cNvPr>
          <p:cNvCxnSpPr>
            <a:cxnSpLocks/>
          </p:cNvCxnSpPr>
          <p:nvPr/>
        </p:nvCxnSpPr>
        <p:spPr>
          <a:xfrm flipH="1">
            <a:off x="4635369" y="5274766"/>
            <a:ext cx="1711786" cy="367417"/>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66" name="Прямая соединительная линия 65">
            <a:extLst>
              <a:ext uri="{FF2B5EF4-FFF2-40B4-BE49-F238E27FC236}">
                <a16:creationId xmlns:a16="http://schemas.microsoft.com/office/drawing/2014/main" id="{8EB7148B-66EC-A110-679C-76BC30D4CC1F}"/>
              </a:ext>
            </a:extLst>
          </p:cNvPr>
          <p:cNvCxnSpPr>
            <a:cxnSpLocks/>
          </p:cNvCxnSpPr>
          <p:nvPr/>
        </p:nvCxnSpPr>
        <p:spPr>
          <a:xfrm flipH="1">
            <a:off x="6631484" y="4805579"/>
            <a:ext cx="510792" cy="1014411"/>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69" name="Прямая соединительная линия 68">
            <a:extLst>
              <a:ext uri="{FF2B5EF4-FFF2-40B4-BE49-F238E27FC236}">
                <a16:creationId xmlns:a16="http://schemas.microsoft.com/office/drawing/2014/main" id="{AF773C5E-F552-3D99-C9A6-F542CAD2DA23}"/>
              </a:ext>
            </a:extLst>
          </p:cNvPr>
          <p:cNvCxnSpPr>
            <a:cxnSpLocks/>
            <a:stCxn id="70" idx="6"/>
          </p:cNvCxnSpPr>
          <p:nvPr/>
        </p:nvCxnSpPr>
        <p:spPr>
          <a:xfrm>
            <a:off x="8378814" y="4188548"/>
            <a:ext cx="1078558" cy="222266"/>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79" name="Прямая соединительная линия 78">
            <a:extLst>
              <a:ext uri="{FF2B5EF4-FFF2-40B4-BE49-F238E27FC236}">
                <a16:creationId xmlns:a16="http://schemas.microsoft.com/office/drawing/2014/main" id="{C36FFD53-BCD0-0A0A-1B6E-87E1E7FFDDE9}"/>
              </a:ext>
            </a:extLst>
          </p:cNvPr>
          <p:cNvCxnSpPr>
            <a:cxnSpLocks/>
            <a:stCxn id="64" idx="6"/>
          </p:cNvCxnSpPr>
          <p:nvPr/>
        </p:nvCxnSpPr>
        <p:spPr>
          <a:xfrm flipV="1">
            <a:off x="8779145" y="3072409"/>
            <a:ext cx="1202613" cy="332892"/>
          </a:xfrm>
          <a:prstGeom prst="line">
            <a:avLst/>
          </a:prstGeom>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344744C8-16E1-A9F4-71C2-8F5F0100192A}"/>
              </a:ext>
            </a:extLst>
          </p:cNvPr>
          <p:cNvSpPr txBox="1"/>
          <p:nvPr/>
        </p:nvSpPr>
        <p:spPr>
          <a:xfrm>
            <a:off x="569569" y="4088433"/>
            <a:ext cx="135559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E2841">
                    <a:lumMod val="75000"/>
                    <a:lumOff val="25000"/>
                  </a:srgbClr>
                </a:solidFill>
                <a:effectLst/>
                <a:uLnTx/>
                <a:uFillTx/>
                <a:latin typeface="Century Gothic" panose="020B0502020202020204" pitchFamily="34" charset="0"/>
                <a:ea typeface="+mn-ea"/>
                <a:cs typeface="+mn-cs"/>
              </a:rPr>
              <a:t>Atyrau</a:t>
            </a:r>
            <a:endParaRPr kumimoji="0" lang="ru-KZ" sz="1400" b="0"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endParaRPr>
          </a:p>
        </p:txBody>
      </p:sp>
      <p:sp>
        <p:nvSpPr>
          <p:cNvPr id="81" name="TextBox 80">
            <a:extLst>
              <a:ext uri="{FF2B5EF4-FFF2-40B4-BE49-F238E27FC236}">
                <a16:creationId xmlns:a16="http://schemas.microsoft.com/office/drawing/2014/main" id="{C8D55B32-5AD8-3D2E-B1D4-140FD92832B5}"/>
              </a:ext>
            </a:extLst>
          </p:cNvPr>
          <p:cNvSpPr txBox="1"/>
          <p:nvPr/>
        </p:nvSpPr>
        <p:spPr>
          <a:xfrm>
            <a:off x="569570" y="4427217"/>
            <a:ext cx="1800446" cy="553998"/>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98,4%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asture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1,4%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ayfield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0,1%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fallow land</a:t>
            </a:r>
          </a:p>
        </p:txBody>
      </p:sp>
      <p:sp>
        <p:nvSpPr>
          <p:cNvPr id="83" name="TextBox 82">
            <a:extLst>
              <a:ext uri="{FF2B5EF4-FFF2-40B4-BE49-F238E27FC236}">
                <a16:creationId xmlns:a16="http://schemas.microsoft.com/office/drawing/2014/main" id="{B6D6CA09-0658-7335-6210-501B5640A797}"/>
              </a:ext>
            </a:extLst>
          </p:cNvPr>
          <p:cNvSpPr txBox="1"/>
          <p:nvPr/>
        </p:nvSpPr>
        <p:spPr>
          <a:xfrm>
            <a:off x="464974" y="1595259"/>
            <a:ext cx="1737583" cy="307777"/>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E2841">
                    <a:lumMod val="75000"/>
                    <a:lumOff val="25000"/>
                  </a:srgbClr>
                </a:solidFill>
                <a:effectLst/>
                <a:uLnTx/>
                <a:uFillTx/>
                <a:latin typeface="Century Gothic"/>
                <a:ea typeface="+mn-ea"/>
                <a:cs typeface="+mn-cs"/>
              </a:rPr>
              <a:t>West Kazakhstan</a:t>
            </a:r>
            <a:r>
              <a:rPr kumimoji="0" lang="ru-KZ" sz="1400" b="0" i="0" u="none" strike="noStrike" kern="1200" cap="none" spc="0" normalizeH="0" baseline="0" noProof="0" dirty="0">
                <a:ln>
                  <a:noFill/>
                </a:ln>
                <a:solidFill>
                  <a:srgbClr val="0E2841">
                    <a:lumMod val="75000"/>
                    <a:lumOff val="25000"/>
                  </a:srgbClr>
                </a:solidFill>
                <a:effectLst/>
                <a:uLnTx/>
                <a:uFillTx/>
                <a:latin typeface="Century Gothic"/>
                <a:ea typeface="+mn-ea"/>
                <a:cs typeface="+mn-cs"/>
              </a:rPr>
              <a:t>  </a:t>
            </a:r>
          </a:p>
        </p:txBody>
      </p:sp>
      <p:sp>
        <p:nvSpPr>
          <p:cNvPr id="84" name="TextBox 83">
            <a:extLst>
              <a:ext uri="{FF2B5EF4-FFF2-40B4-BE49-F238E27FC236}">
                <a16:creationId xmlns:a16="http://schemas.microsoft.com/office/drawing/2014/main" id="{6D8FA94B-F682-43FB-DCBD-4A9F1BF02CEE}"/>
              </a:ext>
            </a:extLst>
          </p:cNvPr>
          <p:cNvSpPr txBox="1"/>
          <p:nvPr/>
        </p:nvSpPr>
        <p:spPr>
          <a:xfrm>
            <a:off x="451141" y="1922959"/>
            <a:ext cx="1681188" cy="707886"/>
          </a:xfrm>
          <a:prstGeom prst="rect">
            <a:avLst/>
          </a:prstGeom>
          <a:noFill/>
        </p:spPr>
        <p:txBody>
          <a:bodyPr wrap="square" lIns="91440" tIns="45720" rIns="91440" bIns="45720" anchor="t">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4%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arable land</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79,6%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pasture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8,9%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hayfield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7%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fallow land</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endParaRPr>
          </a:p>
        </p:txBody>
      </p:sp>
      <p:sp>
        <p:nvSpPr>
          <p:cNvPr id="86" name="TextBox 85">
            <a:extLst>
              <a:ext uri="{FF2B5EF4-FFF2-40B4-BE49-F238E27FC236}">
                <a16:creationId xmlns:a16="http://schemas.microsoft.com/office/drawing/2014/main" id="{B6D6CA09-0658-7335-6210-501B5640A797}"/>
              </a:ext>
            </a:extLst>
          </p:cNvPr>
          <p:cNvSpPr txBox="1"/>
          <p:nvPr/>
        </p:nvSpPr>
        <p:spPr>
          <a:xfrm>
            <a:off x="3684717" y="1957809"/>
            <a:ext cx="1575950" cy="307777"/>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E2841">
                    <a:lumMod val="75000"/>
                    <a:lumOff val="25000"/>
                  </a:srgbClr>
                </a:solidFill>
                <a:effectLst/>
                <a:uLnTx/>
                <a:uFillTx/>
                <a:latin typeface="Century Gothic"/>
                <a:ea typeface="+mn-ea"/>
                <a:cs typeface="+mn-cs"/>
              </a:rPr>
              <a:t>Kostanay</a:t>
            </a:r>
            <a:r>
              <a:rPr kumimoji="0" lang="ru-KZ" sz="1400" b="0" i="0" u="none" strike="noStrike" kern="1200" cap="none" spc="0" normalizeH="0" baseline="0" noProof="0" dirty="0">
                <a:ln>
                  <a:noFill/>
                </a:ln>
                <a:solidFill>
                  <a:srgbClr val="0E2841">
                    <a:lumMod val="75000"/>
                    <a:lumOff val="25000"/>
                  </a:srgbClr>
                </a:solidFill>
                <a:effectLst/>
                <a:uLnTx/>
                <a:uFillTx/>
                <a:latin typeface="Century Gothic"/>
                <a:ea typeface="+mn-ea"/>
                <a:cs typeface="+mn-cs"/>
              </a:rPr>
              <a:t>  </a:t>
            </a:r>
          </a:p>
        </p:txBody>
      </p:sp>
      <p:sp>
        <p:nvSpPr>
          <p:cNvPr id="88" name="TextBox 87">
            <a:extLst>
              <a:ext uri="{FF2B5EF4-FFF2-40B4-BE49-F238E27FC236}">
                <a16:creationId xmlns:a16="http://schemas.microsoft.com/office/drawing/2014/main" id="{6D8FA94B-F682-43FB-DCBD-4A9F1BF02CEE}"/>
              </a:ext>
            </a:extLst>
          </p:cNvPr>
          <p:cNvSpPr txBox="1"/>
          <p:nvPr/>
        </p:nvSpPr>
        <p:spPr>
          <a:xfrm>
            <a:off x="3637106" y="2303437"/>
            <a:ext cx="2384349" cy="861774"/>
          </a:xfrm>
          <a:prstGeom prst="rect">
            <a:avLst/>
          </a:prstGeom>
          <a:noFill/>
        </p:spPr>
        <p:txBody>
          <a:bodyPr wrap="square" lIns="91440" tIns="45720" rIns="91440" bIns="45720" anchor="t">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36%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arable land</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61,4%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pasture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1,8%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hayfield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1,1%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fallow land</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0,1%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perennial planting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endParaRPr>
          </a:p>
        </p:txBody>
      </p:sp>
      <p:sp>
        <p:nvSpPr>
          <p:cNvPr id="89" name="TextBox 88">
            <a:extLst>
              <a:ext uri="{FF2B5EF4-FFF2-40B4-BE49-F238E27FC236}">
                <a16:creationId xmlns:a16="http://schemas.microsoft.com/office/drawing/2014/main" id="{B8BA7B11-356B-03D8-A3D8-8C281CB3CD20}"/>
              </a:ext>
            </a:extLst>
          </p:cNvPr>
          <p:cNvSpPr txBox="1"/>
          <p:nvPr/>
        </p:nvSpPr>
        <p:spPr>
          <a:xfrm>
            <a:off x="10221413" y="1536005"/>
            <a:ext cx="164304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East Kazakhstan</a:t>
            </a:r>
            <a:endParaRPr kumimoji="0" lang="ru-KZ" sz="1400" b="0"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endParaRPr>
          </a:p>
        </p:txBody>
      </p:sp>
      <p:sp>
        <p:nvSpPr>
          <p:cNvPr id="90" name="TextBox 89">
            <a:extLst>
              <a:ext uri="{FF2B5EF4-FFF2-40B4-BE49-F238E27FC236}">
                <a16:creationId xmlns:a16="http://schemas.microsoft.com/office/drawing/2014/main" id="{CB73ABFC-B273-02F5-4B76-32DE8BFF6CE7}"/>
              </a:ext>
            </a:extLst>
          </p:cNvPr>
          <p:cNvSpPr txBox="1"/>
          <p:nvPr/>
        </p:nvSpPr>
        <p:spPr>
          <a:xfrm>
            <a:off x="10175719" y="1887270"/>
            <a:ext cx="1610698" cy="707886"/>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11%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rable land</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80,9%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asture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7,3%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ayfield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1,1%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fallow land</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91" name="TextBox 90">
            <a:extLst>
              <a:ext uri="{FF2B5EF4-FFF2-40B4-BE49-F238E27FC236}">
                <a16:creationId xmlns:a16="http://schemas.microsoft.com/office/drawing/2014/main" id="{B6D6CA09-0658-7335-6210-501B5640A797}"/>
              </a:ext>
            </a:extLst>
          </p:cNvPr>
          <p:cNvSpPr txBox="1"/>
          <p:nvPr/>
        </p:nvSpPr>
        <p:spPr>
          <a:xfrm>
            <a:off x="5510033" y="704964"/>
            <a:ext cx="1885706" cy="307777"/>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E2841">
                    <a:lumMod val="75000"/>
                    <a:lumOff val="25000"/>
                  </a:srgbClr>
                </a:solidFill>
                <a:effectLst/>
                <a:uLnTx/>
                <a:uFillTx/>
                <a:latin typeface="Century Gothic"/>
                <a:ea typeface="+mn-ea"/>
                <a:cs typeface="+mn-cs"/>
              </a:rPr>
              <a:t>North Kazakhstan</a:t>
            </a:r>
            <a:r>
              <a:rPr kumimoji="0" lang="ru-KZ" sz="1400" b="0" i="0" u="none" strike="noStrike" kern="1200" cap="none" spc="0" normalizeH="0" baseline="0" noProof="0" dirty="0">
                <a:ln>
                  <a:noFill/>
                </a:ln>
                <a:solidFill>
                  <a:srgbClr val="0E2841">
                    <a:lumMod val="75000"/>
                    <a:lumOff val="25000"/>
                  </a:srgbClr>
                </a:solidFill>
                <a:effectLst/>
                <a:uLnTx/>
                <a:uFillTx/>
                <a:latin typeface="Century Gothic"/>
                <a:ea typeface="+mn-ea"/>
                <a:cs typeface="+mn-cs"/>
              </a:rPr>
              <a:t>  </a:t>
            </a:r>
          </a:p>
        </p:txBody>
      </p:sp>
      <p:sp>
        <p:nvSpPr>
          <p:cNvPr id="96" name="TextBox 95">
            <a:extLst>
              <a:ext uri="{FF2B5EF4-FFF2-40B4-BE49-F238E27FC236}">
                <a16:creationId xmlns:a16="http://schemas.microsoft.com/office/drawing/2014/main" id="{6D8FA94B-F682-43FB-DCBD-4A9F1BF02CEE}"/>
              </a:ext>
            </a:extLst>
          </p:cNvPr>
          <p:cNvSpPr txBox="1"/>
          <p:nvPr/>
        </p:nvSpPr>
        <p:spPr>
          <a:xfrm>
            <a:off x="5514285" y="1052431"/>
            <a:ext cx="2383488" cy="861774"/>
          </a:xfrm>
          <a:prstGeom prst="rect">
            <a:avLst/>
          </a:prstGeom>
          <a:noFill/>
        </p:spPr>
        <p:txBody>
          <a:bodyPr wrap="square" lIns="91440" tIns="45720" rIns="91440" bIns="45720" anchor="t">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60%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arable land</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38,5%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pasture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0,4%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hayfield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0,9%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fallow land</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0,1%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perennial planting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endParaRPr>
          </a:p>
        </p:txBody>
      </p:sp>
      <p:sp>
        <p:nvSpPr>
          <p:cNvPr id="97" name="TextBox 96">
            <a:extLst>
              <a:ext uri="{FF2B5EF4-FFF2-40B4-BE49-F238E27FC236}">
                <a16:creationId xmlns:a16="http://schemas.microsoft.com/office/drawing/2014/main" id="{2525CDBF-13E3-ECDE-4E92-CD83ECDFC9C4}"/>
              </a:ext>
            </a:extLst>
          </p:cNvPr>
          <p:cNvSpPr txBox="1"/>
          <p:nvPr/>
        </p:nvSpPr>
        <p:spPr>
          <a:xfrm>
            <a:off x="2988916" y="5663589"/>
            <a:ext cx="2381162" cy="861774"/>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9%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rable land</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88,2%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asture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0,9%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ayfield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1,2%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fallow land</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0,4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erennial planting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98" name="TextBox 97">
            <a:extLst>
              <a:ext uri="{FF2B5EF4-FFF2-40B4-BE49-F238E27FC236}">
                <a16:creationId xmlns:a16="http://schemas.microsoft.com/office/drawing/2014/main" id="{5464BB2E-7199-760A-C9BA-ACB290EBE193}"/>
              </a:ext>
            </a:extLst>
          </p:cNvPr>
          <p:cNvSpPr txBox="1"/>
          <p:nvPr/>
        </p:nvSpPr>
        <p:spPr>
          <a:xfrm>
            <a:off x="3021624" y="5311888"/>
            <a:ext cx="158223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Turkistan</a:t>
            </a:r>
          </a:p>
        </p:txBody>
      </p:sp>
      <p:sp>
        <p:nvSpPr>
          <p:cNvPr id="99" name="TextBox 98">
            <a:extLst>
              <a:ext uri="{FF2B5EF4-FFF2-40B4-BE49-F238E27FC236}">
                <a16:creationId xmlns:a16="http://schemas.microsoft.com/office/drawing/2014/main" id="{61D7BD5B-4216-C58B-B5FE-F9EED36A8B6A}"/>
              </a:ext>
            </a:extLst>
          </p:cNvPr>
          <p:cNvSpPr txBox="1"/>
          <p:nvPr/>
        </p:nvSpPr>
        <p:spPr>
          <a:xfrm>
            <a:off x="9381952" y="5422487"/>
            <a:ext cx="163025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Almaty</a:t>
            </a:r>
            <a:endParaRPr kumimoji="0" lang="ru-KZ" sz="1400" b="0"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endParaRPr>
          </a:p>
        </p:txBody>
      </p:sp>
      <p:sp>
        <p:nvSpPr>
          <p:cNvPr id="100" name="TextBox 99">
            <a:extLst>
              <a:ext uri="{FF2B5EF4-FFF2-40B4-BE49-F238E27FC236}">
                <a16:creationId xmlns:a16="http://schemas.microsoft.com/office/drawing/2014/main" id="{9835F9CC-67F1-679F-CDC7-B5FE571E1BF6}"/>
              </a:ext>
            </a:extLst>
          </p:cNvPr>
          <p:cNvSpPr txBox="1"/>
          <p:nvPr/>
        </p:nvSpPr>
        <p:spPr>
          <a:xfrm>
            <a:off x="9378897" y="5803418"/>
            <a:ext cx="2464038" cy="861774"/>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6%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rable land</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89,8%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asture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3,2%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ayfield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0,8%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fallow land</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0,1%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erennial planting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01" name="TextBox 100">
            <a:extLst>
              <a:ext uri="{FF2B5EF4-FFF2-40B4-BE49-F238E27FC236}">
                <a16:creationId xmlns:a16="http://schemas.microsoft.com/office/drawing/2014/main" id="{B8BA7B11-356B-03D8-A3D8-8C281CB3CD20}"/>
              </a:ext>
            </a:extLst>
          </p:cNvPr>
          <p:cNvSpPr txBox="1"/>
          <p:nvPr/>
        </p:nvSpPr>
        <p:spPr>
          <a:xfrm>
            <a:off x="9999985" y="2731997"/>
            <a:ext cx="126605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E2841">
                    <a:lumMod val="75000"/>
                    <a:lumOff val="25000"/>
                  </a:srgbClr>
                </a:solidFill>
                <a:effectLst/>
                <a:uLnTx/>
                <a:uFillTx/>
                <a:latin typeface="Century Gothic" panose="020B0502020202020204" pitchFamily="34" charset="0"/>
                <a:ea typeface="+mn-ea"/>
                <a:cs typeface="+mn-cs"/>
              </a:rPr>
              <a:t>Abai</a:t>
            </a:r>
            <a:endParaRPr kumimoji="0" lang="ru-KZ" sz="1400" b="0"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endParaRPr>
          </a:p>
        </p:txBody>
      </p:sp>
      <p:sp>
        <p:nvSpPr>
          <p:cNvPr id="102" name="TextBox 101">
            <a:extLst>
              <a:ext uri="{FF2B5EF4-FFF2-40B4-BE49-F238E27FC236}">
                <a16:creationId xmlns:a16="http://schemas.microsoft.com/office/drawing/2014/main" id="{CB73ABFC-B273-02F5-4B76-32DE8BFF6CE7}"/>
              </a:ext>
            </a:extLst>
          </p:cNvPr>
          <p:cNvSpPr txBox="1"/>
          <p:nvPr/>
        </p:nvSpPr>
        <p:spPr>
          <a:xfrm>
            <a:off x="9987734" y="3084372"/>
            <a:ext cx="1507123" cy="707886"/>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5%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rable land</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90,2%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asture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3,7%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ayfield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1,1%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fallow land</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03" name="Овал 102">
            <a:extLst>
              <a:ext uri="{FF2B5EF4-FFF2-40B4-BE49-F238E27FC236}">
                <a16:creationId xmlns:a16="http://schemas.microsoft.com/office/drawing/2014/main" id="{2BB20EA5-C099-80D7-962B-A52709E97E74}"/>
              </a:ext>
            </a:extLst>
          </p:cNvPr>
          <p:cNvSpPr/>
          <p:nvPr/>
        </p:nvSpPr>
        <p:spPr>
          <a:xfrm>
            <a:off x="326768" y="1832950"/>
            <a:ext cx="143820" cy="151442"/>
          </a:xfrm>
          <a:prstGeom prst="ellipse">
            <a:avLst/>
          </a:prstGeom>
          <a:solidFill>
            <a:schemeClr val="tx2">
              <a:lumMod val="75000"/>
              <a:lumOff val="25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cxnSp>
        <p:nvCxnSpPr>
          <p:cNvPr id="104" name="Прямая соединительная линия 103">
            <a:extLst>
              <a:ext uri="{FF2B5EF4-FFF2-40B4-BE49-F238E27FC236}">
                <a16:creationId xmlns:a16="http://schemas.microsoft.com/office/drawing/2014/main" id="{6AE47A0C-2E73-3559-C88B-6CB3793E3645}"/>
              </a:ext>
            </a:extLst>
          </p:cNvPr>
          <p:cNvCxnSpPr>
            <a:cxnSpLocks/>
          </p:cNvCxnSpPr>
          <p:nvPr/>
        </p:nvCxnSpPr>
        <p:spPr>
          <a:xfrm>
            <a:off x="466607" y="1913880"/>
            <a:ext cx="1618515" cy="4429"/>
          </a:xfrm>
          <a:prstGeom prst="line">
            <a:avLst/>
          </a:prstGeom>
          <a:ln/>
        </p:spPr>
        <p:style>
          <a:lnRef idx="1">
            <a:schemeClr val="accent1"/>
          </a:lnRef>
          <a:fillRef idx="0">
            <a:schemeClr val="accent1"/>
          </a:fillRef>
          <a:effectRef idx="0">
            <a:schemeClr val="accent1"/>
          </a:effectRef>
          <a:fontRef idx="minor">
            <a:schemeClr val="tx1"/>
          </a:fontRef>
        </p:style>
      </p:cxnSp>
      <p:sp>
        <p:nvSpPr>
          <p:cNvPr id="105" name="Овал 104">
            <a:extLst>
              <a:ext uri="{FF2B5EF4-FFF2-40B4-BE49-F238E27FC236}">
                <a16:creationId xmlns:a16="http://schemas.microsoft.com/office/drawing/2014/main" id="{BE8192BB-A354-565B-4742-A82F521CB51C}"/>
              </a:ext>
            </a:extLst>
          </p:cNvPr>
          <p:cNvSpPr/>
          <p:nvPr/>
        </p:nvSpPr>
        <p:spPr>
          <a:xfrm>
            <a:off x="3163087" y="2777035"/>
            <a:ext cx="79326" cy="79434"/>
          </a:xfrm>
          <a:prstGeom prst="ellipse">
            <a:avLst/>
          </a:prstGeom>
          <a:solidFill>
            <a:schemeClr val="tx2">
              <a:lumMod val="25000"/>
              <a:lumOff val="75000"/>
            </a:schemeClr>
          </a:solidFill>
          <a:ln>
            <a:solidFill>
              <a:schemeClr val="tx2">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cxnSp>
        <p:nvCxnSpPr>
          <p:cNvPr id="106" name="Прямая соединительная линия 105">
            <a:extLst>
              <a:ext uri="{FF2B5EF4-FFF2-40B4-BE49-F238E27FC236}">
                <a16:creationId xmlns:a16="http://schemas.microsoft.com/office/drawing/2014/main" id="{F5AA0FE2-CA14-A17E-0DB1-029CF83BA396}"/>
              </a:ext>
            </a:extLst>
          </p:cNvPr>
          <p:cNvCxnSpPr>
            <a:cxnSpLocks/>
          </p:cNvCxnSpPr>
          <p:nvPr/>
        </p:nvCxnSpPr>
        <p:spPr>
          <a:xfrm flipH="1" flipV="1">
            <a:off x="2086748" y="1922858"/>
            <a:ext cx="1087957" cy="871786"/>
          </a:xfrm>
          <a:prstGeom prst="line">
            <a:avLst/>
          </a:prstGeom>
          <a:ln/>
        </p:spPr>
        <p:style>
          <a:lnRef idx="1">
            <a:schemeClr val="accent1"/>
          </a:lnRef>
          <a:fillRef idx="0">
            <a:schemeClr val="accent1"/>
          </a:fillRef>
          <a:effectRef idx="0">
            <a:schemeClr val="accent1"/>
          </a:effectRef>
          <a:fontRef idx="minor">
            <a:schemeClr val="tx1"/>
          </a:fontRef>
        </p:style>
      </p:cxnSp>
      <p:sp>
        <p:nvSpPr>
          <p:cNvPr id="107" name="Овал 106">
            <a:extLst>
              <a:ext uri="{FF2B5EF4-FFF2-40B4-BE49-F238E27FC236}">
                <a16:creationId xmlns:a16="http://schemas.microsoft.com/office/drawing/2014/main" id="{B78FA338-4899-7A4D-9B08-35FBA9081E28}"/>
              </a:ext>
            </a:extLst>
          </p:cNvPr>
          <p:cNvSpPr/>
          <p:nvPr/>
        </p:nvSpPr>
        <p:spPr>
          <a:xfrm>
            <a:off x="428137" y="4308233"/>
            <a:ext cx="143820" cy="151442"/>
          </a:xfrm>
          <a:prstGeom prst="ellipse">
            <a:avLst/>
          </a:prstGeom>
          <a:solidFill>
            <a:schemeClr val="tx2">
              <a:lumMod val="75000"/>
              <a:lumOff val="25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cxnSp>
        <p:nvCxnSpPr>
          <p:cNvPr id="108" name="Прямая соединительная линия 107">
            <a:extLst>
              <a:ext uri="{FF2B5EF4-FFF2-40B4-BE49-F238E27FC236}">
                <a16:creationId xmlns:a16="http://schemas.microsoft.com/office/drawing/2014/main" id="{7737A402-6AB3-CF1D-2B8D-52818B7DCDEC}"/>
              </a:ext>
            </a:extLst>
          </p:cNvPr>
          <p:cNvCxnSpPr>
            <a:cxnSpLocks/>
          </p:cNvCxnSpPr>
          <p:nvPr/>
        </p:nvCxnSpPr>
        <p:spPr>
          <a:xfrm>
            <a:off x="561435" y="4417025"/>
            <a:ext cx="1537921" cy="0"/>
          </a:xfrm>
          <a:prstGeom prst="line">
            <a:avLst/>
          </a:prstGeom>
          <a:ln/>
        </p:spPr>
        <p:style>
          <a:lnRef idx="1">
            <a:schemeClr val="accent1"/>
          </a:lnRef>
          <a:fillRef idx="0">
            <a:schemeClr val="accent1"/>
          </a:fillRef>
          <a:effectRef idx="0">
            <a:schemeClr val="accent1"/>
          </a:effectRef>
          <a:fontRef idx="minor">
            <a:schemeClr val="tx1"/>
          </a:fontRef>
        </p:style>
      </p:cxnSp>
      <p:sp>
        <p:nvSpPr>
          <p:cNvPr id="109" name="Овал 108">
            <a:extLst>
              <a:ext uri="{FF2B5EF4-FFF2-40B4-BE49-F238E27FC236}">
                <a16:creationId xmlns:a16="http://schemas.microsoft.com/office/drawing/2014/main" id="{FDC79AB6-D899-F458-09AA-E2E3B9484CB1}"/>
              </a:ext>
            </a:extLst>
          </p:cNvPr>
          <p:cNvSpPr/>
          <p:nvPr/>
        </p:nvSpPr>
        <p:spPr>
          <a:xfrm>
            <a:off x="3308672" y="3429232"/>
            <a:ext cx="79326" cy="79434"/>
          </a:xfrm>
          <a:prstGeom prst="ellipse">
            <a:avLst/>
          </a:prstGeom>
          <a:solidFill>
            <a:schemeClr val="tx2">
              <a:lumMod val="25000"/>
              <a:lumOff val="75000"/>
            </a:schemeClr>
          </a:solidFill>
          <a:ln>
            <a:solidFill>
              <a:schemeClr val="tx2">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cxnSp>
        <p:nvCxnSpPr>
          <p:cNvPr id="110" name="Прямая соединительная линия 109">
            <a:extLst>
              <a:ext uri="{FF2B5EF4-FFF2-40B4-BE49-F238E27FC236}">
                <a16:creationId xmlns:a16="http://schemas.microsoft.com/office/drawing/2014/main" id="{D0D0C0B5-7709-EDC5-0146-91CC7D7514C8}"/>
              </a:ext>
            </a:extLst>
          </p:cNvPr>
          <p:cNvCxnSpPr>
            <a:cxnSpLocks/>
            <a:stCxn id="109" idx="3"/>
          </p:cNvCxnSpPr>
          <p:nvPr/>
        </p:nvCxnSpPr>
        <p:spPr>
          <a:xfrm flipH="1">
            <a:off x="2099356" y="3497033"/>
            <a:ext cx="1220933" cy="919992"/>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112" name="Прямая соединительная линия 111">
            <a:extLst>
              <a:ext uri="{FF2B5EF4-FFF2-40B4-BE49-F238E27FC236}">
                <a16:creationId xmlns:a16="http://schemas.microsoft.com/office/drawing/2014/main" id="{037F64E4-9BF8-7759-4953-5937CD89340E}"/>
              </a:ext>
            </a:extLst>
          </p:cNvPr>
          <p:cNvCxnSpPr>
            <a:cxnSpLocks/>
          </p:cNvCxnSpPr>
          <p:nvPr/>
        </p:nvCxnSpPr>
        <p:spPr>
          <a:xfrm flipV="1">
            <a:off x="3816301" y="4366314"/>
            <a:ext cx="1681222" cy="3245"/>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123" name="Прямая соединительная линия 122">
            <a:extLst>
              <a:ext uri="{FF2B5EF4-FFF2-40B4-BE49-F238E27FC236}">
                <a16:creationId xmlns:a16="http://schemas.microsoft.com/office/drawing/2014/main" id="{037F64E4-9BF8-7759-4953-5937CD89340E}"/>
              </a:ext>
            </a:extLst>
          </p:cNvPr>
          <p:cNvCxnSpPr>
            <a:cxnSpLocks/>
          </p:cNvCxnSpPr>
          <p:nvPr/>
        </p:nvCxnSpPr>
        <p:spPr>
          <a:xfrm flipH="1">
            <a:off x="5796312" y="3918513"/>
            <a:ext cx="1463109" cy="3409"/>
          </a:xfrm>
          <a:prstGeom prst="line">
            <a:avLst/>
          </a:prstGeom>
          <a:ln/>
        </p:spPr>
        <p:style>
          <a:lnRef idx="1">
            <a:schemeClr val="accent1"/>
          </a:lnRef>
          <a:fillRef idx="0">
            <a:schemeClr val="accent1"/>
          </a:fillRef>
          <a:effectRef idx="0">
            <a:schemeClr val="accent1"/>
          </a:effectRef>
          <a:fontRef idx="minor">
            <a:schemeClr val="tx1"/>
          </a:fontRef>
        </p:style>
      </p:cxnSp>
      <p:sp>
        <p:nvSpPr>
          <p:cNvPr id="135" name="Овал 134">
            <a:extLst>
              <a:ext uri="{FF2B5EF4-FFF2-40B4-BE49-F238E27FC236}">
                <a16:creationId xmlns:a16="http://schemas.microsoft.com/office/drawing/2014/main" id="{5D9D9519-A08D-F3E9-E30D-6D6B875450BF}"/>
              </a:ext>
            </a:extLst>
          </p:cNvPr>
          <p:cNvSpPr/>
          <p:nvPr/>
        </p:nvSpPr>
        <p:spPr>
          <a:xfrm>
            <a:off x="8010268" y="4758475"/>
            <a:ext cx="79326" cy="79434"/>
          </a:xfrm>
          <a:prstGeom prst="ellipse">
            <a:avLst/>
          </a:prstGeom>
          <a:solidFill>
            <a:schemeClr val="tx2">
              <a:lumMod val="25000"/>
              <a:lumOff val="75000"/>
            </a:schemeClr>
          </a:solidFill>
          <a:ln>
            <a:solidFill>
              <a:schemeClr val="tx2">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cxnSp>
        <p:nvCxnSpPr>
          <p:cNvPr id="136" name="Прямая соединительная линия 135">
            <a:extLst>
              <a:ext uri="{FF2B5EF4-FFF2-40B4-BE49-F238E27FC236}">
                <a16:creationId xmlns:a16="http://schemas.microsoft.com/office/drawing/2014/main" id="{8EB7148B-66EC-A110-679C-76BC30D4CC1F}"/>
              </a:ext>
            </a:extLst>
          </p:cNvPr>
          <p:cNvCxnSpPr>
            <a:cxnSpLocks/>
            <a:stCxn id="135" idx="5"/>
          </p:cNvCxnSpPr>
          <p:nvPr/>
        </p:nvCxnSpPr>
        <p:spPr>
          <a:xfrm>
            <a:off x="8077977" y="4826276"/>
            <a:ext cx="1268030" cy="929136"/>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139" name="Прямая соединительная линия 138">
            <a:extLst>
              <a:ext uri="{FF2B5EF4-FFF2-40B4-BE49-F238E27FC236}">
                <a16:creationId xmlns:a16="http://schemas.microsoft.com/office/drawing/2014/main" id="{595F5CAD-A35F-AE1E-639E-6E6F33D6C5A2}"/>
              </a:ext>
            </a:extLst>
          </p:cNvPr>
          <p:cNvCxnSpPr>
            <a:cxnSpLocks/>
          </p:cNvCxnSpPr>
          <p:nvPr/>
        </p:nvCxnSpPr>
        <p:spPr>
          <a:xfrm>
            <a:off x="6620988" y="5819990"/>
            <a:ext cx="1802588" cy="0"/>
          </a:xfrm>
          <a:prstGeom prst="line">
            <a:avLst/>
          </a:prstGeom>
          <a:ln/>
        </p:spPr>
        <p:style>
          <a:lnRef idx="1">
            <a:schemeClr val="accent1"/>
          </a:lnRef>
          <a:fillRef idx="0">
            <a:schemeClr val="accent1"/>
          </a:fillRef>
          <a:effectRef idx="0">
            <a:schemeClr val="accent1"/>
          </a:effectRef>
          <a:fontRef idx="minor">
            <a:schemeClr val="tx1"/>
          </a:fontRef>
        </p:style>
      </p:cxnSp>
      <p:sp>
        <p:nvSpPr>
          <p:cNvPr id="141" name="Овал 140">
            <a:extLst>
              <a:ext uri="{FF2B5EF4-FFF2-40B4-BE49-F238E27FC236}">
                <a16:creationId xmlns:a16="http://schemas.microsoft.com/office/drawing/2014/main" id="{04432409-7D44-6B1C-4CD4-961098C6CEB4}"/>
              </a:ext>
            </a:extLst>
          </p:cNvPr>
          <p:cNvSpPr/>
          <p:nvPr/>
        </p:nvSpPr>
        <p:spPr>
          <a:xfrm>
            <a:off x="8383110" y="5745887"/>
            <a:ext cx="143820" cy="151442"/>
          </a:xfrm>
          <a:prstGeom prst="ellipse">
            <a:avLst/>
          </a:prstGeom>
          <a:solidFill>
            <a:schemeClr val="tx2">
              <a:lumMod val="75000"/>
              <a:lumOff val="25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51" name="Овал 150">
            <a:extLst>
              <a:ext uri="{FF2B5EF4-FFF2-40B4-BE49-F238E27FC236}">
                <a16:creationId xmlns:a16="http://schemas.microsoft.com/office/drawing/2014/main" id="{04432409-7D44-6B1C-4CD4-961098C6CEB4}"/>
              </a:ext>
            </a:extLst>
          </p:cNvPr>
          <p:cNvSpPr/>
          <p:nvPr/>
        </p:nvSpPr>
        <p:spPr>
          <a:xfrm>
            <a:off x="11445338" y="2989911"/>
            <a:ext cx="143820" cy="151442"/>
          </a:xfrm>
          <a:prstGeom prst="ellipse">
            <a:avLst/>
          </a:prstGeom>
          <a:solidFill>
            <a:schemeClr val="tx2">
              <a:lumMod val="75000"/>
              <a:lumOff val="25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cxnSp>
        <p:nvCxnSpPr>
          <p:cNvPr id="152" name="Прямая соединительная линия 151">
            <a:extLst>
              <a:ext uri="{FF2B5EF4-FFF2-40B4-BE49-F238E27FC236}">
                <a16:creationId xmlns:a16="http://schemas.microsoft.com/office/drawing/2014/main" id="{D64E9A8F-5589-B713-798A-7F6A6D4C9951}"/>
              </a:ext>
            </a:extLst>
          </p:cNvPr>
          <p:cNvCxnSpPr>
            <a:cxnSpLocks/>
          </p:cNvCxnSpPr>
          <p:nvPr/>
        </p:nvCxnSpPr>
        <p:spPr>
          <a:xfrm flipV="1">
            <a:off x="9975782" y="3068193"/>
            <a:ext cx="1517532" cy="4262"/>
          </a:xfrm>
          <a:prstGeom prst="line">
            <a:avLst/>
          </a:prstGeom>
          <a:ln/>
        </p:spPr>
        <p:style>
          <a:lnRef idx="1">
            <a:schemeClr val="accent1"/>
          </a:lnRef>
          <a:fillRef idx="0">
            <a:schemeClr val="accent1"/>
          </a:fillRef>
          <a:effectRef idx="0">
            <a:schemeClr val="accent1"/>
          </a:effectRef>
          <a:fontRef idx="minor">
            <a:schemeClr val="tx1"/>
          </a:fontRef>
        </p:style>
      </p:cxnSp>
      <p:sp>
        <p:nvSpPr>
          <p:cNvPr id="154" name="Овал 153">
            <a:extLst>
              <a:ext uri="{FF2B5EF4-FFF2-40B4-BE49-F238E27FC236}">
                <a16:creationId xmlns:a16="http://schemas.microsoft.com/office/drawing/2014/main" id="{4BB15CDB-F0D8-7325-4AA2-B72718C174BB}"/>
              </a:ext>
            </a:extLst>
          </p:cNvPr>
          <p:cNvSpPr/>
          <p:nvPr/>
        </p:nvSpPr>
        <p:spPr>
          <a:xfrm>
            <a:off x="5756334" y="3874410"/>
            <a:ext cx="79326" cy="79434"/>
          </a:xfrm>
          <a:prstGeom prst="ellipse">
            <a:avLst/>
          </a:prstGeom>
          <a:solidFill>
            <a:schemeClr val="tx2">
              <a:lumMod val="25000"/>
              <a:lumOff val="75000"/>
            </a:schemeClr>
          </a:solidFill>
          <a:ln>
            <a:solidFill>
              <a:schemeClr val="tx2">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55" name="Овал 154">
            <a:extLst>
              <a:ext uri="{FF2B5EF4-FFF2-40B4-BE49-F238E27FC236}">
                <a16:creationId xmlns:a16="http://schemas.microsoft.com/office/drawing/2014/main" id="{4BB15CDB-F0D8-7325-4AA2-B72718C174BB}"/>
              </a:ext>
            </a:extLst>
          </p:cNvPr>
          <p:cNvSpPr/>
          <p:nvPr/>
        </p:nvSpPr>
        <p:spPr>
          <a:xfrm>
            <a:off x="7064111" y="3053705"/>
            <a:ext cx="79326" cy="79434"/>
          </a:xfrm>
          <a:prstGeom prst="ellipse">
            <a:avLst/>
          </a:prstGeom>
          <a:solidFill>
            <a:schemeClr val="tx2">
              <a:lumMod val="25000"/>
              <a:lumOff val="75000"/>
            </a:schemeClr>
          </a:solidFill>
          <a:ln>
            <a:solidFill>
              <a:schemeClr val="tx2">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57" name="Овал 156">
            <a:extLst>
              <a:ext uri="{FF2B5EF4-FFF2-40B4-BE49-F238E27FC236}">
                <a16:creationId xmlns:a16="http://schemas.microsoft.com/office/drawing/2014/main" id="{7BE9362C-3642-079C-AC17-45B6719004B3}"/>
              </a:ext>
            </a:extLst>
          </p:cNvPr>
          <p:cNvSpPr/>
          <p:nvPr/>
        </p:nvSpPr>
        <p:spPr>
          <a:xfrm>
            <a:off x="9171712" y="2866292"/>
            <a:ext cx="79326" cy="79434"/>
          </a:xfrm>
          <a:prstGeom prst="ellipse">
            <a:avLst/>
          </a:prstGeom>
          <a:solidFill>
            <a:schemeClr val="tx2">
              <a:lumMod val="25000"/>
              <a:lumOff val="75000"/>
            </a:schemeClr>
          </a:solidFill>
          <a:ln>
            <a:solidFill>
              <a:schemeClr val="tx2">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cxnSp>
        <p:nvCxnSpPr>
          <p:cNvPr id="158" name="Прямая соединительная линия 157">
            <a:extLst>
              <a:ext uri="{FF2B5EF4-FFF2-40B4-BE49-F238E27FC236}">
                <a16:creationId xmlns:a16="http://schemas.microsoft.com/office/drawing/2014/main" id="{C36FFD53-BCD0-0A0A-1B6E-87E1E7FFDDE9}"/>
              </a:ext>
            </a:extLst>
          </p:cNvPr>
          <p:cNvCxnSpPr>
            <a:cxnSpLocks/>
            <a:stCxn id="157" idx="6"/>
          </p:cNvCxnSpPr>
          <p:nvPr/>
        </p:nvCxnSpPr>
        <p:spPr>
          <a:xfrm flipV="1">
            <a:off x="9251038" y="1871028"/>
            <a:ext cx="1017835" cy="1034981"/>
          </a:xfrm>
          <a:prstGeom prst="line">
            <a:avLst/>
          </a:prstGeom>
          <a:ln/>
        </p:spPr>
        <p:style>
          <a:lnRef idx="1">
            <a:schemeClr val="accent1"/>
          </a:lnRef>
          <a:fillRef idx="0">
            <a:schemeClr val="accent1"/>
          </a:fillRef>
          <a:effectRef idx="0">
            <a:schemeClr val="accent1"/>
          </a:effectRef>
          <a:fontRef idx="minor">
            <a:schemeClr val="tx1"/>
          </a:fontRef>
        </p:style>
      </p:cxnSp>
      <p:sp>
        <p:nvSpPr>
          <p:cNvPr id="160" name="Овал 159">
            <a:extLst>
              <a:ext uri="{FF2B5EF4-FFF2-40B4-BE49-F238E27FC236}">
                <a16:creationId xmlns:a16="http://schemas.microsoft.com/office/drawing/2014/main" id="{04432409-7D44-6B1C-4CD4-961098C6CEB4}"/>
              </a:ext>
            </a:extLst>
          </p:cNvPr>
          <p:cNvSpPr/>
          <p:nvPr/>
        </p:nvSpPr>
        <p:spPr>
          <a:xfrm>
            <a:off x="11738429" y="1784268"/>
            <a:ext cx="143820" cy="151442"/>
          </a:xfrm>
          <a:prstGeom prst="ellipse">
            <a:avLst/>
          </a:prstGeom>
          <a:solidFill>
            <a:schemeClr val="tx2">
              <a:lumMod val="75000"/>
              <a:lumOff val="25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cxnSp>
        <p:nvCxnSpPr>
          <p:cNvPr id="161" name="Прямая соединительная линия 160">
            <a:extLst>
              <a:ext uri="{FF2B5EF4-FFF2-40B4-BE49-F238E27FC236}">
                <a16:creationId xmlns:a16="http://schemas.microsoft.com/office/drawing/2014/main" id="{D64E9A8F-5589-B713-798A-7F6A6D4C9951}"/>
              </a:ext>
            </a:extLst>
          </p:cNvPr>
          <p:cNvCxnSpPr>
            <a:cxnSpLocks/>
          </p:cNvCxnSpPr>
          <p:nvPr/>
        </p:nvCxnSpPr>
        <p:spPr>
          <a:xfrm flipV="1">
            <a:off x="10268873" y="1862550"/>
            <a:ext cx="1517532" cy="4262"/>
          </a:xfrm>
          <a:prstGeom prst="line">
            <a:avLst/>
          </a:prstGeom>
          <a:ln/>
        </p:spPr>
        <p:style>
          <a:lnRef idx="1">
            <a:schemeClr val="accent1"/>
          </a:lnRef>
          <a:fillRef idx="0">
            <a:schemeClr val="accent1"/>
          </a:fillRef>
          <a:effectRef idx="0">
            <a:schemeClr val="accent1"/>
          </a:effectRef>
          <a:fontRef idx="minor">
            <a:schemeClr val="tx1"/>
          </a:fontRef>
        </p:style>
      </p:cxnSp>
      <p:sp>
        <p:nvSpPr>
          <p:cNvPr id="164" name="Овал 163">
            <a:extLst>
              <a:ext uri="{FF2B5EF4-FFF2-40B4-BE49-F238E27FC236}">
                <a16:creationId xmlns:a16="http://schemas.microsoft.com/office/drawing/2014/main" id="{7BE9362C-3642-079C-AC17-45B6719004B3}"/>
              </a:ext>
            </a:extLst>
          </p:cNvPr>
          <p:cNvSpPr/>
          <p:nvPr/>
        </p:nvSpPr>
        <p:spPr>
          <a:xfrm>
            <a:off x="7622538" y="2289875"/>
            <a:ext cx="79326" cy="79434"/>
          </a:xfrm>
          <a:prstGeom prst="ellipse">
            <a:avLst/>
          </a:prstGeom>
          <a:solidFill>
            <a:schemeClr val="tx2">
              <a:lumMod val="25000"/>
              <a:lumOff val="75000"/>
            </a:schemeClr>
          </a:solidFill>
          <a:ln>
            <a:solidFill>
              <a:schemeClr val="tx2">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cxnSp>
        <p:nvCxnSpPr>
          <p:cNvPr id="165" name="Прямая соединительная линия 164">
            <a:extLst>
              <a:ext uri="{FF2B5EF4-FFF2-40B4-BE49-F238E27FC236}">
                <a16:creationId xmlns:a16="http://schemas.microsoft.com/office/drawing/2014/main" id="{C36FFD53-BCD0-0A0A-1B6E-87E1E7FFDDE9}"/>
              </a:ext>
            </a:extLst>
          </p:cNvPr>
          <p:cNvCxnSpPr>
            <a:cxnSpLocks/>
            <a:stCxn id="164" idx="7"/>
          </p:cNvCxnSpPr>
          <p:nvPr/>
        </p:nvCxnSpPr>
        <p:spPr>
          <a:xfrm flipV="1">
            <a:off x="7690247" y="1215519"/>
            <a:ext cx="980126" cy="1085989"/>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166" name="Прямая соединительная линия 165">
            <a:extLst>
              <a:ext uri="{FF2B5EF4-FFF2-40B4-BE49-F238E27FC236}">
                <a16:creationId xmlns:a16="http://schemas.microsoft.com/office/drawing/2014/main" id="{D64E9A8F-5589-B713-798A-7F6A6D4C9951}"/>
              </a:ext>
            </a:extLst>
          </p:cNvPr>
          <p:cNvCxnSpPr>
            <a:cxnSpLocks/>
          </p:cNvCxnSpPr>
          <p:nvPr/>
        </p:nvCxnSpPr>
        <p:spPr>
          <a:xfrm flipV="1">
            <a:off x="8660361" y="1216325"/>
            <a:ext cx="1517532" cy="4262"/>
          </a:xfrm>
          <a:prstGeom prst="line">
            <a:avLst/>
          </a:prstGeom>
          <a:ln/>
        </p:spPr>
        <p:style>
          <a:lnRef idx="1">
            <a:schemeClr val="accent1"/>
          </a:lnRef>
          <a:fillRef idx="0">
            <a:schemeClr val="accent1"/>
          </a:fillRef>
          <a:effectRef idx="0">
            <a:schemeClr val="accent1"/>
          </a:effectRef>
          <a:fontRef idx="minor">
            <a:schemeClr val="tx1"/>
          </a:fontRef>
        </p:style>
      </p:cxnSp>
      <p:sp>
        <p:nvSpPr>
          <p:cNvPr id="167" name="Овал 166">
            <a:extLst>
              <a:ext uri="{FF2B5EF4-FFF2-40B4-BE49-F238E27FC236}">
                <a16:creationId xmlns:a16="http://schemas.microsoft.com/office/drawing/2014/main" id="{04432409-7D44-6B1C-4CD4-961098C6CEB4}"/>
              </a:ext>
            </a:extLst>
          </p:cNvPr>
          <p:cNvSpPr/>
          <p:nvPr/>
        </p:nvSpPr>
        <p:spPr>
          <a:xfrm>
            <a:off x="10155664" y="1137555"/>
            <a:ext cx="143820" cy="151442"/>
          </a:xfrm>
          <a:prstGeom prst="ellipse">
            <a:avLst/>
          </a:prstGeom>
          <a:solidFill>
            <a:schemeClr val="tx2">
              <a:lumMod val="75000"/>
              <a:lumOff val="25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cxnSp>
        <p:nvCxnSpPr>
          <p:cNvPr id="169" name="Прямая соединительная линия 168">
            <a:extLst>
              <a:ext uri="{FF2B5EF4-FFF2-40B4-BE49-F238E27FC236}">
                <a16:creationId xmlns:a16="http://schemas.microsoft.com/office/drawing/2014/main" id="{614AFC19-732F-C947-8E20-445420301B9C}"/>
              </a:ext>
            </a:extLst>
          </p:cNvPr>
          <p:cNvCxnSpPr>
            <a:cxnSpLocks/>
          </p:cNvCxnSpPr>
          <p:nvPr/>
        </p:nvCxnSpPr>
        <p:spPr>
          <a:xfrm>
            <a:off x="3711215" y="2289502"/>
            <a:ext cx="1756011" cy="2478"/>
          </a:xfrm>
          <a:prstGeom prst="line">
            <a:avLst/>
          </a:prstGeom>
          <a:ln/>
        </p:spPr>
        <p:style>
          <a:lnRef idx="1">
            <a:schemeClr val="accent1"/>
          </a:lnRef>
          <a:fillRef idx="0">
            <a:schemeClr val="accent1"/>
          </a:fillRef>
          <a:effectRef idx="0">
            <a:schemeClr val="accent1"/>
          </a:effectRef>
          <a:fontRef idx="minor">
            <a:schemeClr val="tx1"/>
          </a:fontRef>
        </p:style>
      </p:cxnSp>
      <p:sp>
        <p:nvSpPr>
          <p:cNvPr id="170" name="Овал 169">
            <a:extLst>
              <a:ext uri="{FF2B5EF4-FFF2-40B4-BE49-F238E27FC236}">
                <a16:creationId xmlns:a16="http://schemas.microsoft.com/office/drawing/2014/main" id="{4BB15CDB-F0D8-7325-4AA2-B72718C174BB}"/>
              </a:ext>
            </a:extLst>
          </p:cNvPr>
          <p:cNvSpPr/>
          <p:nvPr/>
        </p:nvSpPr>
        <p:spPr>
          <a:xfrm>
            <a:off x="5444740" y="2244182"/>
            <a:ext cx="79326" cy="79434"/>
          </a:xfrm>
          <a:prstGeom prst="ellipse">
            <a:avLst/>
          </a:prstGeom>
          <a:solidFill>
            <a:schemeClr val="tx2">
              <a:lumMod val="25000"/>
              <a:lumOff val="75000"/>
            </a:schemeClr>
          </a:solidFill>
          <a:ln>
            <a:solidFill>
              <a:schemeClr val="tx2">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cxnSp>
        <p:nvCxnSpPr>
          <p:cNvPr id="175" name="Прямая соединительная линия 174">
            <a:extLst>
              <a:ext uri="{FF2B5EF4-FFF2-40B4-BE49-F238E27FC236}">
                <a16:creationId xmlns:a16="http://schemas.microsoft.com/office/drawing/2014/main" id="{F5AA0FE2-CA14-A17E-0DB1-029CF83BA396}"/>
              </a:ext>
            </a:extLst>
          </p:cNvPr>
          <p:cNvCxnSpPr>
            <a:cxnSpLocks/>
          </p:cNvCxnSpPr>
          <p:nvPr/>
        </p:nvCxnSpPr>
        <p:spPr>
          <a:xfrm flipH="1" flipV="1">
            <a:off x="3543474" y="1079562"/>
            <a:ext cx="3012564" cy="1473467"/>
          </a:xfrm>
          <a:prstGeom prst="line">
            <a:avLst/>
          </a:prstGeom>
          <a:ln/>
        </p:spPr>
        <p:style>
          <a:lnRef idx="1">
            <a:schemeClr val="accent1"/>
          </a:lnRef>
          <a:fillRef idx="0">
            <a:schemeClr val="accent1"/>
          </a:fillRef>
          <a:effectRef idx="0">
            <a:schemeClr val="accent1"/>
          </a:effectRef>
          <a:fontRef idx="minor">
            <a:schemeClr val="tx1"/>
          </a:fontRef>
        </p:style>
      </p:cxnSp>
      <p:sp>
        <p:nvSpPr>
          <p:cNvPr id="177" name="Овал 176">
            <a:extLst>
              <a:ext uri="{FF2B5EF4-FFF2-40B4-BE49-F238E27FC236}">
                <a16:creationId xmlns:a16="http://schemas.microsoft.com/office/drawing/2014/main" id="{7DA8356C-CEBE-1B61-7071-D2EC262C9767}"/>
              </a:ext>
            </a:extLst>
          </p:cNvPr>
          <p:cNvSpPr/>
          <p:nvPr/>
        </p:nvSpPr>
        <p:spPr>
          <a:xfrm>
            <a:off x="2091771" y="993684"/>
            <a:ext cx="143820" cy="151442"/>
          </a:xfrm>
          <a:prstGeom prst="ellipse">
            <a:avLst/>
          </a:prstGeom>
          <a:solidFill>
            <a:schemeClr val="tx2">
              <a:lumMod val="75000"/>
              <a:lumOff val="25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cxnSp>
        <p:nvCxnSpPr>
          <p:cNvPr id="180" name="Прямая соединительная линия 179">
            <a:extLst>
              <a:ext uri="{FF2B5EF4-FFF2-40B4-BE49-F238E27FC236}">
                <a16:creationId xmlns:a16="http://schemas.microsoft.com/office/drawing/2014/main" id="{614AFC19-732F-C947-8E20-445420301B9C}"/>
              </a:ext>
            </a:extLst>
          </p:cNvPr>
          <p:cNvCxnSpPr>
            <a:cxnSpLocks/>
          </p:cNvCxnSpPr>
          <p:nvPr/>
        </p:nvCxnSpPr>
        <p:spPr>
          <a:xfrm>
            <a:off x="5493462" y="1036567"/>
            <a:ext cx="1902278" cy="6667"/>
          </a:xfrm>
          <a:prstGeom prst="line">
            <a:avLst/>
          </a:prstGeom>
          <a:ln/>
        </p:spPr>
        <p:style>
          <a:lnRef idx="1">
            <a:schemeClr val="accent1"/>
          </a:lnRef>
          <a:fillRef idx="0">
            <a:schemeClr val="accent1"/>
          </a:fillRef>
          <a:effectRef idx="0">
            <a:schemeClr val="accent1"/>
          </a:effectRef>
          <a:fontRef idx="minor">
            <a:schemeClr val="tx1"/>
          </a:fontRef>
        </p:style>
      </p:cxnSp>
      <p:sp>
        <p:nvSpPr>
          <p:cNvPr id="183" name="Овал 182">
            <a:extLst>
              <a:ext uri="{FF2B5EF4-FFF2-40B4-BE49-F238E27FC236}">
                <a16:creationId xmlns:a16="http://schemas.microsoft.com/office/drawing/2014/main" id="{5663D345-D275-AA0B-0D46-26C1D20186B9}"/>
              </a:ext>
            </a:extLst>
          </p:cNvPr>
          <p:cNvSpPr/>
          <p:nvPr/>
        </p:nvSpPr>
        <p:spPr>
          <a:xfrm>
            <a:off x="6864320" y="1967939"/>
            <a:ext cx="79326" cy="79434"/>
          </a:xfrm>
          <a:prstGeom prst="ellipse">
            <a:avLst/>
          </a:prstGeom>
          <a:solidFill>
            <a:schemeClr val="tx2">
              <a:lumMod val="25000"/>
              <a:lumOff val="75000"/>
            </a:schemeClr>
          </a:solidFill>
          <a:ln>
            <a:solidFill>
              <a:schemeClr val="tx2">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84" name="Овал 183">
            <a:extLst>
              <a:ext uri="{FF2B5EF4-FFF2-40B4-BE49-F238E27FC236}">
                <a16:creationId xmlns:a16="http://schemas.microsoft.com/office/drawing/2014/main" id="{4BB15CDB-F0D8-7325-4AA2-B72718C174BB}"/>
              </a:ext>
            </a:extLst>
          </p:cNvPr>
          <p:cNvSpPr/>
          <p:nvPr/>
        </p:nvSpPr>
        <p:spPr>
          <a:xfrm>
            <a:off x="5473914" y="4326597"/>
            <a:ext cx="79326" cy="79434"/>
          </a:xfrm>
          <a:prstGeom prst="ellipse">
            <a:avLst/>
          </a:prstGeom>
          <a:solidFill>
            <a:schemeClr val="tx2">
              <a:lumMod val="25000"/>
              <a:lumOff val="75000"/>
            </a:schemeClr>
          </a:solidFill>
          <a:ln>
            <a:solidFill>
              <a:schemeClr val="tx2">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17" name="TextBox 116">
            <a:extLst>
              <a:ext uri="{FF2B5EF4-FFF2-40B4-BE49-F238E27FC236}">
                <a16:creationId xmlns:a16="http://schemas.microsoft.com/office/drawing/2014/main" id="{F025FF22-CCD3-7FD6-3962-CFEBDE44D511}"/>
              </a:ext>
            </a:extLst>
          </p:cNvPr>
          <p:cNvSpPr txBox="1"/>
          <p:nvPr/>
        </p:nvSpPr>
        <p:spPr>
          <a:xfrm>
            <a:off x="-1" y="6642556"/>
            <a:ext cx="11658041"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Arial" panose="020B0604020202020204" pitchFamily="34" charset="0"/>
              </a:rPr>
              <a:t>Source</a:t>
            </a:r>
            <a:r>
              <a:rPr kumimoji="0" lang="ru-RU" sz="8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Arial" panose="020B0604020202020204" pitchFamily="34" charset="0"/>
              </a:rPr>
              <a:t>: </a:t>
            </a:r>
            <a:r>
              <a:rPr kumimoji="0" lang="en-US" sz="8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Ministry of Agriculture of the Republic of Kazakhstan, Committee for land resources management of the Ministry of Agriculture of the Republic of Kazakhstan</a:t>
            </a:r>
          </a:p>
        </p:txBody>
      </p:sp>
    </p:spTree>
    <p:extLst>
      <p:ext uri="{BB962C8B-B14F-4D97-AF65-F5344CB8AC3E}">
        <p14:creationId xmlns:p14="http://schemas.microsoft.com/office/powerpoint/2010/main" val="17167354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E14FBD-E0C7-33B5-ECC5-97A7AC6D599C}"/>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4EC99CBC-F567-21D3-FDBA-8F57D36A20D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Слайд think-cell" r:id="rId3" imgW="7772400" imgH="10058400" progId="TCLayout.ActiveDocument.1">
                  <p:embed/>
                </p:oleObj>
              </mc:Choice>
              <mc:Fallback>
                <p:oleObj name="Слайд think-cell" r:id="rId3" imgW="7772400" imgH="10058400" progId="TCLayout.ActiveDocument.1">
                  <p:embed/>
                  <p:pic>
                    <p:nvPicPr>
                      <p:cNvPr id="15" name="think-cell data - do not delete" hidden="1">
                        <a:extLst>
                          <a:ext uri="{FF2B5EF4-FFF2-40B4-BE49-F238E27FC236}">
                            <a16:creationId xmlns:a16="http://schemas.microsoft.com/office/drawing/2014/main" id="{4EC99CBC-F567-21D3-FDBA-8F57D36A20D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graphicFrame>
        <p:nvGraphicFramePr>
          <p:cNvPr id="2" name="Таблица 1">
            <a:extLst>
              <a:ext uri="{FF2B5EF4-FFF2-40B4-BE49-F238E27FC236}">
                <a16:creationId xmlns:a16="http://schemas.microsoft.com/office/drawing/2014/main" id="{11766C29-45F6-3788-8923-16C4969CA08A}"/>
              </a:ext>
            </a:extLst>
          </p:cNvPr>
          <p:cNvGraphicFramePr>
            <a:graphicFrameLocks noGrp="1"/>
          </p:cNvGraphicFramePr>
          <p:nvPr/>
        </p:nvGraphicFramePr>
        <p:xfrm>
          <a:off x="3831238" y="1347161"/>
          <a:ext cx="5093730" cy="1548411"/>
        </p:xfrm>
        <a:graphic>
          <a:graphicData uri="http://schemas.openxmlformats.org/drawingml/2006/table">
            <a:tbl>
              <a:tblPr firstRow="1" bandRow="1">
                <a:tableStyleId>{D27102A9-8310-4765-A935-A1911B00CA55}</a:tableStyleId>
              </a:tblPr>
              <a:tblGrid>
                <a:gridCol w="2546865">
                  <a:extLst>
                    <a:ext uri="{9D8B030D-6E8A-4147-A177-3AD203B41FA5}">
                      <a16:colId xmlns:a16="http://schemas.microsoft.com/office/drawing/2014/main" val="3994739958"/>
                    </a:ext>
                  </a:extLst>
                </a:gridCol>
                <a:gridCol w="2546865">
                  <a:extLst>
                    <a:ext uri="{9D8B030D-6E8A-4147-A177-3AD203B41FA5}">
                      <a16:colId xmlns:a16="http://schemas.microsoft.com/office/drawing/2014/main" val="3161345546"/>
                    </a:ext>
                  </a:extLst>
                </a:gridCol>
              </a:tblGrid>
              <a:tr h="257275">
                <a:tc>
                  <a:txBody>
                    <a:bodyPr/>
                    <a:lstStyle/>
                    <a:p>
                      <a:pPr algn="ctr"/>
                      <a:r>
                        <a:rPr lang="en-US" sz="1200" b="1" kern="1200" dirty="0">
                          <a:solidFill>
                            <a:srgbClr val="0E2841">
                              <a:lumMod val="75000"/>
                              <a:lumOff val="25000"/>
                            </a:srgbClr>
                          </a:solidFill>
                          <a:latin typeface="Century Gothic" panose="020B0502020202020204" pitchFamily="34" charset="0"/>
                          <a:ea typeface="+mn-ea"/>
                          <a:cs typeface="Arial" panose="020B0604020202020204" pitchFamily="34" charset="0"/>
                        </a:rPr>
                        <a:t>Agricultural land</a:t>
                      </a:r>
                      <a:endParaRPr lang="en-US" sz="1200" dirty="0">
                        <a:solidFill>
                          <a:schemeClr val="tx1">
                            <a:lumMod val="65000"/>
                            <a:lumOff val="35000"/>
                          </a:schemeClr>
                        </a:solidFill>
                        <a:latin typeface="Century Gothic" panose="020B0502020202020204" pitchFamily="34" charset="0"/>
                      </a:endParaRPr>
                    </a:p>
                  </a:txBody>
                  <a:tcP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noFill/>
                  </a:tcPr>
                </a:tc>
                <a:tc>
                  <a:txBody>
                    <a:bodyPr/>
                    <a:lstStyle/>
                    <a:p>
                      <a:pPr algn="ctr"/>
                      <a:r>
                        <a:rPr lang="en-US" sz="1200" b="1" kern="1200" dirty="0">
                          <a:solidFill>
                            <a:srgbClr val="0E2841">
                              <a:lumMod val="75000"/>
                              <a:lumOff val="25000"/>
                            </a:srgbClr>
                          </a:solidFill>
                          <a:latin typeface="Century Gothic" panose="020B0502020202020204" pitchFamily="34" charset="0"/>
                          <a:ea typeface="+mn-ea"/>
                          <a:cs typeface="Arial" panose="020B0604020202020204" pitchFamily="34" charset="0"/>
                        </a:rPr>
                        <a:t>Arable land</a:t>
                      </a:r>
                    </a:p>
                  </a:txBody>
                  <a:tcP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noFill/>
                  </a:tcPr>
                </a:tc>
                <a:extLst>
                  <a:ext uri="{0D108BD9-81ED-4DB2-BD59-A6C34878D82A}">
                    <a16:rowId xmlns:a16="http://schemas.microsoft.com/office/drawing/2014/main" val="496286616"/>
                  </a:ext>
                </a:extLst>
              </a:tr>
              <a:tr h="999771">
                <a:tc>
                  <a:txBody>
                    <a:bodyPr/>
                    <a:lstStyle/>
                    <a:p>
                      <a:pPr algn="just"/>
                      <a:r>
                        <a:rPr lang="en-US" sz="1200" b="0" u="none" strike="noStrike" kern="1200" dirty="0">
                          <a:solidFill>
                            <a:schemeClr val="tx1">
                              <a:lumMod val="65000"/>
                              <a:lumOff val="35000"/>
                            </a:schemeClr>
                          </a:solidFill>
                          <a:effectLst/>
                          <a:latin typeface="Century Gothic" panose="020B0502020202020204" pitchFamily="34" charset="0"/>
                        </a:rPr>
                        <a:t>land used for growing agricultural crops or grazing livestock</a:t>
                      </a:r>
                      <a:endParaRPr lang="en-US" sz="1200" dirty="0">
                        <a:solidFill>
                          <a:schemeClr val="tx1">
                            <a:lumMod val="65000"/>
                            <a:lumOff val="35000"/>
                          </a:schemeClr>
                        </a:solidFill>
                        <a:latin typeface="Century Gothic" panose="020B0502020202020204" pitchFamily="34" charset="0"/>
                      </a:endParaRPr>
                    </a:p>
                  </a:txBody>
                  <a:tcP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9050" cap="flat" cmpd="sng" algn="ctr">
                      <a:solidFill>
                        <a:schemeClr val="tx2">
                          <a:lumMod val="90000"/>
                          <a:lumOff val="10000"/>
                        </a:schemeClr>
                      </a:solidFill>
                      <a:prstDash val="solid"/>
                      <a:round/>
                      <a:headEnd type="none" w="med" len="med"/>
                      <a:tailEnd type="none" w="med" len="med"/>
                    </a:lnB>
                    <a:noFill/>
                  </a:tcPr>
                </a:tc>
                <a:tc>
                  <a:txBody>
                    <a:bodyPr/>
                    <a:lstStyle/>
                    <a:p>
                      <a:pPr algn="just"/>
                      <a:r>
                        <a:rPr lang="en-US" sz="1200" b="0" u="none" strike="noStrike" kern="1200" dirty="0">
                          <a:solidFill>
                            <a:schemeClr val="tx1">
                              <a:lumMod val="65000"/>
                              <a:lumOff val="35000"/>
                            </a:schemeClr>
                          </a:solidFill>
                          <a:effectLst/>
                          <a:latin typeface="Century Gothic" panose="020B0502020202020204" pitchFamily="34" charset="0"/>
                        </a:rPr>
                        <a:t>a plot of land regularly cultivated for sowing agricultural crops</a:t>
                      </a:r>
                      <a:endParaRPr lang="en-US" sz="1200" dirty="0">
                        <a:solidFill>
                          <a:schemeClr val="tx1">
                            <a:lumMod val="65000"/>
                            <a:lumOff val="35000"/>
                          </a:schemeClr>
                        </a:solidFill>
                        <a:latin typeface="Century Gothic" panose="020B0502020202020204" pitchFamily="34" charset="0"/>
                      </a:endParaRPr>
                    </a:p>
                  </a:txBody>
                  <a:tcP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9050" cap="flat" cmpd="sng" algn="ctr">
                      <a:solidFill>
                        <a:schemeClr val="tx2">
                          <a:lumMod val="90000"/>
                          <a:lumOff val="10000"/>
                        </a:schemeClr>
                      </a:solidFill>
                      <a:prstDash val="solid"/>
                      <a:round/>
                      <a:headEnd type="none" w="med" len="med"/>
                      <a:tailEnd type="none" w="med" len="med"/>
                    </a:lnB>
                    <a:noFill/>
                  </a:tcPr>
                </a:tc>
                <a:extLst>
                  <a:ext uri="{0D108BD9-81ED-4DB2-BD59-A6C34878D82A}">
                    <a16:rowId xmlns:a16="http://schemas.microsoft.com/office/drawing/2014/main" val="553691498"/>
                  </a:ext>
                </a:extLst>
              </a:tr>
              <a:tr h="257275">
                <a:tc>
                  <a:txBody>
                    <a:bodyPr/>
                    <a:lstStyle/>
                    <a:p>
                      <a:pPr algn="ctr"/>
                      <a:r>
                        <a:rPr lang="en-US" sz="1200" b="1" dirty="0">
                          <a:solidFill>
                            <a:schemeClr val="tx1">
                              <a:lumMod val="65000"/>
                              <a:lumOff val="35000"/>
                            </a:schemeClr>
                          </a:solidFill>
                          <a:latin typeface="Century Gothic" panose="020B0502020202020204" pitchFamily="34" charset="0"/>
                        </a:rPr>
                        <a:t>213,6 million ha</a:t>
                      </a:r>
                    </a:p>
                  </a:txBody>
                  <a:tcPr>
                    <a:lnL w="19050" cap="flat" cmpd="sng" algn="ctr">
                      <a:solidFill>
                        <a:schemeClr val="tx2">
                          <a:lumMod val="90000"/>
                          <a:lumOff val="10000"/>
                        </a:schemeClr>
                      </a:solidFill>
                      <a:prstDash val="solid"/>
                      <a:round/>
                      <a:headEnd type="none" w="med" len="med"/>
                      <a:tailEnd type="none" w="med" len="med"/>
                    </a:lnL>
                    <a:lnR w="19050" cap="flat" cmpd="sng" algn="ctr">
                      <a:solidFill>
                        <a:schemeClr val="tx2">
                          <a:lumMod val="90000"/>
                          <a:lumOff val="10000"/>
                        </a:schemeClr>
                      </a:solidFill>
                      <a:prstDash val="solid"/>
                      <a:round/>
                      <a:headEnd type="none" w="med" len="med"/>
                      <a:tailEnd type="none" w="med" len="med"/>
                    </a:lnR>
                    <a:lnT w="19050" cap="flat" cmpd="sng" algn="ctr">
                      <a:solidFill>
                        <a:schemeClr val="tx2">
                          <a:lumMod val="90000"/>
                          <a:lumOff val="10000"/>
                        </a:schemeClr>
                      </a:solidFill>
                      <a:prstDash val="solid"/>
                      <a:round/>
                      <a:headEnd type="none" w="med" len="med"/>
                      <a:tailEnd type="none" w="med" len="med"/>
                    </a:lnT>
                    <a:lnB w="19050" cap="flat" cmpd="sng" algn="ctr">
                      <a:solidFill>
                        <a:schemeClr val="tx2">
                          <a:lumMod val="90000"/>
                          <a:lumOff val="10000"/>
                        </a:schemeClr>
                      </a:solidFill>
                      <a:prstDash val="solid"/>
                      <a:round/>
                      <a:headEnd type="none" w="med" len="med"/>
                      <a:tailEnd type="none" w="med" len="med"/>
                    </a:lnB>
                    <a:solidFill>
                      <a:schemeClr val="tx2">
                        <a:lumMod val="10000"/>
                        <a:lumOff val="90000"/>
                      </a:schemeClr>
                    </a:solidFill>
                  </a:tcPr>
                </a:tc>
                <a:tc>
                  <a:txBody>
                    <a:bodyPr/>
                    <a:lstStyle/>
                    <a:p>
                      <a:pPr algn="ctr"/>
                      <a:r>
                        <a:rPr lang="en-US" sz="1200" b="1" dirty="0">
                          <a:solidFill>
                            <a:schemeClr val="tx1">
                              <a:lumMod val="65000"/>
                              <a:lumOff val="35000"/>
                            </a:schemeClr>
                          </a:solidFill>
                          <a:latin typeface="Century Gothic" panose="020B0502020202020204" pitchFamily="34" charset="0"/>
                        </a:rPr>
                        <a:t>27,8</a:t>
                      </a:r>
                      <a:r>
                        <a:rPr lang="ru-RU" sz="1200" b="1" dirty="0">
                          <a:solidFill>
                            <a:schemeClr val="tx1">
                              <a:lumMod val="65000"/>
                              <a:lumOff val="35000"/>
                            </a:schemeClr>
                          </a:solidFill>
                          <a:latin typeface="Century Gothic" panose="020B0502020202020204" pitchFamily="34" charset="0"/>
                        </a:rPr>
                        <a:t> </a:t>
                      </a:r>
                      <a:r>
                        <a:rPr lang="en-US" sz="1200" b="1" dirty="0">
                          <a:solidFill>
                            <a:schemeClr val="tx1">
                              <a:lumMod val="65000"/>
                              <a:lumOff val="35000"/>
                            </a:schemeClr>
                          </a:solidFill>
                          <a:latin typeface="Century Gothic" panose="020B0502020202020204" pitchFamily="34" charset="0"/>
                        </a:rPr>
                        <a:t>million ha</a:t>
                      </a:r>
                      <a:endParaRPr lang="en-US" sz="1200" dirty="0">
                        <a:solidFill>
                          <a:schemeClr val="tx1">
                            <a:lumMod val="65000"/>
                            <a:lumOff val="35000"/>
                          </a:schemeClr>
                        </a:solidFill>
                        <a:latin typeface="Century Gothic" panose="020B0502020202020204" pitchFamily="34" charset="0"/>
                      </a:endParaRPr>
                    </a:p>
                  </a:txBody>
                  <a:tcPr>
                    <a:lnL w="19050" cap="flat" cmpd="sng" algn="ctr">
                      <a:solidFill>
                        <a:schemeClr val="tx2">
                          <a:lumMod val="90000"/>
                          <a:lumOff val="10000"/>
                        </a:schemeClr>
                      </a:solidFill>
                      <a:prstDash val="solid"/>
                      <a:round/>
                      <a:headEnd type="none" w="med" len="med"/>
                      <a:tailEnd type="none" w="med" len="med"/>
                    </a:lnL>
                    <a:lnR w="19050" cap="flat" cmpd="sng" algn="ctr">
                      <a:solidFill>
                        <a:schemeClr val="tx2">
                          <a:lumMod val="90000"/>
                          <a:lumOff val="10000"/>
                        </a:schemeClr>
                      </a:solidFill>
                      <a:prstDash val="solid"/>
                      <a:round/>
                      <a:headEnd type="none" w="med" len="med"/>
                      <a:tailEnd type="none" w="med" len="med"/>
                    </a:lnR>
                    <a:lnT w="19050" cap="flat" cmpd="sng" algn="ctr">
                      <a:solidFill>
                        <a:schemeClr val="tx2">
                          <a:lumMod val="90000"/>
                          <a:lumOff val="10000"/>
                        </a:schemeClr>
                      </a:solidFill>
                      <a:prstDash val="solid"/>
                      <a:round/>
                      <a:headEnd type="none" w="med" len="med"/>
                      <a:tailEnd type="none" w="med" len="med"/>
                    </a:lnT>
                    <a:lnB w="19050" cap="flat" cmpd="sng" algn="ctr">
                      <a:solidFill>
                        <a:schemeClr val="tx2">
                          <a:lumMod val="90000"/>
                          <a:lumOff val="10000"/>
                        </a:schemeClr>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3077927863"/>
                  </a:ext>
                </a:extLst>
              </a:tr>
            </a:tbl>
          </a:graphicData>
        </a:graphic>
      </p:graphicFrame>
      <p:graphicFrame>
        <p:nvGraphicFramePr>
          <p:cNvPr id="4" name="Таблица 3">
            <a:extLst>
              <a:ext uri="{FF2B5EF4-FFF2-40B4-BE49-F238E27FC236}">
                <a16:creationId xmlns:a16="http://schemas.microsoft.com/office/drawing/2014/main" id="{74BD8391-2FE1-68CA-FAD2-5E7947B2C7DB}"/>
              </a:ext>
            </a:extLst>
          </p:cNvPr>
          <p:cNvGraphicFramePr>
            <a:graphicFrameLocks noGrp="1"/>
          </p:cNvGraphicFramePr>
          <p:nvPr/>
        </p:nvGraphicFramePr>
        <p:xfrm>
          <a:off x="644572" y="3155010"/>
          <a:ext cx="10945091" cy="3326392"/>
        </p:xfrm>
        <a:graphic>
          <a:graphicData uri="http://schemas.openxmlformats.org/drawingml/2006/table">
            <a:tbl>
              <a:tblPr firstRow="1" bandRow="1">
                <a:tableStyleId>{C4B1156A-380E-4F78-BDF5-A606A8083BF9}</a:tableStyleId>
              </a:tblPr>
              <a:tblGrid>
                <a:gridCol w="1928553">
                  <a:extLst>
                    <a:ext uri="{9D8B030D-6E8A-4147-A177-3AD203B41FA5}">
                      <a16:colId xmlns:a16="http://schemas.microsoft.com/office/drawing/2014/main" val="1535273376"/>
                    </a:ext>
                  </a:extLst>
                </a:gridCol>
                <a:gridCol w="1330036">
                  <a:extLst>
                    <a:ext uri="{9D8B030D-6E8A-4147-A177-3AD203B41FA5}">
                      <a16:colId xmlns:a16="http://schemas.microsoft.com/office/drawing/2014/main" val="1889963615"/>
                    </a:ext>
                  </a:extLst>
                </a:gridCol>
                <a:gridCol w="1213658">
                  <a:extLst>
                    <a:ext uri="{9D8B030D-6E8A-4147-A177-3AD203B41FA5}">
                      <a16:colId xmlns:a16="http://schemas.microsoft.com/office/drawing/2014/main" val="34246937"/>
                    </a:ext>
                  </a:extLst>
                </a:gridCol>
                <a:gridCol w="1571106">
                  <a:extLst>
                    <a:ext uri="{9D8B030D-6E8A-4147-A177-3AD203B41FA5}">
                      <a16:colId xmlns:a16="http://schemas.microsoft.com/office/drawing/2014/main" val="1775744934"/>
                    </a:ext>
                  </a:extLst>
                </a:gridCol>
                <a:gridCol w="1650147">
                  <a:extLst>
                    <a:ext uri="{9D8B030D-6E8A-4147-A177-3AD203B41FA5}">
                      <a16:colId xmlns:a16="http://schemas.microsoft.com/office/drawing/2014/main" val="2565099095"/>
                    </a:ext>
                  </a:extLst>
                </a:gridCol>
                <a:gridCol w="1794164">
                  <a:extLst>
                    <a:ext uri="{9D8B030D-6E8A-4147-A177-3AD203B41FA5}">
                      <a16:colId xmlns:a16="http://schemas.microsoft.com/office/drawing/2014/main" val="1998214608"/>
                    </a:ext>
                  </a:extLst>
                </a:gridCol>
                <a:gridCol w="1457427">
                  <a:extLst>
                    <a:ext uri="{9D8B030D-6E8A-4147-A177-3AD203B41FA5}">
                      <a16:colId xmlns:a16="http://schemas.microsoft.com/office/drawing/2014/main" val="2069393288"/>
                    </a:ext>
                  </a:extLst>
                </a:gridCol>
              </a:tblGrid>
              <a:tr h="701436">
                <a:tc>
                  <a:txBody>
                    <a:bodyPr/>
                    <a:lstStyle/>
                    <a:p>
                      <a:pPr algn="ctr"/>
                      <a:r>
                        <a:rPr lang="en-US" sz="1200" b="1" kern="1200" dirty="0">
                          <a:solidFill>
                            <a:srgbClr val="0E2841">
                              <a:lumMod val="75000"/>
                              <a:lumOff val="25000"/>
                            </a:srgbClr>
                          </a:solidFill>
                          <a:latin typeface="Century Gothic" panose="020B0502020202020204" pitchFamily="34" charset="0"/>
                          <a:ea typeface="+mn-ea"/>
                          <a:cs typeface="Arial" panose="020B0604020202020204" pitchFamily="34" charset="0"/>
                        </a:rPr>
                        <a:t>Without negative characteristics</a:t>
                      </a:r>
                    </a:p>
                  </a:txBody>
                  <a:tcP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noFill/>
                  </a:tcPr>
                </a:tc>
                <a:tc>
                  <a:txBody>
                    <a:bodyPr/>
                    <a:lstStyle/>
                    <a:p>
                      <a:pPr marL="0" algn="ctr" defTabSz="914400" rtl="0" eaLnBrk="1" latinLnBrk="0" hangingPunct="1"/>
                      <a:r>
                        <a:rPr lang="en-US" sz="1200" b="1" kern="1200" dirty="0">
                          <a:solidFill>
                            <a:srgbClr val="0E2841">
                              <a:lumMod val="75000"/>
                              <a:lumOff val="25000"/>
                            </a:srgbClr>
                          </a:solidFill>
                          <a:latin typeface="Century Gothic" panose="020B0502020202020204" pitchFamily="34" charset="0"/>
                          <a:ea typeface="+mn-ea"/>
                          <a:cs typeface="Arial" panose="020B0604020202020204" pitchFamily="34" charset="0"/>
                        </a:rPr>
                        <a:t>Stony</a:t>
                      </a:r>
                    </a:p>
                  </a:txBody>
                  <a:tcP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noFill/>
                  </a:tcPr>
                </a:tc>
                <a:tc>
                  <a:txBody>
                    <a:bodyPr/>
                    <a:lstStyle/>
                    <a:p>
                      <a:pPr algn="ctr"/>
                      <a:r>
                        <a:rPr lang="en-US" sz="1200" b="1" kern="1200" dirty="0">
                          <a:solidFill>
                            <a:srgbClr val="0E2841">
                              <a:lumMod val="75000"/>
                              <a:lumOff val="25000"/>
                            </a:srgbClr>
                          </a:solidFill>
                          <a:latin typeface="Century Gothic" panose="020B0502020202020204" pitchFamily="34" charset="0"/>
                          <a:ea typeface="+mn-ea"/>
                          <a:cs typeface="Arial" panose="020B0604020202020204" pitchFamily="34" charset="0"/>
                        </a:rPr>
                        <a:t>Saline</a:t>
                      </a:r>
                    </a:p>
                  </a:txBody>
                  <a:tcP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noFill/>
                  </a:tcPr>
                </a:tc>
                <a:tc>
                  <a:txBody>
                    <a:bodyPr/>
                    <a:lstStyle/>
                    <a:p>
                      <a:pPr algn="ctr"/>
                      <a:r>
                        <a:rPr lang="en-US" sz="1200" b="1" kern="1200" dirty="0" err="1">
                          <a:solidFill>
                            <a:srgbClr val="0E2841">
                              <a:lumMod val="75000"/>
                              <a:lumOff val="25000"/>
                            </a:srgbClr>
                          </a:solidFill>
                          <a:latin typeface="Century Gothic" panose="020B0502020202020204" pitchFamily="34" charset="0"/>
                          <a:ea typeface="+mn-ea"/>
                          <a:cs typeface="Arial" panose="020B0604020202020204" pitchFamily="34" charset="0"/>
                        </a:rPr>
                        <a:t>Solonetz</a:t>
                      </a:r>
                      <a:r>
                        <a:rPr lang="en-US" sz="1200" b="1" kern="1200" dirty="0">
                          <a:solidFill>
                            <a:srgbClr val="0E2841">
                              <a:lumMod val="75000"/>
                              <a:lumOff val="25000"/>
                            </a:srgbClr>
                          </a:solidFill>
                          <a:latin typeface="Century Gothic" panose="020B0502020202020204" pitchFamily="34" charset="0"/>
                          <a:ea typeface="+mn-ea"/>
                          <a:cs typeface="Arial" panose="020B0604020202020204" pitchFamily="34" charset="0"/>
                        </a:rPr>
                        <a:t> soils</a:t>
                      </a:r>
                    </a:p>
                  </a:txBody>
                  <a:tcP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noFill/>
                  </a:tcPr>
                </a:tc>
                <a:tc>
                  <a:txBody>
                    <a:bodyPr/>
                    <a:lstStyle/>
                    <a:p>
                      <a:pPr marL="0" algn="ctr" defTabSz="914400" rtl="0" eaLnBrk="1" latinLnBrk="0" hangingPunct="1"/>
                      <a:r>
                        <a:rPr lang="en-US" sz="1200" b="1" kern="1200" dirty="0">
                          <a:solidFill>
                            <a:srgbClr val="0E2841">
                              <a:lumMod val="75000"/>
                              <a:lumOff val="25000"/>
                            </a:srgbClr>
                          </a:solidFill>
                          <a:latin typeface="Century Gothic" panose="020B0502020202020204" pitchFamily="34" charset="0"/>
                          <a:ea typeface="+mn-ea"/>
                          <a:cs typeface="Arial" panose="020B0604020202020204" pitchFamily="34" charset="0"/>
                        </a:rPr>
                        <a:t>Eroded</a:t>
                      </a:r>
                    </a:p>
                  </a:txBody>
                  <a:tcP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noFill/>
                  </a:tcPr>
                </a:tc>
                <a:tc>
                  <a:txBody>
                    <a:bodyPr/>
                    <a:lstStyle/>
                    <a:p>
                      <a:pPr marL="0" algn="ctr" defTabSz="914400" rtl="0" eaLnBrk="1" latinLnBrk="0" hangingPunct="1"/>
                      <a:r>
                        <a:rPr lang="en-US" sz="1200" b="1" kern="1200" dirty="0">
                          <a:solidFill>
                            <a:srgbClr val="0E2841">
                              <a:lumMod val="75000"/>
                              <a:lumOff val="25000"/>
                            </a:srgbClr>
                          </a:solidFill>
                          <a:latin typeface="Century Gothic" panose="020B0502020202020204" pitchFamily="34" charset="0"/>
                          <a:ea typeface="+mn-ea"/>
                          <a:cs typeface="Arial" panose="020B0604020202020204" pitchFamily="34" charset="0"/>
                        </a:rPr>
                        <a:t>Waterlogged and swampy</a:t>
                      </a:r>
                    </a:p>
                  </a:txBody>
                  <a:tcP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noFill/>
                  </a:tcPr>
                </a:tc>
                <a:tc>
                  <a:txBody>
                    <a:bodyPr/>
                    <a:lstStyle/>
                    <a:p>
                      <a:pPr marL="0" algn="ctr" defTabSz="914400" rtl="0" eaLnBrk="1" latinLnBrk="0" hangingPunct="1"/>
                      <a:r>
                        <a:rPr lang="en-US" sz="1200" b="1" kern="1200" dirty="0">
                          <a:solidFill>
                            <a:srgbClr val="0E2841">
                              <a:lumMod val="75000"/>
                              <a:lumOff val="25000"/>
                            </a:srgbClr>
                          </a:solidFill>
                          <a:latin typeface="Century Gothic" panose="020B0502020202020204" pitchFamily="34" charset="0"/>
                          <a:ea typeface="+mn-ea"/>
                          <a:cs typeface="Arial" panose="020B0604020202020204" pitchFamily="34" charset="0"/>
                        </a:rPr>
                        <a:t>Other</a:t>
                      </a:r>
                    </a:p>
                  </a:txBody>
                  <a:tcP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noFill/>
                  </a:tcPr>
                </a:tc>
                <a:extLst>
                  <a:ext uri="{0D108BD9-81ED-4DB2-BD59-A6C34878D82A}">
                    <a16:rowId xmlns:a16="http://schemas.microsoft.com/office/drawing/2014/main" val="3257650345"/>
                  </a:ext>
                </a:extLst>
              </a:tr>
              <a:tr h="1782804">
                <a:tc>
                  <a:txBody>
                    <a:bodyPr/>
                    <a:lstStyle/>
                    <a:p>
                      <a:pPr algn="just"/>
                      <a:r>
                        <a:rPr lang="en-US" sz="1200" b="0" i="0" u="none" strike="noStrike" kern="1200" dirty="0">
                          <a:solidFill>
                            <a:schemeClr val="tx1">
                              <a:lumMod val="65000"/>
                              <a:lumOff val="35000"/>
                            </a:schemeClr>
                          </a:solidFill>
                          <a:effectLst/>
                          <a:latin typeface="Century Gothic" panose="020B0502020202020204" pitchFamily="34" charset="0"/>
                          <a:ea typeface="+mn-ea"/>
                          <a:cs typeface="+mn-cs"/>
                        </a:rPr>
                        <a:t>land free from natural or man-made constraints, suitable for agricultural use</a:t>
                      </a:r>
                      <a:endParaRPr lang="en-US" sz="1200" dirty="0">
                        <a:solidFill>
                          <a:schemeClr val="tx1">
                            <a:lumMod val="65000"/>
                            <a:lumOff val="35000"/>
                          </a:schemeClr>
                        </a:solidFill>
                        <a:latin typeface="Century Gothic" panose="020B0502020202020204" pitchFamily="34" charset="0"/>
                      </a:endParaRPr>
                    </a:p>
                  </a:txBody>
                  <a:tcP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9050" cap="flat" cmpd="sng" algn="ctr">
                      <a:solidFill>
                        <a:schemeClr val="tx2">
                          <a:lumMod val="90000"/>
                          <a:lumOff val="10000"/>
                        </a:schemeClr>
                      </a:solidFill>
                      <a:prstDash val="solid"/>
                      <a:round/>
                      <a:headEnd type="none" w="med" len="med"/>
                      <a:tailEnd type="none" w="med" len="med"/>
                    </a:lnB>
                    <a:noFill/>
                  </a:tcPr>
                </a:tc>
                <a:tc>
                  <a:txBody>
                    <a:bodyPr/>
                    <a:lstStyle/>
                    <a:p>
                      <a:pPr algn="just"/>
                      <a:r>
                        <a:rPr lang="en-US" sz="1200" b="0" i="0" u="none" strike="noStrike" kern="1200" dirty="0">
                          <a:solidFill>
                            <a:schemeClr val="tx1">
                              <a:lumMod val="65000"/>
                              <a:lumOff val="35000"/>
                            </a:schemeClr>
                          </a:solidFill>
                          <a:effectLst/>
                          <a:latin typeface="Century Gothic" panose="020B0502020202020204" pitchFamily="34" charset="0"/>
                          <a:ea typeface="+mn-ea"/>
                          <a:cs typeface="+mn-cs"/>
                        </a:rPr>
                        <a:t>land with a high content of gravel, which complicates cultivation and reduces yields</a:t>
                      </a:r>
                      <a:endParaRPr lang="en-US" sz="1200" dirty="0">
                        <a:solidFill>
                          <a:schemeClr val="tx1">
                            <a:lumMod val="65000"/>
                            <a:lumOff val="35000"/>
                          </a:schemeClr>
                        </a:solidFill>
                        <a:latin typeface="Century Gothic" panose="020B0502020202020204" pitchFamily="34" charset="0"/>
                      </a:endParaRPr>
                    </a:p>
                  </a:txBody>
                  <a:tcP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9050" cap="flat" cmpd="sng" algn="ctr">
                      <a:solidFill>
                        <a:schemeClr val="tx2">
                          <a:lumMod val="90000"/>
                          <a:lumOff val="10000"/>
                        </a:schemeClr>
                      </a:solidFill>
                      <a:prstDash val="solid"/>
                      <a:round/>
                      <a:headEnd type="none" w="med" len="med"/>
                      <a:tailEnd type="none" w="med" len="med"/>
                    </a:lnB>
                    <a:noFill/>
                  </a:tcPr>
                </a:tc>
                <a:tc>
                  <a:txBody>
                    <a:bodyPr/>
                    <a:lstStyle/>
                    <a:p>
                      <a:pPr algn="just"/>
                      <a:r>
                        <a:rPr lang="en-US" sz="1200" b="0" i="0" u="none" strike="noStrike" kern="1200" dirty="0">
                          <a:solidFill>
                            <a:schemeClr val="tx1">
                              <a:lumMod val="65000"/>
                              <a:lumOff val="35000"/>
                            </a:schemeClr>
                          </a:solidFill>
                          <a:effectLst/>
                          <a:latin typeface="Century Gothic" panose="020B0502020202020204" pitchFamily="34" charset="0"/>
                          <a:ea typeface="+mn-ea"/>
                          <a:cs typeface="+mn-cs"/>
                        </a:rPr>
                        <a:t>land with an excess of salts in the soil, which hinders plant growth and reduces yields</a:t>
                      </a:r>
                      <a:endParaRPr lang="en-US" sz="1200" dirty="0">
                        <a:solidFill>
                          <a:schemeClr val="tx1">
                            <a:lumMod val="65000"/>
                            <a:lumOff val="35000"/>
                          </a:schemeClr>
                        </a:solidFill>
                        <a:latin typeface="Century Gothic" panose="020B0502020202020204" pitchFamily="34" charset="0"/>
                      </a:endParaRPr>
                    </a:p>
                  </a:txBody>
                  <a:tcP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9050" cap="flat" cmpd="sng" algn="ctr">
                      <a:solidFill>
                        <a:schemeClr val="tx2">
                          <a:lumMod val="90000"/>
                          <a:lumOff val="10000"/>
                        </a:schemeClr>
                      </a:solidFill>
                      <a:prstDash val="solid"/>
                      <a:round/>
                      <a:headEnd type="none" w="med" len="med"/>
                      <a:tailEnd type="none" w="med" len="med"/>
                    </a:lnB>
                    <a:noFill/>
                  </a:tcPr>
                </a:tc>
                <a:tc>
                  <a:txBody>
                    <a:bodyPr/>
                    <a:lstStyle/>
                    <a:p>
                      <a:pPr algn="just"/>
                      <a:r>
                        <a:rPr lang="en-US" sz="1200" b="0" i="0" u="none" strike="noStrike" kern="1200" dirty="0">
                          <a:solidFill>
                            <a:schemeClr val="tx1">
                              <a:lumMod val="65000"/>
                              <a:lumOff val="35000"/>
                            </a:schemeClr>
                          </a:solidFill>
                          <a:effectLst/>
                          <a:latin typeface="Century Gothic" panose="020B0502020202020204" pitchFamily="34" charset="0"/>
                          <a:ea typeface="+mn-ea"/>
                          <a:cs typeface="+mn-cs"/>
                        </a:rPr>
                        <a:t>dense soils with excessive sodium content, poorly permeable to water and air, with low fertility</a:t>
                      </a:r>
                      <a:endParaRPr lang="en-US" sz="1200" dirty="0">
                        <a:solidFill>
                          <a:schemeClr val="tx1">
                            <a:lumMod val="65000"/>
                            <a:lumOff val="35000"/>
                          </a:schemeClr>
                        </a:solidFill>
                        <a:latin typeface="Century Gothic" panose="020B0502020202020204" pitchFamily="34" charset="0"/>
                      </a:endParaRPr>
                    </a:p>
                  </a:txBody>
                  <a:tcP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9050" cap="flat" cmpd="sng" algn="ctr">
                      <a:solidFill>
                        <a:schemeClr val="tx2">
                          <a:lumMod val="90000"/>
                          <a:lumOff val="10000"/>
                        </a:schemeClr>
                      </a:solidFill>
                      <a:prstDash val="solid"/>
                      <a:round/>
                      <a:headEnd type="none" w="med" len="med"/>
                      <a:tailEnd type="none" w="med" len="med"/>
                    </a:lnB>
                    <a:noFill/>
                  </a:tcPr>
                </a:tc>
                <a:tc>
                  <a:txBody>
                    <a:bodyPr/>
                    <a:lstStyle/>
                    <a:p>
                      <a:pPr algn="just"/>
                      <a:r>
                        <a:rPr lang="en-US" sz="1200" b="0" i="0" u="none" strike="noStrike" kern="1200" dirty="0">
                          <a:solidFill>
                            <a:schemeClr val="tx1">
                              <a:lumMod val="65000"/>
                              <a:lumOff val="35000"/>
                            </a:schemeClr>
                          </a:solidFill>
                          <a:effectLst/>
                          <a:latin typeface="Century Gothic" panose="020B0502020202020204" pitchFamily="34" charset="0"/>
                          <a:ea typeface="+mn-ea"/>
                          <a:cs typeface="+mn-cs"/>
                        </a:rPr>
                        <a:t>land where the top fertile layer has been removed by water or wind, reducing productivity</a:t>
                      </a:r>
                      <a:endParaRPr lang="en-US" sz="1200" dirty="0">
                        <a:solidFill>
                          <a:schemeClr val="tx1">
                            <a:lumMod val="65000"/>
                            <a:lumOff val="35000"/>
                          </a:schemeClr>
                        </a:solidFill>
                        <a:latin typeface="Century Gothic" panose="020B0502020202020204" pitchFamily="34" charset="0"/>
                      </a:endParaRPr>
                    </a:p>
                  </a:txBody>
                  <a:tcP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9050" cap="flat" cmpd="sng" algn="ctr">
                      <a:solidFill>
                        <a:schemeClr val="tx2">
                          <a:lumMod val="90000"/>
                          <a:lumOff val="10000"/>
                        </a:schemeClr>
                      </a:solidFill>
                      <a:prstDash val="solid"/>
                      <a:round/>
                      <a:headEnd type="none" w="med" len="med"/>
                      <a:tailEnd type="none" w="med" len="med"/>
                    </a:lnB>
                    <a:noFill/>
                  </a:tcPr>
                </a:tc>
                <a:tc>
                  <a:txBody>
                    <a:bodyPr/>
                    <a:lstStyle/>
                    <a:p>
                      <a:pPr algn="just"/>
                      <a:r>
                        <a:rPr lang="en-US" sz="1200" b="0" i="0" u="none" strike="noStrike" kern="1200" dirty="0">
                          <a:solidFill>
                            <a:schemeClr val="tx1">
                              <a:lumMod val="65000"/>
                              <a:lumOff val="35000"/>
                            </a:schemeClr>
                          </a:solidFill>
                          <a:effectLst/>
                          <a:latin typeface="Century Gothic" panose="020B0502020202020204" pitchFamily="34" charset="0"/>
                          <a:ea typeface="+mn-ea"/>
                          <a:cs typeface="+mn-cs"/>
                        </a:rPr>
                        <a:t>land with excess moisture, often with stagnant water, which interferes with crop cultivation and reduces agricultural suitability</a:t>
                      </a:r>
                      <a:endParaRPr lang="en-US" sz="1200" dirty="0">
                        <a:solidFill>
                          <a:schemeClr val="tx1">
                            <a:lumMod val="65000"/>
                            <a:lumOff val="35000"/>
                          </a:schemeClr>
                        </a:solidFill>
                        <a:latin typeface="Century Gothic" panose="020B0502020202020204" pitchFamily="34" charset="0"/>
                      </a:endParaRPr>
                    </a:p>
                  </a:txBody>
                  <a:tcP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9050" cap="flat" cmpd="sng" algn="ctr">
                      <a:solidFill>
                        <a:schemeClr val="tx2">
                          <a:lumMod val="90000"/>
                          <a:lumOff val="10000"/>
                        </a:schemeClr>
                      </a:solidFill>
                      <a:prstDash val="solid"/>
                      <a:round/>
                      <a:headEnd type="none" w="med" len="med"/>
                      <a:tailEnd type="none" w="med" len="med"/>
                    </a:lnB>
                    <a:noFill/>
                  </a:tcPr>
                </a:tc>
                <a:tc>
                  <a:txBody>
                    <a:bodyPr/>
                    <a:lstStyle/>
                    <a:p>
                      <a:pPr algn="just"/>
                      <a:r>
                        <a:rPr lang="en-US" sz="1200" b="0" i="0" u="none" strike="noStrike" kern="1200" dirty="0">
                          <a:solidFill>
                            <a:schemeClr val="tx1">
                              <a:lumMod val="65000"/>
                              <a:lumOff val="35000"/>
                            </a:schemeClr>
                          </a:solidFill>
                          <a:effectLst/>
                          <a:latin typeface="Century Gothic" panose="020B0502020202020204" pitchFamily="34" charset="0"/>
                          <a:ea typeface="+mn-ea"/>
                          <a:cs typeface="+mn-cs"/>
                        </a:rPr>
                        <a:t>land not included in the main categories</a:t>
                      </a:r>
                      <a:endParaRPr lang="en-US" sz="1200" dirty="0">
                        <a:solidFill>
                          <a:schemeClr val="tx1">
                            <a:lumMod val="65000"/>
                            <a:lumOff val="35000"/>
                          </a:schemeClr>
                        </a:solidFill>
                        <a:latin typeface="Century Gothic" panose="020B0502020202020204" pitchFamily="34" charset="0"/>
                      </a:endParaRPr>
                    </a:p>
                  </a:txBody>
                  <a:tcP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9050" cap="flat" cmpd="sng" algn="ctr">
                      <a:solidFill>
                        <a:schemeClr val="tx2">
                          <a:lumMod val="90000"/>
                          <a:lumOff val="10000"/>
                        </a:schemeClr>
                      </a:solidFill>
                      <a:prstDash val="solid"/>
                      <a:round/>
                      <a:headEnd type="none" w="med" len="med"/>
                      <a:tailEnd type="none" w="med" len="med"/>
                    </a:lnB>
                    <a:noFill/>
                  </a:tcPr>
                </a:tc>
                <a:extLst>
                  <a:ext uri="{0D108BD9-81ED-4DB2-BD59-A6C34878D82A}">
                    <a16:rowId xmlns:a16="http://schemas.microsoft.com/office/drawing/2014/main" val="4095275788"/>
                  </a:ext>
                </a:extLst>
              </a:tr>
              <a:tr h="38495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chemeClr val="tx1">
                              <a:lumMod val="65000"/>
                              <a:lumOff val="35000"/>
                            </a:schemeClr>
                          </a:solidFill>
                          <a:latin typeface="Century Gothic" panose="020B0502020202020204" pitchFamily="34" charset="0"/>
                        </a:rPr>
                        <a:t>41,5</a:t>
                      </a:r>
                      <a:r>
                        <a:rPr lang="ru-RU" sz="1200" b="1" dirty="0">
                          <a:solidFill>
                            <a:schemeClr val="tx1">
                              <a:lumMod val="65000"/>
                              <a:lumOff val="35000"/>
                            </a:schemeClr>
                          </a:solidFill>
                          <a:latin typeface="Century Gothic" panose="020B0502020202020204" pitchFamily="34" charset="0"/>
                        </a:rPr>
                        <a:t> </a:t>
                      </a:r>
                      <a:r>
                        <a:rPr lang="en-US" sz="1200" b="1" dirty="0">
                          <a:solidFill>
                            <a:schemeClr val="tx1">
                              <a:lumMod val="65000"/>
                              <a:lumOff val="35000"/>
                            </a:schemeClr>
                          </a:solidFill>
                          <a:latin typeface="Century Gothic" panose="020B0502020202020204" pitchFamily="34" charset="0"/>
                        </a:rPr>
                        <a:t>million</a:t>
                      </a:r>
                      <a:r>
                        <a:rPr lang="en-US" sz="1200" b="1" baseline="0" dirty="0">
                          <a:solidFill>
                            <a:schemeClr val="tx1">
                              <a:lumMod val="65000"/>
                              <a:lumOff val="35000"/>
                            </a:schemeClr>
                          </a:solidFill>
                          <a:latin typeface="Century Gothic" panose="020B0502020202020204" pitchFamily="34" charset="0"/>
                        </a:rPr>
                        <a:t> ha</a:t>
                      </a:r>
                      <a:endParaRPr lang="en-US" sz="1200" b="1" dirty="0">
                        <a:solidFill>
                          <a:schemeClr val="tx1">
                            <a:lumMod val="65000"/>
                            <a:lumOff val="35000"/>
                          </a:schemeClr>
                        </a:solidFill>
                        <a:latin typeface="Century Gothic" panose="020B0502020202020204" pitchFamily="34" charset="0"/>
                      </a:endParaRPr>
                    </a:p>
                  </a:txBody>
                  <a:tcPr anchor="ctr">
                    <a:lnL w="19050" cap="flat" cmpd="sng" algn="ctr">
                      <a:solidFill>
                        <a:schemeClr val="tx2">
                          <a:lumMod val="90000"/>
                          <a:lumOff val="10000"/>
                        </a:schemeClr>
                      </a:solidFill>
                      <a:prstDash val="solid"/>
                      <a:round/>
                      <a:headEnd type="none" w="med" len="med"/>
                      <a:tailEnd type="none" w="med" len="med"/>
                    </a:lnL>
                    <a:lnR w="19050" cap="flat" cmpd="sng" algn="ctr">
                      <a:solidFill>
                        <a:schemeClr val="tx2">
                          <a:lumMod val="90000"/>
                          <a:lumOff val="10000"/>
                        </a:schemeClr>
                      </a:solidFill>
                      <a:prstDash val="solid"/>
                      <a:round/>
                      <a:headEnd type="none" w="med" len="med"/>
                      <a:tailEnd type="none" w="med" len="med"/>
                    </a:lnR>
                    <a:lnT w="19050" cap="flat" cmpd="sng" algn="ctr">
                      <a:solidFill>
                        <a:schemeClr val="tx2">
                          <a:lumMod val="90000"/>
                          <a:lumOff val="10000"/>
                        </a:schemeClr>
                      </a:solidFill>
                      <a:prstDash val="solid"/>
                      <a:round/>
                      <a:headEnd type="none" w="med" len="med"/>
                      <a:tailEnd type="none" w="med" len="med"/>
                    </a:lnT>
                    <a:lnB w="19050" cap="flat" cmpd="sng" algn="ctr">
                      <a:solidFill>
                        <a:schemeClr val="tx2">
                          <a:lumMod val="90000"/>
                          <a:lumOff val="10000"/>
                        </a:schemeClr>
                      </a:solidFill>
                      <a:prstDash val="solid"/>
                      <a:round/>
                      <a:headEnd type="none" w="med" len="med"/>
                      <a:tailEnd type="none" w="med" len="med"/>
                    </a:lnB>
                    <a:solidFill>
                      <a:schemeClr val="tx2">
                        <a:lumMod val="10000"/>
                        <a:lumOff val="90000"/>
                      </a:schemeClr>
                    </a:solidFill>
                  </a:tcPr>
                </a:tc>
                <a:tc>
                  <a:txBody>
                    <a:bodyPr/>
                    <a:lstStyle/>
                    <a:p>
                      <a:pPr algn="ctr"/>
                      <a:r>
                        <a:rPr lang="en-US" sz="1200" b="1" dirty="0">
                          <a:solidFill>
                            <a:schemeClr val="tx1">
                              <a:lumMod val="65000"/>
                              <a:lumOff val="35000"/>
                            </a:schemeClr>
                          </a:solidFill>
                          <a:latin typeface="Century Gothic" panose="020B0502020202020204" pitchFamily="34" charset="0"/>
                        </a:rPr>
                        <a:t>58,2</a:t>
                      </a:r>
                      <a:r>
                        <a:rPr lang="ru-RU" sz="1200" b="1" dirty="0">
                          <a:solidFill>
                            <a:schemeClr val="tx1">
                              <a:lumMod val="65000"/>
                              <a:lumOff val="35000"/>
                            </a:schemeClr>
                          </a:solidFill>
                          <a:latin typeface="Century Gothic" panose="020B0502020202020204" pitchFamily="34" charset="0"/>
                        </a:rPr>
                        <a:t> </a:t>
                      </a:r>
                      <a:r>
                        <a:rPr lang="en-US" sz="1200" b="1" dirty="0">
                          <a:solidFill>
                            <a:schemeClr val="tx1">
                              <a:lumMod val="65000"/>
                              <a:lumOff val="35000"/>
                            </a:schemeClr>
                          </a:solidFill>
                          <a:latin typeface="Century Gothic" panose="020B0502020202020204" pitchFamily="34" charset="0"/>
                        </a:rPr>
                        <a:t>million ha</a:t>
                      </a:r>
                    </a:p>
                  </a:txBody>
                  <a:tcPr anchor="ctr">
                    <a:lnL w="19050" cap="flat" cmpd="sng" algn="ctr">
                      <a:solidFill>
                        <a:schemeClr val="tx2">
                          <a:lumMod val="90000"/>
                          <a:lumOff val="10000"/>
                        </a:schemeClr>
                      </a:solidFill>
                      <a:prstDash val="solid"/>
                      <a:round/>
                      <a:headEnd type="none" w="med" len="med"/>
                      <a:tailEnd type="none" w="med" len="med"/>
                    </a:lnL>
                    <a:lnR w="19050" cap="flat" cmpd="sng" algn="ctr">
                      <a:solidFill>
                        <a:schemeClr val="tx2">
                          <a:lumMod val="90000"/>
                          <a:lumOff val="10000"/>
                        </a:schemeClr>
                      </a:solidFill>
                      <a:prstDash val="solid"/>
                      <a:round/>
                      <a:headEnd type="none" w="med" len="med"/>
                      <a:tailEnd type="none" w="med" len="med"/>
                    </a:lnR>
                    <a:lnT w="19050" cap="flat" cmpd="sng" algn="ctr">
                      <a:solidFill>
                        <a:schemeClr val="tx2">
                          <a:lumMod val="90000"/>
                          <a:lumOff val="10000"/>
                        </a:schemeClr>
                      </a:solidFill>
                      <a:prstDash val="solid"/>
                      <a:round/>
                      <a:headEnd type="none" w="med" len="med"/>
                      <a:tailEnd type="none" w="med" len="med"/>
                    </a:lnT>
                    <a:lnB w="19050" cap="flat" cmpd="sng" algn="ctr">
                      <a:solidFill>
                        <a:schemeClr val="tx2">
                          <a:lumMod val="90000"/>
                          <a:lumOff val="10000"/>
                        </a:schemeClr>
                      </a:solidFill>
                      <a:prstDash val="solid"/>
                      <a:round/>
                      <a:headEnd type="none" w="med" len="med"/>
                      <a:tailEnd type="none" w="med" len="med"/>
                    </a:lnB>
                    <a:solidFill>
                      <a:schemeClr val="tx2">
                        <a:lumMod val="10000"/>
                        <a:lumOff val="90000"/>
                      </a:schemeClr>
                    </a:solidFill>
                  </a:tcPr>
                </a:tc>
                <a:tc>
                  <a:txBody>
                    <a:bodyPr/>
                    <a:lstStyle/>
                    <a:p>
                      <a:pPr algn="ctr"/>
                      <a:r>
                        <a:rPr lang="en-US" sz="1200" b="1" dirty="0">
                          <a:solidFill>
                            <a:schemeClr val="tx1">
                              <a:lumMod val="65000"/>
                              <a:lumOff val="35000"/>
                            </a:schemeClr>
                          </a:solidFill>
                          <a:latin typeface="Century Gothic" panose="020B0502020202020204" pitchFamily="34" charset="0"/>
                        </a:rPr>
                        <a:t>35,5</a:t>
                      </a:r>
                      <a:r>
                        <a:rPr lang="ru-RU" sz="1200" b="1" dirty="0">
                          <a:solidFill>
                            <a:schemeClr val="tx1">
                              <a:lumMod val="65000"/>
                              <a:lumOff val="35000"/>
                            </a:schemeClr>
                          </a:solidFill>
                          <a:latin typeface="Century Gothic" panose="020B0502020202020204" pitchFamily="34" charset="0"/>
                        </a:rPr>
                        <a:t> </a:t>
                      </a:r>
                      <a:r>
                        <a:rPr lang="en-US" sz="1200" b="1" dirty="0">
                          <a:solidFill>
                            <a:schemeClr val="tx1">
                              <a:lumMod val="65000"/>
                              <a:lumOff val="35000"/>
                            </a:schemeClr>
                          </a:solidFill>
                          <a:latin typeface="Century Gothic" panose="020B0502020202020204" pitchFamily="34" charset="0"/>
                        </a:rPr>
                        <a:t>million ha</a:t>
                      </a:r>
                    </a:p>
                  </a:txBody>
                  <a:tcPr anchor="ctr">
                    <a:lnL w="19050" cap="flat" cmpd="sng" algn="ctr">
                      <a:solidFill>
                        <a:schemeClr val="tx2">
                          <a:lumMod val="90000"/>
                          <a:lumOff val="10000"/>
                        </a:schemeClr>
                      </a:solidFill>
                      <a:prstDash val="solid"/>
                      <a:round/>
                      <a:headEnd type="none" w="med" len="med"/>
                      <a:tailEnd type="none" w="med" len="med"/>
                    </a:lnL>
                    <a:lnR w="19050" cap="flat" cmpd="sng" algn="ctr">
                      <a:solidFill>
                        <a:schemeClr val="tx2">
                          <a:lumMod val="90000"/>
                          <a:lumOff val="10000"/>
                        </a:schemeClr>
                      </a:solidFill>
                      <a:prstDash val="solid"/>
                      <a:round/>
                      <a:headEnd type="none" w="med" len="med"/>
                      <a:tailEnd type="none" w="med" len="med"/>
                    </a:lnR>
                    <a:lnT w="19050" cap="flat" cmpd="sng" algn="ctr">
                      <a:solidFill>
                        <a:schemeClr val="tx2">
                          <a:lumMod val="90000"/>
                          <a:lumOff val="10000"/>
                        </a:schemeClr>
                      </a:solidFill>
                      <a:prstDash val="solid"/>
                      <a:round/>
                      <a:headEnd type="none" w="med" len="med"/>
                      <a:tailEnd type="none" w="med" len="med"/>
                    </a:lnT>
                    <a:lnB w="19050" cap="flat" cmpd="sng" algn="ctr">
                      <a:solidFill>
                        <a:schemeClr val="tx2">
                          <a:lumMod val="90000"/>
                          <a:lumOff val="10000"/>
                        </a:schemeClr>
                      </a:solidFill>
                      <a:prstDash val="solid"/>
                      <a:round/>
                      <a:headEnd type="none" w="med" len="med"/>
                      <a:tailEnd type="none" w="med" len="med"/>
                    </a:lnB>
                    <a:solidFill>
                      <a:schemeClr val="tx2">
                        <a:lumMod val="10000"/>
                        <a:lumOff val="90000"/>
                      </a:schemeClr>
                    </a:solidFill>
                  </a:tcPr>
                </a:tc>
                <a:tc>
                  <a:txBody>
                    <a:bodyPr/>
                    <a:lstStyle/>
                    <a:p>
                      <a:pPr algn="ctr"/>
                      <a:r>
                        <a:rPr lang="en-US" sz="1200" b="1" dirty="0">
                          <a:solidFill>
                            <a:schemeClr val="tx1">
                              <a:lumMod val="65000"/>
                              <a:lumOff val="35000"/>
                            </a:schemeClr>
                          </a:solidFill>
                          <a:latin typeface="Century Gothic" panose="020B0502020202020204" pitchFamily="34" charset="0"/>
                        </a:rPr>
                        <a:t>42,2</a:t>
                      </a:r>
                      <a:r>
                        <a:rPr lang="ru-RU" sz="1200" b="1" dirty="0">
                          <a:solidFill>
                            <a:schemeClr val="tx1">
                              <a:lumMod val="65000"/>
                              <a:lumOff val="35000"/>
                            </a:schemeClr>
                          </a:solidFill>
                          <a:latin typeface="Century Gothic" panose="020B0502020202020204" pitchFamily="34" charset="0"/>
                        </a:rPr>
                        <a:t> </a:t>
                      </a:r>
                      <a:r>
                        <a:rPr lang="en-US" sz="1200" b="1" dirty="0">
                          <a:solidFill>
                            <a:schemeClr val="tx1">
                              <a:lumMod val="65000"/>
                              <a:lumOff val="35000"/>
                            </a:schemeClr>
                          </a:solidFill>
                          <a:latin typeface="Century Gothic" panose="020B0502020202020204" pitchFamily="34" charset="0"/>
                        </a:rPr>
                        <a:t>million ha</a:t>
                      </a:r>
                    </a:p>
                  </a:txBody>
                  <a:tcPr anchor="ctr">
                    <a:lnL w="19050" cap="flat" cmpd="sng" algn="ctr">
                      <a:solidFill>
                        <a:schemeClr val="tx2">
                          <a:lumMod val="90000"/>
                          <a:lumOff val="10000"/>
                        </a:schemeClr>
                      </a:solidFill>
                      <a:prstDash val="solid"/>
                      <a:round/>
                      <a:headEnd type="none" w="med" len="med"/>
                      <a:tailEnd type="none" w="med" len="med"/>
                    </a:lnL>
                    <a:lnR w="19050" cap="flat" cmpd="sng" algn="ctr">
                      <a:solidFill>
                        <a:schemeClr val="tx2">
                          <a:lumMod val="90000"/>
                          <a:lumOff val="10000"/>
                        </a:schemeClr>
                      </a:solidFill>
                      <a:prstDash val="solid"/>
                      <a:round/>
                      <a:headEnd type="none" w="med" len="med"/>
                      <a:tailEnd type="none" w="med" len="med"/>
                    </a:lnR>
                    <a:lnT w="19050" cap="flat" cmpd="sng" algn="ctr">
                      <a:solidFill>
                        <a:schemeClr val="tx2">
                          <a:lumMod val="90000"/>
                          <a:lumOff val="10000"/>
                        </a:schemeClr>
                      </a:solidFill>
                      <a:prstDash val="solid"/>
                      <a:round/>
                      <a:headEnd type="none" w="med" len="med"/>
                      <a:tailEnd type="none" w="med" len="med"/>
                    </a:lnT>
                    <a:lnB w="19050" cap="flat" cmpd="sng" algn="ctr">
                      <a:solidFill>
                        <a:schemeClr val="tx2">
                          <a:lumMod val="90000"/>
                          <a:lumOff val="10000"/>
                        </a:schemeClr>
                      </a:solidFill>
                      <a:prstDash val="solid"/>
                      <a:round/>
                      <a:headEnd type="none" w="med" len="med"/>
                      <a:tailEnd type="none" w="med" len="med"/>
                    </a:lnB>
                    <a:solidFill>
                      <a:schemeClr val="tx2">
                        <a:lumMod val="10000"/>
                        <a:lumOff val="90000"/>
                      </a:schemeClr>
                    </a:solidFill>
                  </a:tcPr>
                </a:tc>
                <a:tc>
                  <a:txBody>
                    <a:bodyPr/>
                    <a:lstStyle/>
                    <a:p>
                      <a:pPr algn="ctr"/>
                      <a:r>
                        <a:rPr lang="en-US" sz="1200" b="1" dirty="0">
                          <a:solidFill>
                            <a:schemeClr val="tx1">
                              <a:lumMod val="65000"/>
                              <a:lumOff val="35000"/>
                            </a:schemeClr>
                          </a:solidFill>
                          <a:latin typeface="Century Gothic" panose="020B0502020202020204" pitchFamily="34" charset="0"/>
                        </a:rPr>
                        <a:t>29,3</a:t>
                      </a:r>
                      <a:r>
                        <a:rPr lang="ru-RU" sz="1200" b="1" dirty="0">
                          <a:solidFill>
                            <a:schemeClr val="tx1">
                              <a:lumMod val="65000"/>
                              <a:lumOff val="35000"/>
                            </a:schemeClr>
                          </a:solidFill>
                          <a:latin typeface="Century Gothic" panose="020B0502020202020204" pitchFamily="34" charset="0"/>
                        </a:rPr>
                        <a:t> </a:t>
                      </a:r>
                      <a:r>
                        <a:rPr lang="en-US" sz="1200" b="1" dirty="0">
                          <a:solidFill>
                            <a:schemeClr val="tx1">
                              <a:lumMod val="65000"/>
                              <a:lumOff val="35000"/>
                            </a:schemeClr>
                          </a:solidFill>
                          <a:latin typeface="Century Gothic" panose="020B0502020202020204" pitchFamily="34" charset="0"/>
                        </a:rPr>
                        <a:t>million ha</a:t>
                      </a:r>
                    </a:p>
                  </a:txBody>
                  <a:tcPr anchor="ctr">
                    <a:lnL w="19050" cap="flat" cmpd="sng" algn="ctr">
                      <a:solidFill>
                        <a:schemeClr val="tx2">
                          <a:lumMod val="90000"/>
                          <a:lumOff val="10000"/>
                        </a:schemeClr>
                      </a:solidFill>
                      <a:prstDash val="solid"/>
                      <a:round/>
                      <a:headEnd type="none" w="med" len="med"/>
                      <a:tailEnd type="none" w="med" len="med"/>
                    </a:lnL>
                    <a:lnR w="19050" cap="flat" cmpd="sng" algn="ctr">
                      <a:solidFill>
                        <a:schemeClr val="tx2">
                          <a:lumMod val="90000"/>
                          <a:lumOff val="10000"/>
                        </a:schemeClr>
                      </a:solidFill>
                      <a:prstDash val="solid"/>
                      <a:round/>
                      <a:headEnd type="none" w="med" len="med"/>
                      <a:tailEnd type="none" w="med" len="med"/>
                    </a:lnR>
                    <a:lnT w="19050" cap="flat" cmpd="sng" algn="ctr">
                      <a:solidFill>
                        <a:schemeClr val="tx2">
                          <a:lumMod val="90000"/>
                          <a:lumOff val="10000"/>
                        </a:schemeClr>
                      </a:solidFill>
                      <a:prstDash val="solid"/>
                      <a:round/>
                      <a:headEnd type="none" w="med" len="med"/>
                      <a:tailEnd type="none" w="med" len="med"/>
                    </a:lnT>
                    <a:lnB w="19050" cap="flat" cmpd="sng" algn="ctr">
                      <a:solidFill>
                        <a:schemeClr val="tx2">
                          <a:lumMod val="90000"/>
                          <a:lumOff val="10000"/>
                        </a:schemeClr>
                      </a:solidFill>
                      <a:prstDash val="solid"/>
                      <a:round/>
                      <a:headEnd type="none" w="med" len="med"/>
                      <a:tailEnd type="none" w="med" len="med"/>
                    </a:lnB>
                    <a:solidFill>
                      <a:schemeClr val="tx2">
                        <a:lumMod val="10000"/>
                        <a:lumOff val="90000"/>
                      </a:schemeClr>
                    </a:solidFill>
                  </a:tcPr>
                </a:tc>
                <a:tc>
                  <a:txBody>
                    <a:bodyPr/>
                    <a:lstStyle/>
                    <a:p>
                      <a:pPr algn="ctr"/>
                      <a:r>
                        <a:rPr lang="en-US" sz="1200" b="1" dirty="0">
                          <a:solidFill>
                            <a:schemeClr val="tx1">
                              <a:lumMod val="65000"/>
                              <a:lumOff val="35000"/>
                            </a:schemeClr>
                          </a:solidFill>
                          <a:latin typeface="Century Gothic" panose="020B0502020202020204" pitchFamily="34" charset="0"/>
                        </a:rPr>
                        <a:t>3,9</a:t>
                      </a:r>
                      <a:r>
                        <a:rPr lang="ru-RU" sz="1200" b="1" dirty="0">
                          <a:solidFill>
                            <a:schemeClr val="tx1">
                              <a:lumMod val="65000"/>
                              <a:lumOff val="35000"/>
                            </a:schemeClr>
                          </a:solidFill>
                          <a:latin typeface="Century Gothic" panose="020B0502020202020204" pitchFamily="34" charset="0"/>
                        </a:rPr>
                        <a:t> </a:t>
                      </a:r>
                      <a:r>
                        <a:rPr lang="en-US" sz="1200" b="1" dirty="0">
                          <a:solidFill>
                            <a:schemeClr val="tx1">
                              <a:lumMod val="65000"/>
                              <a:lumOff val="35000"/>
                            </a:schemeClr>
                          </a:solidFill>
                          <a:latin typeface="Century Gothic" panose="020B0502020202020204" pitchFamily="34" charset="0"/>
                        </a:rPr>
                        <a:t>million ha</a:t>
                      </a:r>
                    </a:p>
                  </a:txBody>
                  <a:tcPr anchor="ctr">
                    <a:lnL w="19050" cap="flat" cmpd="sng" algn="ctr">
                      <a:solidFill>
                        <a:schemeClr val="tx2">
                          <a:lumMod val="90000"/>
                          <a:lumOff val="10000"/>
                        </a:schemeClr>
                      </a:solidFill>
                      <a:prstDash val="solid"/>
                      <a:round/>
                      <a:headEnd type="none" w="med" len="med"/>
                      <a:tailEnd type="none" w="med" len="med"/>
                    </a:lnL>
                    <a:lnR w="19050" cap="flat" cmpd="sng" algn="ctr">
                      <a:solidFill>
                        <a:schemeClr val="tx2">
                          <a:lumMod val="90000"/>
                          <a:lumOff val="10000"/>
                        </a:schemeClr>
                      </a:solidFill>
                      <a:prstDash val="solid"/>
                      <a:round/>
                      <a:headEnd type="none" w="med" len="med"/>
                      <a:tailEnd type="none" w="med" len="med"/>
                    </a:lnR>
                    <a:lnT w="19050" cap="flat" cmpd="sng" algn="ctr">
                      <a:solidFill>
                        <a:schemeClr val="tx2">
                          <a:lumMod val="90000"/>
                          <a:lumOff val="10000"/>
                        </a:schemeClr>
                      </a:solidFill>
                      <a:prstDash val="solid"/>
                      <a:round/>
                      <a:headEnd type="none" w="med" len="med"/>
                      <a:tailEnd type="none" w="med" len="med"/>
                    </a:lnT>
                    <a:lnB w="19050" cap="flat" cmpd="sng" algn="ctr">
                      <a:solidFill>
                        <a:schemeClr val="tx2">
                          <a:lumMod val="90000"/>
                          <a:lumOff val="10000"/>
                        </a:schemeClr>
                      </a:solidFill>
                      <a:prstDash val="solid"/>
                      <a:round/>
                      <a:headEnd type="none" w="med" len="med"/>
                      <a:tailEnd type="none" w="med" len="med"/>
                    </a:lnB>
                    <a:solidFill>
                      <a:schemeClr val="tx2">
                        <a:lumMod val="10000"/>
                        <a:lumOff val="90000"/>
                      </a:schemeClr>
                    </a:solidFill>
                  </a:tcPr>
                </a:tc>
                <a:tc>
                  <a:txBody>
                    <a:bodyPr/>
                    <a:lstStyle/>
                    <a:p>
                      <a:pPr algn="ctr"/>
                      <a:r>
                        <a:rPr lang="en-US" sz="1200" b="1" dirty="0">
                          <a:solidFill>
                            <a:schemeClr val="tx1">
                              <a:lumMod val="65000"/>
                              <a:lumOff val="35000"/>
                            </a:schemeClr>
                          </a:solidFill>
                          <a:latin typeface="Century Gothic" panose="020B0502020202020204" pitchFamily="34" charset="0"/>
                        </a:rPr>
                        <a:t>3,1</a:t>
                      </a:r>
                      <a:r>
                        <a:rPr lang="ru-RU" sz="1200" b="1" dirty="0">
                          <a:solidFill>
                            <a:schemeClr val="tx1">
                              <a:lumMod val="65000"/>
                              <a:lumOff val="35000"/>
                            </a:schemeClr>
                          </a:solidFill>
                          <a:latin typeface="Century Gothic" panose="020B0502020202020204" pitchFamily="34" charset="0"/>
                        </a:rPr>
                        <a:t> </a:t>
                      </a:r>
                      <a:r>
                        <a:rPr lang="en-US" sz="1200" b="1" dirty="0">
                          <a:solidFill>
                            <a:schemeClr val="tx1">
                              <a:lumMod val="65000"/>
                              <a:lumOff val="35000"/>
                            </a:schemeClr>
                          </a:solidFill>
                          <a:latin typeface="Century Gothic" panose="020B0502020202020204" pitchFamily="34" charset="0"/>
                        </a:rPr>
                        <a:t>million ha</a:t>
                      </a:r>
                    </a:p>
                  </a:txBody>
                  <a:tcPr anchor="ctr">
                    <a:lnL w="19050" cap="flat" cmpd="sng" algn="ctr">
                      <a:solidFill>
                        <a:schemeClr val="tx2">
                          <a:lumMod val="90000"/>
                          <a:lumOff val="10000"/>
                        </a:schemeClr>
                      </a:solidFill>
                      <a:prstDash val="solid"/>
                      <a:round/>
                      <a:headEnd type="none" w="med" len="med"/>
                      <a:tailEnd type="none" w="med" len="med"/>
                    </a:lnL>
                    <a:lnR w="19050" cap="flat" cmpd="sng" algn="ctr">
                      <a:solidFill>
                        <a:schemeClr val="tx2">
                          <a:lumMod val="90000"/>
                          <a:lumOff val="10000"/>
                        </a:schemeClr>
                      </a:solidFill>
                      <a:prstDash val="solid"/>
                      <a:round/>
                      <a:headEnd type="none" w="med" len="med"/>
                      <a:tailEnd type="none" w="med" len="med"/>
                    </a:lnR>
                    <a:lnT w="19050" cap="flat" cmpd="sng" algn="ctr">
                      <a:solidFill>
                        <a:schemeClr val="tx2">
                          <a:lumMod val="90000"/>
                          <a:lumOff val="10000"/>
                        </a:schemeClr>
                      </a:solidFill>
                      <a:prstDash val="solid"/>
                      <a:round/>
                      <a:headEnd type="none" w="med" len="med"/>
                      <a:tailEnd type="none" w="med" len="med"/>
                    </a:lnT>
                    <a:lnB w="19050" cap="flat" cmpd="sng" algn="ctr">
                      <a:solidFill>
                        <a:schemeClr val="tx2">
                          <a:lumMod val="90000"/>
                          <a:lumOff val="10000"/>
                        </a:schemeClr>
                      </a:solidFill>
                      <a:prstDash val="solid"/>
                      <a:round/>
                      <a:headEnd type="none" w="med" len="med"/>
                      <a:tailEnd type="none" w="med" len="med"/>
                    </a:lnB>
                    <a:solidFill>
                      <a:schemeClr val="tx2">
                        <a:lumMod val="10000"/>
                        <a:lumOff val="90000"/>
                      </a:schemeClr>
                    </a:solidFill>
                  </a:tcPr>
                </a:tc>
                <a:extLst>
                  <a:ext uri="{0D108BD9-81ED-4DB2-BD59-A6C34878D82A}">
                    <a16:rowId xmlns:a16="http://schemas.microsoft.com/office/drawing/2014/main" val="927118216"/>
                  </a:ext>
                </a:extLst>
              </a:tr>
              <a:tr h="38495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chemeClr val="tx1">
                              <a:lumMod val="65000"/>
                              <a:lumOff val="35000"/>
                            </a:schemeClr>
                          </a:solidFill>
                          <a:latin typeface="Century Gothic" panose="020B0502020202020204" pitchFamily="34" charset="0"/>
                        </a:rPr>
                        <a:t>17,3</a:t>
                      </a:r>
                      <a:r>
                        <a:rPr lang="ru-RU" sz="1200" b="1" dirty="0">
                          <a:solidFill>
                            <a:schemeClr val="tx1">
                              <a:lumMod val="65000"/>
                              <a:lumOff val="35000"/>
                            </a:schemeClr>
                          </a:solidFill>
                          <a:latin typeface="Century Gothic" panose="020B0502020202020204" pitchFamily="34" charset="0"/>
                        </a:rPr>
                        <a:t> </a:t>
                      </a:r>
                      <a:r>
                        <a:rPr lang="en-US" sz="1200" b="1" dirty="0">
                          <a:solidFill>
                            <a:schemeClr val="tx1">
                              <a:lumMod val="65000"/>
                              <a:lumOff val="35000"/>
                            </a:schemeClr>
                          </a:solidFill>
                          <a:latin typeface="Century Gothic" panose="020B0502020202020204" pitchFamily="34" charset="0"/>
                        </a:rPr>
                        <a:t>million ha</a:t>
                      </a:r>
                    </a:p>
                  </a:txBody>
                  <a:tcPr anchor="ctr">
                    <a:lnL w="19050" cap="flat" cmpd="sng" algn="ctr">
                      <a:solidFill>
                        <a:schemeClr val="tx2">
                          <a:lumMod val="90000"/>
                          <a:lumOff val="10000"/>
                        </a:schemeClr>
                      </a:solidFill>
                      <a:prstDash val="solid"/>
                      <a:round/>
                      <a:headEnd type="none" w="med" len="med"/>
                      <a:tailEnd type="none" w="med" len="med"/>
                    </a:lnL>
                    <a:lnR w="19050" cap="flat" cmpd="sng" algn="ctr">
                      <a:solidFill>
                        <a:schemeClr val="tx2">
                          <a:lumMod val="90000"/>
                          <a:lumOff val="10000"/>
                        </a:schemeClr>
                      </a:solidFill>
                      <a:prstDash val="solid"/>
                      <a:round/>
                      <a:headEnd type="none" w="med" len="med"/>
                      <a:tailEnd type="none" w="med" len="med"/>
                    </a:lnR>
                    <a:lnT w="19050" cap="flat" cmpd="sng" algn="ctr">
                      <a:solidFill>
                        <a:schemeClr val="tx2">
                          <a:lumMod val="90000"/>
                          <a:lumOff val="10000"/>
                        </a:schemeClr>
                      </a:solidFill>
                      <a:prstDash val="solid"/>
                      <a:round/>
                      <a:headEnd type="none" w="med" len="med"/>
                      <a:tailEnd type="none" w="med" len="med"/>
                    </a:lnT>
                    <a:lnB w="19050" cap="flat" cmpd="sng" algn="ctr">
                      <a:solidFill>
                        <a:schemeClr val="tx2">
                          <a:lumMod val="90000"/>
                          <a:lumOff val="10000"/>
                        </a:schemeClr>
                      </a:solidFill>
                      <a:prstDash val="solid"/>
                      <a:round/>
                      <a:headEnd type="none" w="med" len="med"/>
                      <a:tailEnd type="none" w="med" len="med"/>
                    </a:lnB>
                    <a:solidFill>
                      <a:schemeClr val="accent4">
                        <a:lumMod val="20000"/>
                        <a:lumOff val="80000"/>
                      </a:schemeClr>
                    </a:solidFill>
                  </a:tcPr>
                </a:tc>
                <a:tc>
                  <a:txBody>
                    <a:bodyPr/>
                    <a:lstStyle/>
                    <a:p>
                      <a:pPr algn="ctr"/>
                      <a:r>
                        <a:rPr lang="en-US" sz="1200" b="1" dirty="0">
                          <a:solidFill>
                            <a:schemeClr val="tx1">
                              <a:lumMod val="65000"/>
                              <a:lumOff val="35000"/>
                            </a:schemeClr>
                          </a:solidFill>
                          <a:latin typeface="Century Gothic" panose="020B0502020202020204" pitchFamily="34" charset="0"/>
                        </a:rPr>
                        <a:t>1,8</a:t>
                      </a:r>
                      <a:r>
                        <a:rPr lang="ru-RU" sz="1200" b="1" dirty="0">
                          <a:solidFill>
                            <a:schemeClr val="tx1">
                              <a:lumMod val="65000"/>
                              <a:lumOff val="35000"/>
                            </a:schemeClr>
                          </a:solidFill>
                          <a:latin typeface="Century Gothic" panose="020B0502020202020204" pitchFamily="34" charset="0"/>
                        </a:rPr>
                        <a:t> </a:t>
                      </a:r>
                      <a:r>
                        <a:rPr lang="en-US" sz="1200" b="1" dirty="0">
                          <a:solidFill>
                            <a:schemeClr val="tx1">
                              <a:lumMod val="65000"/>
                              <a:lumOff val="35000"/>
                            </a:schemeClr>
                          </a:solidFill>
                          <a:latin typeface="Century Gothic" panose="020B0502020202020204" pitchFamily="34" charset="0"/>
                        </a:rPr>
                        <a:t>million ha</a:t>
                      </a:r>
                    </a:p>
                  </a:txBody>
                  <a:tcPr anchor="ctr">
                    <a:lnL w="19050" cap="flat" cmpd="sng" algn="ctr">
                      <a:solidFill>
                        <a:schemeClr val="tx2">
                          <a:lumMod val="90000"/>
                          <a:lumOff val="10000"/>
                        </a:schemeClr>
                      </a:solidFill>
                      <a:prstDash val="solid"/>
                      <a:round/>
                      <a:headEnd type="none" w="med" len="med"/>
                      <a:tailEnd type="none" w="med" len="med"/>
                    </a:lnL>
                    <a:lnR w="19050" cap="flat" cmpd="sng" algn="ctr">
                      <a:solidFill>
                        <a:schemeClr val="tx2">
                          <a:lumMod val="90000"/>
                          <a:lumOff val="10000"/>
                        </a:schemeClr>
                      </a:solidFill>
                      <a:prstDash val="solid"/>
                      <a:round/>
                      <a:headEnd type="none" w="med" len="med"/>
                      <a:tailEnd type="none" w="med" len="med"/>
                    </a:lnR>
                    <a:lnT w="19050" cap="flat" cmpd="sng" algn="ctr">
                      <a:solidFill>
                        <a:schemeClr val="tx2">
                          <a:lumMod val="90000"/>
                          <a:lumOff val="10000"/>
                        </a:schemeClr>
                      </a:solidFill>
                      <a:prstDash val="solid"/>
                      <a:round/>
                      <a:headEnd type="none" w="med" len="med"/>
                      <a:tailEnd type="none" w="med" len="med"/>
                    </a:lnT>
                    <a:lnB w="19050" cap="flat" cmpd="sng" algn="ctr">
                      <a:solidFill>
                        <a:schemeClr val="tx2">
                          <a:lumMod val="90000"/>
                          <a:lumOff val="10000"/>
                        </a:schemeClr>
                      </a:solidFill>
                      <a:prstDash val="solid"/>
                      <a:round/>
                      <a:headEnd type="none" w="med" len="med"/>
                      <a:tailEnd type="none" w="med" len="med"/>
                    </a:lnB>
                    <a:solidFill>
                      <a:schemeClr val="accent4">
                        <a:lumMod val="20000"/>
                        <a:lumOff val="80000"/>
                      </a:schemeClr>
                    </a:solidFill>
                  </a:tcPr>
                </a:tc>
                <a:tc>
                  <a:txBody>
                    <a:bodyPr/>
                    <a:lstStyle/>
                    <a:p>
                      <a:pPr algn="ctr"/>
                      <a:r>
                        <a:rPr lang="en-US" sz="1200" b="1" dirty="0">
                          <a:solidFill>
                            <a:schemeClr val="tx1">
                              <a:lumMod val="65000"/>
                              <a:lumOff val="35000"/>
                            </a:schemeClr>
                          </a:solidFill>
                          <a:latin typeface="Century Gothic" panose="020B0502020202020204" pitchFamily="34" charset="0"/>
                        </a:rPr>
                        <a:t>2,6</a:t>
                      </a:r>
                      <a:r>
                        <a:rPr lang="ru-RU" sz="1200" b="1" dirty="0">
                          <a:solidFill>
                            <a:schemeClr val="tx1">
                              <a:lumMod val="65000"/>
                              <a:lumOff val="35000"/>
                            </a:schemeClr>
                          </a:solidFill>
                          <a:latin typeface="Century Gothic" panose="020B0502020202020204" pitchFamily="34" charset="0"/>
                        </a:rPr>
                        <a:t> </a:t>
                      </a:r>
                      <a:r>
                        <a:rPr lang="en-US" sz="1200" b="1" dirty="0">
                          <a:solidFill>
                            <a:schemeClr val="tx1">
                              <a:lumMod val="65000"/>
                              <a:lumOff val="35000"/>
                            </a:schemeClr>
                          </a:solidFill>
                          <a:latin typeface="Century Gothic" panose="020B0502020202020204" pitchFamily="34" charset="0"/>
                        </a:rPr>
                        <a:t>million ha</a:t>
                      </a:r>
                    </a:p>
                  </a:txBody>
                  <a:tcPr anchor="ctr">
                    <a:lnL w="19050" cap="flat" cmpd="sng" algn="ctr">
                      <a:solidFill>
                        <a:schemeClr val="tx2">
                          <a:lumMod val="90000"/>
                          <a:lumOff val="10000"/>
                        </a:schemeClr>
                      </a:solidFill>
                      <a:prstDash val="solid"/>
                      <a:round/>
                      <a:headEnd type="none" w="med" len="med"/>
                      <a:tailEnd type="none" w="med" len="med"/>
                    </a:lnL>
                    <a:lnR w="19050" cap="flat" cmpd="sng" algn="ctr">
                      <a:solidFill>
                        <a:schemeClr val="tx2">
                          <a:lumMod val="90000"/>
                          <a:lumOff val="10000"/>
                        </a:schemeClr>
                      </a:solidFill>
                      <a:prstDash val="solid"/>
                      <a:round/>
                      <a:headEnd type="none" w="med" len="med"/>
                      <a:tailEnd type="none" w="med" len="med"/>
                    </a:lnR>
                    <a:lnT w="19050" cap="flat" cmpd="sng" algn="ctr">
                      <a:solidFill>
                        <a:schemeClr val="tx2">
                          <a:lumMod val="90000"/>
                          <a:lumOff val="10000"/>
                        </a:schemeClr>
                      </a:solidFill>
                      <a:prstDash val="solid"/>
                      <a:round/>
                      <a:headEnd type="none" w="med" len="med"/>
                      <a:tailEnd type="none" w="med" len="med"/>
                    </a:lnT>
                    <a:lnB w="19050" cap="flat" cmpd="sng" algn="ctr">
                      <a:solidFill>
                        <a:schemeClr val="tx2">
                          <a:lumMod val="90000"/>
                          <a:lumOff val="10000"/>
                        </a:schemeClr>
                      </a:solidFill>
                      <a:prstDash val="solid"/>
                      <a:round/>
                      <a:headEnd type="none" w="med" len="med"/>
                      <a:tailEnd type="none" w="med" len="med"/>
                    </a:lnB>
                    <a:solidFill>
                      <a:schemeClr val="accent4">
                        <a:lumMod val="20000"/>
                        <a:lumOff val="80000"/>
                      </a:schemeClr>
                    </a:solidFill>
                  </a:tcPr>
                </a:tc>
                <a:tc>
                  <a:txBody>
                    <a:bodyPr/>
                    <a:lstStyle/>
                    <a:p>
                      <a:pPr algn="ctr"/>
                      <a:r>
                        <a:rPr lang="en-US" sz="1200" b="1" dirty="0">
                          <a:solidFill>
                            <a:schemeClr val="tx1">
                              <a:lumMod val="65000"/>
                              <a:lumOff val="35000"/>
                            </a:schemeClr>
                          </a:solidFill>
                          <a:latin typeface="Century Gothic" panose="020B0502020202020204" pitchFamily="34" charset="0"/>
                        </a:rPr>
                        <a:t>3,3</a:t>
                      </a:r>
                      <a:r>
                        <a:rPr lang="ru-RU" sz="1200" b="1" dirty="0">
                          <a:solidFill>
                            <a:schemeClr val="tx1">
                              <a:lumMod val="65000"/>
                              <a:lumOff val="35000"/>
                            </a:schemeClr>
                          </a:solidFill>
                          <a:latin typeface="Century Gothic" panose="020B0502020202020204" pitchFamily="34" charset="0"/>
                        </a:rPr>
                        <a:t> </a:t>
                      </a:r>
                      <a:r>
                        <a:rPr lang="en-US" sz="1200" b="1" dirty="0">
                          <a:solidFill>
                            <a:schemeClr val="tx1">
                              <a:lumMod val="65000"/>
                              <a:lumOff val="35000"/>
                            </a:schemeClr>
                          </a:solidFill>
                          <a:latin typeface="Century Gothic" panose="020B0502020202020204" pitchFamily="34" charset="0"/>
                        </a:rPr>
                        <a:t>million ha</a:t>
                      </a:r>
                    </a:p>
                  </a:txBody>
                  <a:tcPr anchor="ctr">
                    <a:lnL w="19050" cap="flat" cmpd="sng" algn="ctr">
                      <a:solidFill>
                        <a:schemeClr val="tx2">
                          <a:lumMod val="90000"/>
                          <a:lumOff val="10000"/>
                        </a:schemeClr>
                      </a:solidFill>
                      <a:prstDash val="solid"/>
                      <a:round/>
                      <a:headEnd type="none" w="med" len="med"/>
                      <a:tailEnd type="none" w="med" len="med"/>
                    </a:lnL>
                    <a:lnR w="19050" cap="flat" cmpd="sng" algn="ctr">
                      <a:solidFill>
                        <a:schemeClr val="tx2">
                          <a:lumMod val="90000"/>
                          <a:lumOff val="10000"/>
                        </a:schemeClr>
                      </a:solidFill>
                      <a:prstDash val="solid"/>
                      <a:round/>
                      <a:headEnd type="none" w="med" len="med"/>
                      <a:tailEnd type="none" w="med" len="med"/>
                    </a:lnR>
                    <a:lnT w="19050" cap="flat" cmpd="sng" algn="ctr">
                      <a:solidFill>
                        <a:schemeClr val="tx2">
                          <a:lumMod val="90000"/>
                          <a:lumOff val="10000"/>
                        </a:schemeClr>
                      </a:solidFill>
                      <a:prstDash val="solid"/>
                      <a:round/>
                      <a:headEnd type="none" w="med" len="med"/>
                      <a:tailEnd type="none" w="med" len="med"/>
                    </a:lnT>
                    <a:lnB w="19050" cap="flat" cmpd="sng" algn="ctr">
                      <a:solidFill>
                        <a:schemeClr val="tx2">
                          <a:lumMod val="90000"/>
                          <a:lumOff val="10000"/>
                        </a:schemeClr>
                      </a:solidFill>
                      <a:prstDash val="solid"/>
                      <a:round/>
                      <a:headEnd type="none" w="med" len="med"/>
                      <a:tailEnd type="none" w="med" len="med"/>
                    </a:lnB>
                    <a:solidFill>
                      <a:schemeClr val="accent4">
                        <a:lumMod val="20000"/>
                        <a:lumOff val="80000"/>
                      </a:schemeClr>
                    </a:solidFill>
                  </a:tcPr>
                </a:tc>
                <a:tc>
                  <a:txBody>
                    <a:bodyPr/>
                    <a:lstStyle/>
                    <a:p>
                      <a:pPr algn="ctr"/>
                      <a:r>
                        <a:rPr lang="en-US" sz="1200" b="1" dirty="0">
                          <a:solidFill>
                            <a:schemeClr val="tx1">
                              <a:lumMod val="65000"/>
                              <a:lumOff val="35000"/>
                            </a:schemeClr>
                          </a:solidFill>
                          <a:latin typeface="Century Gothic" panose="020B0502020202020204" pitchFamily="34" charset="0"/>
                        </a:rPr>
                        <a:t>1,7</a:t>
                      </a:r>
                      <a:r>
                        <a:rPr lang="ru-RU" sz="1200" b="1" dirty="0">
                          <a:solidFill>
                            <a:schemeClr val="tx1">
                              <a:lumMod val="65000"/>
                              <a:lumOff val="35000"/>
                            </a:schemeClr>
                          </a:solidFill>
                          <a:latin typeface="Century Gothic" panose="020B0502020202020204" pitchFamily="34" charset="0"/>
                        </a:rPr>
                        <a:t> </a:t>
                      </a:r>
                      <a:r>
                        <a:rPr lang="en-US" sz="1200" b="1" dirty="0">
                          <a:solidFill>
                            <a:schemeClr val="tx1">
                              <a:lumMod val="65000"/>
                              <a:lumOff val="35000"/>
                            </a:schemeClr>
                          </a:solidFill>
                          <a:latin typeface="Century Gothic" panose="020B0502020202020204" pitchFamily="34" charset="0"/>
                        </a:rPr>
                        <a:t>million ha</a:t>
                      </a:r>
                    </a:p>
                  </a:txBody>
                  <a:tcPr anchor="ctr">
                    <a:lnL w="19050" cap="flat" cmpd="sng" algn="ctr">
                      <a:solidFill>
                        <a:schemeClr val="tx2">
                          <a:lumMod val="90000"/>
                          <a:lumOff val="10000"/>
                        </a:schemeClr>
                      </a:solidFill>
                      <a:prstDash val="solid"/>
                      <a:round/>
                      <a:headEnd type="none" w="med" len="med"/>
                      <a:tailEnd type="none" w="med" len="med"/>
                    </a:lnL>
                    <a:lnR w="19050" cap="flat" cmpd="sng" algn="ctr">
                      <a:solidFill>
                        <a:schemeClr val="tx2">
                          <a:lumMod val="90000"/>
                          <a:lumOff val="10000"/>
                        </a:schemeClr>
                      </a:solidFill>
                      <a:prstDash val="solid"/>
                      <a:round/>
                      <a:headEnd type="none" w="med" len="med"/>
                      <a:tailEnd type="none" w="med" len="med"/>
                    </a:lnR>
                    <a:lnT w="19050" cap="flat" cmpd="sng" algn="ctr">
                      <a:solidFill>
                        <a:schemeClr val="tx2">
                          <a:lumMod val="90000"/>
                          <a:lumOff val="10000"/>
                        </a:schemeClr>
                      </a:solidFill>
                      <a:prstDash val="solid"/>
                      <a:round/>
                      <a:headEnd type="none" w="med" len="med"/>
                      <a:tailEnd type="none" w="med" len="med"/>
                    </a:lnT>
                    <a:lnB w="19050" cap="flat" cmpd="sng" algn="ctr">
                      <a:solidFill>
                        <a:schemeClr val="tx2">
                          <a:lumMod val="90000"/>
                          <a:lumOff val="10000"/>
                        </a:schemeClr>
                      </a:solidFill>
                      <a:prstDash val="solid"/>
                      <a:round/>
                      <a:headEnd type="none" w="med" len="med"/>
                      <a:tailEnd type="none" w="med" len="med"/>
                    </a:lnB>
                    <a:solidFill>
                      <a:schemeClr val="accent4">
                        <a:lumMod val="20000"/>
                        <a:lumOff val="80000"/>
                      </a:schemeClr>
                    </a:solidFill>
                  </a:tcPr>
                </a:tc>
                <a:tc>
                  <a:txBody>
                    <a:bodyPr/>
                    <a:lstStyle/>
                    <a:p>
                      <a:pPr algn="ctr"/>
                      <a:r>
                        <a:rPr lang="en-US" sz="1200" b="1" dirty="0">
                          <a:solidFill>
                            <a:schemeClr val="tx1">
                              <a:lumMod val="65000"/>
                              <a:lumOff val="35000"/>
                            </a:schemeClr>
                          </a:solidFill>
                          <a:latin typeface="Century Gothic" panose="020B0502020202020204" pitchFamily="34" charset="0"/>
                        </a:rPr>
                        <a:t>0,3</a:t>
                      </a:r>
                      <a:r>
                        <a:rPr lang="ru-RU" sz="1200" b="1" dirty="0">
                          <a:solidFill>
                            <a:schemeClr val="tx1">
                              <a:lumMod val="65000"/>
                              <a:lumOff val="35000"/>
                            </a:schemeClr>
                          </a:solidFill>
                          <a:latin typeface="Century Gothic" panose="020B0502020202020204" pitchFamily="34" charset="0"/>
                        </a:rPr>
                        <a:t> </a:t>
                      </a:r>
                      <a:r>
                        <a:rPr lang="en-US" sz="1200" b="1" dirty="0">
                          <a:solidFill>
                            <a:schemeClr val="tx1">
                              <a:lumMod val="65000"/>
                              <a:lumOff val="35000"/>
                            </a:schemeClr>
                          </a:solidFill>
                          <a:latin typeface="Century Gothic" panose="020B0502020202020204" pitchFamily="34" charset="0"/>
                        </a:rPr>
                        <a:t>million ha</a:t>
                      </a:r>
                    </a:p>
                  </a:txBody>
                  <a:tcPr anchor="ctr">
                    <a:lnL w="19050" cap="flat" cmpd="sng" algn="ctr">
                      <a:solidFill>
                        <a:schemeClr val="tx2">
                          <a:lumMod val="90000"/>
                          <a:lumOff val="10000"/>
                        </a:schemeClr>
                      </a:solidFill>
                      <a:prstDash val="solid"/>
                      <a:round/>
                      <a:headEnd type="none" w="med" len="med"/>
                      <a:tailEnd type="none" w="med" len="med"/>
                    </a:lnL>
                    <a:lnR w="19050" cap="flat" cmpd="sng" algn="ctr">
                      <a:solidFill>
                        <a:schemeClr val="tx2">
                          <a:lumMod val="90000"/>
                          <a:lumOff val="10000"/>
                        </a:schemeClr>
                      </a:solidFill>
                      <a:prstDash val="solid"/>
                      <a:round/>
                      <a:headEnd type="none" w="med" len="med"/>
                      <a:tailEnd type="none" w="med" len="med"/>
                    </a:lnR>
                    <a:lnT w="19050" cap="flat" cmpd="sng" algn="ctr">
                      <a:solidFill>
                        <a:schemeClr val="tx2">
                          <a:lumMod val="90000"/>
                          <a:lumOff val="10000"/>
                        </a:schemeClr>
                      </a:solidFill>
                      <a:prstDash val="solid"/>
                      <a:round/>
                      <a:headEnd type="none" w="med" len="med"/>
                      <a:tailEnd type="none" w="med" len="med"/>
                    </a:lnT>
                    <a:lnB w="19050" cap="flat" cmpd="sng" algn="ctr">
                      <a:solidFill>
                        <a:schemeClr val="tx2">
                          <a:lumMod val="90000"/>
                          <a:lumOff val="10000"/>
                        </a:schemeClr>
                      </a:solidFill>
                      <a:prstDash val="solid"/>
                      <a:round/>
                      <a:headEnd type="none" w="med" len="med"/>
                      <a:tailEnd type="none" w="med" len="med"/>
                    </a:lnB>
                    <a:solidFill>
                      <a:schemeClr val="accent4">
                        <a:lumMod val="20000"/>
                        <a:lumOff val="80000"/>
                      </a:schemeClr>
                    </a:solidFill>
                  </a:tcPr>
                </a:tc>
                <a:tc>
                  <a:txBody>
                    <a:bodyPr/>
                    <a:lstStyle/>
                    <a:p>
                      <a:pPr algn="ctr"/>
                      <a:r>
                        <a:rPr lang="en-US" sz="1200" b="1" dirty="0">
                          <a:solidFill>
                            <a:schemeClr val="tx1">
                              <a:lumMod val="65000"/>
                              <a:lumOff val="35000"/>
                            </a:schemeClr>
                          </a:solidFill>
                          <a:latin typeface="Century Gothic" panose="020B0502020202020204" pitchFamily="34" charset="0"/>
                        </a:rPr>
                        <a:t>0,1</a:t>
                      </a:r>
                      <a:r>
                        <a:rPr lang="ru-RU" sz="1200" b="1" dirty="0">
                          <a:solidFill>
                            <a:schemeClr val="tx1">
                              <a:lumMod val="65000"/>
                              <a:lumOff val="35000"/>
                            </a:schemeClr>
                          </a:solidFill>
                          <a:latin typeface="Century Gothic" panose="020B0502020202020204" pitchFamily="34" charset="0"/>
                        </a:rPr>
                        <a:t> </a:t>
                      </a:r>
                      <a:r>
                        <a:rPr lang="en-US" sz="1200" b="1" dirty="0">
                          <a:solidFill>
                            <a:schemeClr val="tx1">
                              <a:lumMod val="65000"/>
                              <a:lumOff val="35000"/>
                            </a:schemeClr>
                          </a:solidFill>
                          <a:latin typeface="Century Gothic" panose="020B0502020202020204" pitchFamily="34" charset="0"/>
                        </a:rPr>
                        <a:t>million ha</a:t>
                      </a:r>
                    </a:p>
                  </a:txBody>
                  <a:tcPr anchor="ctr">
                    <a:lnL w="19050" cap="flat" cmpd="sng" algn="ctr">
                      <a:solidFill>
                        <a:schemeClr val="tx2">
                          <a:lumMod val="90000"/>
                          <a:lumOff val="10000"/>
                        </a:schemeClr>
                      </a:solidFill>
                      <a:prstDash val="solid"/>
                      <a:round/>
                      <a:headEnd type="none" w="med" len="med"/>
                      <a:tailEnd type="none" w="med" len="med"/>
                    </a:lnL>
                    <a:lnR w="19050" cap="flat" cmpd="sng" algn="ctr">
                      <a:solidFill>
                        <a:schemeClr val="tx2">
                          <a:lumMod val="90000"/>
                          <a:lumOff val="10000"/>
                        </a:schemeClr>
                      </a:solidFill>
                      <a:prstDash val="solid"/>
                      <a:round/>
                      <a:headEnd type="none" w="med" len="med"/>
                      <a:tailEnd type="none" w="med" len="med"/>
                    </a:lnR>
                    <a:lnT w="19050" cap="flat" cmpd="sng" algn="ctr">
                      <a:solidFill>
                        <a:schemeClr val="tx2">
                          <a:lumMod val="90000"/>
                          <a:lumOff val="10000"/>
                        </a:schemeClr>
                      </a:solidFill>
                      <a:prstDash val="solid"/>
                      <a:round/>
                      <a:headEnd type="none" w="med" len="med"/>
                      <a:tailEnd type="none" w="med" len="med"/>
                    </a:lnT>
                    <a:lnB w="19050" cap="flat" cmpd="sng" algn="ctr">
                      <a:solidFill>
                        <a:schemeClr val="tx2">
                          <a:lumMod val="90000"/>
                          <a:lumOff val="10000"/>
                        </a:schemeClr>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520791638"/>
                  </a:ext>
                </a:extLst>
              </a:tr>
            </a:tbl>
          </a:graphicData>
        </a:graphic>
      </p:graphicFrame>
      <p:sp>
        <p:nvSpPr>
          <p:cNvPr id="5" name="TextBox 4">
            <a:extLst>
              <a:ext uri="{FF2B5EF4-FFF2-40B4-BE49-F238E27FC236}">
                <a16:creationId xmlns:a16="http://schemas.microsoft.com/office/drawing/2014/main" id="{DE4C19F5-97EC-1F1C-91A1-07C18ADC477E}"/>
              </a:ext>
            </a:extLst>
          </p:cNvPr>
          <p:cNvSpPr txBox="1"/>
          <p:nvPr/>
        </p:nvSpPr>
        <p:spPr>
          <a:xfrm>
            <a:off x="319751" y="244743"/>
            <a:ext cx="8084264" cy="464230"/>
          </a:xfrm>
          <a:prstGeom prst="rect">
            <a:avLst/>
          </a:prstGeom>
          <a:noFill/>
        </p:spPr>
        <p:txBody>
          <a:bodyPr wrap="none" rtlCol="0">
            <a:spAutoFit/>
          </a:bodyPr>
          <a:lstStyle/>
          <a:p>
            <a:pPr marL="0" marR="0" lvl="0" indent="0" algn="l" defTabSz="914400" rtl="0" eaLnBrk="1" fontAlgn="auto" latinLnBrk="0" hangingPunct="1">
              <a:lnSpc>
                <a:spcPts val="2946"/>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mn-cs"/>
              </a:rPr>
              <a:t>CHARACTERISTICS OF AGRICULTURAL LAND</a:t>
            </a:r>
          </a:p>
        </p:txBody>
      </p:sp>
      <p:sp>
        <p:nvSpPr>
          <p:cNvPr id="8" name="TextBox 7">
            <a:extLst>
              <a:ext uri="{FF2B5EF4-FFF2-40B4-BE49-F238E27FC236}">
                <a16:creationId xmlns:a16="http://schemas.microsoft.com/office/drawing/2014/main" id="{B7CBFFF4-C92D-5A2D-B05B-DFB9B7A1D11B}"/>
              </a:ext>
            </a:extLst>
          </p:cNvPr>
          <p:cNvSpPr txBox="1"/>
          <p:nvPr/>
        </p:nvSpPr>
        <p:spPr>
          <a:xfrm>
            <a:off x="5220743" y="957298"/>
            <a:ext cx="2314477"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As of November 1, 2023</a:t>
            </a:r>
            <a:endParaRPr kumimoji="0" lang="ru-RU"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endParaRPr>
          </a:p>
        </p:txBody>
      </p:sp>
      <p:sp>
        <p:nvSpPr>
          <p:cNvPr id="10" name="TextBox 9">
            <a:extLst>
              <a:ext uri="{FF2B5EF4-FFF2-40B4-BE49-F238E27FC236}">
                <a16:creationId xmlns:a16="http://schemas.microsoft.com/office/drawing/2014/main" id="{F025FF22-CCD3-7FD6-3962-CFEBDE44D511}"/>
              </a:ext>
            </a:extLst>
          </p:cNvPr>
          <p:cNvSpPr txBox="1"/>
          <p:nvPr/>
        </p:nvSpPr>
        <p:spPr>
          <a:xfrm>
            <a:off x="-1" y="6642556"/>
            <a:ext cx="11658041"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Arial" panose="020B0604020202020204" pitchFamily="34" charset="0"/>
              </a:rPr>
              <a:t>Source</a:t>
            </a:r>
            <a:r>
              <a:rPr kumimoji="0" lang="ru-RU" sz="8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Arial" panose="020B0604020202020204" pitchFamily="34" charset="0"/>
              </a:rPr>
              <a:t>: </a:t>
            </a:r>
            <a:r>
              <a:rPr kumimoji="0" lang="en-US" sz="8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Ministry of Agriculture of the Republic of Kazakhstan, Committee for land resources management of the Ministry of Agriculture of the Republic of Kazakhstan</a:t>
            </a:r>
          </a:p>
        </p:txBody>
      </p:sp>
      <p:cxnSp>
        <p:nvCxnSpPr>
          <p:cNvPr id="21" name="Прямая соединительная линия 20">
            <a:extLst>
              <a:ext uri="{FF2B5EF4-FFF2-40B4-BE49-F238E27FC236}">
                <a16:creationId xmlns:a16="http://schemas.microsoft.com/office/drawing/2014/main" id="{8B108EAD-84A2-C1B4-FB4F-54A8C5C74A2F}"/>
              </a:ext>
            </a:extLst>
          </p:cNvPr>
          <p:cNvCxnSpPr/>
          <p:nvPr/>
        </p:nvCxnSpPr>
        <p:spPr>
          <a:xfrm flipH="1">
            <a:off x="389658" y="2891766"/>
            <a:ext cx="3441700" cy="0"/>
          </a:xfrm>
          <a:prstGeom prst="line">
            <a:avLst/>
          </a:prstGeom>
          <a:ln>
            <a:solidFill>
              <a:schemeClr val="tx2">
                <a:lumMod val="90000"/>
                <a:lumOff val="10000"/>
              </a:schemeClr>
            </a:solidFill>
          </a:ln>
        </p:spPr>
        <p:style>
          <a:lnRef idx="2">
            <a:schemeClr val="accent1"/>
          </a:lnRef>
          <a:fillRef idx="0">
            <a:schemeClr val="accent1"/>
          </a:fillRef>
          <a:effectRef idx="1">
            <a:schemeClr val="accent1"/>
          </a:effectRef>
          <a:fontRef idx="minor">
            <a:schemeClr val="tx1"/>
          </a:fontRef>
        </p:style>
      </p:cxnSp>
      <p:cxnSp>
        <p:nvCxnSpPr>
          <p:cNvPr id="22" name="Прямая соединительная линия 21">
            <a:extLst>
              <a:ext uri="{FF2B5EF4-FFF2-40B4-BE49-F238E27FC236}">
                <a16:creationId xmlns:a16="http://schemas.microsoft.com/office/drawing/2014/main" id="{AA5AEE67-1354-D8C7-E30A-8ECC437F17C3}"/>
              </a:ext>
            </a:extLst>
          </p:cNvPr>
          <p:cNvCxnSpPr>
            <a:cxnSpLocks/>
          </p:cNvCxnSpPr>
          <p:nvPr/>
        </p:nvCxnSpPr>
        <p:spPr>
          <a:xfrm flipH="1">
            <a:off x="8924848" y="2891766"/>
            <a:ext cx="2962205" cy="0"/>
          </a:xfrm>
          <a:prstGeom prst="line">
            <a:avLst/>
          </a:prstGeom>
          <a:ln>
            <a:solidFill>
              <a:schemeClr val="tx2">
                <a:lumMod val="90000"/>
                <a:lumOff val="10000"/>
              </a:schemeClr>
            </a:solidFill>
          </a:ln>
        </p:spPr>
        <p:style>
          <a:lnRef idx="2">
            <a:schemeClr val="accent1"/>
          </a:lnRef>
          <a:fillRef idx="0">
            <a:schemeClr val="accent1"/>
          </a:fillRef>
          <a:effectRef idx="1">
            <a:schemeClr val="accent1"/>
          </a:effectRef>
          <a:fontRef idx="minor">
            <a:schemeClr val="tx1"/>
          </a:fontRef>
        </p:style>
      </p:cxnSp>
      <p:cxnSp>
        <p:nvCxnSpPr>
          <p:cNvPr id="24" name="Прямая соединительная линия 23">
            <a:extLst>
              <a:ext uri="{FF2B5EF4-FFF2-40B4-BE49-F238E27FC236}">
                <a16:creationId xmlns:a16="http://schemas.microsoft.com/office/drawing/2014/main" id="{C442453A-AA12-58C0-5E51-63BEBBEC1D74}"/>
              </a:ext>
            </a:extLst>
          </p:cNvPr>
          <p:cNvCxnSpPr>
            <a:cxnSpLocks/>
          </p:cNvCxnSpPr>
          <p:nvPr/>
        </p:nvCxnSpPr>
        <p:spPr>
          <a:xfrm>
            <a:off x="389658" y="2891766"/>
            <a:ext cx="0" cy="2950678"/>
          </a:xfrm>
          <a:prstGeom prst="line">
            <a:avLst/>
          </a:prstGeom>
          <a:ln>
            <a:solidFill>
              <a:schemeClr val="tx2">
                <a:lumMod val="90000"/>
                <a:lumOff val="10000"/>
              </a:schemeClr>
            </a:solidFill>
          </a:ln>
        </p:spPr>
        <p:style>
          <a:lnRef idx="2">
            <a:schemeClr val="accent1"/>
          </a:lnRef>
          <a:fillRef idx="0">
            <a:schemeClr val="accent1"/>
          </a:fillRef>
          <a:effectRef idx="1">
            <a:schemeClr val="accent1"/>
          </a:effectRef>
          <a:fontRef idx="minor">
            <a:schemeClr val="tx1"/>
          </a:fontRef>
        </p:style>
      </p:cxnSp>
      <p:cxnSp>
        <p:nvCxnSpPr>
          <p:cNvPr id="30" name="Прямая соединительная линия 29">
            <a:extLst>
              <a:ext uri="{FF2B5EF4-FFF2-40B4-BE49-F238E27FC236}">
                <a16:creationId xmlns:a16="http://schemas.microsoft.com/office/drawing/2014/main" id="{5C697561-F6A3-6D44-C548-2EB280EDAC74}"/>
              </a:ext>
            </a:extLst>
          </p:cNvPr>
          <p:cNvCxnSpPr>
            <a:cxnSpLocks/>
          </p:cNvCxnSpPr>
          <p:nvPr/>
        </p:nvCxnSpPr>
        <p:spPr>
          <a:xfrm>
            <a:off x="11887053" y="2894551"/>
            <a:ext cx="0" cy="3311626"/>
          </a:xfrm>
          <a:prstGeom prst="line">
            <a:avLst/>
          </a:prstGeom>
          <a:ln>
            <a:solidFill>
              <a:schemeClr val="tx2">
                <a:lumMod val="90000"/>
                <a:lumOff val="10000"/>
              </a:schemeClr>
            </a:solidFill>
          </a:ln>
        </p:spPr>
        <p:style>
          <a:lnRef idx="2">
            <a:schemeClr val="accent1"/>
          </a:lnRef>
          <a:fillRef idx="0">
            <a:schemeClr val="accent1"/>
          </a:fillRef>
          <a:effectRef idx="1">
            <a:schemeClr val="accent1"/>
          </a:effectRef>
          <a:fontRef idx="minor">
            <a:schemeClr val="tx1"/>
          </a:fontRef>
        </p:style>
      </p:cxnSp>
      <p:cxnSp>
        <p:nvCxnSpPr>
          <p:cNvPr id="33" name="Прямая соединительная линия 32">
            <a:extLst>
              <a:ext uri="{FF2B5EF4-FFF2-40B4-BE49-F238E27FC236}">
                <a16:creationId xmlns:a16="http://schemas.microsoft.com/office/drawing/2014/main" id="{B040AAE3-2EFF-F397-5408-CAA1A07BE81E}"/>
              </a:ext>
            </a:extLst>
          </p:cNvPr>
          <p:cNvCxnSpPr>
            <a:cxnSpLocks/>
          </p:cNvCxnSpPr>
          <p:nvPr/>
        </p:nvCxnSpPr>
        <p:spPr>
          <a:xfrm>
            <a:off x="389658" y="5842444"/>
            <a:ext cx="254914" cy="0"/>
          </a:xfrm>
          <a:prstGeom prst="line">
            <a:avLst/>
          </a:prstGeom>
          <a:ln>
            <a:solidFill>
              <a:schemeClr val="tx2">
                <a:lumMod val="90000"/>
                <a:lumOff val="10000"/>
              </a:schemeClr>
            </a:solidFill>
          </a:ln>
        </p:spPr>
        <p:style>
          <a:lnRef idx="2">
            <a:schemeClr val="accent1"/>
          </a:lnRef>
          <a:fillRef idx="0">
            <a:schemeClr val="accent1"/>
          </a:fillRef>
          <a:effectRef idx="1">
            <a:schemeClr val="accent1"/>
          </a:effectRef>
          <a:fontRef idx="minor">
            <a:schemeClr val="tx1"/>
          </a:fontRef>
        </p:style>
      </p:cxnSp>
      <p:cxnSp>
        <p:nvCxnSpPr>
          <p:cNvPr id="34" name="Прямая соединительная линия 33">
            <a:extLst>
              <a:ext uri="{FF2B5EF4-FFF2-40B4-BE49-F238E27FC236}">
                <a16:creationId xmlns:a16="http://schemas.microsoft.com/office/drawing/2014/main" id="{CD0FC5F0-1C20-DD3A-3974-95835B93ACDA}"/>
              </a:ext>
            </a:extLst>
          </p:cNvPr>
          <p:cNvCxnSpPr>
            <a:cxnSpLocks/>
          </p:cNvCxnSpPr>
          <p:nvPr/>
        </p:nvCxnSpPr>
        <p:spPr>
          <a:xfrm>
            <a:off x="11589663" y="6206177"/>
            <a:ext cx="297390" cy="0"/>
          </a:xfrm>
          <a:prstGeom prst="line">
            <a:avLst/>
          </a:prstGeom>
          <a:ln>
            <a:solidFill>
              <a:schemeClr val="tx2">
                <a:lumMod val="90000"/>
                <a:lumOff val="10000"/>
              </a:schemeClr>
            </a:solidFill>
          </a:ln>
        </p:spPr>
        <p:style>
          <a:lnRef idx="2">
            <a:schemeClr val="accent1"/>
          </a:lnRef>
          <a:fillRef idx="0">
            <a:schemeClr val="accent1"/>
          </a:fillRef>
          <a:effectRef idx="1">
            <a:schemeClr val="accent1"/>
          </a:effectRef>
          <a:fontRef idx="minor">
            <a:schemeClr val="tx1"/>
          </a:fontRef>
        </p:style>
      </p:cxnSp>
      <p:sp>
        <p:nvSpPr>
          <p:cNvPr id="41" name="TextBox 40">
            <a:extLst>
              <a:ext uri="{FF2B5EF4-FFF2-40B4-BE49-F238E27FC236}">
                <a16:creationId xmlns:a16="http://schemas.microsoft.com/office/drawing/2014/main" id="{CC153F2D-A2BB-16BE-91D4-21042D48C723}"/>
              </a:ext>
            </a:extLst>
          </p:cNvPr>
          <p:cNvSpPr txBox="1"/>
          <p:nvPr/>
        </p:nvSpPr>
        <p:spPr>
          <a:xfrm>
            <a:off x="408708" y="1542470"/>
            <a:ext cx="3314600" cy="1169551"/>
          </a:xfrm>
          <a:prstGeom prst="rect">
            <a:avLst/>
          </a:prstGeom>
          <a:noFill/>
          <a:ln>
            <a:solidFill>
              <a:schemeClr val="tx2">
                <a:lumMod val="90000"/>
                <a:lumOff val="10000"/>
              </a:schemeClr>
            </a:solidFill>
            <a:prstDash val="sysDot"/>
          </a:ln>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In Kazakhstan, 28% of agricultural land is of high quality, without constraining characteristics, another 24% has only slightly expressed unfavorable characteristics</a:t>
            </a: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33927870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rotWithShape="1">
          <a:blip r:embed="rId2">
            <a:extLst>
              <a:ext uri="{28A0092B-C50C-407E-A947-70E740481C1C}">
                <a14:useLocalDpi xmlns:a14="http://schemas.microsoft.com/office/drawing/2010/main" val="0"/>
              </a:ext>
            </a:extLst>
          </a:blip>
          <a:srcRect b="43710"/>
          <a:stretch/>
        </p:blipFill>
        <p:spPr>
          <a:xfrm>
            <a:off x="363404" y="1080840"/>
            <a:ext cx="6090150" cy="3367451"/>
          </a:xfrm>
          <a:prstGeom prst="rect">
            <a:avLst/>
          </a:prstGeom>
        </p:spPr>
      </p:pic>
      <p:sp>
        <p:nvSpPr>
          <p:cNvPr id="5" name="TextBox 4">
            <a:extLst>
              <a:ext uri="{FF2B5EF4-FFF2-40B4-BE49-F238E27FC236}">
                <a16:creationId xmlns:a16="http://schemas.microsoft.com/office/drawing/2014/main" id="{DE4C19F5-97EC-1F1C-91A1-07C18ADC477E}"/>
              </a:ext>
            </a:extLst>
          </p:cNvPr>
          <p:cNvSpPr txBox="1"/>
          <p:nvPr/>
        </p:nvSpPr>
        <p:spPr>
          <a:xfrm>
            <a:off x="319751" y="244743"/>
            <a:ext cx="3457998" cy="464230"/>
          </a:xfrm>
          <a:prstGeom prst="rect">
            <a:avLst/>
          </a:prstGeom>
          <a:noFill/>
        </p:spPr>
        <p:txBody>
          <a:bodyPr wrap="none" rtlCol="0">
            <a:spAutoFit/>
          </a:bodyPr>
          <a:lstStyle/>
          <a:p>
            <a:pPr marL="0" marR="0" lvl="0" indent="0" algn="l" defTabSz="914400" rtl="0" eaLnBrk="1" fontAlgn="auto" latinLnBrk="0" hangingPunct="1">
              <a:lnSpc>
                <a:spcPts val="2946"/>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mn-cs"/>
              </a:rPr>
              <a:t>SOIL CONDITIONS</a:t>
            </a:r>
            <a:endParaRPr kumimoji="0" lang="ru-RU" sz="2800" b="1" i="0" u="none" strike="noStrike" kern="1200" cap="none" spc="0" normalizeH="0" baseline="0" noProof="0" dirty="0">
              <a:ln>
                <a:noFill/>
              </a:ln>
              <a:solidFill>
                <a:srgbClr val="4472C4"/>
              </a:solidFill>
              <a:effectLst/>
              <a:uLnTx/>
              <a:uFillTx/>
              <a:latin typeface="Century Gothic" panose="020B0502020202020204" pitchFamily="34" charset="0"/>
              <a:ea typeface="+mn-ea"/>
              <a:cs typeface="Rubik Bold" panose="020B0604020202020204"/>
            </a:endParaRPr>
          </a:p>
        </p:txBody>
      </p:sp>
      <p:sp>
        <p:nvSpPr>
          <p:cNvPr id="7" name="TextBox 6">
            <a:extLst>
              <a:ext uri="{FF2B5EF4-FFF2-40B4-BE49-F238E27FC236}">
                <a16:creationId xmlns:a16="http://schemas.microsoft.com/office/drawing/2014/main" id="{B02CCDF0-A0E1-5464-EDFE-5295E44044D0}"/>
              </a:ext>
            </a:extLst>
          </p:cNvPr>
          <p:cNvSpPr txBox="1"/>
          <p:nvPr/>
        </p:nvSpPr>
        <p:spPr>
          <a:xfrm>
            <a:off x="785800" y="4670251"/>
            <a:ext cx="10670577" cy="1384995"/>
          </a:xfrm>
          <a:prstGeom prst="rect">
            <a:avLst/>
          </a:prstGeom>
          <a:noFill/>
          <a:ln w="28575">
            <a:solidFill>
              <a:schemeClr val="tx2">
                <a:lumMod val="75000"/>
                <a:lumOff val="25000"/>
              </a:schemeClr>
            </a:solidFill>
            <a:prstDash val="sysDot"/>
          </a:ln>
        </p:spPr>
        <p:txBody>
          <a:bodyPr wrap="square">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Fertile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black soils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nd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chestnut soil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predominant in the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northern</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nd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central region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form the foundation of the country’s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grain belt</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In the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south</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nd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southeast</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gray soils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re common, suitable for irrigated farming of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vegetable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melon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nd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fruit crop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long riverbanks, more fertile alluvial soils are found, used for intensive agriculture.</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Saline</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nd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stony soils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limit productivity in parts of the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western</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nd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southern territorie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requiring land reclamation measures.</a:t>
            </a: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pic>
        <p:nvPicPr>
          <p:cNvPr id="8" name="Рисунок 7"/>
          <p:cNvPicPr>
            <a:picLocks noChangeAspect="1"/>
          </p:cNvPicPr>
          <p:nvPr/>
        </p:nvPicPr>
        <p:blipFill rotWithShape="1">
          <a:blip r:embed="rId2">
            <a:extLst>
              <a:ext uri="{28A0092B-C50C-407E-A947-70E740481C1C}">
                <a14:useLocalDpi xmlns:a14="http://schemas.microsoft.com/office/drawing/2010/main" val="0"/>
              </a:ext>
            </a:extLst>
          </a:blip>
          <a:srcRect t="60122"/>
          <a:stretch/>
        </p:blipFill>
        <p:spPr>
          <a:xfrm>
            <a:off x="6659893" y="1620509"/>
            <a:ext cx="4984678" cy="1952610"/>
          </a:xfrm>
          <a:prstGeom prst="rect">
            <a:avLst/>
          </a:prstGeom>
        </p:spPr>
      </p:pic>
      <p:sp>
        <p:nvSpPr>
          <p:cNvPr id="9" name="TextBox 8">
            <a:extLst>
              <a:ext uri="{FF2B5EF4-FFF2-40B4-BE49-F238E27FC236}">
                <a16:creationId xmlns:a16="http://schemas.microsoft.com/office/drawing/2014/main" id="{F025FF22-CCD3-7FD6-3962-CFEBDE44D511}"/>
              </a:ext>
            </a:extLst>
          </p:cNvPr>
          <p:cNvSpPr txBox="1"/>
          <p:nvPr/>
        </p:nvSpPr>
        <p:spPr>
          <a:xfrm>
            <a:off x="-1" y="6642556"/>
            <a:ext cx="11658041"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Arial" panose="020B0604020202020204" pitchFamily="34" charset="0"/>
              </a:rPr>
              <a:t>Source</a:t>
            </a:r>
            <a:r>
              <a:rPr kumimoji="0" lang="ru-RU" sz="8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Arial" panose="020B0604020202020204" pitchFamily="34" charset="0"/>
              </a:rPr>
              <a:t>: </a:t>
            </a:r>
            <a:r>
              <a:rPr kumimoji="0" lang="en-US" sz="8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Ministry of Agriculture of the Republic of Kazakhstan, Committee for land resources management of the Ministry of Agriculture of the Republic of Kazakhstan</a:t>
            </a:r>
          </a:p>
        </p:txBody>
      </p:sp>
      <p:sp>
        <p:nvSpPr>
          <p:cNvPr id="6" name="Прямоугольник 5"/>
          <p:cNvSpPr/>
          <p:nvPr/>
        </p:nvSpPr>
        <p:spPr>
          <a:xfrm>
            <a:off x="7299251" y="1919177"/>
            <a:ext cx="1765005" cy="173215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3" name="TextBox 2"/>
          <p:cNvSpPr txBox="1"/>
          <p:nvPr/>
        </p:nvSpPr>
        <p:spPr>
          <a:xfrm>
            <a:off x="7299251" y="1919177"/>
            <a:ext cx="1988288"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common and southern black soils</a:t>
            </a:r>
          </a:p>
        </p:txBody>
      </p:sp>
      <p:sp>
        <p:nvSpPr>
          <p:cNvPr id="11" name="TextBox 10"/>
          <p:cNvSpPr txBox="1"/>
          <p:nvPr/>
        </p:nvSpPr>
        <p:spPr>
          <a:xfrm>
            <a:off x="7299251" y="2115429"/>
            <a:ext cx="198828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common and southern black soils with </a:t>
            </a:r>
            <a:r>
              <a:rPr kumimoji="0" lang="en-US" sz="700" b="0" i="0" u="none" strike="noStrike" kern="1200" cap="none" spc="0" normalizeH="0" baseline="0" noProof="0" dirty="0" err="1">
                <a:ln>
                  <a:noFill/>
                </a:ln>
                <a:solidFill>
                  <a:prstClr val="black"/>
                </a:solidFill>
                <a:effectLst/>
                <a:uLnTx/>
                <a:uFillTx/>
                <a:latin typeface="Century Gothic" panose="020B0502020202020204" pitchFamily="34" charset="0"/>
                <a:ea typeface="+mn-ea"/>
                <a:cs typeface="+mn-cs"/>
              </a:rPr>
              <a:t>solonetz</a:t>
            </a:r>
            <a:r>
              <a:rPr kumimoji="0" lang="en-US" sz="7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30-50%)</a:t>
            </a:r>
          </a:p>
        </p:txBody>
      </p:sp>
      <p:sp>
        <p:nvSpPr>
          <p:cNvPr id="12" name="TextBox 11"/>
          <p:cNvSpPr txBox="1"/>
          <p:nvPr/>
        </p:nvSpPr>
        <p:spPr>
          <a:xfrm>
            <a:off x="7299251" y="2453983"/>
            <a:ext cx="1988288"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dark chestnut and chestnut soils</a:t>
            </a:r>
          </a:p>
        </p:txBody>
      </p:sp>
      <p:sp>
        <p:nvSpPr>
          <p:cNvPr id="13" name="TextBox 12"/>
          <p:cNvSpPr txBox="1"/>
          <p:nvPr/>
        </p:nvSpPr>
        <p:spPr>
          <a:xfrm>
            <a:off x="7299251" y="3342803"/>
            <a:ext cx="1988288"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brown, gray-brown and </a:t>
            </a:r>
            <a:r>
              <a:rPr kumimoji="0" lang="en-US" sz="700" b="0" i="0" u="none" strike="noStrike" kern="1200" cap="none" spc="0" normalizeH="0" baseline="0" noProof="0" dirty="0" err="1">
                <a:ln>
                  <a:noFill/>
                </a:ln>
                <a:solidFill>
                  <a:prstClr val="black"/>
                </a:solidFill>
                <a:effectLst/>
                <a:uLnTx/>
                <a:uFillTx/>
                <a:latin typeface="Century Gothic" panose="020B0502020202020204" pitchFamily="34" charset="0"/>
                <a:ea typeface="+mn-ea"/>
                <a:cs typeface="+mn-cs"/>
              </a:rPr>
              <a:t>takyr</a:t>
            </a:r>
            <a:r>
              <a:rPr kumimoji="0" lang="en-US" sz="7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like soils</a:t>
            </a:r>
            <a:endParaRPr kumimoji="0" lang="ru-RU" sz="7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14" name="TextBox 13"/>
          <p:cNvSpPr txBox="1"/>
          <p:nvPr/>
        </p:nvSpPr>
        <p:spPr>
          <a:xfrm>
            <a:off x="7299251" y="2749191"/>
            <a:ext cx="198828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dark chestnut and chestnut soils with </a:t>
            </a:r>
            <a:r>
              <a:rPr kumimoji="0" lang="en-US" sz="700" b="0" i="0" u="none" strike="noStrike" kern="1200" cap="none" spc="0" normalizeH="0" baseline="0" noProof="0" dirty="0" err="1">
                <a:ln>
                  <a:noFill/>
                </a:ln>
                <a:solidFill>
                  <a:prstClr val="black"/>
                </a:solidFill>
                <a:effectLst/>
                <a:uLnTx/>
                <a:uFillTx/>
                <a:latin typeface="Century Gothic" panose="020B0502020202020204" pitchFamily="34" charset="0"/>
                <a:ea typeface="+mn-ea"/>
                <a:cs typeface="+mn-cs"/>
              </a:rPr>
              <a:t>solonetz</a:t>
            </a:r>
            <a:r>
              <a:rPr kumimoji="0" lang="en-US" sz="7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30-50%)</a:t>
            </a:r>
          </a:p>
        </p:txBody>
      </p:sp>
      <p:sp>
        <p:nvSpPr>
          <p:cNvPr id="15" name="TextBox 14"/>
          <p:cNvSpPr txBox="1"/>
          <p:nvPr/>
        </p:nvSpPr>
        <p:spPr>
          <a:xfrm>
            <a:off x="7299251" y="3104893"/>
            <a:ext cx="1988288"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light chestnut soils</a:t>
            </a:r>
          </a:p>
        </p:txBody>
      </p:sp>
      <p:sp>
        <p:nvSpPr>
          <p:cNvPr id="16" name="Прямоугольник 15"/>
          <p:cNvSpPr/>
          <p:nvPr/>
        </p:nvSpPr>
        <p:spPr>
          <a:xfrm>
            <a:off x="7378995" y="1620509"/>
            <a:ext cx="1573619" cy="23796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0" name="TextBox 9"/>
          <p:cNvSpPr txBox="1"/>
          <p:nvPr/>
        </p:nvSpPr>
        <p:spPr>
          <a:xfrm>
            <a:off x="7288058" y="1604561"/>
            <a:ext cx="1988288"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Symbols</a:t>
            </a:r>
            <a:endParaRPr kumimoji="0" lang="ru-RU" sz="105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21" name="Прямоугольник 20"/>
          <p:cNvSpPr/>
          <p:nvPr/>
        </p:nvSpPr>
        <p:spPr>
          <a:xfrm>
            <a:off x="10063716" y="1919177"/>
            <a:ext cx="1632098" cy="165394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7" name="TextBox 16"/>
          <p:cNvSpPr txBox="1"/>
          <p:nvPr/>
        </p:nvSpPr>
        <p:spPr>
          <a:xfrm>
            <a:off x="10039056" y="1915374"/>
            <a:ext cx="1988288"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gray soils</a:t>
            </a:r>
          </a:p>
        </p:txBody>
      </p:sp>
      <p:sp>
        <p:nvSpPr>
          <p:cNvPr id="18" name="TextBox 17"/>
          <p:cNvSpPr txBox="1"/>
          <p:nvPr/>
        </p:nvSpPr>
        <p:spPr>
          <a:xfrm>
            <a:off x="10033740" y="2131396"/>
            <a:ext cx="194915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mountain and foothill black soils and dark chestnut soils</a:t>
            </a:r>
          </a:p>
        </p:txBody>
      </p:sp>
      <p:sp>
        <p:nvSpPr>
          <p:cNvPr id="19" name="TextBox 18"/>
          <p:cNvSpPr txBox="1"/>
          <p:nvPr/>
        </p:nvSpPr>
        <p:spPr>
          <a:xfrm>
            <a:off x="10044372" y="2497368"/>
            <a:ext cx="1988288"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high-mountain alpine and subalpine soils</a:t>
            </a:r>
          </a:p>
        </p:txBody>
      </p:sp>
      <p:sp>
        <p:nvSpPr>
          <p:cNvPr id="20" name="TextBox 19"/>
          <p:cNvSpPr txBox="1"/>
          <p:nvPr/>
        </p:nvSpPr>
        <p:spPr>
          <a:xfrm>
            <a:off x="10044372" y="2831336"/>
            <a:ext cx="1988288"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alluvial meadow soils</a:t>
            </a:r>
          </a:p>
        </p:txBody>
      </p:sp>
      <p:sp>
        <p:nvSpPr>
          <p:cNvPr id="22" name="TextBox 21"/>
          <p:cNvSpPr txBox="1"/>
          <p:nvPr/>
        </p:nvSpPr>
        <p:spPr>
          <a:xfrm>
            <a:off x="10044372" y="3016731"/>
            <a:ext cx="191917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err="1">
                <a:ln>
                  <a:noFill/>
                </a:ln>
                <a:solidFill>
                  <a:prstClr val="black"/>
                </a:solidFill>
                <a:effectLst/>
                <a:uLnTx/>
                <a:uFillTx/>
                <a:latin typeface="Century Gothic" panose="020B0502020202020204" pitchFamily="34" charset="0"/>
                <a:ea typeface="+mn-ea"/>
                <a:cs typeface="+mn-cs"/>
              </a:rPr>
              <a:t>solonetz</a:t>
            </a:r>
            <a:r>
              <a:rPr kumimoji="0" lang="en-US" sz="7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a:t>
            </a:r>
            <a:r>
              <a:rPr kumimoji="0" lang="en-US" sz="700" b="0" i="0" u="none" strike="noStrike" kern="1200" cap="none" spc="0" normalizeH="0" baseline="0" noProof="0" dirty="0" err="1">
                <a:ln>
                  <a:noFill/>
                </a:ln>
                <a:solidFill>
                  <a:prstClr val="black"/>
                </a:solidFill>
                <a:effectLst/>
                <a:uLnTx/>
                <a:uFillTx/>
                <a:latin typeface="Century Gothic" panose="020B0502020202020204" pitchFamily="34" charset="0"/>
                <a:ea typeface="+mn-ea"/>
                <a:cs typeface="+mn-cs"/>
              </a:rPr>
              <a:t>solonchak</a:t>
            </a:r>
            <a:r>
              <a:rPr kumimoji="0" lang="en-US" sz="7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and complexes with their predominance</a:t>
            </a:r>
          </a:p>
        </p:txBody>
      </p:sp>
      <p:sp>
        <p:nvSpPr>
          <p:cNvPr id="23" name="TextBox 22"/>
          <p:cNvSpPr txBox="1"/>
          <p:nvPr/>
        </p:nvSpPr>
        <p:spPr>
          <a:xfrm>
            <a:off x="10044372" y="3381711"/>
            <a:ext cx="1988288"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sands</a:t>
            </a:r>
          </a:p>
        </p:txBody>
      </p:sp>
    </p:spTree>
    <p:extLst>
      <p:ext uri="{BB962C8B-B14F-4D97-AF65-F5344CB8AC3E}">
        <p14:creationId xmlns:p14="http://schemas.microsoft.com/office/powerpoint/2010/main" val="46693577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F32380B0-89EC-5112-C297-1737BE05FDEA}"/>
              </a:ext>
            </a:extLst>
          </p:cNvPr>
          <p:cNvSpPr txBox="1"/>
          <p:nvPr/>
        </p:nvSpPr>
        <p:spPr>
          <a:xfrm>
            <a:off x="148302" y="4073447"/>
            <a:ext cx="3873130" cy="2031325"/>
          </a:xfrm>
          <a:prstGeom prst="rect">
            <a:avLst/>
          </a:prstGeom>
          <a:noFill/>
          <a:ln w="28575">
            <a:solidFill>
              <a:schemeClr val="tx2">
                <a:lumMod val="75000"/>
                <a:lumOff val="25000"/>
              </a:schemeClr>
            </a:solidFill>
            <a:prstDash val="sysDot"/>
          </a:ln>
        </p:spPr>
        <p:txBody>
          <a:bodyPr wrap="square">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he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share</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of agriculture, forestry, and fisheries in Kazakhstan’s GDP between 2020 and 2024 remained in the range of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3.7%</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to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5.4%</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Despite nominal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growth</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in output</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the sector has been developing more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slowly</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than the rest of the economy, gradually losing its relative weight in the GDP structure.</a:t>
            </a: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0" name="TextBox 9">
            <a:extLst>
              <a:ext uri="{FF2B5EF4-FFF2-40B4-BE49-F238E27FC236}">
                <a16:creationId xmlns:a16="http://schemas.microsoft.com/office/drawing/2014/main" id="{F527CFE8-D108-5955-57FE-71FF6DE8B869}"/>
              </a:ext>
            </a:extLst>
          </p:cNvPr>
          <p:cNvSpPr txBox="1"/>
          <p:nvPr/>
        </p:nvSpPr>
        <p:spPr>
          <a:xfrm>
            <a:off x="4231786" y="4073447"/>
            <a:ext cx="3917430" cy="1384995"/>
          </a:xfrm>
          <a:prstGeom prst="rect">
            <a:avLst/>
          </a:prstGeom>
          <a:noFill/>
          <a:ln w="28575">
            <a:solidFill>
              <a:schemeClr val="tx2">
                <a:lumMod val="75000"/>
                <a:lumOff val="25000"/>
              </a:schemeClr>
            </a:solidFill>
            <a:prstDash val="sysDot"/>
          </a:ln>
        </p:spPr>
        <p:txBody>
          <a:bodyPr wrap="square">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In 2022,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crop production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reached a historically high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share</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of agricultural output –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61.7%</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In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2024</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there was a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decrease</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both in absolute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volume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nd in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share</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 to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60.2%</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t>
            </a:r>
            <a:endParaRPr kumimoji="0" lang="ru-KZ"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3" name="TextBox 2">
            <a:extLst>
              <a:ext uri="{FF2B5EF4-FFF2-40B4-BE49-F238E27FC236}">
                <a16:creationId xmlns:a16="http://schemas.microsoft.com/office/drawing/2014/main" id="{48FE084F-F741-7464-1D8E-2ED32D31DFD3}"/>
              </a:ext>
            </a:extLst>
          </p:cNvPr>
          <p:cNvSpPr txBox="1"/>
          <p:nvPr/>
        </p:nvSpPr>
        <p:spPr>
          <a:xfrm>
            <a:off x="262328" y="256479"/>
            <a:ext cx="11655755" cy="464230"/>
          </a:xfrm>
          <a:prstGeom prst="rect">
            <a:avLst/>
          </a:prstGeom>
          <a:noFill/>
        </p:spPr>
        <p:txBody>
          <a:bodyPr wrap="none" rtlCol="0">
            <a:spAutoFit/>
          </a:bodyPr>
          <a:lstStyle/>
          <a:p>
            <a:pPr marL="0" marR="0" lvl="0" indent="0" algn="ctr" defTabSz="914400" rtl="0" eaLnBrk="1" fontAlgn="auto" latinLnBrk="0" hangingPunct="1">
              <a:lnSpc>
                <a:spcPts val="2946"/>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mn-cs"/>
              </a:rPr>
              <a:t>THE ROLE OF CROP PRODUCTION IN KAZAKHSTAN’S ECONOMY</a:t>
            </a:r>
            <a:endParaRPr kumimoji="0" lang="kk-KZ" sz="30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mn-cs"/>
            </a:endParaRPr>
          </a:p>
        </p:txBody>
      </p:sp>
      <p:sp>
        <p:nvSpPr>
          <p:cNvPr id="15" name="TextBox 14">
            <a:extLst>
              <a:ext uri="{FF2B5EF4-FFF2-40B4-BE49-F238E27FC236}">
                <a16:creationId xmlns:a16="http://schemas.microsoft.com/office/drawing/2014/main" id="{0EBE1EA2-2CF7-C280-7B8D-D196267435EA}"/>
              </a:ext>
            </a:extLst>
          </p:cNvPr>
          <p:cNvSpPr txBox="1"/>
          <p:nvPr/>
        </p:nvSpPr>
        <p:spPr>
          <a:xfrm>
            <a:off x="8359570" y="4079719"/>
            <a:ext cx="3627999" cy="1815882"/>
          </a:xfrm>
          <a:prstGeom prst="rect">
            <a:avLst/>
          </a:prstGeom>
          <a:noFill/>
          <a:ln w="28575">
            <a:solidFill>
              <a:schemeClr val="tx2">
                <a:lumMod val="75000"/>
                <a:lumOff val="25000"/>
              </a:schemeClr>
            </a:solidFill>
            <a:prstDash val="sysDot"/>
          </a:ln>
        </p:spPr>
        <p:txBody>
          <a:bodyPr wrap="square">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From 2020 to 2024,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exports of crop products grew</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from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7.1 million tons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o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8.9 million ton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peaking</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in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2023</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9.4 million tons.</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Import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lso showed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growth</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 from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1.4 million tons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in 2020 to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3.5 million ton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in 2023 – but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declined</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to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2.7 million ton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in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2024</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t>
            </a:r>
            <a:endParaRPr kumimoji="0" lang="ru-KZ"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cxnSp>
        <p:nvCxnSpPr>
          <p:cNvPr id="16" name="Прямая соединительная линия 15">
            <a:extLst>
              <a:ext uri="{FF2B5EF4-FFF2-40B4-BE49-F238E27FC236}">
                <a16:creationId xmlns:a16="http://schemas.microsoft.com/office/drawing/2014/main" id="{F09F1520-4087-90D4-FD05-6F09197441E1}"/>
              </a:ext>
            </a:extLst>
          </p:cNvPr>
          <p:cNvCxnSpPr>
            <a:cxnSpLocks/>
          </p:cNvCxnSpPr>
          <p:nvPr/>
        </p:nvCxnSpPr>
        <p:spPr>
          <a:xfrm flipV="1">
            <a:off x="0" y="3876563"/>
            <a:ext cx="12188086" cy="9016"/>
          </a:xfrm>
          <a:prstGeom prst="line">
            <a:avLst/>
          </a:prstGeom>
          <a:ln w="19050" cap="flat" cmpd="sng" algn="ctr">
            <a:solidFill>
              <a:srgbClr val="4472C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aphicFrame>
        <p:nvGraphicFramePr>
          <p:cNvPr id="11" name="Диаграмма 10"/>
          <p:cNvGraphicFramePr/>
          <p:nvPr/>
        </p:nvGraphicFramePr>
        <p:xfrm>
          <a:off x="4161483" y="1771516"/>
          <a:ext cx="4138776" cy="2020230"/>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4257913" y="1034517"/>
            <a:ext cx="378557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Gross output of agricultural products (services) and crop production, trillion </a:t>
            </a:r>
            <a:r>
              <a:rPr kumimoji="0" lang="en-US" sz="1200" b="1"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tenge</a:t>
            </a:r>
            <a:endParaRPr kumimoji="0" lang="ru-RU" sz="12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graphicFrame>
        <p:nvGraphicFramePr>
          <p:cNvPr id="17" name="Диаграмма 16"/>
          <p:cNvGraphicFramePr/>
          <p:nvPr/>
        </p:nvGraphicFramePr>
        <p:xfrm>
          <a:off x="64435" y="1588360"/>
          <a:ext cx="4138776" cy="2020230"/>
        </p:xfrm>
        <a:graphic>
          <a:graphicData uri="http://schemas.openxmlformats.org/drawingml/2006/chart">
            <c:chart xmlns:c="http://schemas.openxmlformats.org/drawingml/2006/chart" xmlns:r="http://schemas.openxmlformats.org/officeDocument/2006/relationships" r:id="rId3"/>
          </a:graphicData>
        </a:graphic>
      </p:graphicFrame>
      <p:sp>
        <p:nvSpPr>
          <p:cNvPr id="18" name="TextBox 17"/>
          <p:cNvSpPr txBox="1"/>
          <p:nvPr/>
        </p:nvSpPr>
        <p:spPr>
          <a:xfrm>
            <a:off x="141655" y="1034517"/>
            <a:ext cx="3822627"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Gross domestic product and the contribution of agriculture, trillion </a:t>
            </a:r>
            <a:r>
              <a:rPr kumimoji="0" lang="en-US" sz="1200" b="1"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tenge</a:t>
            </a:r>
            <a:endParaRPr kumimoji="0" lang="ru-RU" sz="12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graphicFrame>
        <p:nvGraphicFramePr>
          <p:cNvPr id="20" name="Диаграмма 19"/>
          <p:cNvGraphicFramePr/>
          <p:nvPr/>
        </p:nvGraphicFramePr>
        <p:xfrm>
          <a:off x="8315270" y="1674268"/>
          <a:ext cx="3687038" cy="1934322"/>
        </p:xfrm>
        <a:graphic>
          <a:graphicData uri="http://schemas.openxmlformats.org/drawingml/2006/chart">
            <c:chart xmlns:c="http://schemas.openxmlformats.org/drawingml/2006/chart" xmlns:r="http://schemas.openxmlformats.org/officeDocument/2006/relationships" r:id="rId4"/>
          </a:graphicData>
        </a:graphic>
      </p:graphicFrame>
      <p:sp>
        <p:nvSpPr>
          <p:cNvPr id="21" name="TextBox 20"/>
          <p:cNvSpPr txBox="1"/>
          <p:nvPr/>
        </p:nvSpPr>
        <p:spPr>
          <a:xfrm>
            <a:off x="8300259" y="1036610"/>
            <a:ext cx="364301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duction, import and export of crop products, million tons</a:t>
            </a:r>
            <a:endParaRPr kumimoji="0" lang="ru-RU" sz="12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4" name="TextBox 13">
            <a:extLst>
              <a:ext uri="{FF2B5EF4-FFF2-40B4-BE49-F238E27FC236}">
                <a16:creationId xmlns:a16="http://schemas.microsoft.com/office/drawing/2014/main" id="{A196E4F8-8A51-4AE5-BF7E-4772E11CAEF3}"/>
              </a:ext>
            </a:extLst>
          </p:cNvPr>
          <p:cNvSpPr txBox="1"/>
          <p:nvPr/>
        </p:nvSpPr>
        <p:spPr>
          <a:xfrm>
            <a:off x="64435" y="6642556"/>
            <a:ext cx="7555565"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Times New Roman" panose="02020603050405020304" pitchFamily="18" charset="0"/>
              </a:rPr>
              <a:t>Source: The Bureau of National Statistics of the Agency for Strategic Planning and Reforms of the Republic of Kazakhstan</a:t>
            </a:r>
            <a:endParaRPr kumimoji="0" lang="en"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Times New Roman" panose="02020603050405020304" pitchFamily="18" charset="0"/>
            </a:endParaRPr>
          </a:p>
        </p:txBody>
      </p:sp>
    </p:spTree>
    <p:extLst>
      <p:ext uri="{BB962C8B-B14F-4D97-AF65-F5344CB8AC3E}">
        <p14:creationId xmlns:p14="http://schemas.microsoft.com/office/powerpoint/2010/main" val="11088470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a:extLst>
              <a:ext uri="{FF2B5EF4-FFF2-40B4-BE49-F238E27FC236}">
                <a16:creationId xmlns:a16="http://schemas.microsoft.com/office/drawing/2014/main" id="{31A3B0C8-5AC1-15B0-6596-E61EA104E132}"/>
              </a:ext>
            </a:extLst>
          </p:cNvPr>
          <p:cNvGraphicFramePr>
            <a:graphicFrameLocks noGrp="1"/>
          </p:cNvGraphicFramePr>
          <p:nvPr/>
        </p:nvGraphicFramePr>
        <p:xfrm>
          <a:off x="342661" y="1364873"/>
          <a:ext cx="8856936" cy="1660137"/>
        </p:xfrm>
        <a:graphic>
          <a:graphicData uri="http://schemas.openxmlformats.org/drawingml/2006/table">
            <a:tbl>
              <a:tblPr firstRow="1" bandRow="1">
                <a:tableStyleId>{C4B1156A-380E-4F78-BDF5-A606A8083BF9}</a:tableStyleId>
              </a:tblPr>
              <a:tblGrid>
                <a:gridCol w="658836">
                  <a:extLst>
                    <a:ext uri="{9D8B030D-6E8A-4147-A177-3AD203B41FA5}">
                      <a16:colId xmlns:a16="http://schemas.microsoft.com/office/drawing/2014/main" val="3096222147"/>
                    </a:ext>
                  </a:extLst>
                </a:gridCol>
                <a:gridCol w="1321077">
                  <a:extLst>
                    <a:ext uri="{9D8B030D-6E8A-4147-A177-3AD203B41FA5}">
                      <a16:colId xmlns:a16="http://schemas.microsoft.com/office/drawing/2014/main" val="950753944"/>
                    </a:ext>
                  </a:extLst>
                </a:gridCol>
                <a:gridCol w="1344080">
                  <a:extLst>
                    <a:ext uri="{9D8B030D-6E8A-4147-A177-3AD203B41FA5}">
                      <a16:colId xmlns:a16="http://schemas.microsoft.com/office/drawing/2014/main" val="3286394635"/>
                    </a:ext>
                  </a:extLst>
                </a:gridCol>
                <a:gridCol w="1344080">
                  <a:extLst>
                    <a:ext uri="{9D8B030D-6E8A-4147-A177-3AD203B41FA5}">
                      <a16:colId xmlns:a16="http://schemas.microsoft.com/office/drawing/2014/main" val="3548308958"/>
                    </a:ext>
                  </a:extLst>
                </a:gridCol>
                <a:gridCol w="1010646">
                  <a:extLst>
                    <a:ext uri="{9D8B030D-6E8A-4147-A177-3AD203B41FA5}">
                      <a16:colId xmlns:a16="http://schemas.microsoft.com/office/drawing/2014/main" val="3338225631"/>
                    </a:ext>
                  </a:extLst>
                </a:gridCol>
                <a:gridCol w="1031521">
                  <a:extLst>
                    <a:ext uri="{9D8B030D-6E8A-4147-A177-3AD203B41FA5}">
                      <a16:colId xmlns:a16="http://schemas.microsoft.com/office/drawing/2014/main" val="1420202562"/>
                    </a:ext>
                  </a:extLst>
                </a:gridCol>
                <a:gridCol w="1026423">
                  <a:extLst>
                    <a:ext uri="{9D8B030D-6E8A-4147-A177-3AD203B41FA5}">
                      <a16:colId xmlns:a16="http://schemas.microsoft.com/office/drawing/2014/main" val="1238028338"/>
                    </a:ext>
                  </a:extLst>
                </a:gridCol>
                <a:gridCol w="1120273">
                  <a:extLst>
                    <a:ext uri="{9D8B030D-6E8A-4147-A177-3AD203B41FA5}">
                      <a16:colId xmlns:a16="http://schemas.microsoft.com/office/drawing/2014/main" val="3257942692"/>
                    </a:ext>
                  </a:extLst>
                </a:gridCol>
              </a:tblGrid>
              <a:tr h="657755">
                <a:tc>
                  <a:txBody>
                    <a:bodyPr/>
                    <a:lstStyle/>
                    <a:p>
                      <a:pPr algn="ctr"/>
                      <a:r>
                        <a:rPr lang="en-US" sz="1400" dirty="0">
                          <a:solidFill>
                            <a:schemeClr val="tx1">
                              <a:lumMod val="65000"/>
                              <a:lumOff val="35000"/>
                            </a:schemeClr>
                          </a:solidFill>
                          <a:latin typeface="Century Gothic" panose="020B0502020202020204" pitchFamily="34" charset="0"/>
                        </a:rPr>
                        <a:t>Year</a:t>
                      </a:r>
                      <a:endParaRPr lang="ru-KZ" sz="1400" dirty="0">
                        <a:solidFill>
                          <a:schemeClr val="tx1">
                            <a:lumMod val="65000"/>
                            <a:lumOff val="35000"/>
                          </a:schemeClr>
                        </a:solidFill>
                        <a:latin typeface="Century Gothic" panose="020B0502020202020204" pitchFamily="34" charset="0"/>
                      </a:endParaRPr>
                    </a:p>
                  </a:txBody>
                  <a:tcPr anchor="ctr"/>
                </a:tc>
                <a:tc>
                  <a:txBody>
                    <a:bodyPr/>
                    <a:lstStyle/>
                    <a:p>
                      <a:pPr algn="ctr"/>
                      <a:r>
                        <a:rPr lang="en-US" sz="1400" dirty="0">
                          <a:solidFill>
                            <a:schemeClr val="tx1">
                              <a:lumMod val="65000"/>
                              <a:lumOff val="35000"/>
                            </a:schemeClr>
                          </a:solidFill>
                          <a:latin typeface="Century Gothic" panose="020B0502020202020204" pitchFamily="34" charset="0"/>
                        </a:rPr>
                        <a:t>Grain crops</a:t>
                      </a:r>
                      <a:endParaRPr lang="ru-KZ" sz="1400" dirty="0">
                        <a:solidFill>
                          <a:schemeClr val="tx1">
                            <a:lumMod val="65000"/>
                            <a:lumOff val="35000"/>
                          </a:schemeClr>
                        </a:solidFill>
                        <a:latin typeface="Century Gothic" panose="020B0502020202020204" pitchFamily="34" charset="0"/>
                      </a:endParaRPr>
                    </a:p>
                  </a:txBody>
                  <a:tcPr anchor="ctr"/>
                </a:tc>
                <a:tc>
                  <a:txBody>
                    <a:bodyPr/>
                    <a:lstStyle/>
                    <a:p>
                      <a:pPr algn="ctr"/>
                      <a:r>
                        <a:rPr lang="en-US" sz="1400" dirty="0">
                          <a:solidFill>
                            <a:schemeClr val="tx1">
                              <a:lumMod val="65000"/>
                              <a:lumOff val="35000"/>
                            </a:schemeClr>
                          </a:solidFill>
                          <a:latin typeface="Century Gothic" panose="020B0502020202020204" pitchFamily="34" charset="0"/>
                        </a:rPr>
                        <a:t>Melons and gourds</a:t>
                      </a:r>
                      <a:endParaRPr lang="ru-KZ" sz="1400" dirty="0">
                        <a:solidFill>
                          <a:schemeClr val="tx1">
                            <a:lumMod val="65000"/>
                            <a:lumOff val="35000"/>
                          </a:schemeClr>
                        </a:solidFill>
                        <a:latin typeface="Century Gothic" panose="020B0502020202020204" pitchFamily="34" charset="0"/>
                      </a:endParaRPr>
                    </a:p>
                  </a:txBody>
                  <a:tcPr anchor="ctr"/>
                </a:tc>
                <a:tc>
                  <a:txBody>
                    <a:bodyPr/>
                    <a:lstStyle/>
                    <a:p>
                      <a:pPr algn="ctr"/>
                      <a:r>
                        <a:rPr lang="en-US" sz="1400" dirty="0">
                          <a:solidFill>
                            <a:schemeClr val="tx1">
                              <a:lumMod val="65000"/>
                              <a:lumOff val="35000"/>
                            </a:schemeClr>
                          </a:solidFill>
                          <a:latin typeface="Century Gothic" panose="020B0502020202020204" pitchFamily="34" charset="0"/>
                        </a:rPr>
                        <a:t>Vegetables</a:t>
                      </a:r>
                      <a:r>
                        <a:rPr lang="en-US" sz="1400" baseline="0" dirty="0">
                          <a:solidFill>
                            <a:schemeClr val="tx1">
                              <a:lumMod val="65000"/>
                              <a:lumOff val="35000"/>
                            </a:schemeClr>
                          </a:solidFill>
                          <a:latin typeface="Century Gothic" panose="020B0502020202020204" pitchFamily="34" charset="0"/>
                        </a:rPr>
                        <a:t> and fruits</a:t>
                      </a:r>
                      <a:endParaRPr lang="ru-KZ" sz="1400" dirty="0">
                        <a:solidFill>
                          <a:schemeClr val="tx1">
                            <a:lumMod val="65000"/>
                            <a:lumOff val="35000"/>
                          </a:schemeClr>
                        </a:solidFill>
                        <a:latin typeface="Century Gothic" panose="020B0502020202020204" pitchFamily="34" charset="0"/>
                      </a:endParaRPr>
                    </a:p>
                  </a:txBody>
                  <a:tcPr anchor="ctr"/>
                </a:tc>
                <a:tc>
                  <a:txBody>
                    <a:bodyPr/>
                    <a:lstStyle/>
                    <a:p>
                      <a:pPr algn="ctr"/>
                      <a:r>
                        <a:rPr lang="en-US" sz="1400" dirty="0">
                          <a:solidFill>
                            <a:schemeClr val="tx1">
                              <a:lumMod val="65000"/>
                              <a:lumOff val="35000"/>
                            </a:schemeClr>
                          </a:solidFill>
                          <a:latin typeface="Century Gothic" panose="020B0502020202020204" pitchFamily="34" charset="0"/>
                        </a:rPr>
                        <a:t>Barley</a:t>
                      </a:r>
                      <a:endParaRPr lang="ru-KZ" sz="1400" dirty="0">
                        <a:solidFill>
                          <a:schemeClr val="tx1">
                            <a:lumMod val="65000"/>
                            <a:lumOff val="35000"/>
                          </a:schemeClr>
                        </a:solidFill>
                        <a:latin typeface="Century Gothic" panose="020B0502020202020204" pitchFamily="34" charset="0"/>
                      </a:endParaRPr>
                    </a:p>
                  </a:txBody>
                  <a:tcPr anchor="ctr"/>
                </a:tc>
                <a:tc>
                  <a:txBody>
                    <a:bodyPr/>
                    <a:lstStyle/>
                    <a:p>
                      <a:pPr algn="ctr"/>
                      <a:r>
                        <a:rPr lang="en-US" sz="1400" dirty="0">
                          <a:solidFill>
                            <a:schemeClr val="tx1">
                              <a:lumMod val="65000"/>
                              <a:lumOff val="35000"/>
                            </a:schemeClr>
                          </a:solidFill>
                          <a:latin typeface="Century Gothic" panose="020B0502020202020204" pitchFamily="34" charset="0"/>
                        </a:rPr>
                        <a:t>Oats</a:t>
                      </a:r>
                      <a:endParaRPr lang="ru-KZ" sz="1400" dirty="0">
                        <a:solidFill>
                          <a:schemeClr val="tx1">
                            <a:lumMod val="65000"/>
                            <a:lumOff val="35000"/>
                          </a:schemeClr>
                        </a:solidFill>
                        <a:latin typeface="Century Gothic" panose="020B050202020202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tx1">
                              <a:lumMod val="65000"/>
                              <a:lumOff val="35000"/>
                            </a:schemeClr>
                          </a:solidFill>
                          <a:latin typeface="Century Gothic" panose="020B0502020202020204" pitchFamily="34" charset="0"/>
                        </a:rPr>
                        <a:t>Share of</a:t>
                      </a:r>
                      <a:r>
                        <a:rPr lang="en-US" sz="1400" baseline="0" dirty="0">
                          <a:solidFill>
                            <a:schemeClr val="tx1">
                              <a:lumMod val="65000"/>
                              <a:lumOff val="35000"/>
                            </a:schemeClr>
                          </a:solidFill>
                          <a:latin typeface="Century Gothic" panose="020B0502020202020204" pitchFamily="34" charset="0"/>
                        </a:rPr>
                        <a:t> barley</a:t>
                      </a:r>
                      <a:endParaRPr lang="ru-KZ" sz="1400" dirty="0">
                        <a:solidFill>
                          <a:schemeClr val="tx1">
                            <a:lumMod val="65000"/>
                            <a:lumOff val="35000"/>
                          </a:schemeClr>
                        </a:solidFill>
                        <a:latin typeface="Century Gothic" panose="020B050202020202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tx1">
                              <a:lumMod val="65000"/>
                              <a:lumOff val="35000"/>
                            </a:schemeClr>
                          </a:solidFill>
                          <a:latin typeface="Century Gothic" panose="020B0502020202020204" pitchFamily="34" charset="0"/>
                        </a:rPr>
                        <a:t>Share of oats</a:t>
                      </a:r>
                      <a:endParaRPr lang="ru-KZ" sz="1400" dirty="0">
                        <a:solidFill>
                          <a:schemeClr val="tx1">
                            <a:lumMod val="65000"/>
                            <a:lumOff val="35000"/>
                          </a:schemeClr>
                        </a:solidFill>
                        <a:latin typeface="Century Gothic" panose="020B0502020202020204" pitchFamily="34" charset="0"/>
                      </a:endParaRPr>
                    </a:p>
                  </a:txBody>
                  <a:tcPr anchor="ctr"/>
                </a:tc>
                <a:extLst>
                  <a:ext uri="{0D108BD9-81ED-4DB2-BD59-A6C34878D82A}">
                    <a16:rowId xmlns:a16="http://schemas.microsoft.com/office/drawing/2014/main" val="3189081216"/>
                  </a:ext>
                </a:extLst>
              </a:tr>
              <a:tr h="283671">
                <a:tc>
                  <a:txBody>
                    <a:bodyPr/>
                    <a:lstStyle/>
                    <a:p>
                      <a:pPr algn="ctr"/>
                      <a:r>
                        <a:rPr lang="ru-KZ" sz="1400" dirty="0">
                          <a:solidFill>
                            <a:schemeClr val="tx1">
                              <a:lumMod val="65000"/>
                              <a:lumOff val="35000"/>
                            </a:schemeClr>
                          </a:solidFill>
                          <a:latin typeface="Century Gothic" panose="020B0502020202020204" pitchFamily="34" charset="0"/>
                        </a:rPr>
                        <a:t>2022</a:t>
                      </a:r>
                    </a:p>
                  </a:txBody>
                  <a:tcPr anchor="ctr"/>
                </a:tc>
                <a:tc>
                  <a:txBody>
                    <a:bodyPr/>
                    <a:lstStyle/>
                    <a:p>
                      <a:pPr algn="ctr"/>
                      <a:r>
                        <a:rPr lang="ru-RU" sz="1400" dirty="0">
                          <a:solidFill>
                            <a:schemeClr val="tx1">
                              <a:lumMod val="65000"/>
                              <a:lumOff val="35000"/>
                            </a:schemeClr>
                          </a:solidFill>
                          <a:latin typeface="Century Gothic" panose="020B0502020202020204" pitchFamily="34" charset="0"/>
                        </a:rPr>
                        <a:t>21 597</a:t>
                      </a:r>
                      <a:endParaRPr lang="ru-KZ" sz="1400" dirty="0">
                        <a:solidFill>
                          <a:schemeClr val="tx1">
                            <a:lumMod val="65000"/>
                            <a:lumOff val="35000"/>
                          </a:schemeClr>
                        </a:solidFill>
                        <a:latin typeface="Century Gothic" panose="020B0502020202020204" pitchFamily="34" charset="0"/>
                      </a:endParaRPr>
                    </a:p>
                  </a:txBody>
                  <a:tcPr anchor="ctr"/>
                </a:tc>
                <a:tc>
                  <a:txBody>
                    <a:bodyPr/>
                    <a:lstStyle/>
                    <a:p>
                      <a:pPr algn="ctr"/>
                      <a:r>
                        <a:rPr lang="ru-RU" sz="1400" dirty="0">
                          <a:solidFill>
                            <a:schemeClr val="tx1">
                              <a:lumMod val="65000"/>
                              <a:lumOff val="35000"/>
                            </a:schemeClr>
                          </a:solidFill>
                          <a:latin typeface="Century Gothic" panose="020B0502020202020204" pitchFamily="34" charset="0"/>
                        </a:rPr>
                        <a:t>10 792</a:t>
                      </a:r>
                      <a:endParaRPr lang="ru-KZ" sz="1400" dirty="0">
                        <a:solidFill>
                          <a:schemeClr val="tx1">
                            <a:lumMod val="65000"/>
                            <a:lumOff val="35000"/>
                          </a:schemeClr>
                        </a:solidFill>
                        <a:latin typeface="Century Gothic" panose="020B0502020202020204" pitchFamily="34" charset="0"/>
                      </a:endParaRPr>
                    </a:p>
                  </a:txBody>
                  <a:tcPr anchor="ctr"/>
                </a:tc>
                <a:tc>
                  <a:txBody>
                    <a:bodyPr/>
                    <a:lstStyle/>
                    <a:p>
                      <a:pPr algn="ctr"/>
                      <a:r>
                        <a:rPr lang="ru-RU" sz="1400" dirty="0">
                          <a:solidFill>
                            <a:schemeClr val="tx1">
                              <a:lumMod val="65000"/>
                              <a:lumOff val="35000"/>
                            </a:schemeClr>
                          </a:solidFill>
                          <a:latin typeface="Century Gothic" panose="020B0502020202020204" pitchFamily="34" charset="0"/>
                        </a:rPr>
                        <a:t>1 099</a:t>
                      </a:r>
                      <a:endParaRPr lang="ru-KZ" sz="1400" dirty="0">
                        <a:solidFill>
                          <a:schemeClr val="tx1">
                            <a:lumMod val="65000"/>
                            <a:lumOff val="35000"/>
                          </a:schemeClr>
                        </a:solidFill>
                        <a:latin typeface="Century Gothic" panose="020B0502020202020204" pitchFamily="34" charset="0"/>
                      </a:endParaRPr>
                    </a:p>
                  </a:txBody>
                  <a:tcPr anchor="ctr"/>
                </a:tc>
                <a:tc>
                  <a:txBody>
                    <a:bodyPr/>
                    <a:lstStyle/>
                    <a:p>
                      <a:pPr algn="ctr"/>
                      <a:r>
                        <a:rPr lang="ru-RU" sz="1400" dirty="0">
                          <a:solidFill>
                            <a:schemeClr val="tx1">
                              <a:lumMod val="65000"/>
                              <a:lumOff val="35000"/>
                            </a:schemeClr>
                          </a:solidFill>
                          <a:latin typeface="Century Gothic" panose="020B0502020202020204" pitchFamily="34" charset="0"/>
                        </a:rPr>
                        <a:t>3 287</a:t>
                      </a:r>
                      <a:endParaRPr lang="ru-KZ" sz="1400" dirty="0">
                        <a:solidFill>
                          <a:schemeClr val="tx1">
                            <a:lumMod val="65000"/>
                            <a:lumOff val="35000"/>
                          </a:schemeClr>
                        </a:solidFill>
                        <a:latin typeface="Century Gothic" panose="020B0502020202020204" pitchFamily="34" charset="0"/>
                      </a:endParaRPr>
                    </a:p>
                  </a:txBody>
                  <a:tcPr anchor="ctr"/>
                </a:tc>
                <a:tc>
                  <a:txBody>
                    <a:bodyPr/>
                    <a:lstStyle/>
                    <a:p>
                      <a:pPr algn="ctr"/>
                      <a:r>
                        <a:rPr lang="ru-RU" sz="1400" dirty="0">
                          <a:solidFill>
                            <a:schemeClr val="tx1">
                              <a:lumMod val="65000"/>
                              <a:lumOff val="35000"/>
                            </a:schemeClr>
                          </a:solidFill>
                          <a:latin typeface="Century Gothic" panose="020B0502020202020204" pitchFamily="34" charset="0"/>
                        </a:rPr>
                        <a:t>229</a:t>
                      </a:r>
                      <a:endParaRPr lang="ru-KZ" sz="1400" dirty="0">
                        <a:solidFill>
                          <a:schemeClr val="tx1">
                            <a:lumMod val="65000"/>
                            <a:lumOff val="35000"/>
                          </a:schemeClr>
                        </a:solidFill>
                        <a:latin typeface="Century Gothic" panose="020B0502020202020204" pitchFamily="34" charset="0"/>
                      </a:endParaRPr>
                    </a:p>
                  </a:txBody>
                  <a:tcPr anchor="ctr"/>
                </a:tc>
                <a:tc>
                  <a:txBody>
                    <a:bodyPr/>
                    <a:lstStyle/>
                    <a:p>
                      <a:pPr algn="ctr"/>
                      <a:r>
                        <a:rPr lang="ru-RU" sz="1400" dirty="0">
                          <a:solidFill>
                            <a:schemeClr val="tx1">
                              <a:lumMod val="65000"/>
                              <a:lumOff val="35000"/>
                            </a:schemeClr>
                          </a:solidFill>
                          <a:latin typeface="Century Gothic" panose="020B0502020202020204" pitchFamily="34" charset="0"/>
                        </a:rPr>
                        <a:t>9,8</a:t>
                      </a:r>
                      <a:r>
                        <a:rPr lang="en-US" sz="1400" dirty="0">
                          <a:solidFill>
                            <a:schemeClr val="tx1">
                              <a:lumMod val="65000"/>
                              <a:lumOff val="35000"/>
                            </a:schemeClr>
                          </a:solidFill>
                          <a:latin typeface="Century Gothic" panose="020B0502020202020204" pitchFamily="34" charset="0"/>
                        </a:rPr>
                        <a:t>% </a:t>
                      </a:r>
                      <a:endParaRPr lang="ru-KZ" sz="1400" dirty="0">
                        <a:solidFill>
                          <a:schemeClr val="tx1">
                            <a:lumMod val="65000"/>
                            <a:lumOff val="35000"/>
                          </a:schemeClr>
                        </a:solidFill>
                        <a:latin typeface="Century Gothic" panose="020B0502020202020204" pitchFamily="34" charset="0"/>
                      </a:endParaRPr>
                    </a:p>
                  </a:txBody>
                  <a:tcPr anchor="ctr"/>
                </a:tc>
                <a:tc>
                  <a:txBody>
                    <a:bodyPr/>
                    <a:lstStyle/>
                    <a:p>
                      <a:pPr algn="ctr"/>
                      <a:r>
                        <a:rPr lang="ru-RU" sz="1400" dirty="0">
                          <a:solidFill>
                            <a:schemeClr val="tx1">
                              <a:lumMod val="65000"/>
                              <a:lumOff val="35000"/>
                            </a:schemeClr>
                          </a:solidFill>
                          <a:latin typeface="Century Gothic" panose="020B0502020202020204" pitchFamily="34" charset="0"/>
                        </a:rPr>
                        <a:t>0</a:t>
                      </a:r>
                      <a:r>
                        <a:rPr lang="en-US" sz="1400" dirty="0">
                          <a:solidFill>
                            <a:schemeClr val="tx1">
                              <a:lumMod val="65000"/>
                              <a:lumOff val="35000"/>
                            </a:schemeClr>
                          </a:solidFill>
                          <a:latin typeface="Century Gothic" panose="020B0502020202020204" pitchFamily="34" charset="0"/>
                        </a:rPr>
                        <a:t>,</a:t>
                      </a:r>
                      <a:r>
                        <a:rPr lang="ru-RU" sz="1400" dirty="0">
                          <a:solidFill>
                            <a:schemeClr val="tx1">
                              <a:lumMod val="65000"/>
                              <a:lumOff val="35000"/>
                            </a:schemeClr>
                          </a:solidFill>
                          <a:latin typeface="Century Gothic" panose="020B0502020202020204" pitchFamily="34" charset="0"/>
                        </a:rPr>
                        <a:t>6</a:t>
                      </a:r>
                      <a:r>
                        <a:rPr lang="en-US" sz="1400" dirty="0">
                          <a:solidFill>
                            <a:schemeClr val="tx1">
                              <a:lumMod val="65000"/>
                              <a:lumOff val="35000"/>
                            </a:schemeClr>
                          </a:solidFill>
                          <a:latin typeface="Century Gothic" panose="020B0502020202020204" pitchFamily="34" charset="0"/>
                        </a:rPr>
                        <a:t>%</a:t>
                      </a:r>
                      <a:endParaRPr lang="ru-KZ" sz="1400" dirty="0">
                        <a:solidFill>
                          <a:schemeClr val="tx1">
                            <a:lumMod val="65000"/>
                            <a:lumOff val="35000"/>
                          </a:schemeClr>
                        </a:solidFill>
                        <a:latin typeface="Century Gothic" panose="020B0502020202020204" pitchFamily="34" charset="0"/>
                      </a:endParaRPr>
                    </a:p>
                  </a:txBody>
                  <a:tcPr anchor="ctr"/>
                </a:tc>
                <a:extLst>
                  <a:ext uri="{0D108BD9-81ED-4DB2-BD59-A6C34878D82A}">
                    <a16:rowId xmlns:a16="http://schemas.microsoft.com/office/drawing/2014/main" val="470707502"/>
                  </a:ext>
                </a:extLst>
              </a:tr>
              <a:tr h="366046">
                <a:tc>
                  <a:txBody>
                    <a:bodyPr/>
                    <a:lstStyle/>
                    <a:p>
                      <a:pPr algn="ctr"/>
                      <a:r>
                        <a:rPr lang="ru-KZ" sz="1400" dirty="0">
                          <a:solidFill>
                            <a:schemeClr val="tx1">
                              <a:lumMod val="65000"/>
                              <a:lumOff val="35000"/>
                            </a:schemeClr>
                          </a:solidFill>
                          <a:latin typeface="Century Gothic" panose="020B0502020202020204" pitchFamily="34" charset="0"/>
                        </a:rPr>
                        <a:t>2023</a:t>
                      </a:r>
                    </a:p>
                  </a:txBody>
                  <a:tcPr anchor="ctr"/>
                </a:tc>
                <a:tc>
                  <a:txBody>
                    <a:bodyPr/>
                    <a:lstStyle/>
                    <a:p>
                      <a:pPr algn="ctr"/>
                      <a:r>
                        <a:rPr lang="ru-RU" sz="1400" dirty="0">
                          <a:solidFill>
                            <a:schemeClr val="tx1">
                              <a:lumMod val="65000"/>
                              <a:lumOff val="35000"/>
                            </a:schemeClr>
                          </a:solidFill>
                          <a:latin typeface="Century Gothic" panose="020B0502020202020204" pitchFamily="34" charset="0"/>
                        </a:rPr>
                        <a:t>16 646</a:t>
                      </a:r>
                      <a:endParaRPr lang="ru-KZ" sz="1400" dirty="0">
                        <a:solidFill>
                          <a:schemeClr val="tx1">
                            <a:lumMod val="65000"/>
                            <a:lumOff val="35000"/>
                          </a:schemeClr>
                        </a:solidFill>
                        <a:latin typeface="Century Gothic" panose="020B0502020202020204" pitchFamily="34" charset="0"/>
                      </a:endParaRPr>
                    </a:p>
                  </a:txBody>
                  <a:tcPr anchor="ctr"/>
                </a:tc>
                <a:tc>
                  <a:txBody>
                    <a:bodyPr/>
                    <a:lstStyle/>
                    <a:p>
                      <a:pPr algn="ctr"/>
                      <a:r>
                        <a:rPr lang="ru-RU" sz="1400" dirty="0">
                          <a:solidFill>
                            <a:schemeClr val="tx1">
                              <a:lumMod val="65000"/>
                              <a:lumOff val="35000"/>
                            </a:schemeClr>
                          </a:solidFill>
                          <a:latin typeface="Century Gothic" panose="020B0502020202020204" pitchFamily="34" charset="0"/>
                        </a:rPr>
                        <a:t>8 259</a:t>
                      </a:r>
                      <a:endParaRPr lang="ru-KZ" sz="1400" dirty="0">
                        <a:solidFill>
                          <a:schemeClr val="tx1">
                            <a:lumMod val="65000"/>
                            <a:lumOff val="35000"/>
                          </a:schemeClr>
                        </a:solidFill>
                        <a:latin typeface="Century Gothic" panose="020B0502020202020204" pitchFamily="34" charset="0"/>
                      </a:endParaRPr>
                    </a:p>
                  </a:txBody>
                  <a:tcPr anchor="ctr"/>
                </a:tc>
                <a:tc>
                  <a:txBody>
                    <a:bodyPr/>
                    <a:lstStyle/>
                    <a:p>
                      <a:pPr algn="ctr"/>
                      <a:r>
                        <a:rPr lang="ru-RU" sz="1400" dirty="0">
                          <a:solidFill>
                            <a:schemeClr val="tx1">
                              <a:lumMod val="65000"/>
                              <a:lumOff val="35000"/>
                            </a:schemeClr>
                          </a:solidFill>
                          <a:latin typeface="Century Gothic" panose="020B0502020202020204" pitchFamily="34" charset="0"/>
                        </a:rPr>
                        <a:t>1 089</a:t>
                      </a:r>
                      <a:endParaRPr lang="ru-KZ" sz="1400" dirty="0">
                        <a:solidFill>
                          <a:schemeClr val="tx1">
                            <a:lumMod val="65000"/>
                            <a:lumOff val="35000"/>
                          </a:schemeClr>
                        </a:solidFill>
                        <a:latin typeface="Century Gothic" panose="020B0502020202020204" pitchFamily="34" charset="0"/>
                      </a:endParaRPr>
                    </a:p>
                  </a:txBody>
                  <a:tcPr anchor="ctr"/>
                </a:tc>
                <a:tc>
                  <a:txBody>
                    <a:bodyPr/>
                    <a:lstStyle/>
                    <a:p>
                      <a:pPr algn="ctr"/>
                      <a:r>
                        <a:rPr lang="ru-RU" sz="1400" dirty="0">
                          <a:solidFill>
                            <a:schemeClr val="tx1">
                              <a:lumMod val="65000"/>
                              <a:lumOff val="35000"/>
                            </a:schemeClr>
                          </a:solidFill>
                          <a:latin typeface="Century Gothic" panose="020B0502020202020204" pitchFamily="34" charset="0"/>
                        </a:rPr>
                        <a:t>2 613</a:t>
                      </a:r>
                      <a:endParaRPr lang="ru-KZ" sz="1400" dirty="0">
                        <a:solidFill>
                          <a:schemeClr val="tx1">
                            <a:lumMod val="65000"/>
                            <a:lumOff val="35000"/>
                          </a:schemeClr>
                        </a:solidFill>
                        <a:latin typeface="Century Gothic" panose="020B0502020202020204" pitchFamily="34" charset="0"/>
                      </a:endParaRPr>
                    </a:p>
                  </a:txBody>
                  <a:tcPr anchor="ctr"/>
                </a:tc>
                <a:tc>
                  <a:txBody>
                    <a:bodyPr/>
                    <a:lstStyle/>
                    <a:p>
                      <a:pPr algn="ctr"/>
                      <a:r>
                        <a:rPr lang="ru-RU" sz="1400" dirty="0">
                          <a:solidFill>
                            <a:schemeClr val="tx1">
                              <a:lumMod val="65000"/>
                              <a:lumOff val="35000"/>
                            </a:schemeClr>
                          </a:solidFill>
                          <a:latin typeface="Century Gothic" panose="020B0502020202020204" pitchFamily="34" charset="0"/>
                        </a:rPr>
                        <a:t>149</a:t>
                      </a:r>
                      <a:endParaRPr lang="ru-KZ" sz="1400" dirty="0">
                        <a:solidFill>
                          <a:schemeClr val="tx1">
                            <a:lumMod val="65000"/>
                            <a:lumOff val="35000"/>
                          </a:schemeClr>
                        </a:solidFill>
                        <a:latin typeface="Century Gothic" panose="020B0502020202020204" pitchFamily="34" charset="0"/>
                      </a:endParaRPr>
                    </a:p>
                  </a:txBody>
                  <a:tcPr anchor="ctr"/>
                </a:tc>
                <a:tc>
                  <a:txBody>
                    <a:bodyPr/>
                    <a:lstStyle/>
                    <a:p>
                      <a:pPr algn="ctr"/>
                      <a:r>
                        <a:rPr lang="en-US" sz="1400" dirty="0">
                          <a:solidFill>
                            <a:schemeClr val="tx1">
                              <a:lumMod val="65000"/>
                              <a:lumOff val="35000"/>
                            </a:schemeClr>
                          </a:solidFill>
                          <a:latin typeface="Century Gothic" panose="020B0502020202020204" pitchFamily="34" charset="0"/>
                        </a:rPr>
                        <a:t>1</a:t>
                      </a:r>
                      <a:r>
                        <a:rPr lang="ru-RU" sz="1400" dirty="0">
                          <a:solidFill>
                            <a:schemeClr val="tx1">
                              <a:lumMod val="65000"/>
                              <a:lumOff val="35000"/>
                            </a:schemeClr>
                          </a:solidFill>
                          <a:latin typeface="Century Gothic" panose="020B0502020202020204" pitchFamily="34" charset="0"/>
                        </a:rPr>
                        <a:t>0</a:t>
                      </a:r>
                      <a:r>
                        <a:rPr lang="en-US" sz="1400" dirty="0">
                          <a:solidFill>
                            <a:schemeClr val="tx1">
                              <a:lumMod val="65000"/>
                              <a:lumOff val="35000"/>
                            </a:schemeClr>
                          </a:solidFill>
                          <a:latin typeface="Century Gothic" panose="020B0502020202020204" pitchFamily="34" charset="0"/>
                        </a:rPr>
                        <a:t>% </a:t>
                      </a:r>
                      <a:endParaRPr lang="ru-KZ" sz="1400" dirty="0">
                        <a:solidFill>
                          <a:schemeClr val="tx1">
                            <a:lumMod val="65000"/>
                            <a:lumOff val="35000"/>
                          </a:schemeClr>
                        </a:solidFill>
                        <a:latin typeface="Century Gothic" panose="020B0502020202020204" pitchFamily="34" charset="0"/>
                      </a:endParaRPr>
                    </a:p>
                  </a:txBody>
                  <a:tcPr anchor="ctr"/>
                </a:tc>
                <a:tc>
                  <a:txBody>
                    <a:bodyPr/>
                    <a:lstStyle/>
                    <a:p>
                      <a:pPr algn="ctr"/>
                      <a:r>
                        <a:rPr lang="en-US" sz="1400" dirty="0">
                          <a:solidFill>
                            <a:schemeClr val="tx1">
                              <a:lumMod val="65000"/>
                              <a:lumOff val="35000"/>
                            </a:schemeClr>
                          </a:solidFill>
                          <a:latin typeface="Century Gothic" panose="020B0502020202020204" pitchFamily="34" charset="0"/>
                        </a:rPr>
                        <a:t>0,</a:t>
                      </a:r>
                      <a:r>
                        <a:rPr lang="ru-RU" sz="1400" dirty="0">
                          <a:solidFill>
                            <a:schemeClr val="tx1">
                              <a:lumMod val="65000"/>
                              <a:lumOff val="35000"/>
                            </a:schemeClr>
                          </a:solidFill>
                          <a:latin typeface="Century Gothic" panose="020B0502020202020204" pitchFamily="34" charset="0"/>
                        </a:rPr>
                        <a:t>5</a:t>
                      </a:r>
                      <a:r>
                        <a:rPr lang="en-US" sz="1400" dirty="0">
                          <a:solidFill>
                            <a:schemeClr val="tx1">
                              <a:lumMod val="65000"/>
                              <a:lumOff val="35000"/>
                            </a:schemeClr>
                          </a:solidFill>
                          <a:latin typeface="Century Gothic" panose="020B0502020202020204" pitchFamily="34" charset="0"/>
                        </a:rPr>
                        <a:t>%</a:t>
                      </a:r>
                      <a:endParaRPr lang="ru-KZ" sz="1400" dirty="0">
                        <a:solidFill>
                          <a:schemeClr val="tx1">
                            <a:lumMod val="65000"/>
                            <a:lumOff val="35000"/>
                          </a:schemeClr>
                        </a:solidFill>
                        <a:latin typeface="Century Gothic" panose="020B0502020202020204" pitchFamily="34" charset="0"/>
                      </a:endParaRPr>
                    </a:p>
                  </a:txBody>
                  <a:tcPr anchor="ctr"/>
                </a:tc>
                <a:extLst>
                  <a:ext uri="{0D108BD9-81ED-4DB2-BD59-A6C34878D82A}">
                    <a16:rowId xmlns:a16="http://schemas.microsoft.com/office/drawing/2014/main" val="1866241871"/>
                  </a:ext>
                </a:extLst>
              </a:tr>
              <a:tr h="331536">
                <a:tc>
                  <a:txBody>
                    <a:bodyPr/>
                    <a:lstStyle/>
                    <a:p>
                      <a:pPr algn="ctr"/>
                      <a:r>
                        <a:rPr lang="ru-KZ" sz="1400" dirty="0">
                          <a:solidFill>
                            <a:schemeClr val="tx1">
                              <a:lumMod val="65000"/>
                              <a:lumOff val="35000"/>
                            </a:schemeClr>
                          </a:solidFill>
                          <a:latin typeface="Century Gothic" panose="020B0502020202020204" pitchFamily="34" charset="0"/>
                        </a:rPr>
                        <a:t>2024</a:t>
                      </a:r>
                    </a:p>
                  </a:txBody>
                  <a:tcPr anchor="ctr"/>
                </a:tc>
                <a:tc>
                  <a:txBody>
                    <a:bodyPr/>
                    <a:lstStyle/>
                    <a:p>
                      <a:pPr algn="ctr"/>
                      <a:r>
                        <a:rPr lang="ru-RU" sz="1400" dirty="0">
                          <a:solidFill>
                            <a:schemeClr val="tx1">
                              <a:lumMod val="65000"/>
                              <a:lumOff val="35000"/>
                            </a:schemeClr>
                          </a:solidFill>
                          <a:latin typeface="Century Gothic" panose="020B0502020202020204" pitchFamily="34" charset="0"/>
                        </a:rPr>
                        <a:t>24 381</a:t>
                      </a:r>
                      <a:endParaRPr lang="ru-KZ" sz="1400" dirty="0">
                        <a:solidFill>
                          <a:schemeClr val="tx1">
                            <a:lumMod val="65000"/>
                            <a:lumOff val="35000"/>
                          </a:schemeClr>
                        </a:solidFill>
                        <a:latin typeface="Century Gothic" panose="020B0502020202020204" pitchFamily="34" charset="0"/>
                      </a:endParaRPr>
                    </a:p>
                  </a:txBody>
                  <a:tcPr anchor="ctr"/>
                </a:tc>
                <a:tc>
                  <a:txBody>
                    <a:bodyPr/>
                    <a:lstStyle/>
                    <a:p>
                      <a:pPr algn="ctr"/>
                      <a:r>
                        <a:rPr lang="ru-RU" sz="1400" dirty="0">
                          <a:solidFill>
                            <a:schemeClr val="tx1">
                              <a:lumMod val="65000"/>
                              <a:lumOff val="35000"/>
                            </a:schemeClr>
                          </a:solidFill>
                          <a:latin typeface="Century Gothic" panose="020B0502020202020204" pitchFamily="34" charset="0"/>
                        </a:rPr>
                        <a:t>5 527</a:t>
                      </a:r>
                      <a:endParaRPr lang="ru-KZ" sz="1400" dirty="0">
                        <a:solidFill>
                          <a:schemeClr val="tx1">
                            <a:lumMod val="65000"/>
                            <a:lumOff val="35000"/>
                          </a:schemeClr>
                        </a:solidFill>
                        <a:latin typeface="Century Gothic" panose="020B0502020202020204" pitchFamily="34" charset="0"/>
                      </a:endParaRPr>
                    </a:p>
                  </a:txBody>
                  <a:tcPr anchor="ctr"/>
                </a:tc>
                <a:tc>
                  <a:txBody>
                    <a:bodyPr/>
                    <a:lstStyle/>
                    <a:p>
                      <a:pPr algn="ctr"/>
                      <a:r>
                        <a:rPr lang="ru-RU" sz="1400" dirty="0">
                          <a:solidFill>
                            <a:schemeClr val="tx1">
                              <a:lumMod val="65000"/>
                              <a:lumOff val="35000"/>
                            </a:schemeClr>
                          </a:solidFill>
                          <a:latin typeface="Century Gothic" panose="020B0502020202020204" pitchFamily="34" charset="0"/>
                        </a:rPr>
                        <a:t>940</a:t>
                      </a:r>
                      <a:endParaRPr lang="ru-KZ" sz="1400" dirty="0">
                        <a:solidFill>
                          <a:schemeClr val="tx1">
                            <a:lumMod val="65000"/>
                            <a:lumOff val="35000"/>
                          </a:schemeClr>
                        </a:solidFill>
                        <a:latin typeface="Century Gothic" panose="020B0502020202020204" pitchFamily="34" charset="0"/>
                      </a:endParaRPr>
                    </a:p>
                  </a:txBody>
                  <a:tcPr anchor="ctr"/>
                </a:tc>
                <a:tc>
                  <a:txBody>
                    <a:bodyPr/>
                    <a:lstStyle/>
                    <a:p>
                      <a:pPr algn="ctr"/>
                      <a:r>
                        <a:rPr lang="ru-RU" sz="1400" dirty="0">
                          <a:solidFill>
                            <a:schemeClr val="tx1">
                              <a:lumMod val="65000"/>
                              <a:lumOff val="35000"/>
                            </a:schemeClr>
                          </a:solidFill>
                          <a:latin typeface="Century Gothic" panose="020B0502020202020204" pitchFamily="34" charset="0"/>
                        </a:rPr>
                        <a:t>3 839</a:t>
                      </a:r>
                      <a:endParaRPr lang="ru-KZ" sz="1400" dirty="0">
                        <a:solidFill>
                          <a:schemeClr val="tx1">
                            <a:lumMod val="65000"/>
                            <a:lumOff val="35000"/>
                          </a:schemeClr>
                        </a:solidFill>
                        <a:latin typeface="Century Gothic" panose="020B0502020202020204" pitchFamily="34" charset="0"/>
                      </a:endParaRPr>
                    </a:p>
                  </a:txBody>
                  <a:tcPr anchor="ctr"/>
                </a:tc>
                <a:tc>
                  <a:txBody>
                    <a:bodyPr/>
                    <a:lstStyle/>
                    <a:p>
                      <a:pPr algn="ctr"/>
                      <a:r>
                        <a:rPr lang="ru-RU" sz="1400" dirty="0">
                          <a:solidFill>
                            <a:schemeClr val="tx1">
                              <a:lumMod val="65000"/>
                              <a:lumOff val="35000"/>
                            </a:schemeClr>
                          </a:solidFill>
                          <a:latin typeface="Century Gothic" panose="020B0502020202020204" pitchFamily="34" charset="0"/>
                        </a:rPr>
                        <a:t>329</a:t>
                      </a:r>
                      <a:endParaRPr lang="ru-KZ" sz="1400" dirty="0">
                        <a:solidFill>
                          <a:schemeClr val="tx1">
                            <a:lumMod val="65000"/>
                            <a:lumOff val="35000"/>
                          </a:schemeClr>
                        </a:solidFill>
                        <a:latin typeface="Century Gothic" panose="020B0502020202020204" pitchFamily="34" charset="0"/>
                      </a:endParaRPr>
                    </a:p>
                  </a:txBody>
                  <a:tcPr anchor="ctr"/>
                </a:tc>
                <a:tc>
                  <a:txBody>
                    <a:bodyPr/>
                    <a:lstStyle/>
                    <a:p>
                      <a:pPr algn="ctr"/>
                      <a:r>
                        <a:rPr lang="en-US" sz="1400" dirty="0">
                          <a:solidFill>
                            <a:schemeClr val="tx1">
                              <a:lumMod val="65000"/>
                              <a:lumOff val="35000"/>
                            </a:schemeClr>
                          </a:solidFill>
                          <a:latin typeface="Century Gothic" panose="020B0502020202020204" pitchFamily="34" charset="0"/>
                        </a:rPr>
                        <a:t>1</a:t>
                      </a:r>
                      <a:r>
                        <a:rPr lang="ru-RU" sz="1400" dirty="0">
                          <a:solidFill>
                            <a:schemeClr val="tx1">
                              <a:lumMod val="65000"/>
                              <a:lumOff val="35000"/>
                            </a:schemeClr>
                          </a:solidFill>
                          <a:latin typeface="Century Gothic" panose="020B0502020202020204" pitchFamily="34" charset="0"/>
                        </a:rPr>
                        <a:t>2</a:t>
                      </a:r>
                      <a:r>
                        <a:rPr lang="en-US" sz="1400" dirty="0">
                          <a:solidFill>
                            <a:schemeClr val="tx1">
                              <a:lumMod val="65000"/>
                              <a:lumOff val="35000"/>
                            </a:schemeClr>
                          </a:solidFill>
                          <a:latin typeface="Century Gothic" panose="020B0502020202020204" pitchFamily="34" charset="0"/>
                        </a:rPr>
                        <a:t>,</a:t>
                      </a:r>
                      <a:r>
                        <a:rPr lang="ru-RU" sz="1400" dirty="0">
                          <a:solidFill>
                            <a:schemeClr val="tx1">
                              <a:lumMod val="65000"/>
                              <a:lumOff val="35000"/>
                            </a:schemeClr>
                          </a:solidFill>
                          <a:latin typeface="Century Gothic" panose="020B0502020202020204" pitchFamily="34" charset="0"/>
                        </a:rPr>
                        <a:t>4</a:t>
                      </a:r>
                      <a:r>
                        <a:rPr lang="en-US" sz="1400" dirty="0">
                          <a:solidFill>
                            <a:schemeClr val="tx1">
                              <a:lumMod val="65000"/>
                              <a:lumOff val="35000"/>
                            </a:schemeClr>
                          </a:solidFill>
                          <a:latin typeface="Century Gothic" panose="020B0502020202020204" pitchFamily="34" charset="0"/>
                        </a:rPr>
                        <a:t>% </a:t>
                      </a:r>
                      <a:endParaRPr lang="ru-KZ" sz="1400" dirty="0">
                        <a:solidFill>
                          <a:schemeClr val="tx1">
                            <a:lumMod val="65000"/>
                            <a:lumOff val="35000"/>
                          </a:schemeClr>
                        </a:solidFill>
                        <a:latin typeface="Century Gothic" panose="020B0502020202020204" pitchFamily="34" charset="0"/>
                      </a:endParaRPr>
                    </a:p>
                  </a:txBody>
                  <a:tcPr anchor="ctr"/>
                </a:tc>
                <a:tc>
                  <a:txBody>
                    <a:bodyPr/>
                    <a:lstStyle/>
                    <a:p>
                      <a:pPr algn="ctr"/>
                      <a:r>
                        <a:rPr lang="en-US" sz="1400" dirty="0">
                          <a:solidFill>
                            <a:schemeClr val="tx1">
                              <a:lumMod val="65000"/>
                              <a:lumOff val="35000"/>
                            </a:schemeClr>
                          </a:solidFill>
                          <a:latin typeface="Century Gothic" panose="020B0502020202020204" pitchFamily="34" charset="0"/>
                        </a:rPr>
                        <a:t>1%</a:t>
                      </a:r>
                      <a:endParaRPr lang="ru-KZ" sz="1400" dirty="0">
                        <a:solidFill>
                          <a:schemeClr val="tx1">
                            <a:lumMod val="65000"/>
                            <a:lumOff val="35000"/>
                          </a:schemeClr>
                        </a:solidFill>
                        <a:latin typeface="Century Gothic" panose="020B0502020202020204" pitchFamily="34" charset="0"/>
                      </a:endParaRPr>
                    </a:p>
                  </a:txBody>
                  <a:tcPr anchor="ctr"/>
                </a:tc>
                <a:extLst>
                  <a:ext uri="{0D108BD9-81ED-4DB2-BD59-A6C34878D82A}">
                    <a16:rowId xmlns:a16="http://schemas.microsoft.com/office/drawing/2014/main" val="3996510959"/>
                  </a:ext>
                </a:extLst>
              </a:tr>
            </a:tbl>
          </a:graphicData>
        </a:graphic>
      </p:graphicFrame>
      <p:sp>
        <p:nvSpPr>
          <p:cNvPr id="3" name="TextBox 2">
            <a:extLst>
              <a:ext uri="{FF2B5EF4-FFF2-40B4-BE49-F238E27FC236}">
                <a16:creationId xmlns:a16="http://schemas.microsoft.com/office/drawing/2014/main" id="{DE489BDE-2588-E4F0-6F75-AE68BE4F6177}"/>
              </a:ext>
            </a:extLst>
          </p:cNvPr>
          <p:cNvSpPr txBox="1"/>
          <p:nvPr/>
        </p:nvSpPr>
        <p:spPr>
          <a:xfrm>
            <a:off x="271873" y="3022563"/>
            <a:ext cx="2232491"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ll values are in thousand tons</a:t>
            </a:r>
            <a:endParaRPr kumimoji="0" lang="ru-KZ" sz="100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5" name="TextBox 4">
            <a:extLst>
              <a:ext uri="{FF2B5EF4-FFF2-40B4-BE49-F238E27FC236}">
                <a16:creationId xmlns:a16="http://schemas.microsoft.com/office/drawing/2014/main" id="{B02CCDF0-A0E1-5464-EDFE-5295E44044D0}"/>
              </a:ext>
            </a:extLst>
          </p:cNvPr>
          <p:cNvSpPr txBox="1"/>
          <p:nvPr/>
        </p:nvSpPr>
        <p:spPr>
          <a:xfrm>
            <a:off x="349420" y="3553833"/>
            <a:ext cx="5466715" cy="2462213"/>
          </a:xfrm>
          <a:prstGeom prst="rect">
            <a:avLst/>
          </a:prstGeom>
          <a:noFill/>
          <a:ln w="28575">
            <a:solidFill>
              <a:schemeClr val="tx2">
                <a:lumMod val="75000"/>
                <a:lumOff val="25000"/>
              </a:schemeClr>
            </a:solidFill>
            <a:prstDash val="sysDot"/>
          </a:ln>
        </p:spPr>
        <p:txBody>
          <a:bodyPr wrap="square">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he structure of crop production in Kazakhstan remains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focused on grain crop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which account for over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60%</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of the total harvest. At the same time,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barley</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maintains a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stable share</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while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oat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re showing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growth</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which may indicate steps toward diversification.</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duction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volume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of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melons, vegetables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nd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fruit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re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declining</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likely due to climatic conditions and the reallocation of land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in favor of more resilient and export-oriented crop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This underscores the importance of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balanced development</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taking into account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domestic demand and food security</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t>
            </a: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grpSp>
        <p:nvGrpSpPr>
          <p:cNvPr id="4" name="Группа 3">
            <a:extLst>
              <a:ext uri="{FF2B5EF4-FFF2-40B4-BE49-F238E27FC236}">
                <a16:creationId xmlns:a16="http://schemas.microsoft.com/office/drawing/2014/main" id="{90C2B027-D189-C73E-3D28-D437E97B7640}"/>
              </a:ext>
            </a:extLst>
          </p:cNvPr>
          <p:cNvGrpSpPr/>
          <p:nvPr/>
        </p:nvGrpSpPr>
        <p:grpSpPr>
          <a:xfrm>
            <a:off x="6510061" y="3553833"/>
            <a:ext cx="5185754" cy="3163189"/>
            <a:chOff x="135165" y="90519"/>
            <a:chExt cx="11892752" cy="6652893"/>
          </a:xfrm>
          <a:solidFill>
            <a:schemeClr val="tx2">
              <a:lumMod val="10000"/>
              <a:lumOff val="90000"/>
            </a:schemeClr>
          </a:solidFill>
        </p:grpSpPr>
        <p:grpSp>
          <p:nvGrpSpPr>
            <p:cNvPr id="6" name="组合 99">
              <a:extLst>
                <a:ext uri="{FF2B5EF4-FFF2-40B4-BE49-F238E27FC236}">
                  <a16:creationId xmlns:a16="http://schemas.microsoft.com/office/drawing/2014/main" id="{935DDB67-24CE-F48C-870F-260A84122DD7}"/>
                </a:ext>
              </a:extLst>
            </p:cNvPr>
            <p:cNvGrpSpPr/>
            <p:nvPr/>
          </p:nvGrpSpPr>
          <p:grpSpPr>
            <a:xfrm>
              <a:off x="135165" y="90519"/>
              <a:ext cx="11892752" cy="6652893"/>
              <a:chOff x="719138" y="2320925"/>
              <a:chExt cx="5994400" cy="3346451"/>
            </a:xfrm>
            <a:grpFill/>
          </p:grpSpPr>
          <p:sp>
            <p:nvSpPr>
              <p:cNvPr id="11" name="任意多边形 92">
                <a:extLst>
                  <a:ext uri="{FF2B5EF4-FFF2-40B4-BE49-F238E27FC236}">
                    <a16:creationId xmlns:a16="http://schemas.microsoft.com/office/drawing/2014/main" id="{03DE2CAE-9346-5FCD-D05D-E4453FF2CC4A}"/>
                  </a:ext>
                </a:extLst>
              </p:cNvPr>
              <p:cNvSpPr>
                <a:spLocks/>
              </p:cNvSpPr>
              <p:nvPr/>
            </p:nvSpPr>
            <p:spPr bwMode="auto">
              <a:xfrm>
                <a:off x="3513012" y="2697163"/>
                <a:ext cx="1196785" cy="801688"/>
              </a:xfrm>
              <a:custGeom>
                <a:avLst/>
                <a:gdLst/>
                <a:ahLst/>
                <a:cxnLst/>
                <a:rect l="0" t="0" r="r" b="b"/>
                <a:pathLst>
                  <a:path w="14655896" h="9814804">
                    <a:moveTo>
                      <a:pt x="405571" y="5899247"/>
                    </a:moveTo>
                    <a:lnTo>
                      <a:pt x="458180" y="7258616"/>
                    </a:lnTo>
                    <a:lnTo>
                      <a:pt x="1272065" y="7252586"/>
                    </a:lnTo>
                    <a:lnTo>
                      <a:pt x="1645846" y="7927810"/>
                    </a:lnTo>
                    <a:lnTo>
                      <a:pt x="2586337" y="7921779"/>
                    </a:lnTo>
                    <a:lnTo>
                      <a:pt x="2773228" y="8259392"/>
                    </a:lnTo>
                    <a:lnTo>
                      <a:pt x="3159070" y="8518628"/>
                    </a:lnTo>
                    <a:lnTo>
                      <a:pt x="3629312" y="8789925"/>
                    </a:lnTo>
                    <a:lnTo>
                      <a:pt x="4618282" y="8729735"/>
                    </a:lnTo>
                    <a:lnTo>
                      <a:pt x="5401768" y="8042348"/>
                    </a:lnTo>
                    <a:lnTo>
                      <a:pt x="5884064" y="7957948"/>
                    </a:lnTo>
                    <a:lnTo>
                      <a:pt x="6119185" y="8416136"/>
                    </a:lnTo>
                    <a:lnTo>
                      <a:pt x="6450766" y="8795948"/>
                    </a:lnTo>
                    <a:lnTo>
                      <a:pt x="7059919" y="8883564"/>
                    </a:lnTo>
                    <a:lnTo>
                      <a:pt x="7373165" y="9543518"/>
                    </a:lnTo>
                    <a:lnTo>
                      <a:pt x="7825322" y="9356616"/>
                    </a:lnTo>
                    <a:lnTo>
                      <a:pt x="8301595" y="9603798"/>
                    </a:lnTo>
                    <a:lnTo>
                      <a:pt x="8747721" y="9814804"/>
                    </a:lnTo>
                    <a:lnTo>
                      <a:pt x="9175763" y="9519391"/>
                    </a:lnTo>
                    <a:lnTo>
                      <a:pt x="9314424" y="8946658"/>
                    </a:lnTo>
                    <a:lnTo>
                      <a:pt x="9947441" y="8301587"/>
                    </a:lnTo>
                    <a:lnTo>
                      <a:pt x="10839702" y="7740908"/>
                    </a:lnTo>
                    <a:lnTo>
                      <a:pt x="11086876" y="8235273"/>
                    </a:lnTo>
                    <a:lnTo>
                      <a:pt x="11075024" y="8696571"/>
                    </a:lnTo>
                    <a:lnTo>
                      <a:pt x="11611379" y="8801975"/>
                    </a:lnTo>
                    <a:lnTo>
                      <a:pt x="11912815" y="8295557"/>
                    </a:lnTo>
                    <a:lnTo>
                      <a:pt x="12461432" y="7957945"/>
                    </a:lnTo>
                    <a:lnTo>
                      <a:pt x="12690522" y="7409327"/>
                    </a:lnTo>
                    <a:lnTo>
                      <a:pt x="13184879" y="7373158"/>
                    </a:lnTo>
                    <a:lnTo>
                      <a:pt x="13263248" y="7089807"/>
                    </a:lnTo>
                    <a:lnTo>
                      <a:pt x="13817896" y="6655734"/>
                    </a:lnTo>
                    <a:lnTo>
                      <a:pt x="14523274" y="6535166"/>
                    </a:lnTo>
                    <a:lnTo>
                      <a:pt x="14149478" y="6101093"/>
                    </a:lnTo>
                    <a:lnTo>
                      <a:pt x="14276084" y="5558506"/>
                    </a:lnTo>
                    <a:lnTo>
                      <a:pt x="14655896" y="5383676"/>
                    </a:lnTo>
                    <a:lnTo>
                      <a:pt x="14270054" y="4714483"/>
                    </a:lnTo>
                    <a:lnTo>
                      <a:pt x="14541351" y="4171895"/>
                    </a:lnTo>
                    <a:lnTo>
                      <a:pt x="14462975" y="3116859"/>
                    </a:lnTo>
                    <a:lnTo>
                      <a:pt x="14092141" y="2401649"/>
                    </a:lnTo>
                    <a:lnTo>
                      <a:pt x="13347651" y="2219787"/>
                    </a:lnTo>
                    <a:lnTo>
                      <a:pt x="12606112" y="2172764"/>
                    </a:lnTo>
                    <a:lnTo>
                      <a:pt x="12269707" y="1583147"/>
                    </a:lnTo>
                    <a:lnTo>
                      <a:pt x="11032611" y="1894236"/>
                    </a:lnTo>
                    <a:lnTo>
                      <a:pt x="10620246" y="1423994"/>
                    </a:lnTo>
                    <a:lnTo>
                      <a:pt x="10207881" y="874169"/>
                    </a:lnTo>
                    <a:lnTo>
                      <a:pt x="9639971" y="932045"/>
                    </a:lnTo>
                    <a:lnTo>
                      <a:pt x="8862263" y="747562"/>
                    </a:lnTo>
                    <a:lnTo>
                      <a:pt x="8449897" y="1116528"/>
                    </a:lnTo>
                    <a:lnTo>
                      <a:pt x="7728858" y="530533"/>
                    </a:lnTo>
                    <a:lnTo>
                      <a:pt x="7457560" y="96461"/>
                    </a:lnTo>
                    <a:lnTo>
                      <a:pt x="7144071" y="0"/>
                    </a:lnTo>
                    <a:lnTo>
                      <a:pt x="6709998" y="259236"/>
                    </a:lnTo>
                    <a:lnTo>
                      <a:pt x="6239757" y="162775"/>
                    </a:lnTo>
                    <a:lnTo>
                      <a:pt x="5576594" y="247174"/>
                    </a:lnTo>
                    <a:lnTo>
                      <a:pt x="5220882" y="856065"/>
                    </a:lnTo>
                    <a:lnTo>
                      <a:pt x="5744200" y="1836359"/>
                    </a:lnTo>
                    <a:lnTo>
                      <a:pt x="5581424" y="2317455"/>
                    </a:lnTo>
                    <a:lnTo>
                      <a:pt x="4908615" y="2827488"/>
                    </a:lnTo>
                    <a:lnTo>
                      <a:pt x="3993447" y="3608819"/>
                    </a:lnTo>
                    <a:lnTo>
                      <a:pt x="3449906" y="3361159"/>
                    </a:lnTo>
                    <a:lnTo>
                      <a:pt x="3226593" y="3728180"/>
                    </a:lnTo>
                    <a:lnTo>
                      <a:pt x="2629744" y="3728180"/>
                    </a:lnTo>
                    <a:lnTo>
                      <a:pt x="2003958" y="3583489"/>
                    </a:lnTo>
                    <a:lnTo>
                      <a:pt x="1465852" y="3722609"/>
                    </a:lnTo>
                    <a:lnTo>
                      <a:pt x="753604" y="4804916"/>
                    </a:lnTo>
                    <a:lnTo>
                      <a:pt x="0" y="5443964"/>
                    </a:lnTo>
                    <a:lnTo>
                      <a:pt x="405571" y="5899247"/>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12" name="任意多边形 93">
                <a:extLst>
                  <a:ext uri="{FF2B5EF4-FFF2-40B4-BE49-F238E27FC236}">
                    <a16:creationId xmlns:a16="http://schemas.microsoft.com/office/drawing/2014/main" id="{273B3FEB-38C5-19ED-7D54-BEEE4BCE295C}"/>
                  </a:ext>
                </a:extLst>
              </p:cNvPr>
              <p:cNvSpPr>
                <a:spLocks/>
              </p:cNvSpPr>
              <p:nvPr/>
            </p:nvSpPr>
            <p:spPr bwMode="auto">
              <a:xfrm>
                <a:off x="3622214" y="2320925"/>
                <a:ext cx="1061551" cy="680403"/>
              </a:xfrm>
              <a:custGeom>
                <a:avLst/>
                <a:gdLst/>
                <a:ahLst/>
                <a:cxnLst/>
                <a:rect l="0" t="0" r="r" b="b"/>
                <a:pathLst>
                  <a:path w="12998892" h="8330529">
                    <a:moveTo>
                      <a:pt x="56654" y="7407720"/>
                    </a:moveTo>
                    <a:lnTo>
                      <a:pt x="0" y="6577494"/>
                    </a:lnTo>
                    <a:lnTo>
                      <a:pt x="534863" y="6069743"/>
                    </a:lnTo>
                    <a:lnTo>
                      <a:pt x="401029" y="5783984"/>
                    </a:lnTo>
                    <a:lnTo>
                      <a:pt x="534867" y="5505456"/>
                    </a:lnTo>
                    <a:lnTo>
                      <a:pt x="390176" y="4955630"/>
                    </a:lnTo>
                    <a:lnTo>
                      <a:pt x="708496" y="4716894"/>
                    </a:lnTo>
                    <a:lnTo>
                      <a:pt x="136963" y="4120046"/>
                    </a:lnTo>
                    <a:lnTo>
                      <a:pt x="777226" y="3678742"/>
                    </a:lnTo>
                    <a:lnTo>
                      <a:pt x="263569" y="3411068"/>
                    </a:lnTo>
                    <a:lnTo>
                      <a:pt x="223777" y="3092748"/>
                    </a:lnTo>
                    <a:lnTo>
                      <a:pt x="650619" y="3027641"/>
                    </a:lnTo>
                    <a:lnTo>
                      <a:pt x="321446" y="2535692"/>
                    </a:lnTo>
                    <a:lnTo>
                      <a:pt x="419114" y="2268018"/>
                    </a:lnTo>
                    <a:lnTo>
                      <a:pt x="1099154" y="1909906"/>
                    </a:lnTo>
                    <a:lnTo>
                      <a:pt x="2083052" y="1555417"/>
                    </a:lnTo>
                    <a:lnTo>
                      <a:pt x="2958428" y="1229866"/>
                    </a:lnTo>
                    <a:lnTo>
                      <a:pt x="3435901" y="1327534"/>
                    </a:lnTo>
                    <a:lnTo>
                      <a:pt x="3511862" y="864523"/>
                    </a:lnTo>
                    <a:lnTo>
                      <a:pt x="4097856" y="314697"/>
                    </a:lnTo>
                    <a:lnTo>
                      <a:pt x="4752581" y="0"/>
                    </a:lnTo>
                    <a:lnTo>
                      <a:pt x="5728272" y="81578"/>
                    </a:lnTo>
                    <a:lnTo>
                      <a:pt x="6463541" y="694516"/>
                    </a:lnTo>
                    <a:lnTo>
                      <a:pt x="6987061" y="262437"/>
                    </a:lnTo>
                    <a:lnTo>
                      <a:pt x="7422109" y="231505"/>
                    </a:lnTo>
                    <a:lnTo>
                      <a:pt x="7816390" y="549826"/>
                    </a:lnTo>
                    <a:lnTo>
                      <a:pt x="7921289" y="1464994"/>
                    </a:lnTo>
                    <a:lnTo>
                      <a:pt x="8246840" y="1884590"/>
                    </a:lnTo>
                    <a:lnTo>
                      <a:pt x="8275778" y="2684005"/>
                    </a:lnTo>
                    <a:lnTo>
                      <a:pt x="7888728" y="3085517"/>
                    </a:lnTo>
                    <a:lnTo>
                      <a:pt x="8333655" y="3530443"/>
                    </a:lnTo>
                    <a:lnTo>
                      <a:pt x="8756874" y="3114455"/>
                    </a:lnTo>
                    <a:lnTo>
                      <a:pt x="8908795" y="3327876"/>
                    </a:lnTo>
                    <a:lnTo>
                      <a:pt x="9899924" y="2698467"/>
                    </a:lnTo>
                    <a:lnTo>
                      <a:pt x="10301436" y="3114455"/>
                    </a:lnTo>
                    <a:cubicBezTo>
                      <a:pt x="10303846" y="3332697"/>
                      <a:pt x="10306257" y="3550938"/>
                      <a:pt x="10308667" y="3769180"/>
                    </a:cubicBezTo>
                    <a:lnTo>
                      <a:pt x="10731886" y="3700450"/>
                    </a:lnTo>
                    <a:lnTo>
                      <a:pt x="10876577" y="3150624"/>
                    </a:lnTo>
                    <a:lnTo>
                      <a:pt x="11173189" y="3063810"/>
                    </a:lnTo>
                    <a:lnTo>
                      <a:pt x="11607262" y="3508736"/>
                    </a:lnTo>
                    <a:lnTo>
                      <a:pt x="12081127" y="3664281"/>
                    </a:lnTo>
                    <a:lnTo>
                      <a:pt x="12475408" y="3237439"/>
                    </a:lnTo>
                    <a:lnTo>
                      <a:pt x="12714144" y="3682365"/>
                    </a:lnTo>
                    <a:lnTo>
                      <a:pt x="12583930" y="3874079"/>
                    </a:lnTo>
                    <a:lnTo>
                      <a:pt x="12160711" y="4036854"/>
                    </a:lnTo>
                    <a:lnTo>
                      <a:pt x="11864098" y="4402197"/>
                    </a:lnTo>
                    <a:lnTo>
                      <a:pt x="11889413" y="4915838"/>
                    </a:lnTo>
                    <a:lnTo>
                      <a:pt x="11940051" y="5440349"/>
                    </a:lnTo>
                    <a:lnTo>
                      <a:pt x="12374124" y="5132875"/>
                    </a:lnTo>
                    <a:lnTo>
                      <a:pt x="12536899" y="5548867"/>
                    </a:lnTo>
                    <a:lnTo>
                      <a:pt x="12066654" y="5783984"/>
                    </a:lnTo>
                    <a:lnTo>
                      <a:pt x="12482642" y="6037197"/>
                    </a:lnTo>
                    <a:lnTo>
                      <a:pt x="12998892" y="6082556"/>
                    </a:lnTo>
                    <a:lnTo>
                      <a:pt x="12934799" y="6507438"/>
                    </a:lnTo>
                    <a:lnTo>
                      <a:pt x="12573072" y="6579784"/>
                    </a:lnTo>
                    <a:lnTo>
                      <a:pt x="12756883" y="7003998"/>
                    </a:lnTo>
                    <a:lnTo>
                      <a:pt x="12012393" y="6822136"/>
                    </a:lnTo>
                    <a:lnTo>
                      <a:pt x="11270854" y="6775113"/>
                    </a:lnTo>
                    <a:lnTo>
                      <a:pt x="10934449" y="6185496"/>
                    </a:lnTo>
                    <a:lnTo>
                      <a:pt x="9697353" y="6496585"/>
                    </a:lnTo>
                    <a:lnTo>
                      <a:pt x="9284988" y="6026343"/>
                    </a:lnTo>
                    <a:lnTo>
                      <a:pt x="8872623" y="5476518"/>
                    </a:lnTo>
                    <a:lnTo>
                      <a:pt x="8304713" y="5534394"/>
                    </a:lnTo>
                    <a:lnTo>
                      <a:pt x="7527005" y="5349911"/>
                    </a:lnTo>
                    <a:lnTo>
                      <a:pt x="7114639" y="5718877"/>
                    </a:lnTo>
                    <a:lnTo>
                      <a:pt x="6393600" y="5132882"/>
                    </a:lnTo>
                    <a:lnTo>
                      <a:pt x="6122302" y="4698810"/>
                    </a:lnTo>
                    <a:lnTo>
                      <a:pt x="5808813" y="4602349"/>
                    </a:lnTo>
                    <a:lnTo>
                      <a:pt x="5374740" y="4861585"/>
                    </a:lnTo>
                    <a:lnTo>
                      <a:pt x="4904499" y="4765124"/>
                    </a:lnTo>
                    <a:lnTo>
                      <a:pt x="4241336" y="4849523"/>
                    </a:lnTo>
                    <a:lnTo>
                      <a:pt x="3885624" y="5458414"/>
                    </a:lnTo>
                    <a:lnTo>
                      <a:pt x="4408942" y="6438708"/>
                    </a:lnTo>
                    <a:lnTo>
                      <a:pt x="4246166" y="6919804"/>
                    </a:lnTo>
                    <a:lnTo>
                      <a:pt x="3573357" y="7429837"/>
                    </a:lnTo>
                    <a:lnTo>
                      <a:pt x="2658189" y="8211168"/>
                    </a:lnTo>
                    <a:lnTo>
                      <a:pt x="2114648" y="7963508"/>
                    </a:lnTo>
                    <a:lnTo>
                      <a:pt x="1891335" y="8330529"/>
                    </a:lnTo>
                    <a:lnTo>
                      <a:pt x="1294486" y="8330529"/>
                    </a:lnTo>
                    <a:lnTo>
                      <a:pt x="668700" y="8185838"/>
                    </a:lnTo>
                    <a:lnTo>
                      <a:pt x="130594" y="8324958"/>
                    </a:lnTo>
                    <a:cubicBezTo>
                      <a:pt x="133152" y="8054892"/>
                      <a:pt x="54096" y="7677786"/>
                      <a:pt x="56654" y="7407720"/>
                    </a:cubicBez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13" name="任意多边形 94">
                <a:extLst>
                  <a:ext uri="{FF2B5EF4-FFF2-40B4-BE49-F238E27FC236}">
                    <a16:creationId xmlns:a16="http://schemas.microsoft.com/office/drawing/2014/main" id="{E2231FFA-1B37-7F71-07DD-2BA0C33AA661}"/>
                  </a:ext>
                </a:extLst>
              </p:cNvPr>
              <p:cNvSpPr>
                <a:spLocks/>
              </p:cNvSpPr>
              <p:nvPr/>
            </p:nvSpPr>
            <p:spPr bwMode="auto">
              <a:xfrm>
                <a:off x="771835" y="3539490"/>
                <a:ext cx="1323130" cy="793750"/>
              </a:xfrm>
              <a:custGeom>
                <a:avLst/>
                <a:gdLst/>
                <a:ahLst/>
                <a:cxnLst/>
                <a:rect l="0" t="0" r="r" b="b"/>
                <a:pathLst>
                  <a:path w="16203348" h="9718224">
                    <a:moveTo>
                      <a:pt x="375091" y="608910"/>
                    </a:moveTo>
                    <a:lnTo>
                      <a:pt x="39792" y="995215"/>
                    </a:lnTo>
                    <a:lnTo>
                      <a:pt x="0" y="1552271"/>
                    </a:lnTo>
                    <a:lnTo>
                      <a:pt x="202567" y="1743985"/>
                    </a:lnTo>
                    <a:lnTo>
                      <a:pt x="694516" y="1396727"/>
                    </a:lnTo>
                    <a:lnTo>
                      <a:pt x="962191" y="1830800"/>
                    </a:lnTo>
                    <a:lnTo>
                      <a:pt x="1569893" y="1762069"/>
                    </a:lnTo>
                    <a:lnTo>
                      <a:pt x="1975027" y="2282957"/>
                    </a:lnTo>
                    <a:lnTo>
                      <a:pt x="2040134" y="2789367"/>
                    </a:lnTo>
                    <a:lnTo>
                      <a:pt x="2387392" y="3223440"/>
                    </a:lnTo>
                    <a:lnTo>
                      <a:pt x="2329516" y="3646659"/>
                    </a:lnTo>
                    <a:lnTo>
                      <a:pt x="2376539" y="4243507"/>
                    </a:lnTo>
                    <a:lnTo>
                      <a:pt x="2890195" y="5100799"/>
                    </a:lnTo>
                    <a:lnTo>
                      <a:pt x="2405477" y="5270805"/>
                    </a:lnTo>
                    <a:lnTo>
                      <a:pt x="2003965" y="4869294"/>
                    </a:lnTo>
                    <a:lnTo>
                      <a:pt x="1598831" y="4887378"/>
                    </a:lnTo>
                    <a:lnTo>
                      <a:pt x="1663938" y="5252721"/>
                    </a:lnTo>
                    <a:lnTo>
                      <a:pt x="2603631" y="6079544"/>
                    </a:lnTo>
                    <a:lnTo>
                      <a:pt x="3248292" y="5853177"/>
                    </a:lnTo>
                    <a:lnTo>
                      <a:pt x="4047708" y="5921907"/>
                    </a:lnTo>
                    <a:lnTo>
                      <a:pt x="5161820" y="5419104"/>
                    </a:lnTo>
                    <a:lnTo>
                      <a:pt x="6362747" y="5006739"/>
                    </a:lnTo>
                    <a:lnTo>
                      <a:pt x="7006618" y="4970570"/>
                    </a:lnTo>
                    <a:lnTo>
                      <a:pt x="7513029" y="5346766"/>
                    </a:lnTo>
                    <a:lnTo>
                      <a:pt x="8406489" y="6019575"/>
                    </a:lnTo>
                    <a:lnTo>
                      <a:pt x="8974399" y="5939991"/>
                    </a:lnTo>
                    <a:lnTo>
                      <a:pt x="9364309" y="5717573"/>
                    </a:lnTo>
                    <a:lnTo>
                      <a:pt x="10280226" y="6171497"/>
                    </a:lnTo>
                    <a:lnTo>
                      <a:pt x="10229580" y="6941974"/>
                    </a:lnTo>
                    <a:lnTo>
                      <a:pt x="10421293" y="7922249"/>
                    </a:lnTo>
                    <a:lnTo>
                      <a:pt x="10102973" y="8468451"/>
                    </a:lnTo>
                    <a:lnTo>
                      <a:pt x="10808344" y="8573351"/>
                    </a:lnTo>
                    <a:lnTo>
                      <a:pt x="11423276" y="8244177"/>
                    </a:lnTo>
                    <a:lnTo>
                      <a:pt x="11958625" y="8475682"/>
                    </a:lnTo>
                    <a:lnTo>
                      <a:pt x="12237153" y="8215239"/>
                    </a:lnTo>
                    <a:lnTo>
                      <a:pt x="13054653" y="8226092"/>
                    </a:lnTo>
                    <a:lnTo>
                      <a:pt x="13564687" y="8631227"/>
                    </a:lnTo>
                    <a:lnTo>
                      <a:pt x="13973429" y="8135655"/>
                    </a:lnTo>
                    <a:lnTo>
                      <a:pt x="15282878" y="9275098"/>
                    </a:lnTo>
                    <a:lnTo>
                      <a:pt x="16203348" y="9718224"/>
                    </a:lnTo>
                    <a:lnTo>
                      <a:pt x="16024417" y="8265884"/>
                    </a:lnTo>
                    <a:lnTo>
                      <a:pt x="15677159" y="7893311"/>
                    </a:lnTo>
                    <a:lnTo>
                      <a:pt x="15206917" y="7770327"/>
                    </a:lnTo>
                    <a:lnTo>
                      <a:pt x="14320687" y="7249440"/>
                    </a:lnTo>
                    <a:lnTo>
                      <a:pt x="14353249" y="6547693"/>
                    </a:lnTo>
                    <a:lnTo>
                      <a:pt x="14005990" y="5856800"/>
                    </a:lnTo>
                    <a:lnTo>
                      <a:pt x="14277288" y="5183991"/>
                    </a:lnTo>
                    <a:lnTo>
                      <a:pt x="14758383" y="4326699"/>
                    </a:lnTo>
                    <a:lnTo>
                      <a:pt x="14429209" y="3889018"/>
                    </a:lnTo>
                    <a:lnTo>
                      <a:pt x="14382187" y="2395087"/>
                    </a:lnTo>
                    <a:lnTo>
                      <a:pt x="14584754" y="1877822"/>
                    </a:lnTo>
                    <a:lnTo>
                      <a:pt x="14139828" y="1570356"/>
                    </a:lnTo>
                    <a:lnTo>
                      <a:pt x="13467019" y="1754839"/>
                    </a:lnTo>
                    <a:lnTo>
                      <a:pt x="13177637" y="1425665"/>
                    </a:lnTo>
                    <a:lnTo>
                      <a:pt x="13004008" y="948193"/>
                    </a:lnTo>
                    <a:lnTo>
                      <a:pt x="13344035" y="398367"/>
                    </a:lnTo>
                    <a:lnTo>
                      <a:pt x="12534905" y="0"/>
                    </a:lnTo>
                    <a:lnTo>
                      <a:pt x="12027355" y="479159"/>
                    </a:lnTo>
                    <a:lnTo>
                      <a:pt x="11141125" y="177715"/>
                    </a:lnTo>
                    <a:lnTo>
                      <a:pt x="10652799" y="1082030"/>
                    </a:lnTo>
                    <a:lnTo>
                      <a:pt x="10146388" y="1654770"/>
                    </a:lnTo>
                    <a:lnTo>
                      <a:pt x="9019466" y="675175"/>
                    </a:lnTo>
                    <a:lnTo>
                      <a:pt x="7994124" y="340491"/>
                    </a:lnTo>
                    <a:lnTo>
                      <a:pt x="7608756" y="988664"/>
                    </a:lnTo>
                    <a:lnTo>
                      <a:pt x="6306078" y="907193"/>
                    </a:lnTo>
                    <a:lnTo>
                      <a:pt x="5226927" y="1437726"/>
                    </a:lnTo>
                    <a:lnTo>
                      <a:pt x="4618018" y="1389496"/>
                    </a:lnTo>
                    <a:lnTo>
                      <a:pt x="4214091" y="1624625"/>
                    </a:lnTo>
                    <a:lnTo>
                      <a:pt x="2984241" y="744418"/>
                    </a:lnTo>
                    <a:lnTo>
                      <a:pt x="375091" y="608910"/>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14" name="任意多边形 98">
                <a:extLst>
                  <a:ext uri="{FF2B5EF4-FFF2-40B4-BE49-F238E27FC236}">
                    <a16:creationId xmlns:a16="http://schemas.microsoft.com/office/drawing/2014/main" id="{5E78E404-B93A-A73C-6C2A-4CB36D11719E}"/>
                  </a:ext>
                </a:extLst>
              </p:cNvPr>
              <p:cNvSpPr>
                <a:spLocks/>
              </p:cNvSpPr>
              <p:nvPr/>
            </p:nvSpPr>
            <p:spPr bwMode="auto">
              <a:xfrm>
                <a:off x="719138" y="2930525"/>
                <a:ext cx="1264719" cy="744538"/>
              </a:xfrm>
              <a:custGeom>
                <a:avLst/>
                <a:gdLst>
                  <a:gd name="T0" fmla="*/ 268633 w 2569"/>
                  <a:gd name="T1" fmla="*/ 2124829 h 1512"/>
                  <a:gd name="T2" fmla="*/ 228602 w 2569"/>
                  <a:gd name="T3" fmla="*/ 1992205 h 1512"/>
                  <a:gd name="T4" fmla="*/ 0 w 2569"/>
                  <a:gd name="T5" fmla="*/ 1788951 h 1512"/>
                  <a:gd name="T6" fmla="*/ 186057 w 2569"/>
                  <a:gd name="T7" fmla="*/ 1506302 h 1512"/>
                  <a:gd name="T8" fmla="*/ 376558 w 2569"/>
                  <a:gd name="T9" fmla="*/ 1437704 h 1512"/>
                  <a:gd name="T10" fmla="*/ 406085 w 2569"/>
                  <a:gd name="T11" fmla="*/ 1350051 h 1512"/>
                  <a:gd name="T12" fmla="*/ 307024 w 2569"/>
                  <a:gd name="T13" fmla="*/ 1246201 h 1512"/>
                  <a:gd name="T14" fmla="*/ 430849 w 2569"/>
                  <a:gd name="T15" fmla="*/ 883201 h 1512"/>
                  <a:gd name="T16" fmla="*/ 572771 w 2569"/>
                  <a:gd name="T17" fmla="*/ 868912 h 1512"/>
                  <a:gd name="T18" fmla="*/ 699454 w 2569"/>
                  <a:gd name="T19" fmla="*/ 780305 h 1512"/>
                  <a:gd name="T20" fmla="*/ 681356 w 2569"/>
                  <a:gd name="T21" fmla="*/ 676455 h 1512"/>
                  <a:gd name="T22" fmla="*/ 819392 w 2569"/>
                  <a:gd name="T23" fmla="*/ 496787 h 1512"/>
                  <a:gd name="T24" fmla="*/ 947104 w 2569"/>
                  <a:gd name="T25" fmla="*/ 583086 h 1512"/>
                  <a:gd name="T26" fmla="*/ 1032828 w 2569"/>
                  <a:gd name="T27" fmla="*/ 717424 h 1512"/>
                  <a:gd name="T28" fmla="*/ 1063309 w 2569"/>
                  <a:gd name="T29" fmla="*/ 826038 h 1512"/>
                  <a:gd name="T30" fmla="*/ 1029970 w 2569"/>
                  <a:gd name="T31" fmla="*/ 990864 h 1512"/>
                  <a:gd name="T32" fmla="*/ 1106171 w 2569"/>
                  <a:gd name="T33" fmla="*/ 1091856 h 1512"/>
                  <a:gd name="T34" fmla="*/ 1263334 w 2569"/>
                  <a:gd name="T35" fmla="*/ 1028020 h 1512"/>
                  <a:gd name="T36" fmla="*/ 1405257 w 2569"/>
                  <a:gd name="T37" fmla="*/ 1043264 h 1512"/>
                  <a:gd name="T38" fmla="*/ 1427163 w 2569"/>
                  <a:gd name="T39" fmla="*/ 913690 h 1512"/>
                  <a:gd name="T40" fmla="*/ 1338391 w 2569"/>
                  <a:gd name="T41" fmla="*/ 826543 h 1512"/>
                  <a:gd name="T42" fmla="*/ 1369061 w 2569"/>
                  <a:gd name="T43" fmla="*/ 533541 h 1512"/>
                  <a:gd name="T44" fmla="*/ 1457643 w 2569"/>
                  <a:gd name="T45" fmla="*/ 567842 h 1512"/>
                  <a:gd name="T46" fmla="*/ 1599566 w 2569"/>
                  <a:gd name="T47" fmla="*/ 496385 h 1512"/>
                  <a:gd name="T48" fmla="*/ 1728152 w 2569"/>
                  <a:gd name="T49" fmla="*/ 453511 h 1512"/>
                  <a:gd name="T50" fmla="*/ 1748155 w 2569"/>
                  <a:gd name="T51" fmla="*/ 258196 h 1512"/>
                  <a:gd name="T52" fmla="*/ 1996758 w 2569"/>
                  <a:gd name="T53" fmla="*/ 309646 h 1512"/>
                  <a:gd name="T54" fmla="*/ 2018664 w 2569"/>
                  <a:gd name="T55" fmla="*/ 248670 h 1512"/>
                  <a:gd name="T56" fmla="*/ 2209165 w 2569"/>
                  <a:gd name="T57" fmla="*/ 233425 h 1512"/>
                  <a:gd name="T58" fmla="*/ 2458718 w 2569"/>
                  <a:gd name="T59" fmla="*/ 0 h 1512"/>
                  <a:gd name="T60" fmla="*/ 2649220 w 2569"/>
                  <a:gd name="T61" fmla="*/ 20962 h 1512"/>
                  <a:gd name="T62" fmla="*/ 2726371 w 2569"/>
                  <a:gd name="T63" fmla="*/ 208655 h 1512"/>
                  <a:gd name="T64" fmla="*/ 2861428 w 2569"/>
                  <a:gd name="T65" fmla="*/ 217740 h 1512"/>
                  <a:gd name="T66" fmla="*/ 3020695 w 2569"/>
                  <a:gd name="T67" fmla="*/ 68599 h 1512"/>
                  <a:gd name="T68" fmla="*/ 3157538 w 2569"/>
                  <a:gd name="T69" fmla="*/ 107341 h 1512"/>
                  <a:gd name="T70" fmla="*/ 3279772 w 2569"/>
                  <a:gd name="T71" fmla="*/ 262959 h 1512"/>
                  <a:gd name="T72" fmla="*/ 3495674 w 2569"/>
                  <a:gd name="T73" fmla="*/ 305833 h 1512"/>
                  <a:gd name="T74" fmla="*/ 3678236 w 2569"/>
                  <a:gd name="T75" fmla="*/ 420164 h 1512"/>
                  <a:gd name="T76" fmla="*/ 3708398 w 2569"/>
                  <a:gd name="T77" fmla="*/ 595471 h 1512"/>
                  <a:gd name="T78" fmla="*/ 3835399 w 2569"/>
                  <a:gd name="T79" fmla="*/ 663116 h 1512"/>
                  <a:gd name="T80" fmla="*/ 3913618 w 2569"/>
                  <a:gd name="T81" fmla="*/ 717293 h 1512"/>
                  <a:gd name="T82" fmla="*/ 3920806 w 2569"/>
                  <a:gd name="T83" fmla="*/ 843186 h 1512"/>
                  <a:gd name="T84" fmla="*/ 4030664 w 2569"/>
                  <a:gd name="T85" fmla="*/ 890187 h 1512"/>
                  <a:gd name="T86" fmla="*/ 4076701 w 2569"/>
                  <a:gd name="T87" fmla="*/ 1123613 h 1512"/>
                  <a:gd name="T88" fmla="*/ 3982318 w 2569"/>
                  <a:gd name="T89" fmla="*/ 1208414 h 1512"/>
                  <a:gd name="T90" fmla="*/ 4078287 w 2569"/>
                  <a:gd name="T91" fmla="*/ 1514242 h 1512"/>
                  <a:gd name="T92" fmla="*/ 3890962 w 2569"/>
                  <a:gd name="T93" fmla="*/ 1714320 h 1512"/>
                  <a:gd name="T94" fmla="*/ 3551235 w 2569"/>
                  <a:gd name="T95" fmla="*/ 1787364 h 1512"/>
                  <a:gd name="T96" fmla="*/ 3470575 w 2569"/>
                  <a:gd name="T97" fmla="*/ 1964448 h 1512"/>
                  <a:gd name="T98" fmla="*/ 3336925 w 2569"/>
                  <a:gd name="T99" fmla="*/ 2090655 h 1512"/>
                  <a:gd name="T100" fmla="*/ 3103561 w 2569"/>
                  <a:gd name="T101" fmla="*/ 2011257 h 1512"/>
                  <a:gd name="T102" fmla="*/ 2974974 w 2569"/>
                  <a:gd name="T103" fmla="*/ 2249444 h 1512"/>
                  <a:gd name="T104" fmla="*/ 2841626 w 2569"/>
                  <a:gd name="T105" fmla="*/ 2400300 h 1512"/>
                  <a:gd name="T106" fmla="*/ 2544884 w 2569"/>
                  <a:gd name="T107" fmla="*/ 2142284 h 1512"/>
                  <a:gd name="T108" fmla="*/ 2274888 w 2569"/>
                  <a:gd name="T109" fmla="*/ 2054131 h 1512"/>
                  <a:gd name="T110" fmla="*/ 2173412 w 2569"/>
                  <a:gd name="T111" fmla="*/ 2224854 h 1512"/>
                  <a:gd name="T112" fmla="*/ 1830390 w 2569"/>
                  <a:gd name="T113" fmla="*/ 2203395 h 1512"/>
                  <a:gd name="T114" fmla="*/ 1546226 w 2569"/>
                  <a:gd name="T115" fmla="*/ 2343131 h 1512"/>
                  <a:gd name="T116" fmla="*/ 1385887 w 2569"/>
                  <a:gd name="T117" fmla="*/ 2330430 h 1512"/>
                  <a:gd name="T118" fmla="*/ 1279524 w 2569"/>
                  <a:gd name="T119" fmla="*/ 2392360 h 1512"/>
                  <a:gd name="T120" fmla="*/ 955678 w 2569"/>
                  <a:gd name="T121" fmla="*/ 2160521 h 1512"/>
                  <a:gd name="T122" fmla="*/ 268633 w 2569"/>
                  <a:gd name="T123" fmla="*/ 2124829 h 151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569" h="1512">
                    <a:moveTo>
                      <a:pt x="169" y="1338"/>
                    </a:moveTo>
                    <a:lnTo>
                      <a:pt x="144" y="1255"/>
                    </a:lnTo>
                    <a:lnTo>
                      <a:pt x="0" y="1127"/>
                    </a:lnTo>
                    <a:lnTo>
                      <a:pt x="117" y="949"/>
                    </a:lnTo>
                    <a:lnTo>
                      <a:pt x="237" y="906"/>
                    </a:lnTo>
                    <a:lnTo>
                      <a:pt x="256" y="850"/>
                    </a:lnTo>
                    <a:lnTo>
                      <a:pt x="193" y="785"/>
                    </a:lnTo>
                    <a:lnTo>
                      <a:pt x="271" y="556"/>
                    </a:lnTo>
                    <a:lnTo>
                      <a:pt x="361" y="547"/>
                    </a:lnTo>
                    <a:lnTo>
                      <a:pt x="441" y="492"/>
                    </a:lnTo>
                    <a:lnTo>
                      <a:pt x="429" y="426"/>
                    </a:lnTo>
                    <a:lnTo>
                      <a:pt x="516" y="313"/>
                    </a:lnTo>
                    <a:lnTo>
                      <a:pt x="597" y="367"/>
                    </a:lnTo>
                    <a:lnTo>
                      <a:pt x="651" y="452"/>
                    </a:lnTo>
                    <a:lnTo>
                      <a:pt x="670" y="520"/>
                    </a:lnTo>
                    <a:lnTo>
                      <a:pt x="649" y="624"/>
                    </a:lnTo>
                    <a:lnTo>
                      <a:pt x="697" y="688"/>
                    </a:lnTo>
                    <a:lnTo>
                      <a:pt x="796" y="648"/>
                    </a:lnTo>
                    <a:lnTo>
                      <a:pt x="885" y="657"/>
                    </a:lnTo>
                    <a:lnTo>
                      <a:pt x="899" y="576"/>
                    </a:lnTo>
                    <a:lnTo>
                      <a:pt x="843" y="521"/>
                    </a:lnTo>
                    <a:lnTo>
                      <a:pt x="862" y="336"/>
                    </a:lnTo>
                    <a:lnTo>
                      <a:pt x="918" y="358"/>
                    </a:lnTo>
                    <a:lnTo>
                      <a:pt x="1008" y="313"/>
                    </a:lnTo>
                    <a:lnTo>
                      <a:pt x="1089" y="286"/>
                    </a:lnTo>
                    <a:lnTo>
                      <a:pt x="1101" y="163"/>
                    </a:lnTo>
                    <a:lnTo>
                      <a:pt x="1258" y="195"/>
                    </a:lnTo>
                    <a:lnTo>
                      <a:pt x="1272" y="157"/>
                    </a:lnTo>
                    <a:lnTo>
                      <a:pt x="1392" y="147"/>
                    </a:lnTo>
                    <a:lnTo>
                      <a:pt x="1549" y="0"/>
                    </a:lnTo>
                    <a:lnTo>
                      <a:pt x="1669" y="13"/>
                    </a:lnTo>
                    <a:lnTo>
                      <a:pt x="1717" y="131"/>
                    </a:lnTo>
                    <a:lnTo>
                      <a:pt x="1802" y="137"/>
                    </a:lnTo>
                    <a:lnTo>
                      <a:pt x="1903" y="43"/>
                    </a:lnTo>
                    <a:lnTo>
                      <a:pt x="1989" y="68"/>
                    </a:lnTo>
                    <a:lnTo>
                      <a:pt x="2066" y="166"/>
                    </a:lnTo>
                    <a:lnTo>
                      <a:pt x="2202" y="193"/>
                    </a:lnTo>
                    <a:lnTo>
                      <a:pt x="2317" y="265"/>
                    </a:lnTo>
                    <a:lnTo>
                      <a:pt x="2336" y="375"/>
                    </a:lnTo>
                    <a:lnTo>
                      <a:pt x="2416" y="418"/>
                    </a:lnTo>
                    <a:lnTo>
                      <a:pt x="2465" y="452"/>
                    </a:lnTo>
                    <a:lnTo>
                      <a:pt x="2470" y="531"/>
                    </a:lnTo>
                    <a:lnTo>
                      <a:pt x="2539" y="561"/>
                    </a:lnTo>
                    <a:lnTo>
                      <a:pt x="2568" y="708"/>
                    </a:lnTo>
                    <a:lnTo>
                      <a:pt x="2509" y="761"/>
                    </a:lnTo>
                    <a:lnTo>
                      <a:pt x="2569" y="954"/>
                    </a:lnTo>
                    <a:lnTo>
                      <a:pt x="2451" y="1080"/>
                    </a:lnTo>
                    <a:lnTo>
                      <a:pt x="2237" y="1126"/>
                    </a:lnTo>
                    <a:lnTo>
                      <a:pt x="2186" y="1237"/>
                    </a:lnTo>
                    <a:lnTo>
                      <a:pt x="2102" y="1317"/>
                    </a:lnTo>
                    <a:lnTo>
                      <a:pt x="1955" y="1267"/>
                    </a:lnTo>
                    <a:lnTo>
                      <a:pt x="1874" y="1417"/>
                    </a:lnTo>
                    <a:lnTo>
                      <a:pt x="1790" y="1512"/>
                    </a:lnTo>
                    <a:lnTo>
                      <a:pt x="1603" y="1349"/>
                    </a:lnTo>
                    <a:lnTo>
                      <a:pt x="1433" y="1294"/>
                    </a:lnTo>
                    <a:lnTo>
                      <a:pt x="1369" y="1401"/>
                    </a:lnTo>
                    <a:lnTo>
                      <a:pt x="1153" y="1388"/>
                    </a:lnTo>
                    <a:lnTo>
                      <a:pt x="974" y="1476"/>
                    </a:lnTo>
                    <a:lnTo>
                      <a:pt x="873" y="1468"/>
                    </a:lnTo>
                    <a:lnTo>
                      <a:pt x="806" y="1507"/>
                    </a:lnTo>
                    <a:lnTo>
                      <a:pt x="602" y="1361"/>
                    </a:lnTo>
                    <a:lnTo>
                      <a:pt x="169" y="1338"/>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15" name="任意多边形 100">
                <a:extLst>
                  <a:ext uri="{FF2B5EF4-FFF2-40B4-BE49-F238E27FC236}">
                    <a16:creationId xmlns:a16="http://schemas.microsoft.com/office/drawing/2014/main" id="{B7C5BC1C-8CF3-C019-6559-9C2E82073B5A}"/>
                  </a:ext>
                </a:extLst>
              </p:cNvPr>
              <p:cNvSpPr>
                <a:spLocks/>
              </p:cNvSpPr>
              <p:nvPr/>
            </p:nvSpPr>
            <p:spPr bwMode="auto">
              <a:xfrm>
                <a:off x="5207240" y="2977198"/>
                <a:ext cx="1506298" cy="1302385"/>
              </a:xfrm>
              <a:custGeom>
                <a:avLst/>
                <a:gdLst/>
                <a:ahLst/>
                <a:cxnLst/>
                <a:rect l="0" t="0" r="r" b="b"/>
                <a:pathLst>
                  <a:path w="18447968" h="15946069">
                    <a:moveTo>
                      <a:pt x="477776" y="7436569"/>
                    </a:moveTo>
                    <a:lnTo>
                      <a:pt x="271294" y="8060457"/>
                    </a:lnTo>
                    <a:lnTo>
                      <a:pt x="379812" y="8675382"/>
                    </a:lnTo>
                    <a:lnTo>
                      <a:pt x="759624" y="9217969"/>
                    </a:lnTo>
                    <a:lnTo>
                      <a:pt x="687278" y="9670126"/>
                    </a:lnTo>
                    <a:lnTo>
                      <a:pt x="144687" y="9941420"/>
                    </a:lnTo>
                    <a:lnTo>
                      <a:pt x="343643" y="10592536"/>
                    </a:lnTo>
                    <a:lnTo>
                      <a:pt x="940487" y="10954252"/>
                    </a:lnTo>
                    <a:lnTo>
                      <a:pt x="596844" y="11786221"/>
                    </a:lnTo>
                    <a:lnTo>
                      <a:pt x="633017" y="12780969"/>
                    </a:lnTo>
                    <a:lnTo>
                      <a:pt x="198944" y="13341645"/>
                    </a:lnTo>
                    <a:lnTo>
                      <a:pt x="723451" y="13757629"/>
                    </a:lnTo>
                    <a:lnTo>
                      <a:pt x="1640036" y="13197151"/>
                    </a:lnTo>
                    <a:lnTo>
                      <a:pt x="1880971" y="13395906"/>
                    </a:lnTo>
                    <a:lnTo>
                      <a:pt x="2930086" y="12952832"/>
                    </a:lnTo>
                    <a:lnTo>
                      <a:pt x="3828256" y="13245188"/>
                    </a:lnTo>
                    <a:lnTo>
                      <a:pt x="4768739" y="13040205"/>
                    </a:lnTo>
                    <a:lnTo>
                      <a:pt x="5190751" y="13649115"/>
                    </a:lnTo>
                    <a:lnTo>
                      <a:pt x="5932290" y="13444132"/>
                    </a:lnTo>
                    <a:lnTo>
                      <a:pt x="6498992" y="12991975"/>
                    </a:lnTo>
                    <a:lnTo>
                      <a:pt x="7373161" y="13582800"/>
                    </a:lnTo>
                    <a:lnTo>
                      <a:pt x="8512588" y="13570738"/>
                    </a:lnTo>
                    <a:lnTo>
                      <a:pt x="9416903" y="13281357"/>
                    </a:lnTo>
                    <a:lnTo>
                      <a:pt x="9742454" y="14004811"/>
                    </a:lnTo>
                    <a:lnTo>
                      <a:pt x="10080066" y="14716204"/>
                    </a:lnTo>
                    <a:lnTo>
                      <a:pt x="10616683" y="15358294"/>
                    </a:lnTo>
                    <a:lnTo>
                      <a:pt x="11117010" y="15946069"/>
                    </a:lnTo>
                    <a:lnTo>
                      <a:pt x="11593335" y="15822497"/>
                    </a:lnTo>
                    <a:lnTo>
                      <a:pt x="11780218" y="13579811"/>
                    </a:lnTo>
                    <a:lnTo>
                      <a:pt x="11954994" y="12135890"/>
                    </a:lnTo>
                    <a:lnTo>
                      <a:pt x="12196146" y="11388328"/>
                    </a:lnTo>
                    <a:lnTo>
                      <a:pt x="13166775" y="11707856"/>
                    </a:lnTo>
                    <a:lnTo>
                      <a:pt x="14004775" y="11611395"/>
                    </a:lnTo>
                    <a:lnTo>
                      <a:pt x="14939235" y="11322014"/>
                    </a:lnTo>
                    <a:lnTo>
                      <a:pt x="15409477" y="11882693"/>
                    </a:lnTo>
                    <a:lnTo>
                      <a:pt x="15861634" y="11273783"/>
                    </a:lnTo>
                    <a:lnTo>
                      <a:pt x="16413199" y="10920339"/>
                    </a:lnTo>
                    <a:lnTo>
                      <a:pt x="16765948" y="10200671"/>
                    </a:lnTo>
                    <a:lnTo>
                      <a:pt x="16428336" y="9374732"/>
                    </a:lnTo>
                    <a:lnTo>
                      <a:pt x="15946033" y="8440272"/>
                    </a:lnTo>
                    <a:lnTo>
                      <a:pt x="16024409" y="7433474"/>
                    </a:lnTo>
                    <a:lnTo>
                      <a:pt x="16958870" y="6776350"/>
                    </a:lnTo>
                    <a:lnTo>
                      <a:pt x="17911414" y="6083041"/>
                    </a:lnTo>
                    <a:lnTo>
                      <a:pt x="17694370" y="5570592"/>
                    </a:lnTo>
                    <a:lnTo>
                      <a:pt x="17385711" y="5219213"/>
                    </a:lnTo>
                    <a:lnTo>
                      <a:pt x="17637701" y="4819407"/>
                    </a:lnTo>
                    <a:lnTo>
                      <a:pt x="18171858" y="4701949"/>
                    </a:lnTo>
                    <a:lnTo>
                      <a:pt x="18447970" y="4316604"/>
                    </a:lnTo>
                    <a:lnTo>
                      <a:pt x="17814953" y="4117660"/>
                    </a:lnTo>
                    <a:lnTo>
                      <a:pt x="17067422" y="3472551"/>
                    </a:lnTo>
                    <a:lnTo>
                      <a:pt x="16852763" y="3282076"/>
                    </a:lnTo>
                    <a:lnTo>
                      <a:pt x="16161870" y="4063407"/>
                    </a:lnTo>
                    <a:lnTo>
                      <a:pt x="14429201" y="4027238"/>
                    </a:lnTo>
                    <a:lnTo>
                      <a:pt x="13854061" y="3658272"/>
                    </a:lnTo>
                    <a:lnTo>
                      <a:pt x="13383819" y="2963756"/>
                    </a:lnTo>
                    <a:lnTo>
                      <a:pt x="12493981" y="2927587"/>
                    </a:lnTo>
                    <a:lnTo>
                      <a:pt x="11976717" y="2139025"/>
                    </a:lnTo>
                    <a:lnTo>
                      <a:pt x="11484768" y="1495155"/>
                    </a:lnTo>
                    <a:lnTo>
                      <a:pt x="10830043" y="1256418"/>
                    </a:lnTo>
                    <a:lnTo>
                      <a:pt x="10323633" y="1220249"/>
                    </a:lnTo>
                    <a:lnTo>
                      <a:pt x="9802745" y="1603676"/>
                    </a:lnTo>
                    <a:lnTo>
                      <a:pt x="9223982" y="1621761"/>
                    </a:lnTo>
                    <a:lnTo>
                      <a:pt x="8782678" y="2171586"/>
                    </a:lnTo>
                    <a:lnTo>
                      <a:pt x="8272645" y="2102856"/>
                    </a:lnTo>
                    <a:lnTo>
                      <a:pt x="7853048" y="2526075"/>
                    </a:lnTo>
                    <a:lnTo>
                      <a:pt x="7323799" y="2632907"/>
                    </a:lnTo>
                    <a:lnTo>
                      <a:pt x="6977672" y="2178817"/>
                    </a:lnTo>
                    <a:lnTo>
                      <a:pt x="6594245" y="2055834"/>
                    </a:lnTo>
                    <a:lnTo>
                      <a:pt x="6431470" y="1314295"/>
                    </a:lnTo>
                    <a:lnTo>
                      <a:pt x="5642908" y="1343233"/>
                    </a:lnTo>
                    <a:lnTo>
                      <a:pt x="5150959" y="1610907"/>
                    </a:lnTo>
                    <a:lnTo>
                      <a:pt x="5480133" y="2167963"/>
                    </a:lnTo>
                    <a:lnTo>
                      <a:pt x="4742216" y="2862495"/>
                    </a:lnTo>
                    <a:lnTo>
                      <a:pt x="2658667" y="0"/>
                    </a:lnTo>
                    <a:lnTo>
                      <a:pt x="2658682" y="1018890"/>
                    </a:lnTo>
                    <a:lnTo>
                      <a:pt x="1850829" y="1730283"/>
                    </a:lnTo>
                    <a:lnTo>
                      <a:pt x="1404694" y="2272862"/>
                    </a:lnTo>
                    <a:lnTo>
                      <a:pt x="2351216" y="3388182"/>
                    </a:lnTo>
                    <a:lnTo>
                      <a:pt x="2658682" y="4286458"/>
                    </a:lnTo>
                    <a:lnTo>
                      <a:pt x="1935228" y="5220918"/>
                    </a:lnTo>
                    <a:lnTo>
                      <a:pt x="875281" y="5166646"/>
                    </a:lnTo>
                    <a:lnTo>
                      <a:pt x="0" y="5890112"/>
                    </a:lnTo>
                    <a:lnTo>
                      <a:pt x="72345" y="6921032"/>
                    </a:lnTo>
                    <a:lnTo>
                      <a:pt x="477776" y="7436569"/>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16" name="任意多边形 101">
                <a:extLst>
                  <a:ext uri="{FF2B5EF4-FFF2-40B4-BE49-F238E27FC236}">
                    <a16:creationId xmlns:a16="http://schemas.microsoft.com/office/drawing/2014/main" id="{13429D98-C0D6-8DDE-692F-D6903934494A}"/>
                  </a:ext>
                </a:extLst>
              </p:cNvPr>
              <p:cNvSpPr>
                <a:spLocks/>
              </p:cNvSpPr>
              <p:nvPr/>
            </p:nvSpPr>
            <p:spPr bwMode="auto">
              <a:xfrm>
                <a:off x="1796244" y="3167380"/>
                <a:ext cx="1550424" cy="1358583"/>
              </a:xfrm>
              <a:custGeom>
                <a:avLst/>
                <a:gdLst/>
                <a:ahLst/>
                <a:cxnLst/>
                <a:rect l="0" t="0" r="r" b="b"/>
                <a:pathLst>
                  <a:path w="4884" h="4279">
                    <a:moveTo>
                      <a:pt x="544" y="127"/>
                    </a:moveTo>
                    <a:lnTo>
                      <a:pt x="590" y="351"/>
                    </a:lnTo>
                    <a:lnTo>
                      <a:pt x="499" y="437"/>
                    </a:lnTo>
                    <a:lnTo>
                      <a:pt x="590" y="732"/>
                    </a:lnTo>
                    <a:lnTo>
                      <a:pt x="403" y="934"/>
                    </a:lnTo>
                    <a:lnTo>
                      <a:pt x="79" y="1000"/>
                    </a:lnTo>
                    <a:lnTo>
                      <a:pt x="0" y="1172"/>
                    </a:lnTo>
                    <a:lnTo>
                      <a:pt x="204" y="1276"/>
                    </a:lnTo>
                    <a:lnTo>
                      <a:pt x="120" y="1417"/>
                    </a:lnTo>
                    <a:lnTo>
                      <a:pt x="161" y="1538"/>
                    </a:lnTo>
                    <a:lnTo>
                      <a:pt x="239" y="1624"/>
                    </a:lnTo>
                    <a:lnTo>
                      <a:pt x="410" y="1577"/>
                    </a:lnTo>
                    <a:lnTo>
                      <a:pt x="523" y="1653"/>
                    </a:lnTo>
                    <a:lnTo>
                      <a:pt x="476" y="1787"/>
                    </a:lnTo>
                    <a:lnTo>
                      <a:pt x="486" y="2172"/>
                    </a:lnTo>
                    <a:lnTo>
                      <a:pt x="568" y="2287"/>
                    </a:lnTo>
                    <a:lnTo>
                      <a:pt x="448" y="2508"/>
                    </a:lnTo>
                    <a:lnTo>
                      <a:pt x="377" y="2683"/>
                    </a:lnTo>
                    <a:lnTo>
                      <a:pt x="464" y="2859"/>
                    </a:lnTo>
                    <a:lnTo>
                      <a:pt x="457" y="3038"/>
                    </a:lnTo>
                    <a:lnTo>
                      <a:pt x="685" y="3172"/>
                    </a:lnTo>
                    <a:lnTo>
                      <a:pt x="811" y="3206"/>
                    </a:lnTo>
                    <a:lnTo>
                      <a:pt x="898" y="3302"/>
                    </a:lnTo>
                    <a:lnTo>
                      <a:pt x="943" y="3673"/>
                    </a:lnTo>
                    <a:lnTo>
                      <a:pt x="1043" y="4279"/>
                    </a:lnTo>
                    <a:lnTo>
                      <a:pt x="1904" y="4098"/>
                    </a:lnTo>
                    <a:lnTo>
                      <a:pt x="2021" y="4051"/>
                    </a:lnTo>
                    <a:lnTo>
                      <a:pt x="1989" y="3979"/>
                    </a:lnTo>
                    <a:lnTo>
                      <a:pt x="2056" y="3893"/>
                    </a:lnTo>
                    <a:lnTo>
                      <a:pt x="2060" y="3814"/>
                    </a:lnTo>
                    <a:lnTo>
                      <a:pt x="2224" y="3774"/>
                    </a:lnTo>
                    <a:lnTo>
                      <a:pt x="2369" y="3651"/>
                    </a:lnTo>
                    <a:lnTo>
                      <a:pt x="2705" y="3438"/>
                    </a:lnTo>
                    <a:lnTo>
                      <a:pt x="2798" y="3396"/>
                    </a:lnTo>
                    <a:lnTo>
                      <a:pt x="2854" y="3305"/>
                    </a:lnTo>
                    <a:lnTo>
                      <a:pt x="2914" y="3215"/>
                    </a:lnTo>
                    <a:lnTo>
                      <a:pt x="3007" y="3248"/>
                    </a:lnTo>
                    <a:lnTo>
                      <a:pt x="3139" y="3230"/>
                    </a:lnTo>
                    <a:lnTo>
                      <a:pt x="3218" y="3147"/>
                    </a:lnTo>
                    <a:lnTo>
                      <a:pt x="3406" y="2847"/>
                    </a:lnTo>
                    <a:lnTo>
                      <a:pt x="3620" y="2846"/>
                    </a:lnTo>
                    <a:lnTo>
                      <a:pt x="3751" y="2933"/>
                    </a:lnTo>
                    <a:lnTo>
                      <a:pt x="3818" y="3038"/>
                    </a:lnTo>
                    <a:lnTo>
                      <a:pt x="3991" y="3096"/>
                    </a:lnTo>
                    <a:lnTo>
                      <a:pt x="4140" y="3230"/>
                    </a:lnTo>
                    <a:lnTo>
                      <a:pt x="4400" y="3032"/>
                    </a:lnTo>
                    <a:lnTo>
                      <a:pt x="4884" y="2731"/>
                    </a:lnTo>
                    <a:lnTo>
                      <a:pt x="4794" y="2593"/>
                    </a:lnTo>
                    <a:lnTo>
                      <a:pt x="4755" y="2422"/>
                    </a:lnTo>
                    <a:lnTo>
                      <a:pt x="4673" y="2234"/>
                    </a:lnTo>
                    <a:lnTo>
                      <a:pt x="4452" y="2187"/>
                    </a:lnTo>
                    <a:lnTo>
                      <a:pt x="4314" y="2026"/>
                    </a:lnTo>
                    <a:lnTo>
                      <a:pt x="4318" y="1915"/>
                    </a:lnTo>
                    <a:lnTo>
                      <a:pt x="4274" y="1878"/>
                    </a:lnTo>
                    <a:lnTo>
                      <a:pt x="4179" y="2007"/>
                    </a:lnTo>
                    <a:lnTo>
                      <a:pt x="4021" y="1780"/>
                    </a:lnTo>
                    <a:lnTo>
                      <a:pt x="4065" y="1572"/>
                    </a:lnTo>
                    <a:lnTo>
                      <a:pt x="3994" y="1448"/>
                    </a:lnTo>
                    <a:lnTo>
                      <a:pt x="4140" y="1294"/>
                    </a:lnTo>
                    <a:lnTo>
                      <a:pt x="4322" y="1231"/>
                    </a:lnTo>
                    <a:lnTo>
                      <a:pt x="4284" y="1073"/>
                    </a:lnTo>
                    <a:lnTo>
                      <a:pt x="4242" y="877"/>
                    </a:lnTo>
                    <a:lnTo>
                      <a:pt x="4159" y="719"/>
                    </a:lnTo>
                    <a:lnTo>
                      <a:pt x="4032" y="548"/>
                    </a:lnTo>
                    <a:lnTo>
                      <a:pt x="4153" y="494"/>
                    </a:lnTo>
                    <a:lnTo>
                      <a:pt x="4003" y="289"/>
                    </a:lnTo>
                    <a:lnTo>
                      <a:pt x="3896" y="364"/>
                    </a:lnTo>
                    <a:lnTo>
                      <a:pt x="3946" y="187"/>
                    </a:lnTo>
                    <a:lnTo>
                      <a:pt x="3763" y="204"/>
                    </a:lnTo>
                    <a:lnTo>
                      <a:pt x="3711" y="337"/>
                    </a:lnTo>
                    <a:lnTo>
                      <a:pt x="3647" y="498"/>
                    </a:lnTo>
                    <a:lnTo>
                      <a:pt x="3455" y="547"/>
                    </a:lnTo>
                    <a:lnTo>
                      <a:pt x="3142" y="565"/>
                    </a:lnTo>
                    <a:lnTo>
                      <a:pt x="3095" y="451"/>
                    </a:lnTo>
                    <a:lnTo>
                      <a:pt x="2977" y="482"/>
                    </a:lnTo>
                    <a:lnTo>
                      <a:pt x="2950" y="569"/>
                    </a:lnTo>
                    <a:lnTo>
                      <a:pt x="2906" y="668"/>
                    </a:lnTo>
                    <a:lnTo>
                      <a:pt x="2733" y="567"/>
                    </a:lnTo>
                    <a:lnTo>
                      <a:pt x="2545" y="570"/>
                    </a:lnTo>
                    <a:lnTo>
                      <a:pt x="2411" y="407"/>
                    </a:lnTo>
                    <a:lnTo>
                      <a:pt x="2357" y="213"/>
                    </a:lnTo>
                    <a:lnTo>
                      <a:pt x="2071" y="181"/>
                    </a:lnTo>
                    <a:lnTo>
                      <a:pt x="1947" y="285"/>
                    </a:lnTo>
                    <a:lnTo>
                      <a:pt x="1819" y="280"/>
                    </a:lnTo>
                    <a:lnTo>
                      <a:pt x="1769" y="164"/>
                    </a:lnTo>
                    <a:lnTo>
                      <a:pt x="1490" y="146"/>
                    </a:lnTo>
                    <a:lnTo>
                      <a:pt x="1403" y="221"/>
                    </a:lnTo>
                    <a:lnTo>
                      <a:pt x="1275" y="237"/>
                    </a:lnTo>
                    <a:lnTo>
                      <a:pt x="1211" y="354"/>
                    </a:lnTo>
                    <a:lnTo>
                      <a:pt x="1021" y="417"/>
                    </a:lnTo>
                    <a:lnTo>
                      <a:pt x="796" y="140"/>
                    </a:lnTo>
                    <a:lnTo>
                      <a:pt x="615" y="0"/>
                    </a:lnTo>
                    <a:lnTo>
                      <a:pt x="544" y="127"/>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17" name="任意多边形 109">
                <a:extLst>
                  <a:ext uri="{FF2B5EF4-FFF2-40B4-BE49-F238E27FC236}">
                    <a16:creationId xmlns:a16="http://schemas.microsoft.com/office/drawing/2014/main" id="{AF9C4D71-87EE-60C5-AA5B-0E6322B990E3}"/>
                  </a:ext>
                </a:extLst>
              </p:cNvPr>
              <p:cNvSpPr>
                <a:spLocks/>
              </p:cNvSpPr>
              <p:nvPr/>
            </p:nvSpPr>
            <p:spPr bwMode="auto">
              <a:xfrm>
                <a:off x="2788274" y="2490788"/>
                <a:ext cx="1112343" cy="1445260"/>
              </a:xfrm>
              <a:custGeom>
                <a:avLst/>
                <a:gdLst/>
                <a:ahLst/>
                <a:cxnLst/>
                <a:rect l="0" t="0" r="r" b="b"/>
                <a:pathLst>
                  <a:path w="13622565" h="17699749">
                    <a:moveTo>
                      <a:pt x="10642295" y="190148"/>
                    </a:moveTo>
                    <a:lnTo>
                      <a:pt x="10541327" y="440405"/>
                    </a:lnTo>
                    <a:lnTo>
                      <a:pt x="10876011" y="946970"/>
                    </a:lnTo>
                    <a:lnTo>
                      <a:pt x="10454429" y="1010619"/>
                    </a:lnTo>
                    <a:lnTo>
                      <a:pt x="10487052" y="1326891"/>
                    </a:lnTo>
                    <a:lnTo>
                      <a:pt x="11002646" y="1598265"/>
                    </a:lnTo>
                    <a:lnTo>
                      <a:pt x="10369457" y="2041512"/>
                    </a:lnTo>
                    <a:lnTo>
                      <a:pt x="10948375" y="2647578"/>
                    </a:lnTo>
                    <a:lnTo>
                      <a:pt x="10622736" y="2882765"/>
                    </a:lnTo>
                    <a:lnTo>
                      <a:pt x="10752935" y="3452960"/>
                    </a:lnTo>
                    <a:lnTo>
                      <a:pt x="10626295" y="3697184"/>
                    </a:lnTo>
                    <a:lnTo>
                      <a:pt x="10758424" y="4004449"/>
                    </a:lnTo>
                    <a:lnTo>
                      <a:pt x="10215688" y="4529111"/>
                    </a:lnTo>
                    <a:lnTo>
                      <a:pt x="10282575" y="5542511"/>
                    </a:lnTo>
                    <a:lnTo>
                      <a:pt x="10362483" y="6248949"/>
                    </a:lnTo>
                    <a:lnTo>
                      <a:pt x="9654875" y="7324261"/>
                    </a:lnTo>
                    <a:lnTo>
                      <a:pt x="8885999" y="7975560"/>
                    </a:lnTo>
                    <a:lnTo>
                      <a:pt x="9293054" y="8427848"/>
                    </a:lnTo>
                    <a:lnTo>
                      <a:pt x="9342463" y="9786535"/>
                    </a:lnTo>
                    <a:lnTo>
                      <a:pt x="10161417" y="9793764"/>
                    </a:lnTo>
                    <a:lnTo>
                      <a:pt x="10532279" y="10454115"/>
                    </a:lnTo>
                    <a:lnTo>
                      <a:pt x="11482058" y="10463152"/>
                    </a:lnTo>
                    <a:lnTo>
                      <a:pt x="11653917" y="10779759"/>
                    </a:lnTo>
                    <a:lnTo>
                      <a:pt x="12033827" y="11051133"/>
                    </a:lnTo>
                    <a:lnTo>
                      <a:pt x="12531328" y="11331556"/>
                    </a:lnTo>
                    <a:lnTo>
                      <a:pt x="13525033" y="11264884"/>
                    </a:lnTo>
                    <a:lnTo>
                      <a:pt x="13622565" y="11784996"/>
                    </a:lnTo>
                    <a:lnTo>
                      <a:pt x="13072739" y="12075586"/>
                    </a:lnTo>
                    <a:lnTo>
                      <a:pt x="12397515" y="12497597"/>
                    </a:lnTo>
                    <a:lnTo>
                      <a:pt x="12090048" y="13287367"/>
                    </a:lnTo>
                    <a:lnTo>
                      <a:pt x="11571576" y="13691294"/>
                    </a:lnTo>
                    <a:lnTo>
                      <a:pt x="10824014" y="14318273"/>
                    </a:lnTo>
                    <a:lnTo>
                      <a:pt x="10691385" y="15186418"/>
                    </a:lnTo>
                    <a:lnTo>
                      <a:pt x="10076452" y="15753121"/>
                    </a:lnTo>
                    <a:lnTo>
                      <a:pt x="9690609" y="15897811"/>
                    </a:lnTo>
                    <a:lnTo>
                      <a:pt x="9316828" y="16253508"/>
                    </a:lnTo>
                    <a:lnTo>
                      <a:pt x="8762187" y="16349969"/>
                    </a:lnTo>
                    <a:lnTo>
                      <a:pt x="8117109" y="15867666"/>
                    </a:lnTo>
                    <a:lnTo>
                      <a:pt x="7616721" y="15873689"/>
                    </a:lnTo>
                    <a:lnTo>
                      <a:pt x="7435861" y="16741834"/>
                    </a:lnTo>
                    <a:lnTo>
                      <a:pt x="6887243" y="17181930"/>
                    </a:lnTo>
                    <a:lnTo>
                      <a:pt x="6676238" y="17664233"/>
                    </a:lnTo>
                    <a:lnTo>
                      <a:pt x="6335576" y="17699749"/>
                    </a:lnTo>
                    <a:lnTo>
                      <a:pt x="6015490" y="16968505"/>
                    </a:lnTo>
                    <a:lnTo>
                      <a:pt x="5158198" y="16787645"/>
                    </a:lnTo>
                    <a:lnTo>
                      <a:pt x="4619226" y="16161859"/>
                    </a:lnTo>
                    <a:lnTo>
                      <a:pt x="4637311" y="15727786"/>
                    </a:lnTo>
                    <a:lnTo>
                      <a:pt x="4467305" y="15583095"/>
                    </a:lnTo>
                    <a:lnTo>
                      <a:pt x="4097454" y="16087770"/>
                    </a:lnTo>
                    <a:lnTo>
                      <a:pt x="3482522" y="15203956"/>
                    </a:lnTo>
                    <a:lnTo>
                      <a:pt x="3653428" y="14396645"/>
                    </a:lnTo>
                    <a:lnTo>
                      <a:pt x="3378507" y="13914342"/>
                    </a:lnTo>
                    <a:lnTo>
                      <a:pt x="3945210" y="13317494"/>
                    </a:lnTo>
                    <a:lnTo>
                      <a:pt x="4650580" y="13070319"/>
                    </a:lnTo>
                    <a:lnTo>
                      <a:pt x="4505889" y="12455386"/>
                    </a:lnTo>
                    <a:lnTo>
                      <a:pt x="4343114" y="11695763"/>
                    </a:lnTo>
                    <a:lnTo>
                      <a:pt x="4017563" y="11080830"/>
                    </a:lnTo>
                    <a:lnTo>
                      <a:pt x="3523198" y="10417667"/>
                    </a:lnTo>
                    <a:lnTo>
                      <a:pt x="3996178" y="10206164"/>
                    </a:lnTo>
                    <a:lnTo>
                      <a:pt x="3411391" y="9409164"/>
                    </a:lnTo>
                    <a:lnTo>
                      <a:pt x="2997818" y="9699753"/>
                    </a:lnTo>
                    <a:lnTo>
                      <a:pt x="3191625" y="9012965"/>
                    </a:lnTo>
                    <a:lnTo>
                      <a:pt x="2481120" y="9079257"/>
                    </a:lnTo>
                    <a:lnTo>
                      <a:pt x="2307810" y="8862270"/>
                    </a:lnTo>
                    <a:lnTo>
                      <a:pt x="1902675" y="8435428"/>
                    </a:lnTo>
                    <a:lnTo>
                      <a:pt x="1461371" y="8522243"/>
                    </a:lnTo>
                    <a:lnTo>
                      <a:pt x="1211781" y="8156900"/>
                    </a:lnTo>
                    <a:lnTo>
                      <a:pt x="528118" y="8099024"/>
                    </a:lnTo>
                    <a:lnTo>
                      <a:pt x="549825" y="7444299"/>
                    </a:lnTo>
                    <a:lnTo>
                      <a:pt x="0" y="7252585"/>
                    </a:lnTo>
                    <a:lnTo>
                      <a:pt x="79584" y="6858305"/>
                    </a:lnTo>
                    <a:lnTo>
                      <a:pt x="745162" y="6648506"/>
                    </a:lnTo>
                    <a:lnTo>
                      <a:pt x="1291365" y="6409770"/>
                    </a:lnTo>
                    <a:lnTo>
                      <a:pt x="1645854" y="6207203"/>
                    </a:lnTo>
                    <a:lnTo>
                      <a:pt x="1663938" y="5650147"/>
                    </a:lnTo>
                    <a:lnTo>
                      <a:pt x="1171989" y="5140113"/>
                    </a:lnTo>
                    <a:lnTo>
                      <a:pt x="1848421" y="4217714"/>
                    </a:lnTo>
                    <a:lnTo>
                      <a:pt x="2492292" y="4441989"/>
                    </a:lnTo>
                    <a:lnTo>
                      <a:pt x="3280854" y="4470927"/>
                    </a:lnTo>
                    <a:lnTo>
                      <a:pt x="3761949" y="4152607"/>
                    </a:lnTo>
                    <a:lnTo>
                      <a:pt x="3114455" y="3606404"/>
                    </a:lnTo>
                    <a:lnTo>
                      <a:pt x="2673152" y="3541297"/>
                    </a:lnTo>
                    <a:lnTo>
                      <a:pt x="1989489" y="3570235"/>
                    </a:lnTo>
                    <a:lnTo>
                      <a:pt x="2018427" y="3063810"/>
                    </a:lnTo>
                    <a:lnTo>
                      <a:pt x="2831435" y="3080250"/>
                    </a:lnTo>
                    <a:lnTo>
                      <a:pt x="2904657" y="2857635"/>
                    </a:lnTo>
                    <a:lnTo>
                      <a:pt x="2307809" y="2694859"/>
                    </a:lnTo>
                    <a:lnTo>
                      <a:pt x="1757984" y="2579106"/>
                    </a:lnTo>
                    <a:lnTo>
                      <a:pt x="2376539" y="2040135"/>
                    </a:lnTo>
                    <a:lnTo>
                      <a:pt x="1786922" y="1692876"/>
                    </a:lnTo>
                    <a:lnTo>
                      <a:pt x="2353928" y="1376505"/>
                    </a:lnTo>
                    <a:lnTo>
                      <a:pt x="3392984" y="1616916"/>
                    </a:lnTo>
                    <a:lnTo>
                      <a:pt x="4807332" y="1461371"/>
                    </a:lnTo>
                    <a:lnTo>
                      <a:pt x="5613078" y="1412704"/>
                    </a:lnTo>
                    <a:lnTo>
                      <a:pt x="6427855" y="1211781"/>
                    </a:lnTo>
                    <a:lnTo>
                      <a:pt x="7110603" y="895439"/>
                    </a:lnTo>
                    <a:lnTo>
                      <a:pt x="8674165" y="1059859"/>
                    </a:lnTo>
                    <a:lnTo>
                      <a:pt x="8850487" y="790540"/>
                    </a:lnTo>
                    <a:lnTo>
                      <a:pt x="8804379" y="405135"/>
                    </a:lnTo>
                    <a:lnTo>
                      <a:pt x="9412081" y="144691"/>
                    </a:lnTo>
                    <a:lnTo>
                      <a:pt x="10153621" y="0"/>
                    </a:lnTo>
                    <a:lnTo>
                      <a:pt x="10642295" y="190148"/>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18" name="任意多边形 110">
                <a:extLst>
                  <a:ext uri="{FF2B5EF4-FFF2-40B4-BE49-F238E27FC236}">
                    <a16:creationId xmlns:a16="http://schemas.microsoft.com/office/drawing/2014/main" id="{2751FBEB-664E-436B-EB49-73FE92AA275F}"/>
                  </a:ext>
                </a:extLst>
              </p:cNvPr>
              <p:cNvSpPr>
                <a:spLocks/>
              </p:cNvSpPr>
              <p:nvPr/>
            </p:nvSpPr>
            <p:spPr bwMode="auto">
              <a:xfrm>
                <a:off x="3109851" y="3231198"/>
                <a:ext cx="2250717" cy="1237933"/>
              </a:xfrm>
              <a:custGeom>
                <a:avLst/>
                <a:gdLst/>
                <a:ahLst/>
                <a:cxnLst/>
                <a:rect l="0" t="0" r="r" b="b"/>
                <a:pathLst>
                  <a:path w="27560432" h="15152939">
                    <a:moveTo>
                      <a:pt x="26157237" y="4322377"/>
                    </a:moveTo>
                    <a:lnTo>
                      <a:pt x="25950755" y="4946265"/>
                    </a:lnTo>
                    <a:lnTo>
                      <a:pt x="26059273" y="5561190"/>
                    </a:lnTo>
                    <a:lnTo>
                      <a:pt x="26439085" y="6103777"/>
                    </a:lnTo>
                    <a:lnTo>
                      <a:pt x="26366739" y="6555934"/>
                    </a:lnTo>
                    <a:lnTo>
                      <a:pt x="25824148" y="6827228"/>
                    </a:lnTo>
                    <a:lnTo>
                      <a:pt x="26023104" y="7478344"/>
                    </a:lnTo>
                    <a:lnTo>
                      <a:pt x="26619948" y="7840060"/>
                    </a:lnTo>
                    <a:lnTo>
                      <a:pt x="26276305" y="8672029"/>
                    </a:lnTo>
                    <a:lnTo>
                      <a:pt x="26312478" y="9666777"/>
                    </a:lnTo>
                    <a:lnTo>
                      <a:pt x="25878405" y="10227453"/>
                    </a:lnTo>
                    <a:lnTo>
                      <a:pt x="26402912" y="10643437"/>
                    </a:lnTo>
                    <a:lnTo>
                      <a:pt x="27319497" y="10082959"/>
                    </a:lnTo>
                    <a:lnTo>
                      <a:pt x="27560432" y="10281714"/>
                    </a:lnTo>
                    <a:lnTo>
                      <a:pt x="27325315" y="10860465"/>
                    </a:lnTo>
                    <a:lnTo>
                      <a:pt x="27542355" y="12005935"/>
                    </a:lnTo>
                    <a:lnTo>
                      <a:pt x="26089423" y="11975789"/>
                    </a:lnTo>
                    <a:lnTo>
                      <a:pt x="24473715" y="12090334"/>
                    </a:lnTo>
                    <a:lnTo>
                      <a:pt x="23135328" y="12222964"/>
                    </a:lnTo>
                    <a:lnTo>
                      <a:pt x="22261159" y="12934357"/>
                    </a:lnTo>
                    <a:lnTo>
                      <a:pt x="20826342" y="14369204"/>
                    </a:lnTo>
                    <a:lnTo>
                      <a:pt x="12952786" y="14960014"/>
                    </a:lnTo>
                    <a:lnTo>
                      <a:pt x="11934663" y="15008264"/>
                    </a:lnTo>
                    <a:lnTo>
                      <a:pt x="8506848" y="15152939"/>
                    </a:lnTo>
                    <a:lnTo>
                      <a:pt x="7985095" y="14507857"/>
                    </a:lnTo>
                    <a:lnTo>
                      <a:pt x="7400308" y="14477712"/>
                    </a:lnTo>
                    <a:lnTo>
                      <a:pt x="6972273" y="14749009"/>
                    </a:lnTo>
                    <a:lnTo>
                      <a:pt x="5181729" y="14664610"/>
                    </a:lnTo>
                    <a:lnTo>
                      <a:pt x="4397998" y="14031593"/>
                    </a:lnTo>
                    <a:lnTo>
                      <a:pt x="2908896" y="13223739"/>
                    </a:lnTo>
                    <a:lnTo>
                      <a:pt x="1263043" y="12512346"/>
                    </a:lnTo>
                    <a:lnTo>
                      <a:pt x="485320" y="12060189"/>
                    </a:lnTo>
                    <a:lnTo>
                      <a:pt x="0" y="11767077"/>
                    </a:lnTo>
                    <a:lnTo>
                      <a:pt x="1003686" y="11021112"/>
                    </a:lnTo>
                    <a:lnTo>
                      <a:pt x="2902551" y="9836713"/>
                    </a:lnTo>
                    <a:lnTo>
                      <a:pt x="2558940" y="9303282"/>
                    </a:lnTo>
                    <a:lnTo>
                      <a:pt x="2402508" y="8616199"/>
                    </a:lnTo>
                    <a:lnTo>
                      <a:pt x="2730740" y="8589028"/>
                    </a:lnTo>
                    <a:lnTo>
                      <a:pt x="2947754" y="8118883"/>
                    </a:lnTo>
                    <a:lnTo>
                      <a:pt x="3499325" y="7675866"/>
                    </a:lnTo>
                    <a:lnTo>
                      <a:pt x="3680166" y="6798868"/>
                    </a:lnTo>
                    <a:lnTo>
                      <a:pt x="4186528" y="6807904"/>
                    </a:lnTo>
                    <a:lnTo>
                      <a:pt x="4837569" y="7278054"/>
                    </a:lnTo>
                    <a:lnTo>
                      <a:pt x="5352976" y="7196687"/>
                    </a:lnTo>
                    <a:lnTo>
                      <a:pt x="5741786" y="6825992"/>
                    </a:lnTo>
                    <a:lnTo>
                      <a:pt x="6157723" y="6663251"/>
                    </a:lnTo>
                    <a:lnTo>
                      <a:pt x="6745471" y="6093658"/>
                    </a:lnTo>
                    <a:lnTo>
                      <a:pt x="6890140" y="5243782"/>
                    </a:lnTo>
                    <a:lnTo>
                      <a:pt x="7568305" y="4674188"/>
                    </a:lnTo>
                    <a:lnTo>
                      <a:pt x="8137967" y="4231167"/>
                    </a:lnTo>
                    <a:lnTo>
                      <a:pt x="8463480" y="3426500"/>
                    </a:lnTo>
                    <a:lnTo>
                      <a:pt x="9024093" y="3073893"/>
                    </a:lnTo>
                    <a:lnTo>
                      <a:pt x="9675138" y="2721291"/>
                    </a:lnTo>
                    <a:lnTo>
                      <a:pt x="9558580" y="2173007"/>
                    </a:lnTo>
                    <a:lnTo>
                      <a:pt x="10353296" y="1500723"/>
                    </a:lnTo>
                    <a:lnTo>
                      <a:pt x="10832530" y="1428389"/>
                    </a:lnTo>
                    <a:lnTo>
                      <a:pt x="11058585" y="1880458"/>
                    </a:lnTo>
                    <a:lnTo>
                      <a:pt x="11411229" y="2260189"/>
                    </a:lnTo>
                    <a:lnTo>
                      <a:pt x="11998974" y="2341559"/>
                    </a:lnTo>
                    <a:lnTo>
                      <a:pt x="12315449" y="3001571"/>
                    </a:lnTo>
                    <a:lnTo>
                      <a:pt x="12785642" y="2820742"/>
                    </a:lnTo>
                    <a:lnTo>
                      <a:pt x="13671776" y="3272803"/>
                    </a:lnTo>
                    <a:lnTo>
                      <a:pt x="14123886" y="2974450"/>
                    </a:lnTo>
                    <a:lnTo>
                      <a:pt x="14259509" y="2404849"/>
                    </a:lnTo>
                    <a:lnTo>
                      <a:pt x="14892468" y="1762918"/>
                    </a:lnTo>
                    <a:lnTo>
                      <a:pt x="15778605" y="1211398"/>
                    </a:lnTo>
                    <a:lnTo>
                      <a:pt x="16022739" y="1681548"/>
                    </a:lnTo>
                    <a:lnTo>
                      <a:pt x="16013694" y="2169778"/>
                    </a:lnTo>
                    <a:lnTo>
                      <a:pt x="16556232" y="2260200"/>
                    </a:lnTo>
                    <a:lnTo>
                      <a:pt x="16863663" y="1744834"/>
                    </a:lnTo>
                    <a:lnTo>
                      <a:pt x="17406193" y="1410312"/>
                    </a:lnTo>
                    <a:lnTo>
                      <a:pt x="17623203" y="867840"/>
                    </a:lnTo>
                    <a:lnTo>
                      <a:pt x="18120524" y="831675"/>
                    </a:lnTo>
                    <a:lnTo>
                      <a:pt x="18201903" y="542358"/>
                    </a:lnTo>
                    <a:lnTo>
                      <a:pt x="18744437" y="117414"/>
                    </a:lnTo>
                    <a:lnTo>
                      <a:pt x="19443290" y="0"/>
                    </a:lnTo>
                    <a:lnTo>
                      <a:pt x="19982300" y="460880"/>
                    </a:lnTo>
                    <a:lnTo>
                      <a:pt x="19530143" y="913038"/>
                    </a:lnTo>
                    <a:lnTo>
                      <a:pt x="19837609" y="1238588"/>
                    </a:lnTo>
                    <a:lnTo>
                      <a:pt x="20886614" y="1546055"/>
                    </a:lnTo>
                    <a:lnTo>
                      <a:pt x="21881359" y="1889694"/>
                    </a:lnTo>
                    <a:lnTo>
                      <a:pt x="21772837" y="2269505"/>
                    </a:lnTo>
                    <a:lnTo>
                      <a:pt x="21537712" y="2884438"/>
                    </a:lnTo>
                    <a:lnTo>
                      <a:pt x="21996067" y="2911656"/>
                    </a:lnTo>
                    <a:lnTo>
                      <a:pt x="22478203" y="2414189"/>
                    </a:lnTo>
                    <a:lnTo>
                      <a:pt x="23292084" y="2016293"/>
                    </a:lnTo>
                    <a:lnTo>
                      <a:pt x="23888932" y="1998212"/>
                    </a:lnTo>
                    <a:lnTo>
                      <a:pt x="24612383" y="1582227"/>
                    </a:lnTo>
                    <a:lnTo>
                      <a:pt x="25010275" y="695990"/>
                    </a:lnTo>
                    <a:lnTo>
                      <a:pt x="25769899" y="840685"/>
                    </a:lnTo>
                    <a:lnTo>
                      <a:pt x="26402920" y="876857"/>
                    </a:lnTo>
                    <a:lnTo>
                      <a:pt x="26240141" y="1491794"/>
                    </a:lnTo>
                    <a:lnTo>
                      <a:pt x="26554742" y="2052454"/>
                    </a:lnTo>
                    <a:lnTo>
                      <a:pt x="25679461" y="2775920"/>
                    </a:lnTo>
                    <a:lnTo>
                      <a:pt x="25751806" y="3806840"/>
                    </a:lnTo>
                    <a:lnTo>
                      <a:pt x="26157237" y="4322377"/>
                    </a:lnTo>
                    <a:close/>
                  </a:path>
                </a:pathLst>
              </a:custGeom>
              <a:grpFill/>
              <a:ln w="9525" cap="flat">
                <a:solidFill>
                  <a:schemeClr val="bg1"/>
                </a:solidFill>
                <a:prstDash val="solid"/>
                <a:miter/>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19" name="任意多边形 111">
                <a:extLst>
                  <a:ext uri="{FF2B5EF4-FFF2-40B4-BE49-F238E27FC236}">
                    <a16:creationId xmlns:a16="http://schemas.microsoft.com/office/drawing/2014/main" id="{0E249FB9-50C9-9224-D2CD-21ED5156391B}"/>
                  </a:ext>
                </a:extLst>
              </p:cNvPr>
              <p:cNvSpPr>
                <a:spLocks/>
              </p:cNvSpPr>
              <p:nvPr/>
            </p:nvSpPr>
            <p:spPr bwMode="auto">
              <a:xfrm>
                <a:off x="4595197" y="2461260"/>
                <a:ext cx="830131" cy="1007110"/>
              </a:xfrm>
              <a:custGeom>
                <a:avLst/>
                <a:gdLst>
                  <a:gd name="T0" fmla="*/ 0 w 2615"/>
                  <a:gd name="T1" fmla="*/ 877971 h 3172"/>
                  <a:gd name="T2" fmla="*/ 9526 w 2615"/>
                  <a:gd name="T3" fmla="*/ 982701 h 3172"/>
                  <a:gd name="T4" fmla="*/ 123826 w 2615"/>
                  <a:gd name="T5" fmla="*/ 901738 h 3172"/>
                  <a:gd name="T6" fmla="*/ 164307 w 2615"/>
                  <a:gd name="T7" fmla="*/ 1013658 h 3172"/>
                  <a:gd name="T8" fmla="*/ 45243 w 2615"/>
                  <a:gd name="T9" fmla="*/ 1070806 h 3172"/>
                  <a:gd name="T10" fmla="*/ 150019 w 2615"/>
                  <a:gd name="T11" fmla="*/ 1139863 h 3172"/>
                  <a:gd name="T12" fmla="*/ 288132 w 2615"/>
                  <a:gd name="T13" fmla="*/ 1149388 h 3172"/>
                  <a:gd name="T14" fmla="*/ 269080 w 2615"/>
                  <a:gd name="T15" fmla="*/ 1258924 h 3172"/>
                  <a:gd name="T16" fmla="*/ 178593 w 2615"/>
                  <a:gd name="T17" fmla="*/ 1282737 h 3172"/>
                  <a:gd name="T18" fmla="*/ 228600 w 2615"/>
                  <a:gd name="T19" fmla="*/ 1401799 h 3172"/>
                  <a:gd name="T20" fmla="*/ 319086 w 2615"/>
                  <a:gd name="T21" fmla="*/ 1589915 h 3172"/>
                  <a:gd name="T22" fmla="*/ 340517 w 2615"/>
                  <a:gd name="T23" fmla="*/ 1861376 h 3172"/>
                  <a:gd name="T24" fmla="*/ 269079 w 2615"/>
                  <a:gd name="T25" fmla="*/ 2001869 h 3172"/>
                  <a:gd name="T26" fmla="*/ 371473 w 2615"/>
                  <a:gd name="T27" fmla="*/ 2180463 h 3172"/>
                  <a:gd name="T28" fmla="*/ 271460 w 2615"/>
                  <a:gd name="T29" fmla="*/ 2225705 h 3172"/>
                  <a:gd name="T30" fmla="*/ 238123 w 2615"/>
                  <a:gd name="T31" fmla="*/ 2368579 h 3172"/>
                  <a:gd name="T32" fmla="*/ 334487 w 2615"/>
                  <a:gd name="T33" fmla="*/ 2484765 h 3172"/>
                  <a:gd name="T34" fmla="*/ 471485 w 2615"/>
                  <a:gd name="T35" fmla="*/ 2606703 h 3172"/>
                  <a:gd name="T36" fmla="*/ 357185 w 2615"/>
                  <a:gd name="T37" fmla="*/ 2723382 h 3172"/>
                  <a:gd name="T38" fmla="*/ 440527 w 2615"/>
                  <a:gd name="T39" fmla="*/ 2811489 h 3172"/>
                  <a:gd name="T40" fmla="*/ 769139 w 2615"/>
                  <a:gd name="T41" fmla="*/ 2906739 h 3172"/>
                  <a:gd name="T42" fmla="*/ 973926 w 2615"/>
                  <a:gd name="T43" fmla="*/ 2985319 h 3172"/>
                  <a:gd name="T44" fmla="*/ 950112 w 2615"/>
                  <a:gd name="T45" fmla="*/ 3075806 h 3172"/>
                  <a:gd name="T46" fmla="*/ 885818 w 2615"/>
                  <a:gd name="T47" fmla="*/ 3242493 h 3172"/>
                  <a:gd name="T48" fmla="*/ 1007259 w 2615"/>
                  <a:gd name="T49" fmla="*/ 3249638 h 3172"/>
                  <a:gd name="T50" fmla="*/ 1131085 w 2615"/>
                  <a:gd name="T51" fmla="*/ 3121049 h 3172"/>
                  <a:gd name="T52" fmla="*/ 1345398 w 2615"/>
                  <a:gd name="T53" fmla="*/ 3013894 h 3172"/>
                  <a:gd name="T54" fmla="*/ 1502558 w 2615"/>
                  <a:gd name="T55" fmla="*/ 3009131 h 3172"/>
                  <a:gd name="T56" fmla="*/ 1697821 w 2615"/>
                  <a:gd name="T57" fmla="*/ 2899594 h 3172"/>
                  <a:gd name="T58" fmla="*/ 1800212 w 2615"/>
                  <a:gd name="T59" fmla="*/ 2668613 h 3172"/>
                  <a:gd name="T60" fmla="*/ 2016905 w 2615"/>
                  <a:gd name="T61" fmla="*/ 2709095 h 3172"/>
                  <a:gd name="T62" fmla="*/ 2164543 w 2615"/>
                  <a:gd name="T63" fmla="*/ 2713858 h 3172"/>
                  <a:gd name="T64" fmla="*/ 2121679 w 2615"/>
                  <a:gd name="T65" fmla="*/ 2871020 h 3172"/>
                  <a:gd name="T66" fmla="*/ 2207907 w 2615"/>
                  <a:gd name="T67" fmla="*/ 3025008 h 3172"/>
                  <a:gd name="T68" fmla="*/ 2488389 w 2615"/>
                  <a:gd name="T69" fmla="*/ 3037709 h 3172"/>
                  <a:gd name="T70" fmla="*/ 2676509 w 2615"/>
                  <a:gd name="T71" fmla="*/ 2792441 h 3172"/>
                  <a:gd name="T72" fmla="*/ 2595546 w 2615"/>
                  <a:gd name="T73" fmla="*/ 2559078 h 3172"/>
                  <a:gd name="T74" fmla="*/ 2347133 w 2615"/>
                  <a:gd name="T75" fmla="*/ 2261454 h 3172"/>
                  <a:gd name="T76" fmla="*/ 2464577 w 2615"/>
                  <a:gd name="T77" fmla="*/ 2116168 h 3172"/>
                  <a:gd name="T78" fmla="*/ 2678889 w 2615"/>
                  <a:gd name="T79" fmla="*/ 1930432 h 3172"/>
                  <a:gd name="T80" fmla="*/ 2678093 w 2615"/>
                  <a:gd name="T81" fmla="*/ 1666453 h 3172"/>
                  <a:gd name="T82" fmla="*/ 2048418 w 2615"/>
                  <a:gd name="T83" fmla="*/ 889742 h 3172"/>
                  <a:gd name="T84" fmla="*/ 1796250 w 2615"/>
                  <a:gd name="T85" fmla="*/ 626836 h 3172"/>
                  <a:gd name="T86" fmla="*/ 1502649 w 2615"/>
                  <a:gd name="T87" fmla="*/ 460378 h 3172"/>
                  <a:gd name="T88" fmla="*/ 1364578 w 2615"/>
                  <a:gd name="T89" fmla="*/ 395289 h 3172"/>
                  <a:gd name="T90" fmla="*/ 1264594 w 2615"/>
                  <a:gd name="T91" fmla="*/ 266701 h 3172"/>
                  <a:gd name="T92" fmla="*/ 1435995 w 2615"/>
                  <a:gd name="T93" fmla="*/ 190501 h 3172"/>
                  <a:gd name="T94" fmla="*/ 1469322 w 2615"/>
                  <a:gd name="T95" fmla="*/ 0 h 3172"/>
                  <a:gd name="T96" fmla="*/ 1231267 w 2615"/>
                  <a:gd name="T97" fmla="*/ 104775 h 3172"/>
                  <a:gd name="T98" fmla="*/ 1144255 w 2615"/>
                  <a:gd name="T99" fmla="*/ 92908 h 3172"/>
                  <a:gd name="T100" fmla="*/ 1102720 w 2615"/>
                  <a:gd name="T101" fmla="*/ 257179 h 3172"/>
                  <a:gd name="T102" fmla="*/ 888470 w 2615"/>
                  <a:gd name="T103" fmla="*/ 357191 h 3172"/>
                  <a:gd name="T104" fmla="*/ 755159 w 2615"/>
                  <a:gd name="T105" fmla="*/ 528641 h 3172"/>
                  <a:gd name="T106" fmla="*/ 531389 w 2615"/>
                  <a:gd name="T107" fmla="*/ 623889 h 3172"/>
                  <a:gd name="T108" fmla="*/ 459972 w 2615"/>
                  <a:gd name="T109" fmla="*/ 766766 h 3172"/>
                  <a:gd name="T110" fmla="*/ 264769 w 2615"/>
                  <a:gd name="T111" fmla="*/ 728663 h 3172"/>
                  <a:gd name="T112" fmla="*/ 0 w 2615"/>
                  <a:gd name="T113" fmla="*/ 877971 h 31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615" h="3172">
                    <a:moveTo>
                      <a:pt x="0" y="858"/>
                    </a:moveTo>
                    <a:lnTo>
                      <a:pt x="7" y="955"/>
                    </a:lnTo>
                    <a:lnTo>
                      <a:pt x="119" y="880"/>
                    </a:lnTo>
                    <a:lnTo>
                      <a:pt x="160" y="990"/>
                    </a:lnTo>
                    <a:lnTo>
                      <a:pt x="44" y="1046"/>
                    </a:lnTo>
                    <a:lnTo>
                      <a:pt x="146" y="1114"/>
                    </a:lnTo>
                    <a:lnTo>
                      <a:pt x="281" y="1123"/>
                    </a:lnTo>
                    <a:lnTo>
                      <a:pt x="263" y="1230"/>
                    </a:lnTo>
                    <a:lnTo>
                      <a:pt x="174" y="1253"/>
                    </a:lnTo>
                    <a:lnTo>
                      <a:pt x="223" y="1370"/>
                    </a:lnTo>
                    <a:lnTo>
                      <a:pt x="312" y="1553"/>
                    </a:lnTo>
                    <a:lnTo>
                      <a:pt x="333" y="1819"/>
                    </a:lnTo>
                    <a:lnTo>
                      <a:pt x="263" y="1956"/>
                    </a:lnTo>
                    <a:lnTo>
                      <a:pt x="363" y="2130"/>
                    </a:lnTo>
                    <a:lnTo>
                      <a:pt x="265" y="2175"/>
                    </a:lnTo>
                    <a:lnTo>
                      <a:pt x="233" y="2314"/>
                    </a:lnTo>
                    <a:lnTo>
                      <a:pt x="327" y="2428"/>
                    </a:lnTo>
                    <a:lnTo>
                      <a:pt x="460" y="2547"/>
                    </a:lnTo>
                    <a:lnTo>
                      <a:pt x="349" y="2661"/>
                    </a:lnTo>
                    <a:lnTo>
                      <a:pt x="430" y="2747"/>
                    </a:lnTo>
                    <a:lnTo>
                      <a:pt x="751" y="2840"/>
                    </a:lnTo>
                    <a:lnTo>
                      <a:pt x="952" y="2913"/>
                    </a:lnTo>
                    <a:lnTo>
                      <a:pt x="922" y="3013"/>
                    </a:lnTo>
                    <a:lnTo>
                      <a:pt x="863" y="3165"/>
                    </a:lnTo>
                    <a:lnTo>
                      <a:pt x="977" y="3172"/>
                    </a:lnTo>
                    <a:lnTo>
                      <a:pt x="1105" y="3049"/>
                    </a:lnTo>
                    <a:lnTo>
                      <a:pt x="1314" y="2945"/>
                    </a:lnTo>
                    <a:lnTo>
                      <a:pt x="1467" y="2940"/>
                    </a:lnTo>
                    <a:lnTo>
                      <a:pt x="1651" y="2835"/>
                    </a:lnTo>
                    <a:lnTo>
                      <a:pt x="1756" y="2602"/>
                    </a:lnTo>
                    <a:lnTo>
                      <a:pt x="1948" y="2641"/>
                    </a:lnTo>
                    <a:lnTo>
                      <a:pt x="2114" y="2652"/>
                    </a:lnTo>
                    <a:lnTo>
                      <a:pt x="2072" y="2805"/>
                    </a:lnTo>
                    <a:lnTo>
                      <a:pt x="2156" y="2956"/>
                    </a:lnTo>
                    <a:lnTo>
                      <a:pt x="2430" y="2968"/>
                    </a:lnTo>
                    <a:lnTo>
                      <a:pt x="2614" y="2728"/>
                    </a:lnTo>
                    <a:lnTo>
                      <a:pt x="2535" y="2500"/>
                    </a:lnTo>
                    <a:lnTo>
                      <a:pt x="2292" y="2210"/>
                    </a:lnTo>
                    <a:lnTo>
                      <a:pt x="2407" y="2068"/>
                    </a:lnTo>
                    <a:lnTo>
                      <a:pt x="2609" y="1891"/>
                    </a:lnTo>
                    <a:lnTo>
                      <a:pt x="2615" y="1628"/>
                    </a:lnTo>
                    <a:lnTo>
                      <a:pt x="2000" y="869"/>
                    </a:lnTo>
                    <a:lnTo>
                      <a:pt x="1754" y="612"/>
                    </a:lnTo>
                    <a:lnTo>
                      <a:pt x="1467" y="450"/>
                    </a:lnTo>
                    <a:lnTo>
                      <a:pt x="1333" y="386"/>
                    </a:lnTo>
                    <a:lnTo>
                      <a:pt x="1235" y="261"/>
                    </a:lnTo>
                    <a:lnTo>
                      <a:pt x="1402" y="186"/>
                    </a:lnTo>
                    <a:lnTo>
                      <a:pt x="1435" y="0"/>
                    </a:lnTo>
                    <a:lnTo>
                      <a:pt x="1207" y="97"/>
                    </a:lnTo>
                    <a:lnTo>
                      <a:pt x="1123" y="94"/>
                    </a:lnTo>
                    <a:lnTo>
                      <a:pt x="1077" y="251"/>
                    </a:lnTo>
                    <a:lnTo>
                      <a:pt x="868" y="349"/>
                    </a:lnTo>
                    <a:lnTo>
                      <a:pt x="737" y="516"/>
                    </a:lnTo>
                    <a:lnTo>
                      <a:pt x="519" y="610"/>
                    </a:lnTo>
                    <a:lnTo>
                      <a:pt x="449" y="749"/>
                    </a:lnTo>
                    <a:lnTo>
                      <a:pt x="259" y="712"/>
                    </a:lnTo>
                    <a:lnTo>
                      <a:pt x="0" y="858"/>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20" name="任意多边形 112">
                <a:extLst>
                  <a:ext uri="{FF2B5EF4-FFF2-40B4-BE49-F238E27FC236}">
                    <a16:creationId xmlns:a16="http://schemas.microsoft.com/office/drawing/2014/main" id="{0149A84D-2F28-366F-0BA7-92C52A9B14AD}"/>
                  </a:ext>
                </a:extLst>
              </p:cNvPr>
              <p:cNvSpPr>
                <a:spLocks/>
              </p:cNvSpPr>
              <p:nvPr/>
            </p:nvSpPr>
            <p:spPr bwMode="auto">
              <a:xfrm>
                <a:off x="4082516" y="4405630"/>
                <a:ext cx="1070440" cy="855980"/>
              </a:xfrm>
              <a:custGeom>
                <a:avLst/>
                <a:gdLst>
                  <a:gd name="T0" fmla="*/ 215558 w 13103724"/>
                  <a:gd name="T1" fmla="*/ 1849899 h 10479261"/>
                  <a:gd name="T2" fmla="*/ 264663 w 13103724"/>
                  <a:gd name="T3" fmla="*/ 2011576 h 10479261"/>
                  <a:gd name="T4" fmla="*/ 339518 w 13103724"/>
                  <a:gd name="T5" fmla="*/ 2103213 h 10479261"/>
                  <a:gd name="T6" fmla="*/ 499210 w 13103724"/>
                  <a:gd name="T7" fmla="*/ 2104344 h 10479261"/>
                  <a:gd name="T8" fmla="*/ 617617 w 13103724"/>
                  <a:gd name="T9" fmla="*/ 2307580 h 10479261"/>
                  <a:gd name="T10" fmla="*/ 633269 w 13103724"/>
                  <a:gd name="T11" fmla="*/ 2513082 h 10479261"/>
                  <a:gd name="T12" fmla="*/ 773543 w 13103724"/>
                  <a:gd name="T13" fmla="*/ 2644339 h 10479261"/>
                  <a:gd name="T14" fmla="*/ 1027507 w 13103724"/>
                  <a:gd name="T15" fmla="*/ 2759865 h 10479261"/>
                  <a:gd name="T16" fmla="*/ 1051685 w 13103724"/>
                  <a:gd name="T17" fmla="*/ 2610750 h 10479261"/>
                  <a:gd name="T18" fmla="*/ 1166964 w 13103724"/>
                  <a:gd name="T19" fmla="*/ 2547876 h 10479261"/>
                  <a:gd name="T20" fmla="*/ 1146003 w 13103724"/>
                  <a:gd name="T21" fmla="*/ 2436415 h 10479261"/>
                  <a:gd name="T22" fmla="*/ 1506126 w 13103724"/>
                  <a:gd name="T23" fmla="*/ 2365920 h 10479261"/>
                  <a:gd name="T24" fmla="*/ 1740489 w 13103724"/>
                  <a:gd name="T25" fmla="*/ 2396405 h 10479261"/>
                  <a:gd name="T26" fmla="*/ 1973903 w 13103724"/>
                  <a:gd name="T27" fmla="*/ 2426890 h 10479261"/>
                  <a:gd name="T28" fmla="*/ 2112996 w 13103724"/>
                  <a:gd name="T29" fmla="*/ 2515488 h 10479261"/>
                  <a:gd name="T30" fmla="*/ 2225144 w 13103724"/>
                  <a:gd name="T31" fmla="*/ 2500704 h 10479261"/>
                  <a:gd name="T32" fmla="*/ 2314968 w 13103724"/>
                  <a:gd name="T33" fmla="*/ 2588842 h 10479261"/>
                  <a:gd name="T34" fmla="*/ 2423577 w 13103724"/>
                  <a:gd name="T35" fmla="*/ 2555498 h 10479261"/>
                  <a:gd name="T36" fmla="*/ 2370225 w 13103724"/>
                  <a:gd name="T37" fmla="*/ 2466900 h 10479261"/>
                  <a:gd name="T38" fmla="*/ 2377846 w 13103724"/>
                  <a:gd name="T39" fmla="*/ 2324955 h 10479261"/>
                  <a:gd name="T40" fmla="*/ 2454063 w 13103724"/>
                  <a:gd name="T41" fmla="*/ 2147761 h 10479261"/>
                  <a:gd name="T42" fmla="*/ 2550287 w 13103724"/>
                  <a:gd name="T43" fmla="*/ 2046780 h 10479261"/>
                  <a:gd name="T44" fmla="*/ 2727489 w 13103724"/>
                  <a:gd name="T45" fmla="*/ 1942940 h 10479261"/>
                  <a:gd name="T46" fmla="*/ 2885636 w 13103724"/>
                  <a:gd name="T47" fmla="*/ 2026775 h 10479261"/>
                  <a:gd name="T48" fmla="*/ 3164778 w 13103724"/>
                  <a:gd name="T49" fmla="*/ 2145856 h 10479261"/>
                  <a:gd name="T50" fmla="*/ 3450477 w 13103724"/>
                  <a:gd name="T51" fmla="*/ 2203796 h 10479261"/>
                  <a:gd name="T52" fmla="*/ 3451225 w 13103724"/>
                  <a:gd name="T53" fmla="*/ 1928333 h 10479261"/>
                  <a:gd name="T54" fmla="*/ 3260683 w 13103724"/>
                  <a:gd name="T55" fmla="*/ 1567910 h 10479261"/>
                  <a:gd name="T56" fmla="*/ 3182087 w 13103724"/>
                  <a:gd name="T57" fmla="*/ 1211289 h 10479261"/>
                  <a:gd name="T58" fmla="*/ 2804975 w 13103724"/>
                  <a:gd name="T59" fmla="*/ 1066182 h 10479261"/>
                  <a:gd name="T60" fmla="*/ 2749400 w 13103724"/>
                  <a:gd name="T61" fmla="*/ 853422 h 10479261"/>
                  <a:gd name="T62" fmla="*/ 2511225 w 13103724"/>
                  <a:gd name="T63" fmla="*/ 615257 h 10479261"/>
                  <a:gd name="T64" fmla="*/ 2442947 w 13103724"/>
                  <a:gd name="T65" fmla="*/ 336606 h 10479261"/>
                  <a:gd name="T66" fmla="*/ 2352490 w 13103724"/>
                  <a:gd name="T67" fmla="*/ 0 h 10479261"/>
                  <a:gd name="T68" fmla="*/ 420012 w 13103724"/>
                  <a:gd name="T69" fmla="*/ 146051 h 10479261"/>
                  <a:gd name="T70" fmla="*/ 0 w 13103724"/>
                  <a:gd name="T71" fmla="*/ 165957 h 10479261"/>
                  <a:gd name="T72" fmla="*/ 420954 w 13103724"/>
                  <a:gd name="T73" fmla="*/ 1212935 h 10479261"/>
                  <a:gd name="T74" fmla="*/ 391919 w 13103724"/>
                  <a:gd name="T75" fmla="*/ 1419571 h 10479261"/>
                  <a:gd name="T76" fmla="*/ 331583 w 13103724"/>
                  <a:gd name="T77" fmla="*/ 1649571 h 10479261"/>
                  <a:gd name="T78" fmla="*/ 215558 w 13103724"/>
                  <a:gd name="T79" fmla="*/ 1849899 h 1047926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3103724" h="10479261">
                    <a:moveTo>
                      <a:pt x="818438" y="7024103"/>
                    </a:moveTo>
                    <a:lnTo>
                      <a:pt x="1004880" y="7637995"/>
                    </a:lnTo>
                    <a:lnTo>
                      <a:pt x="1289094" y="7985936"/>
                    </a:lnTo>
                    <a:lnTo>
                      <a:pt x="1895417" y="7990235"/>
                    </a:lnTo>
                    <a:lnTo>
                      <a:pt x="2344988" y="8761920"/>
                    </a:lnTo>
                    <a:lnTo>
                      <a:pt x="2404414" y="9542218"/>
                    </a:lnTo>
                    <a:lnTo>
                      <a:pt x="2937013" y="10040601"/>
                    </a:lnTo>
                    <a:lnTo>
                      <a:pt x="3901270" y="10479261"/>
                    </a:lnTo>
                    <a:lnTo>
                      <a:pt x="3993071" y="9913071"/>
                    </a:lnTo>
                    <a:lnTo>
                      <a:pt x="4430767" y="9674335"/>
                    </a:lnTo>
                    <a:lnTo>
                      <a:pt x="4351183" y="9251116"/>
                    </a:lnTo>
                    <a:lnTo>
                      <a:pt x="5718509" y="8983442"/>
                    </a:lnTo>
                    <a:lnTo>
                      <a:pt x="6608347" y="9099194"/>
                    </a:lnTo>
                    <a:lnTo>
                      <a:pt x="7494577" y="9214947"/>
                    </a:lnTo>
                    <a:lnTo>
                      <a:pt x="8022695" y="9551352"/>
                    </a:lnTo>
                    <a:lnTo>
                      <a:pt x="8448500" y="9495222"/>
                    </a:lnTo>
                    <a:lnTo>
                      <a:pt x="8789549" y="9829880"/>
                    </a:lnTo>
                    <a:lnTo>
                      <a:pt x="9201915" y="9703273"/>
                    </a:lnTo>
                    <a:lnTo>
                      <a:pt x="8999347" y="9366869"/>
                    </a:lnTo>
                    <a:lnTo>
                      <a:pt x="9028285" y="8827897"/>
                    </a:lnTo>
                    <a:lnTo>
                      <a:pt x="9317667" y="8155088"/>
                    </a:lnTo>
                    <a:lnTo>
                      <a:pt x="9683010" y="7771661"/>
                    </a:lnTo>
                    <a:lnTo>
                      <a:pt x="10355819" y="7377380"/>
                    </a:lnTo>
                    <a:lnTo>
                      <a:pt x="10956275" y="7695700"/>
                    </a:lnTo>
                    <a:lnTo>
                      <a:pt x="12016134" y="8147857"/>
                    </a:lnTo>
                    <a:lnTo>
                      <a:pt x="13100884" y="8367852"/>
                    </a:lnTo>
                    <a:cubicBezTo>
                      <a:pt x="13101831" y="8019208"/>
                      <a:pt x="13102777" y="7670563"/>
                      <a:pt x="13103724" y="7321919"/>
                    </a:cubicBezTo>
                    <a:lnTo>
                      <a:pt x="12380269" y="5953386"/>
                    </a:lnTo>
                    <a:lnTo>
                      <a:pt x="12081849" y="4599284"/>
                    </a:lnTo>
                    <a:lnTo>
                      <a:pt x="10650016" y="4048312"/>
                    </a:lnTo>
                    <a:lnTo>
                      <a:pt x="10439011" y="3240458"/>
                    </a:lnTo>
                    <a:lnTo>
                      <a:pt x="9534696" y="2336143"/>
                    </a:lnTo>
                    <a:lnTo>
                      <a:pt x="9275460" y="1278099"/>
                    </a:lnTo>
                    <a:lnTo>
                      <a:pt x="8932015" y="0"/>
                    </a:lnTo>
                    <a:lnTo>
                      <a:pt x="1594715" y="554558"/>
                    </a:lnTo>
                    <a:lnTo>
                      <a:pt x="0" y="630142"/>
                    </a:lnTo>
                    <a:lnTo>
                      <a:pt x="1598292" y="4605539"/>
                    </a:lnTo>
                    <a:lnTo>
                      <a:pt x="1488049" y="5390136"/>
                    </a:lnTo>
                    <a:lnTo>
                      <a:pt x="1258963" y="6263454"/>
                    </a:lnTo>
                    <a:lnTo>
                      <a:pt x="818438" y="7024103"/>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21" name="任意多边形 113">
                <a:extLst>
                  <a:ext uri="{FF2B5EF4-FFF2-40B4-BE49-F238E27FC236}">
                    <a16:creationId xmlns:a16="http://schemas.microsoft.com/office/drawing/2014/main" id="{2601C0FF-AF44-4C01-656E-2A12A95DB8BB}"/>
                  </a:ext>
                </a:extLst>
              </p:cNvPr>
              <p:cNvSpPr>
                <a:spLocks/>
              </p:cNvSpPr>
              <p:nvPr/>
            </p:nvSpPr>
            <p:spPr bwMode="auto">
              <a:xfrm>
                <a:off x="3578406" y="4457383"/>
                <a:ext cx="830765" cy="1209993"/>
              </a:xfrm>
              <a:custGeom>
                <a:avLst/>
                <a:gdLst>
                  <a:gd name="T0" fmla="*/ 1841986 w 10172266"/>
                  <a:gd name="T1" fmla="*/ 1683352 h 14815417"/>
                  <a:gd name="T2" fmla="*/ 1891073 w 10172266"/>
                  <a:gd name="T3" fmla="*/ 1844973 h 14815417"/>
                  <a:gd name="T4" fmla="*/ 1965899 w 10172266"/>
                  <a:gd name="T5" fmla="*/ 1936575 h 14815417"/>
                  <a:gd name="T6" fmla="*/ 2125529 w 10172266"/>
                  <a:gd name="T7" fmla="*/ 1937708 h 14815417"/>
                  <a:gd name="T8" fmla="*/ 2243890 w 10172266"/>
                  <a:gd name="T9" fmla="*/ 2140870 h 14815417"/>
                  <a:gd name="T10" fmla="*/ 2259535 w 10172266"/>
                  <a:gd name="T11" fmla="*/ 2346301 h 14815417"/>
                  <a:gd name="T12" fmla="*/ 2399756 w 10172266"/>
                  <a:gd name="T13" fmla="*/ 2477512 h 14815417"/>
                  <a:gd name="T14" fmla="*/ 2653621 w 10172266"/>
                  <a:gd name="T15" fmla="*/ 2592998 h 14815417"/>
                  <a:gd name="T16" fmla="*/ 2678112 w 10172266"/>
                  <a:gd name="T17" fmla="*/ 2693443 h 14815417"/>
                  <a:gd name="T18" fmla="*/ 2565419 w 10172266"/>
                  <a:gd name="T19" fmla="*/ 2728360 h 14815417"/>
                  <a:gd name="T20" fmla="*/ 2479707 w 10172266"/>
                  <a:gd name="T21" fmla="*/ 2874385 h 14815417"/>
                  <a:gd name="T22" fmla="*/ 2355905 w 10172266"/>
                  <a:gd name="T23" fmla="*/ 2798198 h 14815417"/>
                  <a:gd name="T24" fmla="*/ 2194007 w 10172266"/>
                  <a:gd name="T25" fmla="*/ 3021994 h 14815417"/>
                  <a:gd name="T26" fmla="*/ 1917831 w 10172266"/>
                  <a:gd name="T27" fmla="*/ 3136271 h 14815417"/>
                  <a:gd name="T28" fmla="*/ 1746412 w 10172266"/>
                  <a:gd name="T29" fmla="*/ 3312451 h 14815417"/>
                  <a:gd name="T30" fmla="*/ 1427378 w 10172266"/>
                  <a:gd name="T31" fmla="*/ 3664810 h 14815417"/>
                  <a:gd name="T32" fmla="*/ 1451188 w 10172266"/>
                  <a:gd name="T33" fmla="*/ 3850512 h 14815417"/>
                  <a:gd name="T34" fmla="*/ 1243325 w 10172266"/>
                  <a:gd name="T35" fmla="*/ 3900487 h 14815417"/>
                  <a:gd name="T36" fmla="*/ 1103584 w 10172266"/>
                  <a:gd name="T37" fmla="*/ 3764805 h 14815417"/>
                  <a:gd name="T38" fmla="*/ 1203582 w 10172266"/>
                  <a:gd name="T39" fmla="*/ 3588625 h 14815417"/>
                  <a:gd name="T40" fmla="*/ 998830 w 10172266"/>
                  <a:gd name="T41" fmla="*/ 3464824 h 14815417"/>
                  <a:gd name="T42" fmla="*/ 379810 w 10172266"/>
                  <a:gd name="T43" fmla="*/ 3493399 h 14815417"/>
                  <a:gd name="T44" fmla="*/ 256009 w 10172266"/>
                  <a:gd name="T45" fmla="*/ 2874383 h 14815417"/>
                  <a:gd name="T46" fmla="*/ 0 w 10172266"/>
                  <a:gd name="T47" fmla="*/ 2870986 h 14815417"/>
                  <a:gd name="T48" fmla="*/ 21025 w 10172266"/>
                  <a:gd name="T49" fmla="*/ 2662512 h 14815417"/>
                  <a:gd name="T50" fmla="*/ 189345 w 10172266"/>
                  <a:gd name="T51" fmla="*/ 2512504 h 14815417"/>
                  <a:gd name="T52" fmla="*/ 379813 w 10172266"/>
                  <a:gd name="T53" fmla="*/ 2369657 h 14815417"/>
                  <a:gd name="T54" fmla="*/ 598850 w 10172266"/>
                  <a:gd name="T55" fmla="*/ 2217285 h 14815417"/>
                  <a:gd name="T56" fmla="*/ 770270 w 10172266"/>
                  <a:gd name="T57" fmla="*/ 2164907 h 14815417"/>
                  <a:gd name="T58" fmla="*/ 967152 w 10172266"/>
                  <a:gd name="T59" fmla="*/ 2010141 h 14815417"/>
                  <a:gd name="T60" fmla="*/ 865501 w 10172266"/>
                  <a:gd name="T61" fmla="*/ 1864925 h 14815417"/>
                  <a:gd name="T62" fmla="*/ 1046447 w 10172266"/>
                  <a:gd name="T63" fmla="*/ 1669700 h 14815417"/>
                  <a:gd name="T64" fmla="*/ 1003590 w 10172266"/>
                  <a:gd name="T65" fmla="*/ 1550660 h 14815417"/>
                  <a:gd name="T66" fmla="*/ 1070254 w 10172266"/>
                  <a:gd name="T67" fmla="*/ 1379243 h 14815417"/>
                  <a:gd name="T68" fmla="*/ 832169 w 10172266"/>
                  <a:gd name="T69" fmla="*/ 1160207 h 14815417"/>
                  <a:gd name="T70" fmla="*/ 813123 w 10172266"/>
                  <a:gd name="T71" fmla="*/ 712616 h 14815417"/>
                  <a:gd name="T72" fmla="*/ 675034 w 10172266"/>
                  <a:gd name="T73" fmla="*/ 455490 h 14815417"/>
                  <a:gd name="T74" fmla="*/ 703605 w 10172266"/>
                  <a:gd name="T75" fmla="*/ 322166 h 14815417"/>
                  <a:gd name="T76" fmla="*/ 732174 w 10172266"/>
                  <a:gd name="T77" fmla="*/ 40437 h 14815417"/>
                  <a:gd name="T78" fmla="*/ 1626512 w 10172266"/>
                  <a:gd name="T79" fmla="*/ 0 h 14815417"/>
                  <a:gd name="T80" fmla="*/ 2047304 w 10172266"/>
                  <a:gd name="T81" fmla="*/ 1046611 h 14815417"/>
                  <a:gd name="T82" fmla="*/ 2018279 w 10172266"/>
                  <a:gd name="T83" fmla="*/ 1253174 h 14815417"/>
                  <a:gd name="T84" fmla="*/ 1957966 w 10172266"/>
                  <a:gd name="T85" fmla="*/ 1483095 h 14815417"/>
                  <a:gd name="T86" fmla="*/ 1841986 w 10172266"/>
                  <a:gd name="T87" fmla="*/ 1683352 h 1481541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0172266" h="14815417">
                    <a:moveTo>
                      <a:pt x="6996414" y="6393961"/>
                    </a:moveTo>
                    <a:lnTo>
                      <a:pt x="7182856" y="7007853"/>
                    </a:lnTo>
                    <a:lnTo>
                      <a:pt x="7467070" y="7355794"/>
                    </a:lnTo>
                    <a:lnTo>
                      <a:pt x="8073393" y="7360093"/>
                    </a:lnTo>
                    <a:lnTo>
                      <a:pt x="8522964" y="8131778"/>
                    </a:lnTo>
                    <a:lnTo>
                      <a:pt x="8582390" y="8912076"/>
                    </a:lnTo>
                    <a:lnTo>
                      <a:pt x="9114989" y="9410459"/>
                    </a:lnTo>
                    <a:lnTo>
                      <a:pt x="10079246" y="9849119"/>
                    </a:lnTo>
                    <a:lnTo>
                      <a:pt x="10172266" y="10230640"/>
                    </a:lnTo>
                    <a:lnTo>
                      <a:pt x="9744224" y="10363269"/>
                    </a:lnTo>
                    <a:lnTo>
                      <a:pt x="9418669" y="10917922"/>
                    </a:lnTo>
                    <a:lnTo>
                      <a:pt x="8948428" y="10628536"/>
                    </a:lnTo>
                    <a:lnTo>
                      <a:pt x="8333495" y="11478594"/>
                    </a:lnTo>
                    <a:lnTo>
                      <a:pt x="7284493" y="11912659"/>
                    </a:lnTo>
                    <a:lnTo>
                      <a:pt x="6633392" y="12581849"/>
                    </a:lnTo>
                    <a:lnTo>
                      <a:pt x="5421607" y="13920232"/>
                    </a:lnTo>
                    <a:lnTo>
                      <a:pt x="5512045" y="14625598"/>
                    </a:lnTo>
                    <a:lnTo>
                      <a:pt x="4722518" y="14815417"/>
                    </a:lnTo>
                    <a:lnTo>
                      <a:pt x="4191742" y="14300055"/>
                    </a:lnTo>
                    <a:lnTo>
                      <a:pt x="4571561" y="13630861"/>
                    </a:lnTo>
                    <a:lnTo>
                      <a:pt x="3793853" y="13160620"/>
                    </a:lnTo>
                    <a:lnTo>
                      <a:pt x="1442633" y="13269153"/>
                    </a:lnTo>
                    <a:lnTo>
                      <a:pt x="972399" y="10917914"/>
                    </a:lnTo>
                    <a:lnTo>
                      <a:pt x="0" y="10905013"/>
                    </a:lnTo>
                    <a:lnTo>
                      <a:pt x="79861" y="10113155"/>
                    </a:lnTo>
                    <a:lnTo>
                      <a:pt x="719190" y="9543373"/>
                    </a:lnTo>
                    <a:lnTo>
                      <a:pt x="1442641" y="9000786"/>
                    </a:lnTo>
                    <a:lnTo>
                      <a:pt x="2274610" y="8422026"/>
                    </a:lnTo>
                    <a:lnTo>
                      <a:pt x="2925715" y="8223078"/>
                    </a:lnTo>
                    <a:lnTo>
                      <a:pt x="3673532" y="7635222"/>
                    </a:lnTo>
                    <a:lnTo>
                      <a:pt x="3287431" y="7083642"/>
                    </a:lnTo>
                    <a:lnTo>
                      <a:pt x="3974717" y="6342107"/>
                    </a:lnTo>
                    <a:lnTo>
                      <a:pt x="3811934" y="5889950"/>
                    </a:lnTo>
                    <a:lnTo>
                      <a:pt x="4065143" y="5238848"/>
                    </a:lnTo>
                    <a:lnTo>
                      <a:pt x="3160825" y="4406875"/>
                    </a:lnTo>
                    <a:lnTo>
                      <a:pt x="3088483" y="2706765"/>
                    </a:lnTo>
                    <a:lnTo>
                      <a:pt x="2563980" y="1730112"/>
                    </a:lnTo>
                    <a:lnTo>
                      <a:pt x="2672502" y="1223698"/>
                    </a:lnTo>
                    <a:lnTo>
                      <a:pt x="2781017" y="153593"/>
                    </a:lnTo>
                    <a:lnTo>
                      <a:pt x="6177976" y="0"/>
                    </a:lnTo>
                    <a:lnTo>
                      <a:pt x="7776268" y="3975397"/>
                    </a:lnTo>
                    <a:lnTo>
                      <a:pt x="7666025" y="4759994"/>
                    </a:lnTo>
                    <a:lnTo>
                      <a:pt x="7436939" y="5633312"/>
                    </a:lnTo>
                    <a:lnTo>
                      <a:pt x="6996414" y="6393961"/>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22" name="任意多边形 114">
                <a:extLst>
                  <a:ext uri="{FF2B5EF4-FFF2-40B4-BE49-F238E27FC236}">
                    <a16:creationId xmlns:a16="http://schemas.microsoft.com/office/drawing/2014/main" id="{635D1CEC-B2AD-F5A7-7C11-3640DEF5F40D}"/>
                  </a:ext>
                </a:extLst>
              </p:cNvPr>
              <p:cNvSpPr>
                <a:spLocks/>
              </p:cNvSpPr>
              <p:nvPr/>
            </p:nvSpPr>
            <p:spPr bwMode="auto">
              <a:xfrm>
                <a:off x="4812333" y="4036060"/>
                <a:ext cx="1400587" cy="1052195"/>
              </a:xfrm>
              <a:custGeom>
                <a:avLst/>
                <a:gdLst/>
                <a:ahLst/>
                <a:cxnLst/>
                <a:rect l="0" t="0" r="r" b="b"/>
                <a:pathLst>
                  <a:path w="17157070" h="12886678">
                    <a:moveTo>
                      <a:pt x="0" y="4521645"/>
                    </a:moveTo>
                    <a:lnTo>
                      <a:pt x="613837" y="6900003"/>
                    </a:lnTo>
                    <a:lnTo>
                      <a:pt x="1518338" y="7768153"/>
                    </a:lnTo>
                    <a:lnTo>
                      <a:pt x="1735898" y="8600077"/>
                    </a:lnTo>
                    <a:lnTo>
                      <a:pt x="3137400" y="9124637"/>
                    </a:lnTo>
                    <a:lnTo>
                      <a:pt x="3453963" y="10481128"/>
                    </a:lnTo>
                    <a:lnTo>
                      <a:pt x="4168520" y="11855697"/>
                    </a:lnTo>
                    <a:lnTo>
                      <a:pt x="4162343" y="12886678"/>
                    </a:lnTo>
                    <a:lnTo>
                      <a:pt x="4605215" y="12802514"/>
                    </a:lnTo>
                    <a:lnTo>
                      <a:pt x="4840336" y="12513132"/>
                    </a:lnTo>
                    <a:lnTo>
                      <a:pt x="6070201" y="12531224"/>
                    </a:lnTo>
                    <a:lnTo>
                      <a:pt x="6884082" y="11934372"/>
                    </a:lnTo>
                    <a:lnTo>
                      <a:pt x="7716051" y="12259931"/>
                    </a:lnTo>
                    <a:lnTo>
                      <a:pt x="8584189" y="12060979"/>
                    </a:lnTo>
                    <a:lnTo>
                      <a:pt x="9289552" y="12259931"/>
                    </a:lnTo>
                    <a:lnTo>
                      <a:pt x="10139605" y="11862031"/>
                    </a:lnTo>
                    <a:lnTo>
                      <a:pt x="10664108" y="12079067"/>
                    </a:lnTo>
                    <a:lnTo>
                      <a:pt x="11387555" y="11988637"/>
                    </a:lnTo>
                    <a:lnTo>
                      <a:pt x="11966315" y="12712092"/>
                    </a:lnTo>
                    <a:lnTo>
                      <a:pt x="12942975" y="12476963"/>
                    </a:lnTo>
                    <a:lnTo>
                      <a:pt x="13575992" y="12874863"/>
                    </a:lnTo>
                    <a:lnTo>
                      <a:pt x="13973888" y="12784430"/>
                    </a:lnTo>
                    <a:lnTo>
                      <a:pt x="14028146" y="12241839"/>
                    </a:lnTo>
                    <a:lnTo>
                      <a:pt x="13594073" y="12187582"/>
                    </a:lnTo>
                    <a:lnTo>
                      <a:pt x="13612161" y="11500303"/>
                    </a:lnTo>
                    <a:lnTo>
                      <a:pt x="14190925" y="11355616"/>
                    </a:lnTo>
                    <a:lnTo>
                      <a:pt x="13865366" y="10885371"/>
                    </a:lnTo>
                    <a:lnTo>
                      <a:pt x="14136664" y="10487475"/>
                    </a:lnTo>
                    <a:lnTo>
                      <a:pt x="14703435" y="10514571"/>
                    </a:lnTo>
                    <a:lnTo>
                      <a:pt x="14661163" y="10342787"/>
                    </a:lnTo>
                    <a:lnTo>
                      <a:pt x="14335608" y="10180012"/>
                    </a:lnTo>
                    <a:lnTo>
                      <a:pt x="14498387" y="9601248"/>
                    </a:lnTo>
                    <a:lnTo>
                      <a:pt x="13847278" y="8696934"/>
                    </a:lnTo>
                    <a:lnTo>
                      <a:pt x="13340864" y="7991571"/>
                    </a:lnTo>
                    <a:lnTo>
                      <a:pt x="13123831" y="6906393"/>
                    </a:lnTo>
                    <a:lnTo>
                      <a:pt x="13232349" y="6219119"/>
                    </a:lnTo>
                    <a:lnTo>
                      <a:pt x="12273778" y="6252280"/>
                    </a:lnTo>
                    <a:lnTo>
                      <a:pt x="12201432" y="5854380"/>
                    </a:lnTo>
                    <a:lnTo>
                      <a:pt x="12508887" y="5350985"/>
                    </a:lnTo>
                    <a:lnTo>
                      <a:pt x="13774933" y="4573269"/>
                    </a:lnTo>
                    <a:lnTo>
                      <a:pt x="15294184" y="4066854"/>
                    </a:lnTo>
                    <a:lnTo>
                      <a:pt x="15746333" y="4392409"/>
                    </a:lnTo>
                    <a:lnTo>
                      <a:pt x="16578306" y="4103027"/>
                    </a:lnTo>
                    <a:lnTo>
                      <a:pt x="17084732" y="4500935"/>
                    </a:lnTo>
                    <a:lnTo>
                      <a:pt x="17157070" y="3560444"/>
                    </a:lnTo>
                    <a:lnTo>
                      <a:pt x="16433615" y="3470014"/>
                    </a:lnTo>
                    <a:lnTo>
                      <a:pt x="16415865" y="2853862"/>
                    </a:lnTo>
                    <a:lnTo>
                      <a:pt x="15963191" y="2993318"/>
                    </a:lnTo>
                    <a:lnTo>
                      <a:pt x="14923009" y="1763435"/>
                    </a:lnTo>
                    <a:lnTo>
                      <a:pt x="14244644" y="325540"/>
                    </a:lnTo>
                    <a:lnTo>
                      <a:pt x="13367278" y="614945"/>
                    </a:lnTo>
                    <a:lnTo>
                      <a:pt x="12218563" y="623988"/>
                    </a:lnTo>
                    <a:lnTo>
                      <a:pt x="11323109" y="36169"/>
                    </a:lnTo>
                    <a:lnTo>
                      <a:pt x="10780410" y="488337"/>
                    </a:lnTo>
                    <a:lnTo>
                      <a:pt x="10038717" y="687288"/>
                    </a:lnTo>
                    <a:lnTo>
                      <a:pt x="9622651" y="81389"/>
                    </a:lnTo>
                    <a:lnTo>
                      <a:pt x="8672925" y="280344"/>
                    </a:lnTo>
                    <a:lnTo>
                      <a:pt x="7759379" y="0"/>
                    </a:lnTo>
                    <a:lnTo>
                      <a:pt x="6729494" y="443189"/>
                    </a:lnTo>
                    <a:lnTo>
                      <a:pt x="6493079" y="1012843"/>
                    </a:lnTo>
                    <a:lnTo>
                      <a:pt x="6710175" y="2161345"/>
                    </a:lnTo>
                    <a:lnTo>
                      <a:pt x="5290099" y="2134207"/>
                    </a:lnTo>
                    <a:lnTo>
                      <a:pt x="2314296" y="2369327"/>
                    </a:lnTo>
                    <a:lnTo>
                      <a:pt x="1334589" y="3174199"/>
                    </a:lnTo>
                    <a:lnTo>
                      <a:pt x="0" y="4521645"/>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23" name="任意多边形 115">
                <a:extLst>
                  <a:ext uri="{FF2B5EF4-FFF2-40B4-BE49-F238E27FC236}">
                    <a16:creationId xmlns:a16="http://schemas.microsoft.com/office/drawing/2014/main" id="{72AD7AFC-FAB3-CACA-361A-4D5CAB9AEE58}"/>
                  </a:ext>
                </a:extLst>
              </p:cNvPr>
              <p:cNvSpPr>
                <a:spLocks/>
              </p:cNvSpPr>
              <p:nvPr/>
            </p:nvSpPr>
            <p:spPr bwMode="auto">
              <a:xfrm>
                <a:off x="1061349" y="4204335"/>
                <a:ext cx="1065678" cy="1160145"/>
              </a:xfrm>
              <a:custGeom>
                <a:avLst/>
                <a:gdLst>
                  <a:gd name="T0" fmla="*/ 610215 w 2165"/>
                  <a:gd name="T1" fmla="*/ 867849 h 2356"/>
                  <a:gd name="T2" fmla="*/ 666918 w 2165"/>
                  <a:gd name="T3" fmla="*/ 1036045 h 2356"/>
                  <a:gd name="T4" fmla="*/ 466843 w 2165"/>
                  <a:gd name="T5" fmla="*/ 978906 h 2356"/>
                  <a:gd name="T6" fmla="*/ 414444 w 2165"/>
                  <a:gd name="T7" fmla="*/ 874947 h 2356"/>
                  <a:gd name="T8" fmla="*/ 85749 w 2165"/>
                  <a:gd name="T9" fmla="*/ 789239 h 2356"/>
                  <a:gd name="T10" fmla="*/ 4766 w 2165"/>
                  <a:gd name="T11" fmla="*/ 826537 h 2356"/>
                  <a:gd name="T12" fmla="*/ 0 w 2165"/>
                  <a:gd name="T13" fmla="*/ 1017789 h 2356"/>
                  <a:gd name="T14" fmla="*/ 238190 w 2165"/>
                  <a:gd name="T15" fmla="*/ 1117782 h 2356"/>
                  <a:gd name="T16" fmla="*/ 257243 w 2165"/>
                  <a:gd name="T17" fmla="*/ 1370144 h 2356"/>
                  <a:gd name="T18" fmla="*/ 357280 w 2165"/>
                  <a:gd name="T19" fmla="*/ 1670119 h 2356"/>
                  <a:gd name="T20" fmla="*/ 400154 w 2165"/>
                  <a:gd name="T21" fmla="*/ 1812965 h 2356"/>
                  <a:gd name="T22" fmla="*/ 292304 w 2165"/>
                  <a:gd name="T23" fmla="*/ 1996277 h 2356"/>
                  <a:gd name="T24" fmla="*/ 540015 w 2165"/>
                  <a:gd name="T25" fmla="*/ 1981991 h 2356"/>
                  <a:gd name="T26" fmla="*/ 614518 w 2165"/>
                  <a:gd name="T27" fmla="*/ 2265306 h 2356"/>
                  <a:gd name="T28" fmla="*/ 766956 w 2165"/>
                  <a:gd name="T29" fmla="*/ 2274830 h 2356"/>
                  <a:gd name="T30" fmla="*/ 952739 w 2165"/>
                  <a:gd name="T31" fmla="*/ 2365299 h 2356"/>
                  <a:gd name="T32" fmla="*/ 1009903 w 2165"/>
                  <a:gd name="T33" fmla="*/ 2503384 h 2356"/>
                  <a:gd name="T34" fmla="*/ 771718 w 2165"/>
                  <a:gd name="T35" fmla="*/ 2831929 h 2356"/>
                  <a:gd name="T36" fmla="*/ 770098 w 2165"/>
                  <a:gd name="T37" fmla="*/ 3077228 h 2356"/>
                  <a:gd name="T38" fmla="*/ 1194094 w 2165"/>
                  <a:gd name="T39" fmla="*/ 2879544 h 2356"/>
                  <a:gd name="T40" fmla="*/ 1513260 w 2165"/>
                  <a:gd name="T41" fmla="*/ 2849389 h 2356"/>
                  <a:gd name="T42" fmla="*/ 1757794 w 2165"/>
                  <a:gd name="T43" fmla="*/ 2855736 h 2356"/>
                  <a:gd name="T44" fmla="*/ 2142066 w 2165"/>
                  <a:gd name="T45" fmla="*/ 3169997 h 2356"/>
                  <a:gd name="T46" fmla="*/ 2100779 w 2165"/>
                  <a:gd name="T47" fmla="*/ 3354108 h 2356"/>
                  <a:gd name="T48" fmla="*/ 2370719 w 2165"/>
                  <a:gd name="T49" fmla="*/ 3739792 h 2356"/>
                  <a:gd name="T50" fmla="*/ 2608902 w 2165"/>
                  <a:gd name="T51" fmla="*/ 3731869 h 2356"/>
                  <a:gd name="T52" fmla="*/ 2959820 w 2165"/>
                  <a:gd name="T53" fmla="*/ 1113016 h 2356"/>
                  <a:gd name="T54" fmla="*/ 3436938 w 2165"/>
                  <a:gd name="T55" fmla="*/ 1033503 h 2356"/>
                  <a:gd name="T56" fmla="*/ 3340126 w 2165"/>
                  <a:gd name="T57" fmla="*/ 413238 h 2356"/>
                  <a:gd name="T58" fmla="*/ 3090563 w 2165"/>
                  <a:gd name="T59" fmla="*/ 300724 h 2356"/>
                  <a:gd name="T60" fmla="*/ 2745757 w 2165"/>
                  <a:gd name="T61" fmla="*/ 0 h 2356"/>
                  <a:gd name="T62" fmla="*/ 2639556 w 2165"/>
                  <a:gd name="T63" fmla="*/ 131187 h 2356"/>
                  <a:gd name="T64" fmla="*/ 2503712 w 2165"/>
                  <a:gd name="T65" fmla="*/ 20629 h 2356"/>
                  <a:gd name="T66" fmla="*/ 2292074 w 2165"/>
                  <a:gd name="T67" fmla="*/ 23075 h 2356"/>
                  <a:gd name="T68" fmla="*/ 2214906 w 2165"/>
                  <a:gd name="T69" fmla="*/ 89622 h 2356"/>
                  <a:gd name="T70" fmla="*/ 2071192 w 2165"/>
                  <a:gd name="T71" fmla="*/ 30409 h 2356"/>
                  <a:gd name="T72" fmla="*/ 1918768 w 2165"/>
                  <a:gd name="T73" fmla="*/ 113536 h 2356"/>
                  <a:gd name="T74" fmla="*/ 1729255 w 2165"/>
                  <a:gd name="T75" fmla="*/ 88595 h 2356"/>
                  <a:gd name="T76" fmla="*/ 1648230 w 2165"/>
                  <a:gd name="T77" fmla="*/ 246426 h 2356"/>
                  <a:gd name="T78" fmla="*/ 1572011 w 2165"/>
                  <a:gd name="T79" fmla="*/ 351179 h 2356"/>
                  <a:gd name="T80" fmla="*/ 1643466 w 2165"/>
                  <a:gd name="T81" fmla="*/ 551163 h 2356"/>
                  <a:gd name="T82" fmla="*/ 1786377 w 2165"/>
                  <a:gd name="T83" fmla="*/ 617826 h 2356"/>
                  <a:gd name="T84" fmla="*/ 1938814 w 2165"/>
                  <a:gd name="T85" fmla="*/ 646395 h 2356"/>
                  <a:gd name="T86" fmla="*/ 2053143 w 2165"/>
                  <a:gd name="T87" fmla="*/ 551163 h 2356"/>
                  <a:gd name="T88" fmla="*/ 2157943 w 2165"/>
                  <a:gd name="T89" fmla="*/ 598778 h 2356"/>
                  <a:gd name="T90" fmla="*/ 2096015 w 2165"/>
                  <a:gd name="T91" fmla="*/ 722579 h 2356"/>
                  <a:gd name="T92" fmla="*/ 2191292 w 2165"/>
                  <a:gd name="T93" fmla="*/ 913044 h 2356"/>
                  <a:gd name="T94" fmla="*/ 1914995 w 2165"/>
                  <a:gd name="T95" fmla="*/ 979701 h 2356"/>
                  <a:gd name="T96" fmla="*/ 1891177 w 2165"/>
                  <a:gd name="T97" fmla="*/ 889232 h 2356"/>
                  <a:gd name="T98" fmla="*/ 2091252 w 2165"/>
                  <a:gd name="T99" fmla="*/ 803524 h 2356"/>
                  <a:gd name="T100" fmla="*/ 2015033 w 2165"/>
                  <a:gd name="T101" fmla="*/ 722578 h 2356"/>
                  <a:gd name="T102" fmla="*/ 1867359 w 2165"/>
                  <a:gd name="T103" fmla="*/ 736863 h 2356"/>
                  <a:gd name="T104" fmla="*/ 1714924 w 2165"/>
                  <a:gd name="T105" fmla="*/ 703536 h 2356"/>
                  <a:gd name="T106" fmla="*/ 1471977 w 2165"/>
                  <a:gd name="T107" fmla="*/ 608304 h 2356"/>
                  <a:gd name="T108" fmla="*/ 981317 w 2165"/>
                  <a:gd name="T109" fmla="*/ 398796 h 2356"/>
                  <a:gd name="T110" fmla="*/ 833647 w 2165"/>
                  <a:gd name="T111" fmla="*/ 422604 h 2356"/>
                  <a:gd name="T112" fmla="*/ 666918 w 2165"/>
                  <a:gd name="T113" fmla="*/ 408318 h 2356"/>
                  <a:gd name="T114" fmla="*/ 590700 w 2165"/>
                  <a:gd name="T115" fmla="*/ 608302 h 2356"/>
                  <a:gd name="T116" fmla="*/ 409678 w 2165"/>
                  <a:gd name="T117" fmla="*/ 679724 h 2356"/>
                  <a:gd name="T118" fmla="*/ 610215 w 2165"/>
                  <a:gd name="T119" fmla="*/ 867849 h 23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165" h="2356">
                    <a:moveTo>
                      <a:pt x="384" y="547"/>
                    </a:moveTo>
                    <a:lnTo>
                      <a:pt x="420" y="653"/>
                    </a:lnTo>
                    <a:lnTo>
                      <a:pt x="294" y="617"/>
                    </a:lnTo>
                    <a:lnTo>
                      <a:pt x="261" y="551"/>
                    </a:lnTo>
                    <a:lnTo>
                      <a:pt x="54" y="497"/>
                    </a:lnTo>
                    <a:lnTo>
                      <a:pt x="3" y="521"/>
                    </a:lnTo>
                    <a:lnTo>
                      <a:pt x="0" y="641"/>
                    </a:lnTo>
                    <a:lnTo>
                      <a:pt x="150" y="704"/>
                    </a:lnTo>
                    <a:lnTo>
                      <a:pt x="162" y="863"/>
                    </a:lnTo>
                    <a:lnTo>
                      <a:pt x="225" y="1052"/>
                    </a:lnTo>
                    <a:lnTo>
                      <a:pt x="252" y="1142"/>
                    </a:lnTo>
                    <a:lnTo>
                      <a:pt x="184" y="1258"/>
                    </a:lnTo>
                    <a:lnTo>
                      <a:pt x="340" y="1249"/>
                    </a:lnTo>
                    <a:lnTo>
                      <a:pt x="387" y="1427"/>
                    </a:lnTo>
                    <a:lnTo>
                      <a:pt x="483" y="1433"/>
                    </a:lnTo>
                    <a:lnTo>
                      <a:pt x="600" y="1490"/>
                    </a:lnTo>
                    <a:lnTo>
                      <a:pt x="636" y="1577"/>
                    </a:lnTo>
                    <a:lnTo>
                      <a:pt x="486" y="1784"/>
                    </a:lnTo>
                    <a:cubicBezTo>
                      <a:pt x="486" y="1836"/>
                      <a:pt x="485" y="1887"/>
                      <a:pt x="485" y="1939"/>
                    </a:cubicBezTo>
                    <a:lnTo>
                      <a:pt x="752" y="1814"/>
                    </a:lnTo>
                    <a:lnTo>
                      <a:pt x="953" y="1795"/>
                    </a:lnTo>
                    <a:lnTo>
                      <a:pt x="1107" y="1799"/>
                    </a:lnTo>
                    <a:lnTo>
                      <a:pt x="1349" y="1997"/>
                    </a:lnTo>
                    <a:lnTo>
                      <a:pt x="1323" y="2113"/>
                    </a:lnTo>
                    <a:lnTo>
                      <a:pt x="1493" y="2356"/>
                    </a:lnTo>
                    <a:lnTo>
                      <a:pt x="1643" y="2351"/>
                    </a:lnTo>
                    <a:lnTo>
                      <a:pt x="1864" y="701"/>
                    </a:lnTo>
                    <a:lnTo>
                      <a:pt x="2165" y="651"/>
                    </a:lnTo>
                    <a:lnTo>
                      <a:pt x="2104" y="260"/>
                    </a:lnTo>
                    <a:lnTo>
                      <a:pt x="1947" y="189"/>
                    </a:lnTo>
                    <a:lnTo>
                      <a:pt x="1730" y="0"/>
                    </a:lnTo>
                    <a:lnTo>
                      <a:pt x="1663" y="83"/>
                    </a:lnTo>
                    <a:lnTo>
                      <a:pt x="1577" y="13"/>
                    </a:lnTo>
                    <a:lnTo>
                      <a:pt x="1444" y="15"/>
                    </a:lnTo>
                    <a:lnTo>
                      <a:pt x="1395" y="56"/>
                    </a:lnTo>
                    <a:lnTo>
                      <a:pt x="1305" y="19"/>
                    </a:lnTo>
                    <a:lnTo>
                      <a:pt x="1209" y="72"/>
                    </a:lnTo>
                    <a:lnTo>
                      <a:pt x="1089" y="56"/>
                    </a:lnTo>
                    <a:lnTo>
                      <a:pt x="1038" y="155"/>
                    </a:lnTo>
                    <a:lnTo>
                      <a:pt x="990" y="221"/>
                    </a:lnTo>
                    <a:lnTo>
                      <a:pt x="1035" y="347"/>
                    </a:lnTo>
                    <a:lnTo>
                      <a:pt x="1125" y="389"/>
                    </a:lnTo>
                    <a:lnTo>
                      <a:pt x="1221" y="407"/>
                    </a:lnTo>
                    <a:lnTo>
                      <a:pt x="1293" y="347"/>
                    </a:lnTo>
                    <a:lnTo>
                      <a:pt x="1359" y="377"/>
                    </a:lnTo>
                    <a:lnTo>
                      <a:pt x="1320" y="455"/>
                    </a:lnTo>
                    <a:lnTo>
                      <a:pt x="1380" y="575"/>
                    </a:lnTo>
                    <a:lnTo>
                      <a:pt x="1206" y="617"/>
                    </a:lnTo>
                    <a:lnTo>
                      <a:pt x="1191" y="560"/>
                    </a:lnTo>
                    <a:lnTo>
                      <a:pt x="1317" y="506"/>
                    </a:lnTo>
                    <a:lnTo>
                      <a:pt x="1269" y="455"/>
                    </a:lnTo>
                    <a:lnTo>
                      <a:pt x="1176" y="464"/>
                    </a:lnTo>
                    <a:lnTo>
                      <a:pt x="1080" y="443"/>
                    </a:lnTo>
                    <a:lnTo>
                      <a:pt x="927" y="383"/>
                    </a:lnTo>
                    <a:lnTo>
                      <a:pt x="618" y="251"/>
                    </a:lnTo>
                    <a:lnTo>
                      <a:pt x="525" y="266"/>
                    </a:lnTo>
                    <a:lnTo>
                      <a:pt x="420" y="257"/>
                    </a:lnTo>
                    <a:lnTo>
                      <a:pt x="372" y="383"/>
                    </a:lnTo>
                    <a:lnTo>
                      <a:pt x="258" y="428"/>
                    </a:lnTo>
                    <a:lnTo>
                      <a:pt x="384" y="547"/>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24" name="任意多边形 116">
                <a:extLst>
                  <a:ext uri="{FF2B5EF4-FFF2-40B4-BE49-F238E27FC236}">
                    <a16:creationId xmlns:a16="http://schemas.microsoft.com/office/drawing/2014/main" id="{C4492999-5441-C859-6561-E449A91C37C6}"/>
                  </a:ext>
                </a:extLst>
              </p:cNvPr>
              <p:cNvSpPr>
                <a:spLocks/>
              </p:cNvSpPr>
              <p:nvPr/>
            </p:nvSpPr>
            <p:spPr bwMode="auto">
              <a:xfrm>
                <a:off x="2488602" y="4070985"/>
                <a:ext cx="1421222" cy="1212215"/>
              </a:xfrm>
              <a:custGeom>
                <a:avLst/>
                <a:gdLst>
                  <a:gd name="T0" fmla="*/ 1155932 w 4477"/>
                  <a:gd name="T1" fmla="*/ 0 h 3818"/>
                  <a:gd name="T2" fmla="*/ 0 w 4477"/>
                  <a:gd name="T3" fmla="*/ 497666 h 3818"/>
                  <a:gd name="T4" fmla="*/ 1209770 w 4477"/>
                  <a:gd name="T5" fmla="*/ 1447800 h 3818"/>
                  <a:gd name="T6" fmla="*/ 1235166 w 4477"/>
                  <a:gd name="T7" fmla="*/ 1633535 h 3818"/>
                  <a:gd name="T8" fmla="*/ 1676486 w 4477"/>
                  <a:gd name="T9" fmla="*/ 2171696 h 3818"/>
                  <a:gd name="T10" fmla="*/ 2024148 w 4477"/>
                  <a:gd name="T11" fmla="*/ 2098668 h 3818"/>
                  <a:gd name="T12" fmla="*/ 2286081 w 4477"/>
                  <a:gd name="T13" fmla="*/ 2044692 h 3818"/>
                  <a:gd name="T14" fmla="*/ 2448006 w 4477"/>
                  <a:gd name="T15" fmla="*/ 2141530 h 3818"/>
                  <a:gd name="T16" fmla="*/ 2670254 w 4477"/>
                  <a:gd name="T17" fmla="*/ 2130416 h 3818"/>
                  <a:gd name="T18" fmla="*/ 2929015 w 4477"/>
                  <a:gd name="T19" fmla="*/ 2197092 h 3818"/>
                  <a:gd name="T20" fmla="*/ 3175077 w 4477"/>
                  <a:gd name="T21" fmla="*/ 2024055 h 3818"/>
                  <a:gd name="T22" fmla="*/ 3352877 w 4477"/>
                  <a:gd name="T23" fmla="*/ 2262181 h 3818"/>
                  <a:gd name="T24" fmla="*/ 3532265 w 4477"/>
                  <a:gd name="T25" fmla="*/ 2341555 h 3818"/>
                  <a:gd name="T26" fmla="*/ 3630687 w 4477"/>
                  <a:gd name="T27" fmla="*/ 2687631 h 3818"/>
                  <a:gd name="T28" fmla="*/ 3833889 w 4477"/>
                  <a:gd name="T29" fmla="*/ 2617778 h 3818"/>
                  <a:gd name="T30" fmla="*/ 3797351 w 4477"/>
                  <a:gd name="T31" fmla="*/ 3075550 h 3818"/>
                  <a:gd name="T32" fmla="*/ 4318074 w 4477"/>
                  <a:gd name="T33" fmla="*/ 2492368 h 3818"/>
                  <a:gd name="T34" fmla="*/ 3921210 w 4477"/>
                  <a:gd name="T35" fmla="*/ 695326 h 3818"/>
                  <a:gd name="T36" fmla="*/ 1186022 w 4477"/>
                  <a:gd name="T37" fmla="*/ 0 h 3818"/>
                  <a:gd name="T38" fmla="*/ 1155932 w 4477"/>
                  <a:gd name="T39" fmla="*/ 0 h 38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477" h="3818">
                    <a:moveTo>
                      <a:pt x="680" y="448"/>
                    </a:moveTo>
                    <a:lnTo>
                      <a:pt x="616" y="552"/>
                    </a:lnTo>
                    <a:lnTo>
                      <a:pt x="528" y="592"/>
                    </a:lnTo>
                    <a:lnTo>
                      <a:pt x="197" y="797"/>
                    </a:lnTo>
                    <a:lnTo>
                      <a:pt x="41" y="928"/>
                    </a:lnTo>
                    <a:lnTo>
                      <a:pt x="0" y="1032"/>
                    </a:lnTo>
                    <a:lnTo>
                      <a:pt x="120" y="1024"/>
                    </a:lnTo>
                    <a:lnTo>
                      <a:pt x="176" y="1056"/>
                    </a:lnTo>
                    <a:lnTo>
                      <a:pt x="152" y="1112"/>
                    </a:lnTo>
                    <a:lnTo>
                      <a:pt x="120" y="1184"/>
                    </a:lnTo>
                    <a:lnTo>
                      <a:pt x="240" y="1128"/>
                    </a:lnTo>
                    <a:lnTo>
                      <a:pt x="224" y="1008"/>
                    </a:lnTo>
                    <a:lnTo>
                      <a:pt x="272" y="920"/>
                    </a:lnTo>
                    <a:lnTo>
                      <a:pt x="232" y="800"/>
                    </a:lnTo>
                    <a:lnTo>
                      <a:pt x="336" y="824"/>
                    </a:lnTo>
                    <a:lnTo>
                      <a:pt x="392" y="864"/>
                    </a:lnTo>
                    <a:lnTo>
                      <a:pt x="400" y="984"/>
                    </a:lnTo>
                    <a:lnTo>
                      <a:pt x="488" y="936"/>
                    </a:lnTo>
                    <a:lnTo>
                      <a:pt x="560" y="936"/>
                    </a:lnTo>
                    <a:lnTo>
                      <a:pt x="632" y="968"/>
                    </a:lnTo>
                    <a:lnTo>
                      <a:pt x="696" y="960"/>
                    </a:lnTo>
                    <a:lnTo>
                      <a:pt x="776" y="984"/>
                    </a:lnTo>
                    <a:lnTo>
                      <a:pt x="832" y="984"/>
                    </a:lnTo>
                    <a:lnTo>
                      <a:pt x="816" y="912"/>
                    </a:lnTo>
                    <a:lnTo>
                      <a:pt x="656" y="904"/>
                    </a:lnTo>
                    <a:lnTo>
                      <a:pt x="552" y="888"/>
                    </a:lnTo>
                    <a:lnTo>
                      <a:pt x="512" y="800"/>
                    </a:lnTo>
                    <a:lnTo>
                      <a:pt x="480" y="760"/>
                    </a:lnTo>
                    <a:lnTo>
                      <a:pt x="456" y="704"/>
                    </a:lnTo>
                    <a:lnTo>
                      <a:pt x="520" y="640"/>
                    </a:lnTo>
                    <a:lnTo>
                      <a:pt x="648" y="600"/>
                    </a:lnTo>
                    <a:lnTo>
                      <a:pt x="768" y="648"/>
                    </a:lnTo>
                    <a:lnTo>
                      <a:pt x="832" y="680"/>
                    </a:lnTo>
                    <a:lnTo>
                      <a:pt x="816" y="616"/>
                    </a:lnTo>
                    <a:lnTo>
                      <a:pt x="760" y="552"/>
                    </a:lnTo>
                    <a:lnTo>
                      <a:pt x="864" y="552"/>
                    </a:lnTo>
                    <a:lnTo>
                      <a:pt x="920" y="608"/>
                    </a:lnTo>
                    <a:lnTo>
                      <a:pt x="912" y="680"/>
                    </a:lnTo>
                    <a:lnTo>
                      <a:pt x="952" y="720"/>
                    </a:lnTo>
                    <a:lnTo>
                      <a:pt x="1024" y="752"/>
                    </a:lnTo>
                    <a:lnTo>
                      <a:pt x="1080" y="720"/>
                    </a:lnTo>
                    <a:lnTo>
                      <a:pt x="1096" y="640"/>
                    </a:lnTo>
                    <a:lnTo>
                      <a:pt x="1184" y="584"/>
                    </a:lnTo>
                    <a:lnTo>
                      <a:pt x="1256" y="560"/>
                    </a:lnTo>
                    <a:lnTo>
                      <a:pt x="1360" y="616"/>
                    </a:lnTo>
                    <a:lnTo>
                      <a:pt x="1288" y="704"/>
                    </a:lnTo>
                    <a:lnTo>
                      <a:pt x="1200" y="784"/>
                    </a:lnTo>
                    <a:lnTo>
                      <a:pt x="1120" y="888"/>
                    </a:lnTo>
                    <a:lnTo>
                      <a:pt x="1048" y="1016"/>
                    </a:lnTo>
                    <a:lnTo>
                      <a:pt x="960" y="1000"/>
                    </a:lnTo>
                    <a:lnTo>
                      <a:pt x="920" y="1056"/>
                    </a:lnTo>
                    <a:lnTo>
                      <a:pt x="984" y="1128"/>
                    </a:lnTo>
                    <a:lnTo>
                      <a:pt x="992" y="1192"/>
                    </a:lnTo>
                    <a:lnTo>
                      <a:pt x="928" y="1264"/>
                    </a:lnTo>
                    <a:lnTo>
                      <a:pt x="896" y="1368"/>
                    </a:lnTo>
                    <a:lnTo>
                      <a:pt x="1008" y="1312"/>
                    </a:lnTo>
                    <a:lnTo>
                      <a:pt x="1080" y="1384"/>
                    </a:lnTo>
                    <a:lnTo>
                      <a:pt x="1040" y="1472"/>
                    </a:lnTo>
                    <a:lnTo>
                      <a:pt x="1144" y="1568"/>
                    </a:lnTo>
                    <a:lnTo>
                      <a:pt x="1176" y="1648"/>
                    </a:lnTo>
                    <a:lnTo>
                      <a:pt x="1208" y="1696"/>
                    </a:lnTo>
                    <a:lnTo>
                      <a:pt x="1296" y="1728"/>
                    </a:lnTo>
                    <a:lnTo>
                      <a:pt x="1280" y="1792"/>
                    </a:lnTo>
                    <a:lnTo>
                      <a:pt x="1384" y="1816"/>
                    </a:lnTo>
                    <a:lnTo>
                      <a:pt x="1312" y="1912"/>
                    </a:lnTo>
                    <a:lnTo>
                      <a:pt x="1128" y="2024"/>
                    </a:lnTo>
                    <a:lnTo>
                      <a:pt x="984" y="2072"/>
                    </a:lnTo>
                    <a:lnTo>
                      <a:pt x="946" y="2186"/>
                    </a:lnTo>
                    <a:lnTo>
                      <a:pt x="970" y="2368"/>
                    </a:lnTo>
                    <a:lnTo>
                      <a:pt x="1402" y="2894"/>
                    </a:lnTo>
                    <a:lnTo>
                      <a:pt x="1741" y="2822"/>
                    </a:lnTo>
                    <a:lnTo>
                      <a:pt x="1997" y="2769"/>
                    </a:lnTo>
                    <a:lnTo>
                      <a:pt x="2155" y="2864"/>
                    </a:lnTo>
                    <a:lnTo>
                      <a:pt x="2372" y="2853"/>
                    </a:lnTo>
                    <a:lnTo>
                      <a:pt x="2625" y="2918"/>
                    </a:lnTo>
                    <a:lnTo>
                      <a:pt x="2866" y="2749"/>
                    </a:lnTo>
                    <a:lnTo>
                      <a:pt x="3039" y="2982"/>
                    </a:lnTo>
                    <a:lnTo>
                      <a:pt x="3215" y="3060"/>
                    </a:lnTo>
                    <a:lnTo>
                      <a:pt x="3311" y="3399"/>
                    </a:lnTo>
                    <a:lnTo>
                      <a:pt x="3509" y="3331"/>
                    </a:lnTo>
                    <a:lnTo>
                      <a:pt x="3453" y="3818"/>
                    </a:lnTo>
                    <a:lnTo>
                      <a:pt x="3621" y="3669"/>
                    </a:lnTo>
                    <a:lnTo>
                      <a:pt x="3801" y="3534"/>
                    </a:lnTo>
                    <a:lnTo>
                      <a:pt x="4015" y="3385"/>
                    </a:lnTo>
                    <a:lnTo>
                      <a:pt x="4184" y="3329"/>
                    </a:lnTo>
                    <a:lnTo>
                      <a:pt x="4379" y="3184"/>
                    </a:lnTo>
                    <a:lnTo>
                      <a:pt x="4280" y="3041"/>
                    </a:lnTo>
                    <a:lnTo>
                      <a:pt x="4454" y="2849"/>
                    </a:lnTo>
                    <a:lnTo>
                      <a:pt x="4415" y="2734"/>
                    </a:lnTo>
                    <a:lnTo>
                      <a:pt x="4477" y="2566"/>
                    </a:lnTo>
                    <a:lnTo>
                      <a:pt x="4244" y="2348"/>
                    </a:lnTo>
                    <a:lnTo>
                      <a:pt x="4230" y="1913"/>
                    </a:lnTo>
                    <a:lnTo>
                      <a:pt x="4091" y="1662"/>
                    </a:lnTo>
                    <a:lnTo>
                      <a:pt x="4122" y="1533"/>
                    </a:lnTo>
                    <a:lnTo>
                      <a:pt x="4150" y="1254"/>
                    </a:lnTo>
                    <a:lnTo>
                      <a:pt x="4012" y="1090"/>
                    </a:lnTo>
                    <a:lnTo>
                      <a:pt x="3861" y="1082"/>
                    </a:lnTo>
                    <a:lnTo>
                      <a:pt x="3747" y="1152"/>
                    </a:lnTo>
                    <a:lnTo>
                      <a:pt x="3294" y="1127"/>
                    </a:lnTo>
                    <a:lnTo>
                      <a:pt x="3090" y="966"/>
                    </a:lnTo>
                    <a:lnTo>
                      <a:pt x="2717" y="761"/>
                    </a:lnTo>
                    <a:lnTo>
                      <a:pt x="2284" y="575"/>
                    </a:lnTo>
                    <a:lnTo>
                      <a:pt x="1960" y="382"/>
                    </a:lnTo>
                    <a:lnTo>
                      <a:pt x="1809" y="249"/>
                    </a:lnTo>
                    <a:lnTo>
                      <a:pt x="1640" y="192"/>
                    </a:lnTo>
                    <a:lnTo>
                      <a:pt x="1568" y="88"/>
                    </a:lnTo>
                    <a:lnTo>
                      <a:pt x="1440" y="0"/>
                    </a:lnTo>
                    <a:lnTo>
                      <a:pt x="1224" y="0"/>
                    </a:lnTo>
                    <a:lnTo>
                      <a:pt x="1040" y="296"/>
                    </a:lnTo>
                    <a:lnTo>
                      <a:pt x="960" y="384"/>
                    </a:lnTo>
                    <a:lnTo>
                      <a:pt x="824" y="400"/>
                    </a:lnTo>
                    <a:lnTo>
                      <a:pt x="736" y="368"/>
                    </a:lnTo>
                    <a:lnTo>
                      <a:pt x="680" y="448"/>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25" name="任意多边形 117">
                <a:extLst>
                  <a:ext uri="{FF2B5EF4-FFF2-40B4-BE49-F238E27FC236}">
                    <a16:creationId xmlns:a16="http://schemas.microsoft.com/office/drawing/2014/main" id="{F7306057-E2C1-D30A-FE02-F7AEF8EFC72B}"/>
                  </a:ext>
                </a:extLst>
              </p:cNvPr>
              <p:cNvSpPr>
                <a:spLocks/>
              </p:cNvSpPr>
              <p:nvPr/>
            </p:nvSpPr>
            <p:spPr bwMode="auto">
              <a:xfrm>
                <a:off x="2591455" y="4479925"/>
                <a:ext cx="59681" cy="27940"/>
              </a:xfrm>
              <a:custGeom>
                <a:avLst/>
                <a:gdLst>
                  <a:gd name="T0" fmla="*/ 195587 w 188"/>
                  <a:gd name="T1" fmla="*/ 0 h 88"/>
                  <a:gd name="T2" fmla="*/ 0 w 188"/>
                  <a:gd name="T3" fmla="*/ 2919412 h 88"/>
                  <a:gd name="T4" fmla="*/ 3309938 w 188"/>
                  <a:gd name="T5" fmla="*/ 827669 h 88"/>
                  <a:gd name="T6" fmla="*/ 225678 w 188"/>
                  <a:gd name="T7" fmla="*/ 0 h 88"/>
                  <a:gd name="T8" fmla="*/ 195587 w 188"/>
                  <a:gd name="T9" fmla="*/ 0 h 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8" h="88">
                    <a:moveTo>
                      <a:pt x="32" y="32"/>
                    </a:moveTo>
                    <a:lnTo>
                      <a:pt x="0" y="60"/>
                    </a:lnTo>
                    <a:lnTo>
                      <a:pt x="64" y="88"/>
                    </a:lnTo>
                    <a:lnTo>
                      <a:pt x="108" y="60"/>
                    </a:lnTo>
                    <a:lnTo>
                      <a:pt x="188" y="12"/>
                    </a:lnTo>
                    <a:lnTo>
                      <a:pt x="152" y="12"/>
                    </a:lnTo>
                    <a:lnTo>
                      <a:pt x="76" y="0"/>
                    </a:lnTo>
                    <a:lnTo>
                      <a:pt x="48" y="0"/>
                    </a:lnTo>
                    <a:lnTo>
                      <a:pt x="32" y="32"/>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26" name="任意多边形 10">
                <a:extLst>
                  <a:ext uri="{FF2B5EF4-FFF2-40B4-BE49-F238E27FC236}">
                    <a16:creationId xmlns:a16="http://schemas.microsoft.com/office/drawing/2014/main" id="{61252067-0915-1428-570E-AB7015421E24}"/>
                  </a:ext>
                </a:extLst>
              </p:cNvPr>
              <p:cNvSpPr>
                <a:spLocks/>
              </p:cNvSpPr>
              <p:nvPr/>
            </p:nvSpPr>
            <p:spPr bwMode="auto">
              <a:xfrm>
                <a:off x="2454317" y="4485005"/>
                <a:ext cx="71109" cy="97790"/>
              </a:xfrm>
              <a:custGeom>
                <a:avLst/>
                <a:gdLst>
                  <a:gd name="T0" fmla="*/ 195587 w 224"/>
                  <a:gd name="T1" fmla="*/ 0 h 308"/>
                  <a:gd name="T2" fmla="*/ 0 w 224"/>
                  <a:gd name="T3" fmla="*/ 2919412 h 308"/>
                  <a:gd name="T4" fmla="*/ 3309938 w 224"/>
                  <a:gd name="T5" fmla="*/ 827669 h 308"/>
                  <a:gd name="T6" fmla="*/ 225678 w 224"/>
                  <a:gd name="T7" fmla="*/ 0 h 308"/>
                  <a:gd name="T8" fmla="*/ 195587 w 224"/>
                  <a:gd name="T9" fmla="*/ 0 h 30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4" h="308">
                    <a:moveTo>
                      <a:pt x="28" y="72"/>
                    </a:moveTo>
                    <a:lnTo>
                      <a:pt x="0" y="108"/>
                    </a:lnTo>
                    <a:lnTo>
                      <a:pt x="140" y="226"/>
                    </a:lnTo>
                    <a:lnTo>
                      <a:pt x="180" y="216"/>
                    </a:lnTo>
                    <a:lnTo>
                      <a:pt x="224" y="200"/>
                    </a:lnTo>
                    <a:lnTo>
                      <a:pt x="224" y="308"/>
                    </a:lnTo>
                    <a:lnTo>
                      <a:pt x="140" y="224"/>
                    </a:lnTo>
                    <a:lnTo>
                      <a:pt x="140" y="132"/>
                    </a:lnTo>
                    <a:lnTo>
                      <a:pt x="164" y="80"/>
                    </a:lnTo>
                    <a:lnTo>
                      <a:pt x="200" y="36"/>
                    </a:lnTo>
                    <a:lnTo>
                      <a:pt x="180" y="4"/>
                    </a:lnTo>
                    <a:lnTo>
                      <a:pt x="132" y="0"/>
                    </a:lnTo>
                    <a:lnTo>
                      <a:pt x="108" y="36"/>
                    </a:lnTo>
                    <a:lnTo>
                      <a:pt x="80" y="52"/>
                    </a:lnTo>
                    <a:lnTo>
                      <a:pt x="28" y="72"/>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grpSp>
        <p:sp>
          <p:nvSpPr>
            <p:cNvPr id="8" name="任意多边形 110">
              <a:extLst>
                <a:ext uri="{FF2B5EF4-FFF2-40B4-BE49-F238E27FC236}">
                  <a16:creationId xmlns:a16="http://schemas.microsoft.com/office/drawing/2014/main" id="{95ADF781-6AE7-6E01-D83B-B39EAF96E026}"/>
                </a:ext>
              </a:extLst>
            </p:cNvPr>
            <p:cNvSpPr>
              <a:spLocks/>
            </p:cNvSpPr>
            <p:nvPr/>
          </p:nvSpPr>
          <p:spPr bwMode="auto">
            <a:xfrm>
              <a:off x="4878284" y="2556792"/>
              <a:ext cx="2702929" cy="1810252"/>
            </a:xfrm>
            <a:custGeom>
              <a:avLst/>
              <a:gdLst>
                <a:gd name="connsiteX0" fmla="*/ 26157237 w 27560432"/>
                <a:gd name="connsiteY0" fmla="*/ 4322377 h 15152939"/>
                <a:gd name="connsiteX1" fmla="*/ 25950755 w 27560432"/>
                <a:gd name="connsiteY1" fmla="*/ 4946265 h 15152939"/>
                <a:gd name="connsiteX2" fmla="*/ 26059273 w 27560432"/>
                <a:gd name="connsiteY2" fmla="*/ 5561190 h 15152939"/>
                <a:gd name="connsiteX3" fmla="*/ 26439085 w 27560432"/>
                <a:gd name="connsiteY3" fmla="*/ 6103777 h 15152939"/>
                <a:gd name="connsiteX4" fmla="*/ 26366739 w 27560432"/>
                <a:gd name="connsiteY4" fmla="*/ 6555934 h 15152939"/>
                <a:gd name="connsiteX5" fmla="*/ 25824148 w 27560432"/>
                <a:gd name="connsiteY5" fmla="*/ 6827228 h 15152939"/>
                <a:gd name="connsiteX6" fmla="*/ 26023104 w 27560432"/>
                <a:gd name="connsiteY6" fmla="*/ 7478344 h 15152939"/>
                <a:gd name="connsiteX7" fmla="*/ 26619948 w 27560432"/>
                <a:gd name="connsiteY7" fmla="*/ 7840060 h 15152939"/>
                <a:gd name="connsiteX8" fmla="*/ 26276305 w 27560432"/>
                <a:gd name="connsiteY8" fmla="*/ 8672029 h 15152939"/>
                <a:gd name="connsiteX9" fmla="*/ 26312478 w 27560432"/>
                <a:gd name="connsiteY9" fmla="*/ 9666777 h 15152939"/>
                <a:gd name="connsiteX10" fmla="*/ 25878405 w 27560432"/>
                <a:gd name="connsiteY10" fmla="*/ 10227453 h 15152939"/>
                <a:gd name="connsiteX11" fmla="*/ 26402912 w 27560432"/>
                <a:gd name="connsiteY11" fmla="*/ 10643437 h 15152939"/>
                <a:gd name="connsiteX12" fmla="*/ 27319497 w 27560432"/>
                <a:gd name="connsiteY12" fmla="*/ 10082959 h 15152939"/>
                <a:gd name="connsiteX13" fmla="*/ 27560432 w 27560432"/>
                <a:gd name="connsiteY13" fmla="*/ 10281714 h 15152939"/>
                <a:gd name="connsiteX14" fmla="*/ 27542355 w 27560432"/>
                <a:gd name="connsiteY14" fmla="*/ 12005935 h 15152939"/>
                <a:gd name="connsiteX15" fmla="*/ 26089423 w 27560432"/>
                <a:gd name="connsiteY15" fmla="*/ 11975789 h 15152939"/>
                <a:gd name="connsiteX16" fmla="*/ 24473715 w 27560432"/>
                <a:gd name="connsiteY16" fmla="*/ 12090334 h 15152939"/>
                <a:gd name="connsiteX17" fmla="*/ 23135328 w 27560432"/>
                <a:gd name="connsiteY17" fmla="*/ 12222964 h 15152939"/>
                <a:gd name="connsiteX18" fmla="*/ 22261159 w 27560432"/>
                <a:gd name="connsiteY18" fmla="*/ 12934357 h 15152939"/>
                <a:gd name="connsiteX19" fmla="*/ 20826342 w 27560432"/>
                <a:gd name="connsiteY19" fmla="*/ 14369204 h 15152939"/>
                <a:gd name="connsiteX20" fmla="*/ 12952786 w 27560432"/>
                <a:gd name="connsiteY20" fmla="*/ 14960014 h 15152939"/>
                <a:gd name="connsiteX21" fmla="*/ 11934663 w 27560432"/>
                <a:gd name="connsiteY21" fmla="*/ 15008264 h 15152939"/>
                <a:gd name="connsiteX22" fmla="*/ 8506848 w 27560432"/>
                <a:gd name="connsiteY22" fmla="*/ 15152939 h 15152939"/>
                <a:gd name="connsiteX23" fmla="*/ 7985095 w 27560432"/>
                <a:gd name="connsiteY23" fmla="*/ 14507857 h 15152939"/>
                <a:gd name="connsiteX24" fmla="*/ 7400308 w 27560432"/>
                <a:gd name="connsiteY24" fmla="*/ 14477712 h 15152939"/>
                <a:gd name="connsiteX25" fmla="*/ 6972273 w 27560432"/>
                <a:gd name="connsiteY25" fmla="*/ 14749009 h 15152939"/>
                <a:gd name="connsiteX26" fmla="*/ 5181729 w 27560432"/>
                <a:gd name="connsiteY26" fmla="*/ 14664610 h 15152939"/>
                <a:gd name="connsiteX27" fmla="*/ 4397998 w 27560432"/>
                <a:gd name="connsiteY27" fmla="*/ 14031593 h 15152939"/>
                <a:gd name="connsiteX28" fmla="*/ 2908896 w 27560432"/>
                <a:gd name="connsiteY28" fmla="*/ 13223739 h 15152939"/>
                <a:gd name="connsiteX29" fmla="*/ 1263043 w 27560432"/>
                <a:gd name="connsiteY29" fmla="*/ 12512346 h 15152939"/>
                <a:gd name="connsiteX30" fmla="*/ 485320 w 27560432"/>
                <a:gd name="connsiteY30" fmla="*/ 12060189 h 15152939"/>
                <a:gd name="connsiteX31" fmla="*/ 0 w 27560432"/>
                <a:gd name="connsiteY31" fmla="*/ 11767077 h 15152939"/>
                <a:gd name="connsiteX32" fmla="*/ 1003686 w 27560432"/>
                <a:gd name="connsiteY32" fmla="*/ 11021112 h 15152939"/>
                <a:gd name="connsiteX33" fmla="*/ 2902551 w 27560432"/>
                <a:gd name="connsiteY33" fmla="*/ 9836713 h 15152939"/>
                <a:gd name="connsiteX34" fmla="*/ 2558940 w 27560432"/>
                <a:gd name="connsiteY34" fmla="*/ 9303282 h 15152939"/>
                <a:gd name="connsiteX35" fmla="*/ 2402508 w 27560432"/>
                <a:gd name="connsiteY35" fmla="*/ 8616199 h 15152939"/>
                <a:gd name="connsiteX36" fmla="*/ 2730740 w 27560432"/>
                <a:gd name="connsiteY36" fmla="*/ 8589028 h 15152939"/>
                <a:gd name="connsiteX37" fmla="*/ 2947754 w 27560432"/>
                <a:gd name="connsiteY37" fmla="*/ 8118883 h 15152939"/>
                <a:gd name="connsiteX38" fmla="*/ 3499325 w 27560432"/>
                <a:gd name="connsiteY38" fmla="*/ 7675866 h 15152939"/>
                <a:gd name="connsiteX39" fmla="*/ 3680166 w 27560432"/>
                <a:gd name="connsiteY39" fmla="*/ 6798868 h 15152939"/>
                <a:gd name="connsiteX40" fmla="*/ 4186528 w 27560432"/>
                <a:gd name="connsiteY40" fmla="*/ 6807904 h 15152939"/>
                <a:gd name="connsiteX41" fmla="*/ 4837569 w 27560432"/>
                <a:gd name="connsiteY41" fmla="*/ 7278054 h 15152939"/>
                <a:gd name="connsiteX42" fmla="*/ 5352976 w 27560432"/>
                <a:gd name="connsiteY42" fmla="*/ 7196687 h 15152939"/>
                <a:gd name="connsiteX43" fmla="*/ 5741786 w 27560432"/>
                <a:gd name="connsiteY43" fmla="*/ 6825992 h 15152939"/>
                <a:gd name="connsiteX44" fmla="*/ 6157723 w 27560432"/>
                <a:gd name="connsiteY44" fmla="*/ 6663251 h 15152939"/>
                <a:gd name="connsiteX45" fmla="*/ 6745471 w 27560432"/>
                <a:gd name="connsiteY45" fmla="*/ 6093658 h 15152939"/>
                <a:gd name="connsiteX46" fmla="*/ 6890140 w 27560432"/>
                <a:gd name="connsiteY46" fmla="*/ 5243782 h 15152939"/>
                <a:gd name="connsiteX47" fmla="*/ 7568305 w 27560432"/>
                <a:gd name="connsiteY47" fmla="*/ 4674188 h 15152939"/>
                <a:gd name="connsiteX48" fmla="*/ 8137967 w 27560432"/>
                <a:gd name="connsiteY48" fmla="*/ 4231167 h 15152939"/>
                <a:gd name="connsiteX49" fmla="*/ 8463480 w 27560432"/>
                <a:gd name="connsiteY49" fmla="*/ 3426500 h 15152939"/>
                <a:gd name="connsiteX50" fmla="*/ 9024093 w 27560432"/>
                <a:gd name="connsiteY50" fmla="*/ 3073893 h 15152939"/>
                <a:gd name="connsiteX51" fmla="*/ 9675138 w 27560432"/>
                <a:gd name="connsiteY51" fmla="*/ 2721291 h 15152939"/>
                <a:gd name="connsiteX52" fmla="*/ 9558580 w 27560432"/>
                <a:gd name="connsiteY52" fmla="*/ 2173007 h 15152939"/>
                <a:gd name="connsiteX53" fmla="*/ 10353296 w 27560432"/>
                <a:gd name="connsiteY53" fmla="*/ 1500723 h 15152939"/>
                <a:gd name="connsiteX54" fmla="*/ 10832530 w 27560432"/>
                <a:gd name="connsiteY54" fmla="*/ 1428389 h 15152939"/>
                <a:gd name="connsiteX55" fmla="*/ 11058585 w 27560432"/>
                <a:gd name="connsiteY55" fmla="*/ 1880458 h 15152939"/>
                <a:gd name="connsiteX56" fmla="*/ 11411229 w 27560432"/>
                <a:gd name="connsiteY56" fmla="*/ 2260189 h 15152939"/>
                <a:gd name="connsiteX57" fmla="*/ 11998974 w 27560432"/>
                <a:gd name="connsiteY57" fmla="*/ 2341559 h 15152939"/>
                <a:gd name="connsiteX58" fmla="*/ 12315449 w 27560432"/>
                <a:gd name="connsiteY58" fmla="*/ 3001571 h 15152939"/>
                <a:gd name="connsiteX59" fmla="*/ 12785642 w 27560432"/>
                <a:gd name="connsiteY59" fmla="*/ 2820742 h 15152939"/>
                <a:gd name="connsiteX60" fmla="*/ 13671776 w 27560432"/>
                <a:gd name="connsiteY60" fmla="*/ 3272803 h 15152939"/>
                <a:gd name="connsiteX61" fmla="*/ 14123886 w 27560432"/>
                <a:gd name="connsiteY61" fmla="*/ 2974450 h 15152939"/>
                <a:gd name="connsiteX62" fmla="*/ 14259509 w 27560432"/>
                <a:gd name="connsiteY62" fmla="*/ 2404849 h 15152939"/>
                <a:gd name="connsiteX63" fmla="*/ 14892468 w 27560432"/>
                <a:gd name="connsiteY63" fmla="*/ 1762918 h 15152939"/>
                <a:gd name="connsiteX64" fmla="*/ 15778605 w 27560432"/>
                <a:gd name="connsiteY64" fmla="*/ 1211398 h 15152939"/>
                <a:gd name="connsiteX65" fmla="*/ 16022739 w 27560432"/>
                <a:gd name="connsiteY65" fmla="*/ 1681548 h 15152939"/>
                <a:gd name="connsiteX66" fmla="*/ 16013694 w 27560432"/>
                <a:gd name="connsiteY66" fmla="*/ 2169778 h 15152939"/>
                <a:gd name="connsiteX67" fmla="*/ 16556232 w 27560432"/>
                <a:gd name="connsiteY67" fmla="*/ 2260200 h 15152939"/>
                <a:gd name="connsiteX68" fmla="*/ 16863663 w 27560432"/>
                <a:gd name="connsiteY68" fmla="*/ 1744834 h 15152939"/>
                <a:gd name="connsiteX69" fmla="*/ 17406193 w 27560432"/>
                <a:gd name="connsiteY69" fmla="*/ 1410312 h 15152939"/>
                <a:gd name="connsiteX70" fmla="*/ 17623203 w 27560432"/>
                <a:gd name="connsiteY70" fmla="*/ 867840 h 15152939"/>
                <a:gd name="connsiteX71" fmla="*/ 18120524 w 27560432"/>
                <a:gd name="connsiteY71" fmla="*/ 831675 h 15152939"/>
                <a:gd name="connsiteX72" fmla="*/ 18201903 w 27560432"/>
                <a:gd name="connsiteY72" fmla="*/ 542358 h 15152939"/>
                <a:gd name="connsiteX73" fmla="*/ 18744437 w 27560432"/>
                <a:gd name="connsiteY73" fmla="*/ 117414 h 15152939"/>
                <a:gd name="connsiteX74" fmla="*/ 19443290 w 27560432"/>
                <a:gd name="connsiteY74" fmla="*/ 0 h 15152939"/>
                <a:gd name="connsiteX75" fmla="*/ 19982300 w 27560432"/>
                <a:gd name="connsiteY75" fmla="*/ 460880 h 15152939"/>
                <a:gd name="connsiteX76" fmla="*/ 19530143 w 27560432"/>
                <a:gd name="connsiteY76" fmla="*/ 913038 h 15152939"/>
                <a:gd name="connsiteX77" fmla="*/ 19837609 w 27560432"/>
                <a:gd name="connsiteY77" fmla="*/ 1238588 h 15152939"/>
                <a:gd name="connsiteX78" fmla="*/ 20886614 w 27560432"/>
                <a:gd name="connsiteY78" fmla="*/ 1546055 h 15152939"/>
                <a:gd name="connsiteX79" fmla="*/ 21881359 w 27560432"/>
                <a:gd name="connsiteY79" fmla="*/ 1889694 h 15152939"/>
                <a:gd name="connsiteX80" fmla="*/ 21772837 w 27560432"/>
                <a:gd name="connsiteY80" fmla="*/ 2269505 h 15152939"/>
                <a:gd name="connsiteX81" fmla="*/ 21537712 w 27560432"/>
                <a:gd name="connsiteY81" fmla="*/ 2884438 h 15152939"/>
                <a:gd name="connsiteX82" fmla="*/ 21996067 w 27560432"/>
                <a:gd name="connsiteY82" fmla="*/ 2911656 h 15152939"/>
                <a:gd name="connsiteX83" fmla="*/ 22478203 w 27560432"/>
                <a:gd name="connsiteY83" fmla="*/ 2414189 h 15152939"/>
                <a:gd name="connsiteX84" fmla="*/ 23292084 w 27560432"/>
                <a:gd name="connsiteY84" fmla="*/ 2016293 h 15152939"/>
                <a:gd name="connsiteX85" fmla="*/ 23888932 w 27560432"/>
                <a:gd name="connsiteY85" fmla="*/ 1998212 h 15152939"/>
                <a:gd name="connsiteX86" fmla="*/ 24612383 w 27560432"/>
                <a:gd name="connsiteY86" fmla="*/ 1582227 h 15152939"/>
                <a:gd name="connsiteX87" fmla="*/ 25010275 w 27560432"/>
                <a:gd name="connsiteY87" fmla="*/ 695990 h 15152939"/>
                <a:gd name="connsiteX88" fmla="*/ 25769899 w 27560432"/>
                <a:gd name="connsiteY88" fmla="*/ 840685 h 15152939"/>
                <a:gd name="connsiteX89" fmla="*/ 26402920 w 27560432"/>
                <a:gd name="connsiteY89" fmla="*/ 876857 h 15152939"/>
                <a:gd name="connsiteX90" fmla="*/ 26240141 w 27560432"/>
                <a:gd name="connsiteY90" fmla="*/ 1491794 h 15152939"/>
                <a:gd name="connsiteX91" fmla="*/ 26554742 w 27560432"/>
                <a:gd name="connsiteY91" fmla="*/ 2052454 h 15152939"/>
                <a:gd name="connsiteX92" fmla="*/ 25679461 w 27560432"/>
                <a:gd name="connsiteY92" fmla="*/ 2775920 h 15152939"/>
                <a:gd name="connsiteX93" fmla="*/ 25751806 w 27560432"/>
                <a:gd name="connsiteY93" fmla="*/ 3806840 h 15152939"/>
                <a:gd name="connsiteX94" fmla="*/ 26157237 w 27560432"/>
                <a:gd name="connsiteY94"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023104 w 27542354"/>
                <a:gd name="connsiteY6" fmla="*/ 7478344 h 15152939"/>
                <a:gd name="connsiteX7" fmla="*/ 26619948 w 27542354"/>
                <a:gd name="connsiteY7" fmla="*/ 7840060 h 15152939"/>
                <a:gd name="connsiteX8" fmla="*/ 26276305 w 27542354"/>
                <a:gd name="connsiteY8" fmla="*/ 8672029 h 15152939"/>
                <a:gd name="connsiteX9" fmla="*/ 26312478 w 27542354"/>
                <a:gd name="connsiteY9" fmla="*/ 9666777 h 15152939"/>
                <a:gd name="connsiteX10" fmla="*/ 25878405 w 27542354"/>
                <a:gd name="connsiteY10" fmla="*/ 10227453 h 15152939"/>
                <a:gd name="connsiteX11" fmla="*/ 26402912 w 27542354"/>
                <a:gd name="connsiteY11" fmla="*/ 10643437 h 15152939"/>
                <a:gd name="connsiteX12" fmla="*/ 27319497 w 27542354"/>
                <a:gd name="connsiteY12" fmla="*/ 10082959 h 15152939"/>
                <a:gd name="connsiteX13" fmla="*/ 27542355 w 27542354"/>
                <a:gd name="connsiteY13" fmla="*/ 12005935 h 15152939"/>
                <a:gd name="connsiteX14" fmla="*/ 26089423 w 27542354"/>
                <a:gd name="connsiteY14" fmla="*/ 11975789 h 15152939"/>
                <a:gd name="connsiteX15" fmla="*/ 24473715 w 27542354"/>
                <a:gd name="connsiteY15" fmla="*/ 12090334 h 15152939"/>
                <a:gd name="connsiteX16" fmla="*/ 23135328 w 27542354"/>
                <a:gd name="connsiteY16" fmla="*/ 12222964 h 15152939"/>
                <a:gd name="connsiteX17" fmla="*/ 22261159 w 27542354"/>
                <a:gd name="connsiteY17" fmla="*/ 12934357 h 15152939"/>
                <a:gd name="connsiteX18" fmla="*/ 20826342 w 27542354"/>
                <a:gd name="connsiteY18" fmla="*/ 14369204 h 15152939"/>
                <a:gd name="connsiteX19" fmla="*/ 12952786 w 27542354"/>
                <a:gd name="connsiteY19" fmla="*/ 14960014 h 15152939"/>
                <a:gd name="connsiteX20" fmla="*/ 11934663 w 27542354"/>
                <a:gd name="connsiteY20" fmla="*/ 15008264 h 15152939"/>
                <a:gd name="connsiteX21" fmla="*/ 8506848 w 27542354"/>
                <a:gd name="connsiteY21" fmla="*/ 15152939 h 15152939"/>
                <a:gd name="connsiteX22" fmla="*/ 7985095 w 27542354"/>
                <a:gd name="connsiteY22" fmla="*/ 14507857 h 15152939"/>
                <a:gd name="connsiteX23" fmla="*/ 7400308 w 27542354"/>
                <a:gd name="connsiteY23" fmla="*/ 14477712 h 15152939"/>
                <a:gd name="connsiteX24" fmla="*/ 6972273 w 27542354"/>
                <a:gd name="connsiteY24" fmla="*/ 14749009 h 15152939"/>
                <a:gd name="connsiteX25" fmla="*/ 5181729 w 27542354"/>
                <a:gd name="connsiteY25" fmla="*/ 14664610 h 15152939"/>
                <a:gd name="connsiteX26" fmla="*/ 4397998 w 27542354"/>
                <a:gd name="connsiteY26" fmla="*/ 14031593 h 15152939"/>
                <a:gd name="connsiteX27" fmla="*/ 2908896 w 27542354"/>
                <a:gd name="connsiteY27" fmla="*/ 13223739 h 15152939"/>
                <a:gd name="connsiteX28" fmla="*/ 1263043 w 27542354"/>
                <a:gd name="connsiteY28" fmla="*/ 12512346 h 15152939"/>
                <a:gd name="connsiteX29" fmla="*/ 485320 w 27542354"/>
                <a:gd name="connsiteY29" fmla="*/ 12060189 h 15152939"/>
                <a:gd name="connsiteX30" fmla="*/ 0 w 27542354"/>
                <a:gd name="connsiteY30" fmla="*/ 11767077 h 15152939"/>
                <a:gd name="connsiteX31" fmla="*/ 1003686 w 27542354"/>
                <a:gd name="connsiteY31" fmla="*/ 11021112 h 15152939"/>
                <a:gd name="connsiteX32" fmla="*/ 2902551 w 27542354"/>
                <a:gd name="connsiteY32" fmla="*/ 9836713 h 15152939"/>
                <a:gd name="connsiteX33" fmla="*/ 2558940 w 27542354"/>
                <a:gd name="connsiteY33" fmla="*/ 9303282 h 15152939"/>
                <a:gd name="connsiteX34" fmla="*/ 2402508 w 27542354"/>
                <a:gd name="connsiteY34" fmla="*/ 8616199 h 15152939"/>
                <a:gd name="connsiteX35" fmla="*/ 2730740 w 27542354"/>
                <a:gd name="connsiteY35" fmla="*/ 8589028 h 15152939"/>
                <a:gd name="connsiteX36" fmla="*/ 2947754 w 27542354"/>
                <a:gd name="connsiteY36" fmla="*/ 8118883 h 15152939"/>
                <a:gd name="connsiteX37" fmla="*/ 3499325 w 27542354"/>
                <a:gd name="connsiteY37" fmla="*/ 7675866 h 15152939"/>
                <a:gd name="connsiteX38" fmla="*/ 3680166 w 27542354"/>
                <a:gd name="connsiteY38" fmla="*/ 6798868 h 15152939"/>
                <a:gd name="connsiteX39" fmla="*/ 4186528 w 27542354"/>
                <a:gd name="connsiteY39" fmla="*/ 6807904 h 15152939"/>
                <a:gd name="connsiteX40" fmla="*/ 4837569 w 27542354"/>
                <a:gd name="connsiteY40" fmla="*/ 7278054 h 15152939"/>
                <a:gd name="connsiteX41" fmla="*/ 5352976 w 27542354"/>
                <a:gd name="connsiteY41" fmla="*/ 7196687 h 15152939"/>
                <a:gd name="connsiteX42" fmla="*/ 5741786 w 27542354"/>
                <a:gd name="connsiteY42" fmla="*/ 6825992 h 15152939"/>
                <a:gd name="connsiteX43" fmla="*/ 6157723 w 27542354"/>
                <a:gd name="connsiteY43" fmla="*/ 6663251 h 15152939"/>
                <a:gd name="connsiteX44" fmla="*/ 6745471 w 27542354"/>
                <a:gd name="connsiteY44" fmla="*/ 6093658 h 15152939"/>
                <a:gd name="connsiteX45" fmla="*/ 6890140 w 27542354"/>
                <a:gd name="connsiteY45" fmla="*/ 5243782 h 15152939"/>
                <a:gd name="connsiteX46" fmla="*/ 7568305 w 27542354"/>
                <a:gd name="connsiteY46" fmla="*/ 4674188 h 15152939"/>
                <a:gd name="connsiteX47" fmla="*/ 8137967 w 27542354"/>
                <a:gd name="connsiteY47" fmla="*/ 4231167 h 15152939"/>
                <a:gd name="connsiteX48" fmla="*/ 8463480 w 27542354"/>
                <a:gd name="connsiteY48" fmla="*/ 3426500 h 15152939"/>
                <a:gd name="connsiteX49" fmla="*/ 9024093 w 27542354"/>
                <a:gd name="connsiteY49" fmla="*/ 3073893 h 15152939"/>
                <a:gd name="connsiteX50" fmla="*/ 9675138 w 27542354"/>
                <a:gd name="connsiteY50" fmla="*/ 2721291 h 15152939"/>
                <a:gd name="connsiteX51" fmla="*/ 9558580 w 27542354"/>
                <a:gd name="connsiteY51" fmla="*/ 2173007 h 15152939"/>
                <a:gd name="connsiteX52" fmla="*/ 10353296 w 27542354"/>
                <a:gd name="connsiteY52" fmla="*/ 1500723 h 15152939"/>
                <a:gd name="connsiteX53" fmla="*/ 10832530 w 27542354"/>
                <a:gd name="connsiteY53" fmla="*/ 1428389 h 15152939"/>
                <a:gd name="connsiteX54" fmla="*/ 11058585 w 27542354"/>
                <a:gd name="connsiteY54" fmla="*/ 1880458 h 15152939"/>
                <a:gd name="connsiteX55" fmla="*/ 11411229 w 27542354"/>
                <a:gd name="connsiteY55" fmla="*/ 2260189 h 15152939"/>
                <a:gd name="connsiteX56" fmla="*/ 11998974 w 27542354"/>
                <a:gd name="connsiteY56" fmla="*/ 2341559 h 15152939"/>
                <a:gd name="connsiteX57" fmla="*/ 12315449 w 27542354"/>
                <a:gd name="connsiteY57" fmla="*/ 3001571 h 15152939"/>
                <a:gd name="connsiteX58" fmla="*/ 12785642 w 27542354"/>
                <a:gd name="connsiteY58" fmla="*/ 2820742 h 15152939"/>
                <a:gd name="connsiteX59" fmla="*/ 13671776 w 27542354"/>
                <a:gd name="connsiteY59" fmla="*/ 3272803 h 15152939"/>
                <a:gd name="connsiteX60" fmla="*/ 14123886 w 27542354"/>
                <a:gd name="connsiteY60" fmla="*/ 2974450 h 15152939"/>
                <a:gd name="connsiteX61" fmla="*/ 14259509 w 27542354"/>
                <a:gd name="connsiteY61" fmla="*/ 2404849 h 15152939"/>
                <a:gd name="connsiteX62" fmla="*/ 14892468 w 27542354"/>
                <a:gd name="connsiteY62" fmla="*/ 1762918 h 15152939"/>
                <a:gd name="connsiteX63" fmla="*/ 15778605 w 27542354"/>
                <a:gd name="connsiteY63" fmla="*/ 1211398 h 15152939"/>
                <a:gd name="connsiteX64" fmla="*/ 16022739 w 27542354"/>
                <a:gd name="connsiteY64" fmla="*/ 1681548 h 15152939"/>
                <a:gd name="connsiteX65" fmla="*/ 16013694 w 27542354"/>
                <a:gd name="connsiteY65" fmla="*/ 2169778 h 15152939"/>
                <a:gd name="connsiteX66" fmla="*/ 16556232 w 27542354"/>
                <a:gd name="connsiteY66" fmla="*/ 2260200 h 15152939"/>
                <a:gd name="connsiteX67" fmla="*/ 16863663 w 27542354"/>
                <a:gd name="connsiteY67" fmla="*/ 1744834 h 15152939"/>
                <a:gd name="connsiteX68" fmla="*/ 17406193 w 27542354"/>
                <a:gd name="connsiteY68" fmla="*/ 1410312 h 15152939"/>
                <a:gd name="connsiteX69" fmla="*/ 17623203 w 27542354"/>
                <a:gd name="connsiteY69" fmla="*/ 867840 h 15152939"/>
                <a:gd name="connsiteX70" fmla="*/ 18120524 w 27542354"/>
                <a:gd name="connsiteY70" fmla="*/ 831675 h 15152939"/>
                <a:gd name="connsiteX71" fmla="*/ 18201903 w 27542354"/>
                <a:gd name="connsiteY71" fmla="*/ 542358 h 15152939"/>
                <a:gd name="connsiteX72" fmla="*/ 18744437 w 27542354"/>
                <a:gd name="connsiteY72" fmla="*/ 117414 h 15152939"/>
                <a:gd name="connsiteX73" fmla="*/ 19443290 w 27542354"/>
                <a:gd name="connsiteY73" fmla="*/ 0 h 15152939"/>
                <a:gd name="connsiteX74" fmla="*/ 19982300 w 27542354"/>
                <a:gd name="connsiteY74" fmla="*/ 460880 h 15152939"/>
                <a:gd name="connsiteX75" fmla="*/ 19530143 w 27542354"/>
                <a:gd name="connsiteY75" fmla="*/ 913038 h 15152939"/>
                <a:gd name="connsiteX76" fmla="*/ 19837609 w 27542354"/>
                <a:gd name="connsiteY76" fmla="*/ 1238588 h 15152939"/>
                <a:gd name="connsiteX77" fmla="*/ 20886614 w 27542354"/>
                <a:gd name="connsiteY77" fmla="*/ 1546055 h 15152939"/>
                <a:gd name="connsiteX78" fmla="*/ 21881359 w 27542354"/>
                <a:gd name="connsiteY78" fmla="*/ 1889694 h 15152939"/>
                <a:gd name="connsiteX79" fmla="*/ 21772837 w 27542354"/>
                <a:gd name="connsiteY79" fmla="*/ 2269505 h 15152939"/>
                <a:gd name="connsiteX80" fmla="*/ 21537712 w 27542354"/>
                <a:gd name="connsiteY80" fmla="*/ 2884438 h 15152939"/>
                <a:gd name="connsiteX81" fmla="*/ 21996067 w 27542354"/>
                <a:gd name="connsiteY81" fmla="*/ 2911656 h 15152939"/>
                <a:gd name="connsiteX82" fmla="*/ 22478203 w 27542354"/>
                <a:gd name="connsiteY82" fmla="*/ 2414189 h 15152939"/>
                <a:gd name="connsiteX83" fmla="*/ 23292084 w 27542354"/>
                <a:gd name="connsiteY83" fmla="*/ 2016293 h 15152939"/>
                <a:gd name="connsiteX84" fmla="*/ 23888932 w 27542354"/>
                <a:gd name="connsiteY84" fmla="*/ 1998212 h 15152939"/>
                <a:gd name="connsiteX85" fmla="*/ 24612383 w 27542354"/>
                <a:gd name="connsiteY85" fmla="*/ 1582227 h 15152939"/>
                <a:gd name="connsiteX86" fmla="*/ 25010275 w 27542354"/>
                <a:gd name="connsiteY86" fmla="*/ 695990 h 15152939"/>
                <a:gd name="connsiteX87" fmla="*/ 25769899 w 27542354"/>
                <a:gd name="connsiteY87" fmla="*/ 840685 h 15152939"/>
                <a:gd name="connsiteX88" fmla="*/ 26402920 w 27542354"/>
                <a:gd name="connsiteY88" fmla="*/ 876857 h 15152939"/>
                <a:gd name="connsiteX89" fmla="*/ 26240141 w 27542354"/>
                <a:gd name="connsiteY89" fmla="*/ 1491794 h 15152939"/>
                <a:gd name="connsiteX90" fmla="*/ 26554742 w 27542354"/>
                <a:gd name="connsiteY90" fmla="*/ 2052454 h 15152939"/>
                <a:gd name="connsiteX91" fmla="*/ 25679461 w 27542354"/>
                <a:gd name="connsiteY91" fmla="*/ 2775920 h 15152939"/>
                <a:gd name="connsiteX92" fmla="*/ 25751806 w 27542354"/>
                <a:gd name="connsiteY92" fmla="*/ 3806840 h 15152939"/>
                <a:gd name="connsiteX93" fmla="*/ 26157237 w 27542354"/>
                <a:gd name="connsiteY93"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023104 w 27542354"/>
                <a:gd name="connsiteY6" fmla="*/ 7478344 h 15152939"/>
                <a:gd name="connsiteX7" fmla="*/ 26619948 w 27542354"/>
                <a:gd name="connsiteY7" fmla="*/ 7840060 h 15152939"/>
                <a:gd name="connsiteX8" fmla="*/ 26276305 w 27542354"/>
                <a:gd name="connsiteY8" fmla="*/ 8672029 h 15152939"/>
                <a:gd name="connsiteX9" fmla="*/ 26312478 w 27542354"/>
                <a:gd name="connsiteY9" fmla="*/ 9666777 h 15152939"/>
                <a:gd name="connsiteX10" fmla="*/ 25878405 w 27542354"/>
                <a:gd name="connsiteY10" fmla="*/ 10227453 h 15152939"/>
                <a:gd name="connsiteX11" fmla="*/ 26402912 w 27542354"/>
                <a:gd name="connsiteY11" fmla="*/ 10643437 h 15152939"/>
                <a:gd name="connsiteX12" fmla="*/ 27542355 w 27542354"/>
                <a:gd name="connsiteY12" fmla="*/ 12005935 h 15152939"/>
                <a:gd name="connsiteX13" fmla="*/ 26089423 w 27542354"/>
                <a:gd name="connsiteY13" fmla="*/ 11975789 h 15152939"/>
                <a:gd name="connsiteX14" fmla="*/ 24473715 w 27542354"/>
                <a:gd name="connsiteY14" fmla="*/ 12090334 h 15152939"/>
                <a:gd name="connsiteX15" fmla="*/ 23135328 w 27542354"/>
                <a:gd name="connsiteY15" fmla="*/ 12222964 h 15152939"/>
                <a:gd name="connsiteX16" fmla="*/ 22261159 w 27542354"/>
                <a:gd name="connsiteY16" fmla="*/ 12934357 h 15152939"/>
                <a:gd name="connsiteX17" fmla="*/ 20826342 w 27542354"/>
                <a:gd name="connsiteY17" fmla="*/ 14369204 h 15152939"/>
                <a:gd name="connsiteX18" fmla="*/ 12952786 w 27542354"/>
                <a:gd name="connsiteY18" fmla="*/ 14960014 h 15152939"/>
                <a:gd name="connsiteX19" fmla="*/ 11934663 w 27542354"/>
                <a:gd name="connsiteY19" fmla="*/ 15008264 h 15152939"/>
                <a:gd name="connsiteX20" fmla="*/ 8506848 w 27542354"/>
                <a:gd name="connsiteY20" fmla="*/ 15152939 h 15152939"/>
                <a:gd name="connsiteX21" fmla="*/ 7985095 w 27542354"/>
                <a:gd name="connsiteY21" fmla="*/ 14507857 h 15152939"/>
                <a:gd name="connsiteX22" fmla="*/ 7400308 w 27542354"/>
                <a:gd name="connsiteY22" fmla="*/ 14477712 h 15152939"/>
                <a:gd name="connsiteX23" fmla="*/ 6972273 w 27542354"/>
                <a:gd name="connsiteY23" fmla="*/ 14749009 h 15152939"/>
                <a:gd name="connsiteX24" fmla="*/ 5181729 w 27542354"/>
                <a:gd name="connsiteY24" fmla="*/ 14664610 h 15152939"/>
                <a:gd name="connsiteX25" fmla="*/ 4397998 w 27542354"/>
                <a:gd name="connsiteY25" fmla="*/ 14031593 h 15152939"/>
                <a:gd name="connsiteX26" fmla="*/ 2908896 w 27542354"/>
                <a:gd name="connsiteY26" fmla="*/ 13223739 h 15152939"/>
                <a:gd name="connsiteX27" fmla="*/ 1263043 w 27542354"/>
                <a:gd name="connsiteY27" fmla="*/ 12512346 h 15152939"/>
                <a:gd name="connsiteX28" fmla="*/ 485320 w 27542354"/>
                <a:gd name="connsiteY28" fmla="*/ 12060189 h 15152939"/>
                <a:gd name="connsiteX29" fmla="*/ 0 w 27542354"/>
                <a:gd name="connsiteY29" fmla="*/ 11767077 h 15152939"/>
                <a:gd name="connsiteX30" fmla="*/ 1003686 w 27542354"/>
                <a:gd name="connsiteY30" fmla="*/ 11021112 h 15152939"/>
                <a:gd name="connsiteX31" fmla="*/ 2902551 w 27542354"/>
                <a:gd name="connsiteY31" fmla="*/ 9836713 h 15152939"/>
                <a:gd name="connsiteX32" fmla="*/ 2558940 w 27542354"/>
                <a:gd name="connsiteY32" fmla="*/ 9303282 h 15152939"/>
                <a:gd name="connsiteX33" fmla="*/ 2402508 w 27542354"/>
                <a:gd name="connsiteY33" fmla="*/ 8616199 h 15152939"/>
                <a:gd name="connsiteX34" fmla="*/ 2730740 w 27542354"/>
                <a:gd name="connsiteY34" fmla="*/ 8589028 h 15152939"/>
                <a:gd name="connsiteX35" fmla="*/ 2947754 w 27542354"/>
                <a:gd name="connsiteY35" fmla="*/ 8118883 h 15152939"/>
                <a:gd name="connsiteX36" fmla="*/ 3499325 w 27542354"/>
                <a:gd name="connsiteY36" fmla="*/ 7675866 h 15152939"/>
                <a:gd name="connsiteX37" fmla="*/ 3680166 w 27542354"/>
                <a:gd name="connsiteY37" fmla="*/ 6798868 h 15152939"/>
                <a:gd name="connsiteX38" fmla="*/ 4186528 w 27542354"/>
                <a:gd name="connsiteY38" fmla="*/ 6807904 h 15152939"/>
                <a:gd name="connsiteX39" fmla="*/ 4837569 w 27542354"/>
                <a:gd name="connsiteY39" fmla="*/ 7278054 h 15152939"/>
                <a:gd name="connsiteX40" fmla="*/ 5352976 w 27542354"/>
                <a:gd name="connsiteY40" fmla="*/ 7196687 h 15152939"/>
                <a:gd name="connsiteX41" fmla="*/ 5741786 w 27542354"/>
                <a:gd name="connsiteY41" fmla="*/ 6825992 h 15152939"/>
                <a:gd name="connsiteX42" fmla="*/ 6157723 w 27542354"/>
                <a:gd name="connsiteY42" fmla="*/ 6663251 h 15152939"/>
                <a:gd name="connsiteX43" fmla="*/ 6745471 w 27542354"/>
                <a:gd name="connsiteY43" fmla="*/ 6093658 h 15152939"/>
                <a:gd name="connsiteX44" fmla="*/ 6890140 w 27542354"/>
                <a:gd name="connsiteY44" fmla="*/ 5243782 h 15152939"/>
                <a:gd name="connsiteX45" fmla="*/ 7568305 w 27542354"/>
                <a:gd name="connsiteY45" fmla="*/ 4674188 h 15152939"/>
                <a:gd name="connsiteX46" fmla="*/ 8137967 w 27542354"/>
                <a:gd name="connsiteY46" fmla="*/ 4231167 h 15152939"/>
                <a:gd name="connsiteX47" fmla="*/ 8463480 w 27542354"/>
                <a:gd name="connsiteY47" fmla="*/ 3426500 h 15152939"/>
                <a:gd name="connsiteX48" fmla="*/ 9024093 w 27542354"/>
                <a:gd name="connsiteY48" fmla="*/ 3073893 h 15152939"/>
                <a:gd name="connsiteX49" fmla="*/ 9675138 w 27542354"/>
                <a:gd name="connsiteY49" fmla="*/ 2721291 h 15152939"/>
                <a:gd name="connsiteX50" fmla="*/ 9558580 w 27542354"/>
                <a:gd name="connsiteY50" fmla="*/ 2173007 h 15152939"/>
                <a:gd name="connsiteX51" fmla="*/ 10353296 w 27542354"/>
                <a:gd name="connsiteY51" fmla="*/ 1500723 h 15152939"/>
                <a:gd name="connsiteX52" fmla="*/ 10832530 w 27542354"/>
                <a:gd name="connsiteY52" fmla="*/ 1428389 h 15152939"/>
                <a:gd name="connsiteX53" fmla="*/ 11058585 w 27542354"/>
                <a:gd name="connsiteY53" fmla="*/ 1880458 h 15152939"/>
                <a:gd name="connsiteX54" fmla="*/ 11411229 w 27542354"/>
                <a:gd name="connsiteY54" fmla="*/ 2260189 h 15152939"/>
                <a:gd name="connsiteX55" fmla="*/ 11998974 w 27542354"/>
                <a:gd name="connsiteY55" fmla="*/ 2341559 h 15152939"/>
                <a:gd name="connsiteX56" fmla="*/ 12315449 w 27542354"/>
                <a:gd name="connsiteY56" fmla="*/ 3001571 h 15152939"/>
                <a:gd name="connsiteX57" fmla="*/ 12785642 w 27542354"/>
                <a:gd name="connsiteY57" fmla="*/ 2820742 h 15152939"/>
                <a:gd name="connsiteX58" fmla="*/ 13671776 w 27542354"/>
                <a:gd name="connsiteY58" fmla="*/ 3272803 h 15152939"/>
                <a:gd name="connsiteX59" fmla="*/ 14123886 w 27542354"/>
                <a:gd name="connsiteY59" fmla="*/ 2974450 h 15152939"/>
                <a:gd name="connsiteX60" fmla="*/ 14259509 w 27542354"/>
                <a:gd name="connsiteY60" fmla="*/ 2404849 h 15152939"/>
                <a:gd name="connsiteX61" fmla="*/ 14892468 w 27542354"/>
                <a:gd name="connsiteY61" fmla="*/ 1762918 h 15152939"/>
                <a:gd name="connsiteX62" fmla="*/ 15778605 w 27542354"/>
                <a:gd name="connsiteY62" fmla="*/ 1211398 h 15152939"/>
                <a:gd name="connsiteX63" fmla="*/ 16022739 w 27542354"/>
                <a:gd name="connsiteY63" fmla="*/ 1681548 h 15152939"/>
                <a:gd name="connsiteX64" fmla="*/ 16013694 w 27542354"/>
                <a:gd name="connsiteY64" fmla="*/ 2169778 h 15152939"/>
                <a:gd name="connsiteX65" fmla="*/ 16556232 w 27542354"/>
                <a:gd name="connsiteY65" fmla="*/ 2260200 h 15152939"/>
                <a:gd name="connsiteX66" fmla="*/ 16863663 w 27542354"/>
                <a:gd name="connsiteY66" fmla="*/ 1744834 h 15152939"/>
                <a:gd name="connsiteX67" fmla="*/ 17406193 w 27542354"/>
                <a:gd name="connsiteY67" fmla="*/ 1410312 h 15152939"/>
                <a:gd name="connsiteX68" fmla="*/ 17623203 w 27542354"/>
                <a:gd name="connsiteY68" fmla="*/ 867840 h 15152939"/>
                <a:gd name="connsiteX69" fmla="*/ 18120524 w 27542354"/>
                <a:gd name="connsiteY69" fmla="*/ 831675 h 15152939"/>
                <a:gd name="connsiteX70" fmla="*/ 18201903 w 27542354"/>
                <a:gd name="connsiteY70" fmla="*/ 542358 h 15152939"/>
                <a:gd name="connsiteX71" fmla="*/ 18744437 w 27542354"/>
                <a:gd name="connsiteY71" fmla="*/ 117414 h 15152939"/>
                <a:gd name="connsiteX72" fmla="*/ 19443290 w 27542354"/>
                <a:gd name="connsiteY72" fmla="*/ 0 h 15152939"/>
                <a:gd name="connsiteX73" fmla="*/ 19982300 w 27542354"/>
                <a:gd name="connsiteY73" fmla="*/ 460880 h 15152939"/>
                <a:gd name="connsiteX74" fmla="*/ 19530143 w 27542354"/>
                <a:gd name="connsiteY74" fmla="*/ 913038 h 15152939"/>
                <a:gd name="connsiteX75" fmla="*/ 19837609 w 27542354"/>
                <a:gd name="connsiteY75" fmla="*/ 1238588 h 15152939"/>
                <a:gd name="connsiteX76" fmla="*/ 20886614 w 27542354"/>
                <a:gd name="connsiteY76" fmla="*/ 1546055 h 15152939"/>
                <a:gd name="connsiteX77" fmla="*/ 21881359 w 27542354"/>
                <a:gd name="connsiteY77" fmla="*/ 1889694 h 15152939"/>
                <a:gd name="connsiteX78" fmla="*/ 21772837 w 27542354"/>
                <a:gd name="connsiteY78" fmla="*/ 2269505 h 15152939"/>
                <a:gd name="connsiteX79" fmla="*/ 21537712 w 27542354"/>
                <a:gd name="connsiteY79" fmla="*/ 2884438 h 15152939"/>
                <a:gd name="connsiteX80" fmla="*/ 21996067 w 27542354"/>
                <a:gd name="connsiteY80" fmla="*/ 2911656 h 15152939"/>
                <a:gd name="connsiteX81" fmla="*/ 22478203 w 27542354"/>
                <a:gd name="connsiteY81" fmla="*/ 2414189 h 15152939"/>
                <a:gd name="connsiteX82" fmla="*/ 23292084 w 27542354"/>
                <a:gd name="connsiteY82" fmla="*/ 2016293 h 15152939"/>
                <a:gd name="connsiteX83" fmla="*/ 23888932 w 27542354"/>
                <a:gd name="connsiteY83" fmla="*/ 1998212 h 15152939"/>
                <a:gd name="connsiteX84" fmla="*/ 24612383 w 27542354"/>
                <a:gd name="connsiteY84" fmla="*/ 1582227 h 15152939"/>
                <a:gd name="connsiteX85" fmla="*/ 25010275 w 27542354"/>
                <a:gd name="connsiteY85" fmla="*/ 695990 h 15152939"/>
                <a:gd name="connsiteX86" fmla="*/ 25769899 w 27542354"/>
                <a:gd name="connsiteY86" fmla="*/ 840685 h 15152939"/>
                <a:gd name="connsiteX87" fmla="*/ 26402920 w 27542354"/>
                <a:gd name="connsiteY87" fmla="*/ 876857 h 15152939"/>
                <a:gd name="connsiteX88" fmla="*/ 26240141 w 27542354"/>
                <a:gd name="connsiteY88" fmla="*/ 1491794 h 15152939"/>
                <a:gd name="connsiteX89" fmla="*/ 26554742 w 27542354"/>
                <a:gd name="connsiteY89" fmla="*/ 2052454 h 15152939"/>
                <a:gd name="connsiteX90" fmla="*/ 25679461 w 27542354"/>
                <a:gd name="connsiteY90" fmla="*/ 2775920 h 15152939"/>
                <a:gd name="connsiteX91" fmla="*/ 25751806 w 27542354"/>
                <a:gd name="connsiteY91" fmla="*/ 3806840 h 15152939"/>
                <a:gd name="connsiteX92" fmla="*/ 26157237 w 27542354"/>
                <a:gd name="connsiteY92"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023104 w 27542354"/>
                <a:gd name="connsiteY6" fmla="*/ 7478344 h 15152939"/>
                <a:gd name="connsiteX7" fmla="*/ 26619948 w 27542354"/>
                <a:gd name="connsiteY7" fmla="*/ 7840060 h 15152939"/>
                <a:gd name="connsiteX8" fmla="*/ 26276305 w 27542354"/>
                <a:gd name="connsiteY8" fmla="*/ 8672029 h 15152939"/>
                <a:gd name="connsiteX9" fmla="*/ 26312478 w 27542354"/>
                <a:gd name="connsiteY9" fmla="*/ 9666777 h 15152939"/>
                <a:gd name="connsiteX10" fmla="*/ 26402912 w 27542354"/>
                <a:gd name="connsiteY10" fmla="*/ 10643437 h 15152939"/>
                <a:gd name="connsiteX11" fmla="*/ 27542355 w 27542354"/>
                <a:gd name="connsiteY11" fmla="*/ 12005935 h 15152939"/>
                <a:gd name="connsiteX12" fmla="*/ 26089423 w 27542354"/>
                <a:gd name="connsiteY12" fmla="*/ 11975789 h 15152939"/>
                <a:gd name="connsiteX13" fmla="*/ 24473715 w 27542354"/>
                <a:gd name="connsiteY13" fmla="*/ 12090334 h 15152939"/>
                <a:gd name="connsiteX14" fmla="*/ 23135328 w 27542354"/>
                <a:gd name="connsiteY14" fmla="*/ 12222964 h 15152939"/>
                <a:gd name="connsiteX15" fmla="*/ 22261159 w 27542354"/>
                <a:gd name="connsiteY15" fmla="*/ 12934357 h 15152939"/>
                <a:gd name="connsiteX16" fmla="*/ 20826342 w 27542354"/>
                <a:gd name="connsiteY16" fmla="*/ 14369204 h 15152939"/>
                <a:gd name="connsiteX17" fmla="*/ 12952786 w 27542354"/>
                <a:gd name="connsiteY17" fmla="*/ 14960014 h 15152939"/>
                <a:gd name="connsiteX18" fmla="*/ 11934663 w 27542354"/>
                <a:gd name="connsiteY18" fmla="*/ 15008264 h 15152939"/>
                <a:gd name="connsiteX19" fmla="*/ 8506848 w 27542354"/>
                <a:gd name="connsiteY19" fmla="*/ 15152939 h 15152939"/>
                <a:gd name="connsiteX20" fmla="*/ 7985095 w 27542354"/>
                <a:gd name="connsiteY20" fmla="*/ 14507857 h 15152939"/>
                <a:gd name="connsiteX21" fmla="*/ 7400308 w 27542354"/>
                <a:gd name="connsiteY21" fmla="*/ 14477712 h 15152939"/>
                <a:gd name="connsiteX22" fmla="*/ 6972273 w 27542354"/>
                <a:gd name="connsiteY22" fmla="*/ 14749009 h 15152939"/>
                <a:gd name="connsiteX23" fmla="*/ 5181729 w 27542354"/>
                <a:gd name="connsiteY23" fmla="*/ 14664610 h 15152939"/>
                <a:gd name="connsiteX24" fmla="*/ 4397998 w 27542354"/>
                <a:gd name="connsiteY24" fmla="*/ 14031593 h 15152939"/>
                <a:gd name="connsiteX25" fmla="*/ 2908896 w 27542354"/>
                <a:gd name="connsiteY25" fmla="*/ 13223739 h 15152939"/>
                <a:gd name="connsiteX26" fmla="*/ 1263043 w 27542354"/>
                <a:gd name="connsiteY26" fmla="*/ 12512346 h 15152939"/>
                <a:gd name="connsiteX27" fmla="*/ 485320 w 27542354"/>
                <a:gd name="connsiteY27" fmla="*/ 12060189 h 15152939"/>
                <a:gd name="connsiteX28" fmla="*/ 0 w 27542354"/>
                <a:gd name="connsiteY28" fmla="*/ 11767077 h 15152939"/>
                <a:gd name="connsiteX29" fmla="*/ 1003686 w 27542354"/>
                <a:gd name="connsiteY29" fmla="*/ 11021112 h 15152939"/>
                <a:gd name="connsiteX30" fmla="*/ 2902551 w 27542354"/>
                <a:gd name="connsiteY30" fmla="*/ 9836713 h 15152939"/>
                <a:gd name="connsiteX31" fmla="*/ 2558940 w 27542354"/>
                <a:gd name="connsiteY31" fmla="*/ 9303282 h 15152939"/>
                <a:gd name="connsiteX32" fmla="*/ 2402508 w 27542354"/>
                <a:gd name="connsiteY32" fmla="*/ 8616199 h 15152939"/>
                <a:gd name="connsiteX33" fmla="*/ 2730740 w 27542354"/>
                <a:gd name="connsiteY33" fmla="*/ 8589028 h 15152939"/>
                <a:gd name="connsiteX34" fmla="*/ 2947754 w 27542354"/>
                <a:gd name="connsiteY34" fmla="*/ 8118883 h 15152939"/>
                <a:gd name="connsiteX35" fmla="*/ 3499325 w 27542354"/>
                <a:gd name="connsiteY35" fmla="*/ 7675866 h 15152939"/>
                <a:gd name="connsiteX36" fmla="*/ 3680166 w 27542354"/>
                <a:gd name="connsiteY36" fmla="*/ 6798868 h 15152939"/>
                <a:gd name="connsiteX37" fmla="*/ 4186528 w 27542354"/>
                <a:gd name="connsiteY37" fmla="*/ 6807904 h 15152939"/>
                <a:gd name="connsiteX38" fmla="*/ 4837569 w 27542354"/>
                <a:gd name="connsiteY38" fmla="*/ 7278054 h 15152939"/>
                <a:gd name="connsiteX39" fmla="*/ 5352976 w 27542354"/>
                <a:gd name="connsiteY39" fmla="*/ 7196687 h 15152939"/>
                <a:gd name="connsiteX40" fmla="*/ 5741786 w 27542354"/>
                <a:gd name="connsiteY40" fmla="*/ 6825992 h 15152939"/>
                <a:gd name="connsiteX41" fmla="*/ 6157723 w 27542354"/>
                <a:gd name="connsiteY41" fmla="*/ 6663251 h 15152939"/>
                <a:gd name="connsiteX42" fmla="*/ 6745471 w 27542354"/>
                <a:gd name="connsiteY42" fmla="*/ 6093658 h 15152939"/>
                <a:gd name="connsiteX43" fmla="*/ 6890140 w 27542354"/>
                <a:gd name="connsiteY43" fmla="*/ 5243782 h 15152939"/>
                <a:gd name="connsiteX44" fmla="*/ 7568305 w 27542354"/>
                <a:gd name="connsiteY44" fmla="*/ 4674188 h 15152939"/>
                <a:gd name="connsiteX45" fmla="*/ 8137967 w 27542354"/>
                <a:gd name="connsiteY45" fmla="*/ 4231167 h 15152939"/>
                <a:gd name="connsiteX46" fmla="*/ 8463480 w 27542354"/>
                <a:gd name="connsiteY46" fmla="*/ 3426500 h 15152939"/>
                <a:gd name="connsiteX47" fmla="*/ 9024093 w 27542354"/>
                <a:gd name="connsiteY47" fmla="*/ 3073893 h 15152939"/>
                <a:gd name="connsiteX48" fmla="*/ 9675138 w 27542354"/>
                <a:gd name="connsiteY48" fmla="*/ 2721291 h 15152939"/>
                <a:gd name="connsiteX49" fmla="*/ 9558580 w 27542354"/>
                <a:gd name="connsiteY49" fmla="*/ 2173007 h 15152939"/>
                <a:gd name="connsiteX50" fmla="*/ 10353296 w 27542354"/>
                <a:gd name="connsiteY50" fmla="*/ 1500723 h 15152939"/>
                <a:gd name="connsiteX51" fmla="*/ 10832530 w 27542354"/>
                <a:gd name="connsiteY51" fmla="*/ 1428389 h 15152939"/>
                <a:gd name="connsiteX52" fmla="*/ 11058585 w 27542354"/>
                <a:gd name="connsiteY52" fmla="*/ 1880458 h 15152939"/>
                <a:gd name="connsiteX53" fmla="*/ 11411229 w 27542354"/>
                <a:gd name="connsiteY53" fmla="*/ 2260189 h 15152939"/>
                <a:gd name="connsiteX54" fmla="*/ 11998974 w 27542354"/>
                <a:gd name="connsiteY54" fmla="*/ 2341559 h 15152939"/>
                <a:gd name="connsiteX55" fmla="*/ 12315449 w 27542354"/>
                <a:gd name="connsiteY55" fmla="*/ 3001571 h 15152939"/>
                <a:gd name="connsiteX56" fmla="*/ 12785642 w 27542354"/>
                <a:gd name="connsiteY56" fmla="*/ 2820742 h 15152939"/>
                <a:gd name="connsiteX57" fmla="*/ 13671776 w 27542354"/>
                <a:gd name="connsiteY57" fmla="*/ 3272803 h 15152939"/>
                <a:gd name="connsiteX58" fmla="*/ 14123886 w 27542354"/>
                <a:gd name="connsiteY58" fmla="*/ 2974450 h 15152939"/>
                <a:gd name="connsiteX59" fmla="*/ 14259509 w 27542354"/>
                <a:gd name="connsiteY59" fmla="*/ 2404849 h 15152939"/>
                <a:gd name="connsiteX60" fmla="*/ 14892468 w 27542354"/>
                <a:gd name="connsiteY60" fmla="*/ 1762918 h 15152939"/>
                <a:gd name="connsiteX61" fmla="*/ 15778605 w 27542354"/>
                <a:gd name="connsiteY61" fmla="*/ 1211398 h 15152939"/>
                <a:gd name="connsiteX62" fmla="*/ 16022739 w 27542354"/>
                <a:gd name="connsiteY62" fmla="*/ 1681548 h 15152939"/>
                <a:gd name="connsiteX63" fmla="*/ 16013694 w 27542354"/>
                <a:gd name="connsiteY63" fmla="*/ 2169778 h 15152939"/>
                <a:gd name="connsiteX64" fmla="*/ 16556232 w 27542354"/>
                <a:gd name="connsiteY64" fmla="*/ 2260200 h 15152939"/>
                <a:gd name="connsiteX65" fmla="*/ 16863663 w 27542354"/>
                <a:gd name="connsiteY65" fmla="*/ 1744834 h 15152939"/>
                <a:gd name="connsiteX66" fmla="*/ 17406193 w 27542354"/>
                <a:gd name="connsiteY66" fmla="*/ 1410312 h 15152939"/>
                <a:gd name="connsiteX67" fmla="*/ 17623203 w 27542354"/>
                <a:gd name="connsiteY67" fmla="*/ 867840 h 15152939"/>
                <a:gd name="connsiteX68" fmla="*/ 18120524 w 27542354"/>
                <a:gd name="connsiteY68" fmla="*/ 831675 h 15152939"/>
                <a:gd name="connsiteX69" fmla="*/ 18201903 w 27542354"/>
                <a:gd name="connsiteY69" fmla="*/ 542358 h 15152939"/>
                <a:gd name="connsiteX70" fmla="*/ 18744437 w 27542354"/>
                <a:gd name="connsiteY70" fmla="*/ 117414 h 15152939"/>
                <a:gd name="connsiteX71" fmla="*/ 19443290 w 27542354"/>
                <a:gd name="connsiteY71" fmla="*/ 0 h 15152939"/>
                <a:gd name="connsiteX72" fmla="*/ 19982300 w 27542354"/>
                <a:gd name="connsiteY72" fmla="*/ 460880 h 15152939"/>
                <a:gd name="connsiteX73" fmla="*/ 19530143 w 27542354"/>
                <a:gd name="connsiteY73" fmla="*/ 913038 h 15152939"/>
                <a:gd name="connsiteX74" fmla="*/ 19837609 w 27542354"/>
                <a:gd name="connsiteY74" fmla="*/ 1238588 h 15152939"/>
                <a:gd name="connsiteX75" fmla="*/ 20886614 w 27542354"/>
                <a:gd name="connsiteY75" fmla="*/ 1546055 h 15152939"/>
                <a:gd name="connsiteX76" fmla="*/ 21881359 w 27542354"/>
                <a:gd name="connsiteY76" fmla="*/ 1889694 h 15152939"/>
                <a:gd name="connsiteX77" fmla="*/ 21772837 w 27542354"/>
                <a:gd name="connsiteY77" fmla="*/ 2269505 h 15152939"/>
                <a:gd name="connsiteX78" fmla="*/ 21537712 w 27542354"/>
                <a:gd name="connsiteY78" fmla="*/ 2884438 h 15152939"/>
                <a:gd name="connsiteX79" fmla="*/ 21996067 w 27542354"/>
                <a:gd name="connsiteY79" fmla="*/ 2911656 h 15152939"/>
                <a:gd name="connsiteX80" fmla="*/ 22478203 w 27542354"/>
                <a:gd name="connsiteY80" fmla="*/ 2414189 h 15152939"/>
                <a:gd name="connsiteX81" fmla="*/ 23292084 w 27542354"/>
                <a:gd name="connsiteY81" fmla="*/ 2016293 h 15152939"/>
                <a:gd name="connsiteX82" fmla="*/ 23888932 w 27542354"/>
                <a:gd name="connsiteY82" fmla="*/ 1998212 h 15152939"/>
                <a:gd name="connsiteX83" fmla="*/ 24612383 w 27542354"/>
                <a:gd name="connsiteY83" fmla="*/ 1582227 h 15152939"/>
                <a:gd name="connsiteX84" fmla="*/ 25010275 w 27542354"/>
                <a:gd name="connsiteY84" fmla="*/ 695990 h 15152939"/>
                <a:gd name="connsiteX85" fmla="*/ 25769899 w 27542354"/>
                <a:gd name="connsiteY85" fmla="*/ 840685 h 15152939"/>
                <a:gd name="connsiteX86" fmla="*/ 26402920 w 27542354"/>
                <a:gd name="connsiteY86" fmla="*/ 876857 h 15152939"/>
                <a:gd name="connsiteX87" fmla="*/ 26240141 w 27542354"/>
                <a:gd name="connsiteY87" fmla="*/ 1491794 h 15152939"/>
                <a:gd name="connsiteX88" fmla="*/ 26554742 w 27542354"/>
                <a:gd name="connsiteY88" fmla="*/ 2052454 h 15152939"/>
                <a:gd name="connsiteX89" fmla="*/ 25679461 w 27542354"/>
                <a:gd name="connsiteY89" fmla="*/ 2775920 h 15152939"/>
                <a:gd name="connsiteX90" fmla="*/ 25751806 w 27542354"/>
                <a:gd name="connsiteY90" fmla="*/ 3806840 h 15152939"/>
                <a:gd name="connsiteX91" fmla="*/ 26157237 w 27542354"/>
                <a:gd name="connsiteY91"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023104 w 27542354"/>
                <a:gd name="connsiteY6" fmla="*/ 7478344 h 15152939"/>
                <a:gd name="connsiteX7" fmla="*/ 26619948 w 27542354"/>
                <a:gd name="connsiteY7" fmla="*/ 7840060 h 15152939"/>
                <a:gd name="connsiteX8" fmla="*/ 26312478 w 27542354"/>
                <a:gd name="connsiteY8" fmla="*/ 9666777 h 15152939"/>
                <a:gd name="connsiteX9" fmla="*/ 26402912 w 27542354"/>
                <a:gd name="connsiteY9" fmla="*/ 10643437 h 15152939"/>
                <a:gd name="connsiteX10" fmla="*/ 27542355 w 27542354"/>
                <a:gd name="connsiteY10" fmla="*/ 12005935 h 15152939"/>
                <a:gd name="connsiteX11" fmla="*/ 26089423 w 27542354"/>
                <a:gd name="connsiteY11" fmla="*/ 11975789 h 15152939"/>
                <a:gd name="connsiteX12" fmla="*/ 24473715 w 27542354"/>
                <a:gd name="connsiteY12" fmla="*/ 12090334 h 15152939"/>
                <a:gd name="connsiteX13" fmla="*/ 23135328 w 27542354"/>
                <a:gd name="connsiteY13" fmla="*/ 12222964 h 15152939"/>
                <a:gd name="connsiteX14" fmla="*/ 22261159 w 27542354"/>
                <a:gd name="connsiteY14" fmla="*/ 12934357 h 15152939"/>
                <a:gd name="connsiteX15" fmla="*/ 20826342 w 27542354"/>
                <a:gd name="connsiteY15" fmla="*/ 14369204 h 15152939"/>
                <a:gd name="connsiteX16" fmla="*/ 12952786 w 27542354"/>
                <a:gd name="connsiteY16" fmla="*/ 14960014 h 15152939"/>
                <a:gd name="connsiteX17" fmla="*/ 11934663 w 27542354"/>
                <a:gd name="connsiteY17" fmla="*/ 15008264 h 15152939"/>
                <a:gd name="connsiteX18" fmla="*/ 8506848 w 27542354"/>
                <a:gd name="connsiteY18" fmla="*/ 15152939 h 15152939"/>
                <a:gd name="connsiteX19" fmla="*/ 7985095 w 27542354"/>
                <a:gd name="connsiteY19" fmla="*/ 14507857 h 15152939"/>
                <a:gd name="connsiteX20" fmla="*/ 7400308 w 27542354"/>
                <a:gd name="connsiteY20" fmla="*/ 14477712 h 15152939"/>
                <a:gd name="connsiteX21" fmla="*/ 6972273 w 27542354"/>
                <a:gd name="connsiteY21" fmla="*/ 14749009 h 15152939"/>
                <a:gd name="connsiteX22" fmla="*/ 5181729 w 27542354"/>
                <a:gd name="connsiteY22" fmla="*/ 14664610 h 15152939"/>
                <a:gd name="connsiteX23" fmla="*/ 4397998 w 27542354"/>
                <a:gd name="connsiteY23" fmla="*/ 14031593 h 15152939"/>
                <a:gd name="connsiteX24" fmla="*/ 2908896 w 27542354"/>
                <a:gd name="connsiteY24" fmla="*/ 13223739 h 15152939"/>
                <a:gd name="connsiteX25" fmla="*/ 1263043 w 27542354"/>
                <a:gd name="connsiteY25" fmla="*/ 12512346 h 15152939"/>
                <a:gd name="connsiteX26" fmla="*/ 485320 w 27542354"/>
                <a:gd name="connsiteY26" fmla="*/ 12060189 h 15152939"/>
                <a:gd name="connsiteX27" fmla="*/ 0 w 27542354"/>
                <a:gd name="connsiteY27" fmla="*/ 11767077 h 15152939"/>
                <a:gd name="connsiteX28" fmla="*/ 1003686 w 27542354"/>
                <a:gd name="connsiteY28" fmla="*/ 11021112 h 15152939"/>
                <a:gd name="connsiteX29" fmla="*/ 2902551 w 27542354"/>
                <a:gd name="connsiteY29" fmla="*/ 9836713 h 15152939"/>
                <a:gd name="connsiteX30" fmla="*/ 2558940 w 27542354"/>
                <a:gd name="connsiteY30" fmla="*/ 9303282 h 15152939"/>
                <a:gd name="connsiteX31" fmla="*/ 2402508 w 27542354"/>
                <a:gd name="connsiteY31" fmla="*/ 8616199 h 15152939"/>
                <a:gd name="connsiteX32" fmla="*/ 2730740 w 27542354"/>
                <a:gd name="connsiteY32" fmla="*/ 8589028 h 15152939"/>
                <a:gd name="connsiteX33" fmla="*/ 2947754 w 27542354"/>
                <a:gd name="connsiteY33" fmla="*/ 8118883 h 15152939"/>
                <a:gd name="connsiteX34" fmla="*/ 3499325 w 27542354"/>
                <a:gd name="connsiteY34" fmla="*/ 7675866 h 15152939"/>
                <a:gd name="connsiteX35" fmla="*/ 3680166 w 27542354"/>
                <a:gd name="connsiteY35" fmla="*/ 6798868 h 15152939"/>
                <a:gd name="connsiteX36" fmla="*/ 4186528 w 27542354"/>
                <a:gd name="connsiteY36" fmla="*/ 6807904 h 15152939"/>
                <a:gd name="connsiteX37" fmla="*/ 4837569 w 27542354"/>
                <a:gd name="connsiteY37" fmla="*/ 7278054 h 15152939"/>
                <a:gd name="connsiteX38" fmla="*/ 5352976 w 27542354"/>
                <a:gd name="connsiteY38" fmla="*/ 7196687 h 15152939"/>
                <a:gd name="connsiteX39" fmla="*/ 5741786 w 27542354"/>
                <a:gd name="connsiteY39" fmla="*/ 6825992 h 15152939"/>
                <a:gd name="connsiteX40" fmla="*/ 6157723 w 27542354"/>
                <a:gd name="connsiteY40" fmla="*/ 6663251 h 15152939"/>
                <a:gd name="connsiteX41" fmla="*/ 6745471 w 27542354"/>
                <a:gd name="connsiteY41" fmla="*/ 6093658 h 15152939"/>
                <a:gd name="connsiteX42" fmla="*/ 6890140 w 27542354"/>
                <a:gd name="connsiteY42" fmla="*/ 5243782 h 15152939"/>
                <a:gd name="connsiteX43" fmla="*/ 7568305 w 27542354"/>
                <a:gd name="connsiteY43" fmla="*/ 4674188 h 15152939"/>
                <a:gd name="connsiteX44" fmla="*/ 8137967 w 27542354"/>
                <a:gd name="connsiteY44" fmla="*/ 4231167 h 15152939"/>
                <a:gd name="connsiteX45" fmla="*/ 8463480 w 27542354"/>
                <a:gd name="connsiteY45" fmla="*/ 3426500 h 15152939"/>
                <a:gd name="connsiteX46" fmla="*/ 9024093 w 27542354"/>
                <a:gd name="connsiteY46" fmla="*/ 3073893 h 15152939"/>
                <a:gd name="connsiteX47" fmla="*/ 9675138 w 27542354"/>
                <a:gd name="connsiteY47" fmla="*/ 2721291 h 15152939"/>
                <a:gd name="connsiteX48" fmla="*/ 9558580 w 27542354"/>
                <a:gd name="connsiteY48" fmla="*/ 2173007 h 15152939"/>
                <a:gd name="connsiteX49" fmla="*/ 10353296 w 27542354"/>
                <a:gd name="connsiteY49" fmla="*/ 1500723 h 15152939"/>
                <a:gd name="connsiteX50" fmla="*/ 10832530 w 27542354"/>
                <a:gd name="connsiteY50" fmla="*/ 1428389 h 15152939"/>
                <a:gd name="connsiteX51" fmla="*/ 11058585 w 27542354"/>
                <a:gd name="connsiteY51" fmla="*/ 1880458 h 15152939"/>
                <a:gd name="connsiteX52" fmla="*/ 11411229 w 27542354"/>
                <a:gd name="connsiteY52" fmla="*/ 2260189 h 15152939"/>
                <a:gd name="connsiteX53" fmla="*/ 11998974 w 27542354"/>
                <a:gd name="connsiteY53" fmla="*/ 2341559 h 15152939"/>
                <a:gd name="connsiteX54" fmla="*/ 12315449 w 27542354"/>
                <a:gd name="connsiteY54" fmla="*/ 3001571 h 15152939"/>
                <a:gd name="connsiteX55" fmla="*/ 12785642 w 27542354"/>
                <a:gd name="connsiteY55" fmla="*/ 2820742 h 15152939"/>
                <a:gd name="connsiteX56" fmla="*/ 13671776 w 27542354"/>
                <a:gd name="connsiteY56" fmla="*/ 3272803 h 15152939"/>
                <a:gd name="connsiteX57" fmla="*/ 14123886 w 27542354"/>
                <a:gd name="connsiteY57" fmla="*/ 2974450 h 15152939"/>
                <a:gd name="connsiteX58" fmla="*/ 14259509 w 27542354"/>
                <a:gd name="connsiteY58" fmla="*/ 2404849 h 15152939"/>
                <a:gd name="connsiteX59" fmla="*/ 14892468 w 27542354"/>
                <a:gd name="connsiteY59" fmla="*/ 1762918 h 15152939"/>
                <a:gd name="connsiteX60" fmla="*/ 15778605 w 27542354"/>
                <a:gd name="connsiteY60" fmla="*/ 1211398 h 15152939"/>
                <a:gd name="connsiteX61" fmla="*/ 16022739 w 27542354"/>
                <a:gd name="connsiteY61" fmla="*/ 1681548 h 15152939"/>
                <a:gd name="connsiteX62" fmla="*/ 16013694 w 27542354"/>
                <a:gd name="connsiteY62" fmla="*/ 2169778 h 15152939"/>
                <a:gd name="connsiteX63" fmla="*/ 16556232 w 27542354"/>
                <a:gd name="connsiteY63" fmla="*/ 2260200 h 15152939"/>
                <a:gd name="connsiteX64" fmla="*/ 16863663 w 27542354"/>
                <a:gd name="connsiteY64" fmla="*/ 1744834 h 15152939"/>
                <a:gd name="connsiteX65" fmla="*/ 17406193 w 27542354"/>
                <a:gd name="connsiteY65" fmla="*/ 1410312 h 15152939"/>
                <a:gd name="connsiteX66" fmla="*/ 17623203 w 27542354"/>
                <a:gd name="connsiteY66" fmla="*/ 867840 h 15152939"/>
                <a:gd name="connsiteX67" fmla="*/ 18120524 w 27542354"/>
                <a:gd name="connsiteY67" fmla="*/ 831675 h 15152939"/>
                <a:gd name="connsiteX68" fmla="*/ 18201903 w 27542354"/>
                <a:gd name="connsiteY68" fmla="*/ 542358 h 15152939"/>
                <a:gd name="connsiteX69" fmla="*/ 18744437 w 27542354"/>
                <a:gd name="connsiteY69" fmla="*/ 117414 h 15152939"/>
                <a:gd name="connsiteX70" fmla="*/ 19443290 w 27542354"/>
                <a:gd name="connsiteY70" fmla="*/ 0 h 15152939"/>
                <a:gd name="connsiteX71" fmla="*/ 19982300 w 27542354"/>
                <a:gd name="connsiteY71" fmla="*/ 460880 h 15152939"/>
                <a:gd name="connsiteX72" fmla="*/ 19530143 w 27542354"/>
                <a:gd name="connsiteY72" fmla="*/ 913038 h 15152939"/>
                <a:gd name="connsiteX73" fmla="*/ 19837609 w 27542354"/>
                <a:gd name="connsiteY73" fmla="*/ 1238588 h 15152939"/>
                <a:gd name="connsiteX74" fmla="*/ 20886614 w 27542354"/>
                <a:gd name="connsiteY74" fmla="*/ 1546055 h 15152939"/>
                <a:gd name="connsiteX75" fmla="*/ 21881359 w 27542354"/>
                <a:gd name="connsiteY75" fmla="*/ 1889694 h 15152939"/>
                <a:gd name="connsiteX76" fmla="*/ 21772837 w 27542354"/>
                <a:gd name="connsiteY76" fmla="*/ 2269505 h 15152939"/>
                <a:gd name="connsiteX77" fmla="*/ 21537712 w 27542354"/>
                <a:gd name="connsiteY77" fmla="*/ 2884438 h 15152939"/>
                <a:gd name="connsiteX78" fmla="*/ 21996067 w 27542354"/>
                <a:gd name="connsiteY78" fmla="*/ 2911656 h 15152939"/>
                <a:gd name="connsiteX79" fmla="*/ 22478203 w 27542354"/>
                <a:gd name="connsiteY79" fmla="*/ 2414189 h 15152939"/>
                <a:gd name="connsiteX80" fmla="*/ 23292084 w 27542354"/>
                <a:gd name="connsiteY80" fmla="*/ 2016293 h 15152939"/>
                <a:gd name="connsiteX81" fmla="*/ 23888932 w 27542354"/>
                <a:gd name="connsiteY81" fmla="*/ 1998212 h 15152939"/>
                <a:gd name="connsiteX82" fmla="*/ 24612383 w 27542354"/>
                <a:gd name="connsiteY82" fmla="*/ 1582227 h 15152939"/>
                <a:gd name="connsiteX83" fmla="*/ 25010275 w 27542354"/>
                <a:gd name="connsiteY83" fmla="*/ 695990 h 15152939"/>
                <a:gd name="connsiteX84" fmla="*/ 25769899 w 27542354"/>
                <a:gd name="connsiteY84" fmla="*/ 840685 h 15152939"/>
                <a:gd name="connsiteX85" fmla="*/ 26402920 w 27542354"/>
                <a:gd name="connsiteY85" fmla="*/ 876857 h 15152939"/>
                <a:gd name="connsiteX86" fmla="*/ 26240141 w 27542354"/>
                <a:gd name="connsiteY86" fmla="*/ 1491794 h 15152939"/>
                <a:gd name="connsiteX87" fmla="*/ 26554742 w 27542354"/>
                <a:gd name="connsiteY87" fmla="*/ 2052454 h 15152939"/>
                <a:gd name="connsiteX88" fmla="*/ 25679461 w 27542354"/>
                <a:gd name="connsiteY88" fmla="*/ 2775920 h 15152939"/>
                <a:gd name="connsiteX89" fmla="*/ 25751806 w 27542354"/>
                <a:gd name="connsiteY89" fmla="*/ 3806840 h 15152939"/>
                <a:gd name="connsiteX90" fmla="*/ 26157237 w 27542354"/>
                <a:gd name="connsiteY90"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619948 w 27542354"/>
                <a:gd name="connsiteY6" fmla="*/ 7840060 h 15152939"/>
                <a:gd name="connsiteX7" fmla="*/ 26312478 w 27542354"/>
                <a:gd name="connsiteY7" fmla="*/ 9666777 h 15152939"/>
                <a:gd name="connsiteX8" fmla="*/ 26402912 w 27542354"/>
                <a:gd name="connsiteY8" fmla="*/ 10643437 h 15152939"/>
                <a:gd name="connsiteX9" fmla="*/ 27542355 w 27542354"/>
                <a:gd name="connsiteY9" fmla="*/ 12005935 h 15152939"/>
                <a:gd name="connsiteX10" fmla="*/ 26089423 w 27542354"/>
                <a:gd name="connsiteY10" fmla="*/ 11975789 h 15152939"/>
                <a:gd name="connsiteX11" fmla="*/ 24473715 w 27542354"/>
                <a:gd name="connsiteY11" fmla="*/ 12090334 h 15152939"/>
                <a:gd name="connsiteX12" fmla="*/ 23135328 w 27542354"/>
                <a:gd name="connsiteY12" fmla="*/ 12222964 h 15152939"/>
                <a:gd name="connsiteX13" fmla="*/ 22261159 w 27542354"/>
                <a:gd name="connsiteY13" fmla="*/ 12934357 h 15152939"/>
                <a:gd name="connsiteX14" fmla="*/ 20826342 w 27542354"/>
                <a:gd name="connsiteY14" fmla="*/ 14369204 h 15152939"/>
                <a:gd name="connsiteX15" fmla="*/ 12952786 w 27542354"/>
                <a:gd name="connsiteY15" fmla="*/ 14960014 h 15152939"/>
                <a:gd name="connsiteX16" fmla="*/ 11934663 w 27542354"/>
                <a:gd name="connsiteY16" fmla="*/ 15008264 h 15152939"/>
                <a:gd name="connsiteX17" fmla="*/ 8506848 w 27542354"/>
                <a:gd name="connsiteY17" fmla="*/ 15152939 h 15152939"/>
                <a:gd name="connsiteX18" fmla="*/ 7985095 w 27542354"/>
                <a:gd name="connsiteY18" fmla="*/ 14507857 h 15152939"/>
                <a:gd name="connsiteX19" fmla="*/ 7400308 w 27542354"/>
                <a:gd name="connsiteY19" fmla="*/ 14477712 h 15152939"/>
                <a:gd name="connsiteX20" fmla="*/ 6972273 w 27542354"/>
                <a:gd name="connsiteY20" fmla="*/ 14749009 h 15152939"/>
                <a:gd name="connsiteX21" fmla="*/ 5181729 w 27542354"/>
                <a:gd name="connsiteY21" fmla="*/ 14664610 h 15152939"/>
                <a:gd name="connsiteX22" fmla="*/ 4397998 w 27542354"/>
                <a:gd name="connsiteY22" fmla="*/ 14031593 h 15152939"/>
                <a:gd name="connsiteX23" fmla="*/ 2908896 w 27542354"/>
                <a:gd name="connsiteY23" fmla="*/ 13223739 h 15152939"/>
                <a:gd name="connsiteX24" fmla="*/ 1263043 w 27542354"/>
                <a:gd name="connsiteY24" fmla="*/ 12512346 h 15152939"/>
                <a:gd name="connsiteX25" fmla="*/ 485320 w 27542354"/>
                <a:gd name="connsiteY25" fmla="*/ 12060189 h 15152939"/>
                <a:gd name="connsiteX26" fmla="*/ 0 w 27542354"/>
                <a:gd name="connsiteY26" fmla="*/ 11767077 h 15152939"/>
                <a:gd name="connsiteX27" fmla="*/ 1003686 w 27542354"/>
                <a:gd name="connsiteY27" fmla="*/ 11021112 h 15152939"/>
                <a:gd name="connsiteX28" fmla="*/ 2902551 w 27542354"/>
                <a:gd name="connsiteY28" fmla="*/ 9836713 h 15152939"/>
                <a:gd name="connsiteX29" fmla="*/ 2558940 w 27542354"/>
                <a:gd name="connsiteY29" fmla="*/ 9303282 h 15152939"/>
                <a:gd name="connsiteX30" fmla="*/ 2402508 w 27542354"/>
                <a:gd name="connsiteY30" fmla="*/ 8616199 h 15152939"/>
                <a:gd name="connsiteX31" fmla="*/ 2730740 w 27542354"/>
                <a:gd name="connsiteY31" fmla="*/ 8589028 h 15152939"/>
                <a:gd name="connsiteX32" fmla="*/ 2947754 w 27542354"/>
                <a:gd name="connsiteY32" fmla="*/ 8118883 h 15152939"/>
                <a:gd name="connsiteX33" fmla="*/ 3499325 w 27542354"/>
                <a:gd name="connsiteY33" fmla="*/ 7675866 h 15152939"/>
                <a:gd name="connsiteX34" fmla="*/ 3680166 w 27542354"/>
                <a:gd name="connsiteY34" fmla="*/ 6798868 h 15152939"/>
                <a:gd name="connsiteX35" fmla="*/ 4186528 w 27542354"/>
                <a:gd name="connsiteY35" fmla="*/ 6807904 h 15152939"/>
                <a:gd name="connsiteX36" fmla="*/ 4837569 w 27542354"/>
                <a:gd name="connsiteY36" fmla="*/ 7278054 h 15152939"/>
                <a:gd name="connsiteX37" fmla="*/ 5352976 w 27542354"/>
                <a:gd name="connsiteY37" fmla="*/ 7196687 h 15152939"/>
                <a:gd name="connsiteX38" fmla="*/ 5741786 w 27542354"/>
                <a:gd name="connsiteY38" fmla="*/ 6825992 h 15152939"/>
                <a:gd name="connsiteX39" fmla="*/ 6157723 w 27542354"/>
                <a:gd name="connsiteY39" fmla="*/ 6663251 h 15152939"/>
                <a:gd name="connsiteX40" fmla="*/ 6745471 w 27542354"/>
                <a:gd name="connsiteY40" fmla="*/ 6093658 h 15152939"/>
                <a:gd name="connsiteX41" fmla="*/ 6890140 w 27542354"/>
                <a:gd name="connsiteY41" fmla="*/ 5243782 h 15152939"/>
                <a:gd name="connsiteX42" fmla="*/ 7568305 w 27542354"/>
                <a:gd name="connsiteY42" fmla="*/ 4674188 h 15152939"/>
                <a:gd name="connsiteX43" fmla="*/ 8137967 w 27542354"/>
                <a:gd name="connsiteY43" fmla="*/ 4231167 h 15152939"/>
                <a:gd name="connsiteX44" fmla="*/ 8463480 w 27542354"/>
                <a:gd name="connsiteY44" fmla="*/ 3426500 h 15152939"/>
                <a:gd name="connsiteX45" fmla="*/ 9024093 w 27542354"/>
                <a:gd name="connsiteY45" fmla="*/ 3073893 h 15152939"/>
                <a:gd name="connsiteX46" fmla="*/ 9675138 w 27542354"/>
                <a:gd name="connsiteY46" fmla="*/ 2721291 h 15152939"/>
                <a:gd name="connsiteX47" fmla="*/ 9558580 w 27542354"/>
                <a:gd name="connsiteY47" fmla="*/ 2173007 h 15152939"/>
                <a:gd name="connsiteX48" fmla="*/ 10353296 w 27542354"/>
                <a:gd name="connsiteY48" fmla="*/ 1500723 h 15152939"/>
                <a:gd name="connsiteX49" fmla="*/ 10832530 w 27542354"/>
                <a:gd name="connsiteY49" fmla="*/ 1428389 h 15152939"/>
                <a:gd name="connsiteX50" fmla="*/ 11058585 w 27542354"/>
                <a:gd name="connsiteY50" fmla="*/ 1880458 h 15152939"/>
                <a:gd name="connsiteX51" fmla="*/ 11411229 w 27542354"/>
                <a:gd name="connsiteY51" fmla="*/ 2260189 h 15152939"/>
                <a:gd name="connsiteX52" fmla="*/ 11998974 w 27542354"/>
                <a:gd name="connsiteY52" fmla="*/ 2341559 h 15152939"/>
                <a:gd name="connsiteX53" fmla="*/ 12315449 w 27542354"/>
                <a:gd name="connsiteY53" fmla="*/ 3001571 h 15152939"/>
                <a:gd name="connsiteX54" fmla="*/ 12785642 w 27542354"/>
                <a:gd name="connsiteY54" fmla="*/ 2820742 h 15152939"/>
                <a:gd name="connsiteX55" fmla="*/ 13671776 w 27542354"/>
                <a:gd name="connsiteY55" fmla="*/ 3272803 h 15152939"/>
                <a:gd name="connsiteX56" fmla="*/ 14123886 w 27542354"/>
                <a:gd name="connsiteY56" fmla="*/ 2974450 h 15152939"/>
                <a:gd name="connsiteX57" fmla="*/ 14259509 w 27542354"/>
                <a:gd name="connsiteY57" fmla="*/ 2404849 h 15152939"/>
                <a:gd name="connsiteX58" fmla="*/ 14892468 w 27542354"/>
                <a:gd name="connsiteY58" fmla="*/ 1762918 h 15152939"/>
                <a:gd name="connsiteX59" fmla="*/ 15778605 w 27542354"/>
                <a:gd name="connsiteY59" fmla="*/ 1211398 h 15152939"/>
                <a:gd name="connsiteX60" fmla="*/ 16022739 w 27542354"/>
                <a:gd name="connsiteY60" fmla="*/ 1681548 h 15152939"/>
                <a:gd name="connsiteX61" fmla="*/ 16013694 w 27542354"/>
                <a:gd name="connsiteY61" fmla="*/ 2169778 h 15152939"/>
                <a:gd name="connsiteX62" fmla="*/ 16556232 w 27542354"/>
                <a:gd name="connsiteY62" fmla="*/ 2260200 h 15152939"/>
                <a:gd name="connsiteX63" fmla="*/ 16863663 w 27542354"/>
                <a:gd name="connsiteY63" fmla="*/ 1744834 h 15152939"/>
                <a:gd name="connsiteX64" fmla="*/ 17406193 w 27542354"/>
                <a:gd name="connsiteY64" fmla="*/ 1410312 h 15152939"/>
                <a:gd name="connsiteX65" fmla="*/ 17623203 w 27542354"/>
                <a:gd name="connsiteY65" fmla="*/ 867840 h 15152939"/>
                <a:gd name="connsiteX66" fmla="*/ 18120524 w 27542354"/>
                <a:gd name="connsiteY66" fmla="*/ 831675 h 15152939"/>
                <a:gd name="connsiteX67" fmla="*/ 18201903 w 27542354"/>
                <a:gd name="connsiteY67" fmla="*/ 542358 h 15152939"/>
                <a:gd name="connsiteX68" fmla="*/ 18744437 w 27542354"/>
                <a:gd name="connsiteY68" fmla="*/ 117414 h 15152939"/>
                <a:gd name="connsiteX69" fmla="*/ 19443290 w 27542354"/>
                <a:gd name="connsiteY69" fmla="*/ 0 h 15152939"/>
                <a:gd name="connsiteX70" fmla="*/ 19982300 w 27542354"/>
                <a:gd name="connsiteY70" fmla="*/ 460880 h 15152939"/>
                <a:gd name="connsiteX71" fmla="*/ 19530143 w 27542354"/>
                <a:gd name="connsiteY71" fmla="*/ 913038 h 15152939"/>
                <a:gd name="connsiteX72" fmla="*/ 19837609 w 27542354"/>
                <a:gd name="connsiteY72" fmla="*/ 1238588 h 15152939"/>
                <a:gd name="connsiteX73" fmla="*/ 20886614 w 27542354"/>
                <a:gd name="connsiteY73" fmla="*/ 1546055 h 15152939"/>
                <a:gd name="connsiteX74" fmla="*/ 21881359 w 27542354"/>
                <a:gd name="connsiteY74" fmla="*/ 1889694 h 15152939"/>
                <a:gd name="connsiteX75" fmla="*/ 21772837 w 27542354"/>
                <a:gd name="connsiteY75" fmla="*/ 2269505 h 15152939"/>
                <a:gd name="connsiteX76" fmla="*/ 21537712 w 27542354"/>
                <a:gd name="connsiteY76" fmla="*/ 2884438 h 15152939"/>
                <a:gd name="connsiteX77" fmla="*/ 21996067 w 27542354"/>
                <a:gd name="connsiteY77" fmla="*/ 2911656 h 15152939"/>
                <a:gd name="connsiteX78" fmla="*/ 22478203 w 27542354"/>
                <a:gd name="connsiteY78" fmla="*/ 2414189 h 15152939"/>
                <a:gd name="connsiteX79" fmla="*/ 23292084 w 27542354"/>
                <a:gd name="connsiteY79" fmla="*/ 2016293 h 15152939"/>
                <a:gd name="connsiteX80" fmla="*/ 23888932 w 27542354"/>
                <a:gd name="connsiteY80" fmla="*/ 1998212 h 15152939"/>
                <a:gd name="connsiteX81" fmla="*/ 24612383 w 27542354"/>
                <a:gd name="connsiteY81" fmla="*/ 1582227 h 15152939"/>
                <a:gd name="connsiteX82" fmla="*/ 25010275 w 27542354"/>
                <a:gd name="connsiteY82" fmla="*/ 695990 h 15152939"/>
                <a:gd name="connsiteX83" fmla="*/ 25769899 w 27542354"/>
                <a:gd name="connsiteY83" fmla="*/ 840685 h 15152939"/>
                <a:gd name="connsiteX84" fmla="*/ 26402920 w 27542354"/>
                <a:gd name="connsiteY84" fmla="*/ 876857 h 15152939"/>
                <a:gd name="connsiteX85" fmla="*/ 26240141 w 27542354"/>
                <a:gd name="connsiteY85" fmla="*/ 1491794 h 15152939"/>
                <a:gd name="connsiteX86" fmla="*/ 26554742 w 27542354"/>
                <a:gd name="connsiteY86" fmla="*/ 2052454 h 15152939"/>
                <a:gd name="connsiteX87" fmla="*/ 25679461 w 27542354"/>
                <a:gd name="connsiteY87" fmla="*/ 2775920 h 15152939"/>
                <a:gd name="connsiteX88" fmla="*/ 25751806 w 27542354"/>
                <a:gd name="connsiteY88" fmla="*/ 3806840 h 15152939"/>
                <a:gd name="connsiteX89" fmla="*/ 26157237 w 27542354"/>
                <a:gd name="connsiteY89"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5824148 w 27542354"/>
                <a:gd name="connsiteY4" fmla="*/ 6827228 h 15152939"/>
                <a:gd name="connsiteX5" fmla="*/ 26619948 w 27542354"/>
                <a:gd name="connsiteY5" fmla="*/ 7840060 h 15152939"/>
                <a:gd name="connsiteX6" fmla="*/ 26312478 w 27542354"/>
                <a:gd name="connsiteY6" fmla="*/ 9666777 h 15152939"/>
                <a:gd name="connsiteX7" fmla="*/ 26402912 w 27542354"/>
                <a:gd name="connsiteY7" fmla="*/ 10643437 h 15152939"/>
                <a:gd name="connsiteX8" fmla="*/ 27542355 w 27542354"/>
                <a:gd name="connsiteY8" fmla="*/ 12005935 h 15152939"/>
                <a:gd name="connsiteX9" fmla="*/ 26089423 w 27542354"/>
                <a:gd name="connsiteY9" fmla="*/ 11975789 h 15152939"/>
                <a:gd name="connsiteX10" fmla="*/ 24473715 w 27542354"/>
                <a:gd name="connsiteY10" fmla="*/ 12090334 h 15152939"/>
                <a:gd name="connsiteX11" fmla="*/ 23135328 w 27542354"/>
                <a:gd name="connsiteY11" fmla="*/ 12222964 h 15152939"/>
                <a:gd name="connsiteX12" fmla="*/ 22261159 w 27542354"/>
                <a:gd name="connsiteY12" fmla="*/ 12934357 h 15152939"/>
                <a:gd name="connsiteX13" fmla="*/ 20826342 w 27542354"/>
                <a:gd name="connsiteY13" fmla="*/ 14369204 h 15152939"/>
                <a:gd name="connsiteX14" fmla="*/ 12952786 w 27542354"/>
                <a:gd name="connsiteY14" fmla="*/ 14960014 h 15152939"/>
                <a:gd name="connsiteX15" fmla="*/ 11934663 w 27542354"/>
                <a:gd name="connsiteY15" fmla="*/ 15008264 h 15152939"/>
                <a:gd name="connsiteX16" fmla="*/ 8506848 w 27542354"/>
                <a:gd name="connsiteY16" fmla="*/ 15152939 h 15152939"/>
                <a:gd name="connsiteX17" fmla="*/ 7985095 w 27542354"/>
                <a:gd name="connsiteY17" fmla="*/ 14507857 h 15152939"/>
                <a:gd name="connsiteX18" fmla="*/ 7400308 w 27542354"/>
                <a:gd name="connsiteY18" fmla="*/ 14477712 h 15152939"/>
                <a:gd name="connsiteX19" fmla="*/ 6972273 w 27542354"/>
                <a:gd name="connsiteY19" fmla="*/ 14749009 h 15152939"/>
                <a:gd name="connsiteX20" fmla="*/ 5181729 w 27542354"/>
                <a:gd name="connsiteY20" fmla="*/ 14664610 h 15152939"/>
                <a:gd name="connsiteX21" fmla="*/ 4397998 w 27542354"/>
                <a:gd name="connsiteY21" fmla="*/ 14031593 h 15152939"/>
                <a:gd name="connsiteX22" fmla="*/ 2908896 w 27542354"/>
                <a:gd name="connsiteY22" fmla="*/ 13223739 h 15152939"/>
                <a:gd name="connsiteX23" fmla="*/ 1263043 w 27542354"/>
                <a:gd name="connsiteY23" fmla="*/ 12512346 h 15152939"/>
                <a:gd name="connsiteX24" fmla="*/ 485320 w 27542354"/>
                <a:gd name="connsiteY24" fmla="*/ 12060189 h 15152939"/>
                <a:gd name="connsiteX25" fmla="*/ 0 w 27542354"/>
                <a:gd name="connsiteY25" fmla="*/ 11767077 h 15152939"/>
                <a:gd name="connsiteX26" fmla="*/ 1003686 w 27542354"/>
                <a:gd name="connsiteY26" fmla="*/ 11021112 h 15152939"/>
                <a:gd name="connsiteX27" fmla="*/ 2902551 w 27542354"/>
                <a:gd name="connsiteY27" fmla="*/ 9836713 h 15152939"/>
                <a:gd name="connsiteX28" fmla="*/ 2558940 w 27542354"/>
                <a:gd name="connsiteY28" fmla="*/ 9303282 h 15152939"/>
                <a:gd name="connsiteX29" fmla="*/ 2402508 w 27542354"/>
                <a:gd name="connsiteY29" fmla="*/ 8616199 h 15152939"/>
                <a:gd name="connsiteX30" fmla="*/ 2730740 w 27542354"/>
                <a:gd name="connsiteY30" fmla="*/ 8589028 h 15152939"/>
                <a:gd name="connsiteX31" fmla="*/ 2947754 w 27542354"/>
                <a:gd name="connsiteY31" fmla="*/ 8118883 h 15152939"/>
                <a:gd name="connsiteX32" fmla="*/ 3499325 w 27542354"/>
                <a:gd name="connsiteY32" fmla="*/ 7675866 h 15152939"/>
                <a:gd name="connsiteX33" fmla="*/ 3680166 w 27542354"/>
                <a:gd name="connsiteY33" fmla="*/ 6798868 h 15152939"/>
                <a:gd name="connsiteX34" fmla="*/ 4186528 w 27542354"/>
                <a:gd name="connsiteY34" fmla="*/ 6807904 h 15152939"/>
                <a:gd name="connsiteX35" fmla="*/ 4837569 w 27542354"/>
                <a:gd name="connsiteY35" fmla="*/ 7278054 h 15152939"/>
                <a:gd name="connsiteX36" fmla="*/ 5352976 w 27542354"/>
                <a:gd name="connsiteY36" fmla="*/ 7196687 h 15152939"/>
                <a:gd name="connsiteX37" fmla="*/ 5741786 w 27542354"/>
                <a:gd name="connsiteY37" fmla="*/ 6825992 h 15152939"/>
                <a:gd name="connsiteX38" fmla="*/ 6157723 w 27542354"/>
                <a:gd name="connsiteY38" fmla="*/ 6663251 h 15152939"/>
                <a:gd name="connsiteX39" fmla="*/ 6745471 w 27542354"/>
                <a:gd name="connsiteY39" fmla="*/ 6093658 h 15152939"/>
                <a:gd name="connsiteX40" fmla="*/ 6890140 w 27542354"/>
                <a:gd name="connsiteY40" fmla="*/ 5243782 h 15152939"/>
                <a:gd name="connsiteX41" fmla="*/ 7568305 w 27542354"/>
                <a:gd name="connsiteY41" fmla="*/ 4674188 h 15152939"/>
                <a:gd name="connsiteX42" fmla="*/ 8137967 w 27542354"/>
                <a:gd name="connsiteY42" fmla="*/ 4231167 h 15152939"/>
                <a:gd name="connsiteX43" fmla="*/ 8463480 w 27542354"/>
                <a:gd name="connsiteY43" fmla="*/ 3426500 h 15152939"/>
                <a:gd name="connsiteX44" fmla="*/ 9024093 w 27542354"/>
                <a:gd name="connsiteY44" fmla="*/ 3073893 h 15152939"/>
                <a:gd name="connsiteX45" fmla="*/ 9675138 w 27542354"/>
                <a:gd name="connsiteY45" fmla="*/ 2721291 h 15152939"/>
                <a:gd name="connsiteX46" fmla="*/ 9558580 w 27542354"/>
                <a:gd name="connsiteY46" fmla="*/ 2173007 h 15152939"/>
                <a:gd name="connsiteX47" fmla="*/ 10353296 w 27542354"/>
                <a:gd name="connsiteY47" fmla="*/ 1500723 h 15152939"/>
                <a:gd name="connsiteX48" fmla="*/ 10832530 w 27542354"/>
                <a:gd name="connsiteY48" fmla="*/ 1428389 h 15152939"/>
                <a:gd name="connsiteX49" fmla="*/ 11058585 w 27542354"/>
                <a:gd name="connsiteY49" fmla="*/ 1880458 h 15152939"/>
                <a:gd name="connsiteX50" fmla="*/ 11411229 w 27542354"/>
                <a:gd name="connsiteY50" fmla="*/ 2260189 h 15152939"/>
                <a:gd name="connsiteX51" fmla="*/ 11998974 w 27542354"/>
                <a:gd name="connsiteY51" fmla="*/ 2341559 h 15152939"/>
                <a:gd name="connsiteX52" fmla="*/ 12315449 w 27542354"/>
                <a:gd name="connsiteY52" fmla="*/ 3001571 h 15152939"/>
                <a:gd name="connsiteX53" fmla="*/ 12785642 w 27542354"/>
                <a:gd name="connsiteY53" fmla="*/ 2820742 h 15152939"/>
                <a:gd name="connsiteX54" fmla="*/ 13671776 w 27542354"/>
                <a:gd name="connsiteY54" fmla="*/ 3272803 h 15152939"/>
                <a:gd name="connsiteX55" fmla="*/ 14123886 w 27542354"/>
                <a:gd name="connsiteY55" fmla="*/ 2974450 h 15152939"/>
                <a:gd name="connsiteX56" fmla="*/ 14259509 w 27542354"/>
                <a:gd name="connsiteY56" fmla="*/ 2404849 h 15152939"/>
                <a:gd name="connsiteX57" fmla="*/ 14892468 w 27542354"/>
                <a:gd name="connsiteY57" fmla="*/ 1762918 h 15152939"/>
                <a:gd name="connsiteX58" fmla="*/ 15778605 w 27542354"/>
                <a:gd name="connsiteY58" fmla="*/ 1211398 h 15152939"/>
                <a:gd name="connsiteX59" fmla="*/ 16022739 w 27542354"/>
                <a:gd name="connsiteY59" fmla="*/ 1681548 h 15152939"/>
                <a:gd name="connsiteX60" fmla="*/ 16013694 w 27542354"/>
                <a:gd name="connsiteY60" fmla="*/ 2169778 h 15152939"/>
                <a:gd name="connsiteX61" fmla="*/ 16556232 w 27542354"/>
                <a:gd name="connsiteY61" fmla="*/ 2260200 h 15152939"/>
                <a:gd name="connsiteX62" fmla="*/ 16863663 w 27542354"/>
                <a:gd name="connsiteY62" fmla="*/ 1744834 h 15152939"/>
                <a:gd name="connsiteX63" fmla="*/ 17406193 w 27542354"/>
                <a:gd name="connsiteY63" fmla="*/ 1410312 h 15152939"/>
                <a:gd name="connsiteX64" fmla="*/ 17623203 w 27542354"/>
                <a:gd name="connsiteY64" fmla="*/ 867840 h 15152939"/>
                <a:gd name="connsiteX65" fmla="*/ 18120524 w 27542354"/>
                <a:gd name="connsiteY65" fmla="*/ 831675 h 15152939"/>
                <a:gd name="connsiteX66" fmla="*/ 18201903 w 27542354"/>
                <a:gd name="connsiteY66" fmla="*/ 542358 h 15152939"/>
                <a:gd name="connsiteX67" fmla="*/ 18744437 w 27542354"/>
                <a:gd name="connsiteY67" fmla="*/ 117414 h 15152939"/>
                <a:gd name="connsiteX68" fmla="*/ 19443290 w 27542354"/>
                <a:gd name="connsiteY68" fmla="*/ 0 h 15152939"/>
                <a:gd name="connsiteX69" fmla="*/ 19982300 w 27542354"/>
                <a:gd name="connsiteY69" fmla="*/ 460880 h 15152939"/>
                <a:gd name="connsiteX70" fmla="*/ 19530143 w 27542354"/>
                <a:gd name="connsiteY70" fmla="*/ 913038 h 15152939"/>
                <a:gd name="connsiteX71" fmla="*/ 19837609 w 27542354"/>
                <a:gd name="connsiteY71" fmla="*/ 1238588 h 15152939"/>
                <a:gd name="connsiteX72" fmla="*/ 20886614 w 27542354"/>
                <a:gd name="connsiteY72" fmla="*/ 1546055 h 15152939"/>
                <a:gd name="connsiteX73" fmla="*/ 21881359 w 27542354"/>
                <a:gd name="connsiteY73" fmla="*/ 1889694 h 15152939"/>
                <a:gd name="connsiteX74" fmla="*/ 21772837 w 27542354"/>
                <a:gd name="connsiteY74" fmla="*/ 2269505 h 15152939"/>
                <a:gd name="connsiteX75" fmla="*/ 21537712 w 27542354"/>
                <a:gd name="connsiteY75" fmla="*/ 2884438 h 15152939"/>
                <a:gd name="connsiteX76" fmla="*/ 21996067 w 27542354"/>
                <a:gd name="connsiteY76" fmla="*/ 2911656 h 15152939"/>
                <a:gd name="connsiteX77" fmla="*/ 22478203 w 27542354"/>
                <a:gd name="connsiteY77" fmla="*/ 2414189 h 15152939"/>
                <a:gd name="connsiteX78" fmla="*/ 23292084 w 27542354"/>
                <a:gd name="connsiteY78" fmla="*/ 2016293 h 15152939"/>
                <a:gd name="connsiteX79" fmla="*/ 23888932 w 27542354"/>
                <a:gd name="connsiteY79" fmla="*/ 1998212 h 15152939"/>
                <a:gd name="connsiteX80" fmla="*/ 24612383 w 27542354"/>
                <a:gd name="connsiteY80" fmla="*/ 1582227 h 15152939"/>
                <a:gd name="connsiteX81" fmla="*/ 25010275 w 27542354"/>
                <a:gd name="connsiteY81" fmla="*/ 695990 h 15152939"/>
                <a:gd name="connsiteX82" fmla="*/ 25769899 w 27542354"/>
                <a:gd name="connsiteY82" fmla="*/ 840685 h 15152939"/>
                <a:gd name="connsiteX83" fmla="*/ 26402920 w 27542354"/>
                <a:gd name="connsiteY83" fmla="*/ 876857 h 15152939"/>
                <a:gd name="connsiteX84" fmla="*/ 26240141 w 27542354"/>
                <a:gd name="connsiteY84" fmla="*/ 1491794 h 15152939"/>
                <a:gd name="connsiteX85" fmla="*/ 26554742 w 27542354"/>
                <a:gd name="connsiteY85" fmla="*/ 2052454 h 15152939"/>
                <a:gd name="connsiteX86" fmla="*/ 25679461 w 27542354"/>
                <a:gd name="connsiteY86" fmla="*/ 2775920 h 15152939"/>
                <a:gd name="connsiteX87" fmla="*/ 25751806 w 27542354"/>
                <a:gd name="connsiteY87" fmla="*/ 3806840 h 15152939"/>
                <a:gd name="connsiteX88" fmla="*/ 26157237 w 27542354"/>
                <a:gd name="connsiteY88" fmla="*/ 4322377 h 15152939"/>
                <a:gd name="connsiteX0" fmla="*/ 26157237 w 27542354"/>
                <a:gd name="connsiteY0" fmla="*/ 4322377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5769899 w 27542354"/>
                <a:gd name="connsiteY81" fmla="*/ 840685 h 15152939"/>
                <a:gd name="connsiteX82" fmla="*/ 26402920 w 27542354"/>
                <a:gd name="connsiteY82" fmla="*/ 876857 h 15152939"/>
                <a:gd name="connsiteX83" fmla="*/ 26240141 w 27542354"/>
                <a:gd name="connsiteY83" fmla="*/ 1491794 h 15152939"/>
                <a:gd name="connsiteX84" fmla="*/ 26554742 w 27542354"/>
                <a:gd name="connsiteY84" fmla="*/ 2052454 h 15152939"/>
                <a:gd name="connsiteX85" fmla="*/ 25679461 w 27542354"/>
                <a:gd name="connsiteY85" fmla="*/ 2775920 h 15152939"/>
                <a:gd name="connsiteX86" fmla="*/ 25751806 w 27542354"/>
                <a:gd name="connsiteY86" fmla="*/ 3806840 h 15152939"/>
                <a:gd name="connsiteX87" fmla="*/ 26157237 w 27542354"/>
                <a:gd name="connsiteY87" fmla="*/ 4322377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5769899 w 27542354"/>
                <a:gd name="connsiteY81" fmla="*/ 840685 h 15152939"/>
                <a:gd name="connsiteX82" fmla="*/ 26402920 w 27542354"/>
                <a:gd name="connsiteY82" fmla="*/ 876857 h 15152939"/>
                <a:gd name="connsiteX83" fmla="*/ 26240141 w 27542354"/>
                <a:gd name="connsiteY83" fmla="*/ 1491794 h 15152939"/>
                <a:gd name="connsiteX84" fmla="*/ 26554742 w 27542354"/>
                <a:gd name="connsiteY84" fmla="*/ 2052454 h 15152939"/>
                <a:gd name="connsiteX85" fmla="*/ 25679461 w 27542354"/>
                <a:gd name="connsiteY85" fmla="*/ 2775920 h 15152939"/>
                <a:gd name="connsiteX86" fmla="*/ 25751806 w 27542354"/>
                <a:gd name="connsiteY86"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5769899 w 27542354"/>
                <a:gd name="connsiteY81" fmla="*/ 840685 h 15152939"/>
                <a:gd name="connsiteX82" fmla="*/ 26402920 w 27542354"/>
                <a:gd name="connsiteY82" fmla="*/ 876857 h 15152939"/>
                <a:gd name="connsiteX83" fmla="*/ 26240141 w 27542354"/>
                <a:gd name="connsiteY83" fmla="*/ 1491794 h 15152939"/>
                <a:gd name="connsiteX84" fmla="*/ 26554742 w 27542354"/>
                <a:gd name="connsiteY84" fmla="*/ 2052454 h 15152939"/>
                <a:gd name="connsiteX85" fmla="*/ 25751806 w 27542354"/>
                <a:gd name="connsiteY85"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5769899 w 27542354"/>
                <a:gd name="connsiteY81" fmla="*/ 840685 h 15152939"/>
                <a:gd name="connsiteX82" fmla="*/ 26402920 w 27542354"/>
                <a:gd name="connsiteY82" fmla="*/ 876857 h 15152939"/>
                <a:gd name="connsiteX83" fmla="*/ 26554742 w 27542354"/>
                <a:gd name="connsiteY83" fmla="*/ 2052454 h 15152939"/>
                <a:gd name="connsiteX84" fmla="*/ 25751806 w 27542354"/>
                <a:gd name="connsiteY84"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6402920 w 27542354"/>
                <a:gd name="connsiteY81" fmla="*/ 876857 h 15152939"/>
                <a:gd name="connsiteX82" fmla="*/ 26554742 w 27542354"/>
                <a:gd name="connsiteY82" fmla="*/ 2052454 h 15152939"/>
                <a:gd name="connsiteX83" fmla="*/ 25751806 w 27542354"/>
                <a:gd name="connsiteY83"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5010275 w 27542354"/>
                <a:gd name="connsiteY79" fmla="*/ 695990 h 15152939"/>
                <a:gd name="connsiteX80" fmla="*/ 26402920 w 27542354"/>
                <a:gd name="connsiteY80" fmla="*/ 876857 h 15152939"/>
                <a:gd name="connsiteX81" fmla="*/ 26554742 w 27542354"/>
                <a:gd name="connsiteY81" fmla="*/ 2052454 h 15152939"/>
                <a:gd name="connsiteX82" fmla="*/ 25751806 w 27542354"/>
                <a:gd name="connsiteY82"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888932 w 27542354"/>
                <a:gd name="connsiteY77" fmla="*/ 1998212 h 15152939"/>
                <a:gd name="connsiteX78" fmla="*/ 25010275 w 27542354"/>
                <a:gd name="connsiteY78" fmla="*/ 695990 h 15152939"/>
                <a:gd name="connsiteX79" fmla="*/ 26402920 w 27542354"/>
                <a:gd name="connsiteY79" fmla="*/ 876857 h 15152939"/>
                <a:gd name="connsiteX80" fmla="*/ 26554742 w 27542354"/>
                <a:gd name="connsiteY80" fmla="*/ 2052454 h 15152939"/>
                <a:gd name="connsiteX81" fmla="*/ 25751806 w 27542354"/>
                <a:gd name="connsiteY81"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2478203 w 27542354"/>
                <a:gd name="connsiteY75" fmla="*/ 2414189 h 15152939"/>
                <a:gd name="connsiteX76" fmla="*/ 23888932 w 27542354"/>
                <a:gd name="connsiteY76" fmla="*/ 1998212 h 15152939"/>
                <a:gd name="connsiteX77" fmla="*/ 25010275 w 27542354"/>
                <a:gd name="connsiteY77" fmla="*/ 695990 h 15152939"/>
                <a:gd name="connsiteX78" fmla="*/ 26402920 w 27542354"/>
                <a:gd name="connsiteY78" fmla="*/ 876857 h 15152939"/>
                <a:gd name="connsiteX79" fmla="*/ 26554742 w 27542354"/>
                <a:gd name="connsiteY79" fmla="*/ 2052454 h 15152939"/>
                <a:gd name="connsiteX80" fmla="*/ 25751806 w 27542354"/>
                <a:gd name="connsiteY80"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537712 w 27542354"/>
                <a:gd name="connsiteY73" fmla="*/ 2884438 h 15152939"/>
                <a:gd name="connsiteX74" fmla="*/ 22478203 w 27542354"/>
                <a:gd name="connsiteY74" fmla="*/ 2414189 h 15152939"/>
                <a:gd name="connsiteX75" fmla="*/ 23888932 w 27542354"/>
                <a:gd name="connsiteY75" fmla="*/ 1998212 h 15152939"/>
                <a:gd name="connsiteX76" fmla="*/ 25010275 w 27542354"/>
                <a:gd name="connsiteY76" fmla="*/ 695990 h 15152939"/>
                <a:gd name="connsiteX77" fmla="*/ 26402920 w 27542354"/>
                <a:gd name="connsiteY77" fmla="*/ 876857 h 15152939"/>
                <a:gd name="connsiteX78" fmla="*/ 26554742 w 27542354"/>
                <a:gd name="connsiteY78" fmla="*/ 2052454 h 15152939"/>
                <a:gd name="connsiteX79" fmla="*/ 25751806 w 27542354"/>
                <a:gd name="connsiteY79"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1881359 w 27542354"/>
                <a:gd name="connsiteY71" fmla="*/ 1889694 h 15152939"/>
                <a:gd name="connsiteX72" fmla="*/ 21537712 w 27542354"/>
                <a:gd name="connsiteY72" fmla="*/ 2884438 h 15152939"/>
                <a:gd name="connsiteX73" fmla="*/ 22478203 w 27542354"/>
                <a:gd name="connsiteY73" fmla="*/ 2414189 h 15152939"/>
                <a:gd name="connsiteX74" fmla="*/ 23888932 w 27542354"/>
                <a:gd name="connsiteY74" fmla="*/ 1998212 h 15152939"/>
                <a:gd name="connsiteX75" fmla="*/ 25010275 w 27542354"/>
                <a:gd name="connsiteY75" fmla="*/ 695990 h 15152939"/>
                <a:gd name="connsiteX76" fmla="*/ 26402920 w 27542354"/>
                <a:gd name="connsiteY76" fmla="*/ 876857 h 15152939"/>
                <a:gd name="connsiteX77" fmla="*/ 26554742 w 27542354"/>
                <a:gd name="connsiteY77" fmla="*/ 2052454 h 15152939"/>
                <a:gd name="connsiteX78" fmla="*/ 25751806 w 27542354"/>
                <a:gd name="connsiteY78"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837609 w 27542354"/>
                <a:gd name="connsiteY69" fmla="*/ 1238588 h 15152939"/>
                <a:gd name="connsiteX70" fmla="*/ 21881359 w 27542354"/>
                <a:gd name="connsiteY70" fmla="*/ 1889694 h 15152939"/>
                <a:gd name="connsiteX71" fmla="*/ 21537712 w 27542354"/>
                <a:gd name="connsiteY71" fmla="*/ 2884438 h 15152939"/>
                <a:gd name="connsiteX72" fmla="*/ 22478203 w 27542354"/>
                <a:gd name="connsiteY72" fmla="*/ 2414189 h 15152939"/>
                <a:gd name="connsiteX73" fmla="*/ 23888932 w 27542354"/>
                <a:gd name="connsiteY73" fmla="*/ 1998212 h 15152939"/>
                <a:gd name="connsiteX74" fmla="*/ 25010275 w 27542354"/>
                <a:gd name="connsiteY74" fmla="*/ 695990 h 15152939"/>
                <a:gd name="connsiteX75" fmla="*/ 26402920 w 27542354"/>
                <a:gd name="connsiteY75" fmla="*/ 876857 h 15152939"/>
                <a:gd name="connsiteX76" fmla="*/ 26554742 w 27542354"/>
                <a:gd name="connsiteY76" fmla="*/ 2052454 h 15152939"/>
                <a:gd name="connsiteX77" fmla="*/ 25751806 w 27542354"/>
                <a:gd name="connsiteY77" fmla="*/ 3806840 h 15152939"/>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013694 w 27542354"/>
                <a:gd name="connsiteY59" fmla="*/ 2052363 h 15035524"/>
                <a:gd name="connsiteX60" fmla="*/ 16556232 w 27542354"/>
                <a:gd name="connsiteY60" fmla="*/ 2142785 h 15035524"/>
                <a:gd name="connsiteX61" fmla="*/ 16863663 w 27542354"/>
                <a:gd name="connsiteY61" fmla="*/ 1627419 h 15035524"/>
                <a:gd name="connsiteX62" fmla="*/ 17406193 w 27542354"/>
                <a:gd name="connsiteY62" fmla="*/ 1292897 h 15035524"/>
                <a:gd name="connsiteX63" fmla="*/ 17623203 w 27542354"/>
                <a:gd name="connsiteY63" fmla="*/ 750425 h 15035524"/>
                <a:gd name="connsiteX64" fmla="*/ 18120524 w 27542354"/>
                <a:gd name="connsiteY64" fmla="*/ 714260 h 15035524"/>
                <a:gd name="connsiteX65" fmla="*/ 18201903 w 27542354"/>
                <a:gd name="connsiteY65" fmla="*/ 424943 h 15035524"/>
                <a:gd name="connsiteX66" fmla="*/ 18744437 w 27542354"/>
                <a:gd name="connsiteY66" fmla="*/ -1 h 15035524"/>
                <a:gd name="connsiteX67" fmla="*/ 19982300 w 27542354"/>
                <a:gd name="connsiteY67" fmla="*/ 343465 h 15035524"/>
                <a:gd name="connsiteX68" fmla="*/ 19837609 w 27542354"/>
                <a:gd name="connsiteY68" fmla="*/ 1121173 h 15035524"/>
                <a:gd name="connsiteX69" fmla="*/ 21881359 w 27542354"/>
                <a:gd name="connsiteY69" fmla="*/ 1772279 h 15035524"/>
                <a:gd name="connsiteX70" fmla="*/ 21537712 w 27542354"/>
                <a:gd name="connsiteY70" fmla="*/ 2767023 h 15035524"/>
                <a:gd name="connsiteX71" fmla="*/ 22478203 w 27542354"/>
                <a:gd name="connsiteY71" fmla="*/ 2296774 h 15035524"/>
                <a:gd name="connsiteX72" fmla="*/ 23888932 w 27542354"/>
                <a:gd name="connsiteY72" fmla="*/ 1880797 h 15035524"/>
                <a:gd name="connsiteX73" fmla="*/ 25010275 w 27542354"/>
                <a:gd name="connsiteY73" fmla="*/ 578575 h 15035524"/>
                <a:gd name="connsiteX74" fmla="*/ 26402920 w 27542354"/>
                <a:gd name="connsiteY74" fmla="*/ 759442 h 15035524"/>
                <a:gd name="connsiteX75" fmla="*/ 26554742 w 27542354"/>
                <a:gd name="connsiteY75" fmla="*/ 1935039 h 15035524"/>
                <a:gd name="connsiteX76" fmla="*/ 25751806 w 27542354"/>
                <a:gd name="connsiteY76"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013694 w 27542354"/>
                <a:gd name="connsiteY59" fmla="*/ 2052363 h 15035524"/>
                <a:gd name="connsiteX60" fmla="*/ 16556232 w 27542354"/>
                <a:gd name="connsiteY60" fmla="*/ 2142785 h 15035524"/>
                <a:gd name="connsiteX61" fmla="*/ 16863663 w 27542354"/>
                <a:gd name="connsiteY61" fmla="*/ 1627419 h 15035524"/>
                <a:gd name="connsiteX62" fmla="*/ 17406193 w 27542354"/>
                <a:gd name="connsiteY62" fmla="*/ 1292897 h 15035524"/>
                <a:gd name="connsiteX63" fmla="*/ 17623203 w 27542354"/>
                <a:gd name="connsiteY63" fmla="*/ 750425 h 15035524"/>
                <a:gd name="connsiteX64" fmla="*/ 18120524 w 27542354"/>
                <a:gd name="connsiteY64" fmla="*/ 714260 h 15035524"/>
                <a:gd name="connsiteX65" fmla="*/ 18744437 w 27542354"/>
                <a:gd name="connsiteY65" fmla="*/ -1 h 15035524"/>
                <a:gd name="connsiteX66" fmla="*/ 19982300 w 27542354"/>
                <a:gd name="connsiteY66" fmla="*/ 343465 h 15035524"/>
                <a:gd name="connsiteX67" fmla="*/ 19837609 w 27542354"/>
                <a:gd name="connsiteY67" fmla="*/ 1121173 h 15035524"/>
                <a:gd name="connsiteX68" fmla="*/ 21881359 w 27542354"/>
                <a:gd name="connsiteY68" fmla="*/ 1772279 h 15035524"/>
                <a:gd name="connsiteX69" fmla="*/ 21537712 w 27542354"/>
                <a:gd name="connsiteY69" fmla="*/ 2767023 h 15035524"/>
                <a:gd name="connsiteX70" fmla="*/ 22478203 w 27542354"/>
                <a:gd name="connsiteY70" fmla="*/ 2296774 h 15035524"/>
                <a:gd name="connsiteX71" fmla="*/ 23888932 w 27542354"/>
                <a:gd name="connsiteY71" fmla="*/ 1880797 h 15035524"/>
                <a:gd name="connsiteX72" fmla="*/ 25010275 w 27542354"/>
                <a:gd name="connsiteY72" fmla="*/ 578575 h 15035524"/>
                <a:gd name="connsiteX73" fmla="*/ 26402920 w 27542354"/>
                <a:gd name="connsiteY73" fmla="*/ 759442 h 15035524"/>
                <a:gd name="connsiteX74" fmla="*/ 26554742 w 27542354"/>
                <a:gd name="connsiteY74" fmla="*/ 1935039 h 15035524"/>
                <a:gd name="connsiteX75" fmla="*/ 25751806 w 27542354"/>
                <a:gd name="connsiteY75"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013694 w 27542354"/>
                <a:gd name="connsiteY59" fmla="*/ 2052363 h 15035524"/>
                <a:gd name="connsiteX60" fmla="*/ 16556232 w 27542354"/>
                <a:gd name="connsiteY60" fmla="*/ 2142785 h 15035524"/>
                <a:gd name="connsiteX61" fmla="*/ 16863663 w 27542354"/>
                <a:gd name="connsiteY61" fmla="*/ 1627419 h 15035524"/>
                <a:gd name="connsiteX62" fmla="*/ 17406193 w 27542354"/>
                <a:gd name="connsiteY62" fmla="*/ 1292897 h 15035524"/>
                <a:gd name="connsiteX63" fmla="*/ 18120524 w 27542354"/>
                <a:gd name="connsiteY63" fmla="*/ 714260 h 15035524"/>
                <a:gd name="connsiteX64" fmla="*/ 18744437 w 27542354"/>
                <a:gd name="connsiteY64" fmla="*/ -1 h 15035524"/>
                <a:gd name="connsiteX65" fmla="*/ 19982300 w 27542354"/>
                <a:gd name="connsiteY65" fmla="*/ 343465 h 15035524"/>
                <a:gd name="connsiteX66" fmla="*/ 19837609 w 27542354"/>
                <a:gd name="connsiteY66" fmla="*/ 1121173 h 15035524"/>
                <a:gd name="connsiteX67" fmla="*/ 21881359 w 27542354"/>
                <a:gd name="connsiteY67" fmla="*/ 1772279 h 15035524"/>
                <a:gd name="connsiteX68" fmla="*/ 21537712 w 27542354"/>
                <a:gd name="connsiteY68" fmla="*/ 2767023 h 15035524"/>
                <a:gd name="connsiteX69" fmla="*/ 22478203 w 27542354"/>
                <a:gd name="connsiteY69" fmla="*/ 2296774 h 15035524"/>
                <a:gd name="connsiteX70" fmla="*/ 23888932 w 27542354"/>
                <a:gd name="connsiteY70" fmla="*/ 1880797 h 15035524"/>
                <a:gd name="connsiteX71" fmla="*/ 25010275 w 27542354"/>
                <a:gd name="connsiteY71" fmla="*/ 578575 h 15035524"/>
                <a:gd name="connsiteX72" fmla="*/ 26402920 w 27542354"/>
                <a:gd name="connsiteY72" fmla="*/ 759442 h 15035524"/>
                <a:gd name="connsiteX73" fmla="*/ 26554742 w 27542354"/>
                <a:gd name="connsiteY73" fmla="*/ 1935039 h 15035524"/>
                <a:gd name="connsiteX74" fmla="*/ 25751806 w 27542354"/>
                <a:gd name="connsiteY74"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013694 w 27542354"/>
                <a:gd name="connsiteY59" fmla="*/ 2052363 h 15035524"/>
                <a:gd name="connsiteX60" fmla="*/ 16556232 w 27542354"/>
                <a:gd name="connsiteY60" fmla="*/ 2142785 h 15035524"/>
                <a:gd name="connsiteX61" fmla="*/ 17406193 w 27542354"/>
                <a:gd name="connsiteY61" fmla="*/ 1292897 h 15035524"/>
                <a:gd name="connsiteX62" fmla="*/ 18120524 w 27542354"/>
                <a:gd name="connsiteY62" fmla="*/ 714260 h 15035524"/>
                <a:gd name="connsiteX63" fmla="*/ 18744437 w 27542354"/>
                <a:gd name="connsiteY63" fmla="*/ -1 h 15035524"/>
                <a:gd name="connsiteX64" fmla="*/ 19982300 w 27542354"/>
                <a:gd name="connsiteY64" fmla="*/ 343465 h 15035524"/>
                <a:gd name="connsiteX65" fmla="*/ 19837609 w 27542354"/>
                <a:gd name="connsiteY65" fmla="*/ 1121173 h 15035524"/>
                <a:gd name="connsiteX66" fmla="*/ 21881359 w 27542354"/>
                <a:gd name="connsiteY66" fmla="*/ 1772279 h 15035524"/>
                <a:gd name="connsiteX67" fmla="*/ 21537712 w 27542354"/>
                <a:gd name="connsiteY67" fmla="*/ 2767023 h 15035524"/>
                <a:gd name="connsiteX68" fmla="*/ 22478203 w 27542354"/>
                <a:gd name="connsiteY68" fmla="*/ 2296774 h 15035524"/>
                <a:gd name="connsiteX69" fmla="*/ 23888932 w 27542354"/>
                <a:gd name="connsiteY69" fmla="*/ 1880797 h 15035524"/>
                <a:gd name="connsiteX70" fmla="*/ 25010275 w 27542354"/>
                <a:gd name="connsiteY70" fmla="*/ 578575 h 15035524"/>
                <a:gd name="connsiteX71" fmla="*/ 26402920 w 27542354"/>
                <a:gd name="connsiteY71" fmla="*/ 759442 h 15035524"/>
                <a:gd name="connsiteX72" fmla="*/ 26554742 w 27542354"/>
                <a:gd name="connsiteY72" fmla="*/ 1935039 h 15035524"/>
                <a:gd name="connsiteX73" fmla="*/ 25751806 w 27542354"/>
                <a:gd name="connsiteY73"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16081136 w 27542354"/>
                <a:gd name="connsiteY12" fmla="*/ 11254718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13276149 w 27542354"/>
                <a:gd name="connsiteY11" fmla="*/ 11528479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14150319 w 27542354"/>
                <a:gd name="connsiteY10" fmla="*/ 11405301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14618283 w 27542354"/>
                <a:gd name="connsiteY9" fmla="*/ 10516400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15011380 w 27542354"/>
                <a:gd name="connsiteY9" fmla="*/ 11048592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13482332 w 27542354"/>
                <a:gd name="connsiteY8" fmla="*/ 8749261 h 15035524"/>
                <a:gd name="connsiteX9" fmla="*/ 15011380 w 27542354"/>
                <a:gd name="connsiteY9" fmla="*/ 11048592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15195097 w 27542354"/>
                <a:gd name="connsiteY8" fmla="*/ 10093742 h 15035524"/>
                <a:gd name="connsiteX9" fmla="*/ 15011380 w 27542354"/>
                <a:gd name="connsiteY9" fmla="*/ 11048592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26312478 w 26619949"/>
                <a:gd name="connsiteY5" fmla="*/ 9549362 h 15035524"/>
                <a:gd name="connsiteX6" fmla="*/ 26402912 w 26619949"/>
                <a:gd name="connsiteY6" fmla="*/ 10526022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26312478 w 26619949"/>
                <a:gd name="connsiteY5" fmla="*/ 9549362 h 15035524"/>
                <a:gd name="connsiteX6" fmla="*/ 14862794 w 26619949"/>
                <a:gd name="connsiteY6" fmla="*/ 7108798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26312478 w 26619949"/>
                <a:gd name="connsiteY5" fmla="*/ 9549362 h 15035524"/>
                <a:gd name="connsiteX6" fmla="*/ 16070155 w 26619949"/>
                <a:gd name="connsiteY6" fmla="*/ 9937808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15193523 w 26619949"/>
                <a:gd name="connsiteY5" fmla="*/ 6720348 h 15035524"/>
                <a:gd name="connsiteX6" fmla="*/ 16070155 w 26619949"/>
                <a:gd name="connsiteY6" fmla="*/ 9937808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16372801 w 26619949"/>
                <a:gd name="connsiteY5" fmla="*/ 9717422 h 15035524"/>
                <a:gd name="connsiteX6" fmla="*/ 16070155 w 26619949"/>
                <a:gd name="connsiteY6" fmla="*/ 9937808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554741"/>
                <a:gd name="connsiteY0" fmla="*/ 3689425 h 15035524"/>
                <a:gd name="connsiteX1" fmla="*/ 25950755 w 26554741"/>
                <a:gd name="connsiteY1" fmla="*/ 4828850 h 15035524"/>
                <a:gd name="connsiteX2" fmla="*/ 26439085 w 26554741"/>
                <a:gd name="connsiteY2" fmla="*/ 5986362 h 15035524"/>
                <a:gd name="connsiteX3" fmla="*/ 25824148 w 26554741"/>
                <a:gd name="connsiteY3" fmla="*/ 6709813 h 15035524"/>
                <a:gd name="connsiteX4" fmla="*/ 14321716 w 26554741"/>
                <a:gd name="connsiteY4" fmla="*/ 6574229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26439085 w 26554741"/>
                <a:gd name="connsiteY2" fmla="*/ 5986362 h 15035524"/>
                <a:gd name="connsiteX3" fmla="*/ 25824148 w 26554741"/>
                <a:gd name="connsiteY3" fmla="*/ 6709813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26439085 w 26554741"/>
                <a:gd name="connsiteY2" fmla="*/ 5986362 h 15035524"/>
                <a:gd name="connsiteX3" fmla="*/ 14340183 w 26554741"/>
                <a:gd name="connsiteY3" fmla="*/ 7354046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26439085 w 26554741"/>
                <a:gd name="connsiteY2" fmla="*/ 5986362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15179740 w 26554741"/>
                <a:gd name="connsiteY2" fmla="*/ 7863038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15505685 w 26554741"/>
                <a:gd name="connsiteY1" fmla="*/ 7181691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16432262 w 26554741"/>
                <a:gd name="connsiteY1" fmla="*/ 7825917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15138264 w 26554741"/>
                <a:gd name="connsiteY0" fmla="*/ 6406394 h 15035524"/>
                <a:gd name="connsiteX1" fmla="*/ 16432262 w 26554741"/>
                <a:gd name="connsiteY1" fmla="*/ 7825917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15138264 w 26554741"/>
                <a:gd name="connsiteY72" fmla="*/ 6406394 h 15035524"/>
                <a:gd name="connsiteX0" fmla="*/ 16682563 w 26554741"/>
                <a:gd name="connsiteY0" fmla="*/ 6798531 h 15035524"/>
                <a:gd name="connsiteX1" fmla="*/ 16432262 w 26554741"/>
                <a:gd name="connsiteY1" fmla="*/ 7825917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16682563 w 26554741"/>
                <a:gd name="connsiteY72" fmla="*/ 6798531 h 15035524"/>
                <a:gd name="connsiteX0" fmla="*/ 16682563 w 26402921"/>
                <a:gd name="connsiteY0" fmla="*/ 6798531 h 15035524"/>
                <a:gd name="connsiteX1" fmla="*/ 16432262 w 26402921"/>
                <a:gd name="connsiteY1" fmla="*/ 7825917 h 15035524"/>
                <a:gd name="connsiteX2" fmla="*/ 16106317 w 26402921"/>
                <a:gd name="connsiteY2" fmla="*/ 8367221 h 15035524"/>
                <a:gd name="connsiteX3" fmla="*/ 16305649 w 26402921"/>
                <a:gd name="connsiteY3" fmla="*/ 8754550 h 15035524"/>
                <a:gd name="connsiteX4" fmla="*/ 16287189 w 26402921"/>
                <a:gd name="connsiteY4" fmla="*/ 9151157 h 15035524"/>
                <a:gd name="connsiteX5" fmla="*/ 16372801 w 26402921"/>
                <a:gd name="connsiteY5" fmla="*/ 9717422 h 15035524"/>
                <a:gd name="connsiteX6" fmla="*/ 16070155 w 26402921"/>
                <a:gd name="connsiteY6" fmla="*/ 9937808 h 15035524"/>
                <a:gd name="connsiteX7" fmla="*/ 15805690 w 26402921"/>
                <a:gd name="connsiteY7" fmla="*/ 10431999 h 15035524"/>
                <a:gd name="connsiteX8" fmla="*/ 15195097 w 26402921"/>
                <a:gd name="connsiteY8" fmla="*/ 10093742 h 15035524"/>
                <a:gd name="connsiteX9" fmla="*/ 15011380 w 26402921"/>
                <a:gd name="connsiteY9" fmla="*/ 11048592 h 15035524"/>
                <a:gd name="connsiteX10" fmla="*/ 14908430 w 26402921"/>
                <a:gd name="connsiteY10" fmla="*/ 11937487 h 15035524"/>
                <a:gd name="connsiteX11" fmla="*/ 14904684 w 26402921"/>
                <a:gd name="connsiteY11" fmla="*/ 12760926 h 15035524"/>
                <a:gd name="connsiteX12" fmla="*/ 14929927 w 26402921"/>
                <a:gd name="connsiteY12" fmla="*/ 14391846 h 15035524"/>
                <a:gd name="connsiteX13" fmla="*/ 12952786 w 26402921"/>
                <a:gd name="connsiteY13" fmla="*/ 14842599 h 15035524"/>
                <a:gd name="connsiteX14" fmla="*/ 11934663 w 26402921"/>
                <a:gd name="connsiteY14" fmla="*/ 14890849 h 15035524"/>
                <a:gd name="connsiteX15" fmla="*/ 8506848 w 26402921"/>
                <a:gd name="connsiteY15" fmla="*/ 15035524 h 15035524"/>
                <a:gd name="connsiteX16" fmla="*/ 7985095 w 26402921"/>
                <a:gd name="connsiteY16" fmla="*/ 14390442 h 15035524"/>
                <a:gd name="connsiteX17" fmla="*/ 7400308 w 26402921"/>
                <a:gd name="connsiteY17" fmla="*/ 14360297 h 15035524"/>
                <a:gd name="connsiteX18" fmla="*/ 6972273 w 26402921"/>
                <a:gd name="connsiteY18" fmla="*/ 14631594 h 15035524"/>
                <a:gd name="connsiteX19" fmla="*/ 5181729 w 26402921"/>
                <a:gd name="connsiteY19" fmla="*/ 14547195 h 15035524"/>
                <a:gd name="connsiteX20" fmla="*/ 4397998 w 26402921"/>
                <a:gd name="connsiteY20" fmla="*/ 13914178 h 15035524"/>
                <a:gd name="connsiteX21" fmla="*/ 2908896 w 26402921"/>
                <a:gd name="connsiteY21" fmla="*/ 13106324 h 15035524"/>
                <a:gd name="connsiteX22" fmla="*/ 1263043 w 26402921"/>
                <a:gd name="connsiteY22" fmla="*/ 12394931 h 15035524"/>
                <a:gd name="connsiteX23" fmla="*/ 485320 w 26402921"/>
                <a:gd name="connsiteY23" fmla="*/ 11942774 h 15035524"/>
                <a:gd name="connsiteX24" fmla="*/ 0 w 26402921"/>
                <a:gd name="connsiteY24" fmla="*/ 11649662 h 15035524"/>
                <a:gd name="connsiteX25" fmla="*/ 1003686 w 26402921"/>
                <a:gd name="connsiteY25" fmla="*/ 10903697 h 15035524"/>
                <a:gd name="connsiteX26" fmla="*/ 2902551 w 26402921"/>
                <a:gd name="connsiteY26" fmla="*/ 9719298 h 15035524"/>
                <a:gd name="connsiteX27" fmla="*/ 2558940 w 26402921"/>
                <a:gd name="connsiteY27" fmla="*/ 9185867 h 15035524"/>
                <a:gd name="connsiteX28" fmla="*/ 2402508 w 26402921"/>
                <a:gd name="connsiteY28" fmla="*/ 8498784 h 15035524"/>
                <a:gd name="connsiteX29" fmla="*/ 2730740 w 26402921"/>
                <a:gd name="connsiteY29" fmla="*/ 8471613 h 15035524"/>
                <a:gd name="connsiteX30" fmla="*/ 2947754 w 26402921"/>
                <a:gd name="connsiteY30" fmla="*/ 8001468 h 15035524"/>
                <a:gd name="connsiteX31" fmla="*/ 3499325 w 26402921"/>
                <a:gd name="connsiteY31" fmla="*/ 7558451 h 15035524"/>
                <a:gd name="connsiteX32" fmla="*/ 3680166 w 26402921"/>
                <a:gd name="connsiteY32" fmla="*/ 6681453 h 15035524"/>
                <a:gd name="connsiteX33" fmla="*/ 4186528 w 26402921"/>
                <a:gd name="connsiteY33" fmla="*/ 6690489 h 15035524"/>
                <a:gd name="connsiteX34" fmla="*/ 4837569 w 26402921"/>
                <a:gd name="connsiteY34" fmla="*/ 7160639 h 15035524"/>
                <a:gd name="connsiteX35" fmla="*/ 5352976 w 26402921"/>
                <a:gd name="connsiteY35" fmla="*/ 7079272 h 15035524"/>
                <a:gd name="connsiteX36" fmla="*/ 5741786 w 26402921"/>
                <a:gd name="connsiteY36" fmla="*/ 6708577 h 15035524"/>
                <a:gd name="connsiteX37" fmla="*/ 6157723 w 26402921"/>
                <a:gd name="connsiteY37" fmla="*/ 6545836 h 15035524"/>
                <a:gd name="connsiteX38" fmla="*/ 6745471 w 26402921"/>
                <a:gd name="connsiteY38" fmla="*/ 5976243 h 15035524"/>
                <a:gd name="connsiteX39" fmla="*/ 6890140 w 26402921"/>
                <a:gd name="connsiteY39" fmla="*/ 5126367 h 15035524"/>
                <a:gd name="connsiteX40" fmla="*/ 7568305 w 26402921"/>
                <a:gd name="connsiteY40" fmla="*/ 4556773 h 15035524"/>
                <a:gd name="connsiteX41" fmla="*/ 8137967 w 26402921"/>
                <a:gd name="connsiteY41" fmla="*/ 4113752 h 15035524"/>
                <a:gd name="connsiteX42" fmla="*/ 8463480 w 26402921"/>
                <a:gd name="connsiteY42" fmla="*/ 3309085 h 15035524"/>
                <a:gd name="connsiteX43" fmla="*/ 9024093 w 26402921"/>
                <a:gd name="connsiteY43" fmla="*/ 2956478 h 15035524"/>
                <a:gd name="connsiteX44" fmla="*/ 9675138 w 26402921"/>
                <a:gd name="connsiteY44" fmla="*/ 2603876 h 15035524"/>
                <a:gd name="connsiteX45" fmla="*/ 9558580 w 26402921"/>
                <a:gd name="connsiteY45" fmla="*/ 2055592 h 15035524"/>
                <a:gd name="connsiteX46" fmla="*/ 10353296 w 26402921"/>
                <a:gd name="connsiteY46" fmla="*/ 1383308 h 15035524"/>
                <a:gd name="connsiteX47" fmla="*/ 10832530 w 26402921"/>
                <a:gd name="connsiteY47" fmla="*/ 1310974 h 15035524"/>
                <a:gd name="connsiteX48" fmla="*/ 11058585 w 26402921"/>
                <a:gd name="connsiteY48" fmla="*/ 1763043 h 15035524"/>
                <a:gd name="connsiteX49" fmla="*/ 11411229 w 26402921"/>
                <a:gd name="connsiteY49" fmla="*/ 2142774 h 15035524"/>
                <a:gd name="connsiteX50" fmla="*/ 11998974 w 26402921"/>
                <a:gd name="connsiteY50" fmla="*/ 2224144 h 15035524"/>
                <a:gd name="connsiteX51" fmla="*/ 12315449 w 26402921"/>
                <a:gd name="connsiteY51" fmla="*/ 2884156 h 15035524"/>
                <a:gd name="connsiteX52" fmla="*/ 12785642 w 26402921"/>
                <a:gd name="connsiteY52" fmla="*/ 2703327 h 15035524"/>
                <a:gd name="connsiteX53" fmla="*/ 13671776 w 26402921"/>
                <a:gd name="connsiteY53" fmla="*/ 3155388 h 15035524"/>
                <a:gd name="connsiteX54" fmla="*/ 14123886 w 26402921"/>
                <a:gd name="connsiteY54" fmla="*/ 2857035 h 15035524"/>
                <a:gd name="connsiteX55" fmla="*/ 14259509 w 26402921"/>
                <a:gd name="connsiteY55" fmla="*/ 2287434 h 15035524"/>
                <a:gd name="connsiteX56" fmla="*/ 14892468 w 26402921"/>
                <a:gd name="connsiteY56" fmla="*/ 1645503 h 15035524"/>
                <a:gd name="connsiteX57" fmla="*/ 15778605 w 26402921"/>
                <a:gd name="connsiteY57" fmla="*/ 1093983 h 15035524"/>
                <a:gd name="connsiteX58" fmla="*/ 16022739 w 26402921"/>
                <a:gd name="connsiteY58" fmla="*/ 1564133 h 15035524"/>
                <a:gd name="connsiteX59" fmla="*/ 16556232 w 26402921"/>
                <a:gd name="connsiteY59" fmla="*/ 2142785 h 15035524"/>
                <a:gd name="connsiteX60" fmla="*/ 17406193 w 26402921"/>
                <a:gd name="connsiteY60" fmla="*/ 1292897 h 15035524"/>
                <a:gd name="connsiteX61" fmla="*/ 18120524 w 26402921"/>
                <a:gd name="connsiteY61" fmla="*/ 714260 h 15035524"/>
                <a:gd name="connsiteX62" fmla="*/ 18744437 w 26402921"/>
                <a:gd name="connsiteY62" fmla="*/ -1 h 15035524"/>
                <a:gd name="connsiteX63" fmla="*/ 19982300 w 26402921"/>
                <a:gd name="connsiteY63" fmla="*/ 343465 h 15035524"/>
                <a:gd name="connsiteX64" fmla="*/ 19837609 w 26402921"/>
                <a:gd name="connsiteY64" fmla="*/ 1121173 h 15035524"/>
                <a:gd name="connsiteX65" fmla="*/ 21881359 w 26402921"/>
                <a:gd name="connsiteY65" fmla="*/ 1772279 h 15035524"/>
                <a:gd name="connsiteX66" fmla="*/ 21537712 w 26402921"/>
                <a:gd name="connsiteY66" fmla="*/ 2767023 h 15035524"/>
                <a:gd name="connsiteX67" fmla="*/ 22478203 w 26402921"/>
                <a:gd name="connsiteY67" fmla="*/ 2296774 h 15035524"/>
                <a:gd name="connsiteX68" fmla="*/ 23888932 w 26402921"/>
                <a:gd name="connsiteY68" fmla="*/ 1880797 h 15035524"/>
                <a:gd name="connsiteX69" fmla="*/ 25010275 w 26402921"/>
                <a:gd name="connsiteY69" fmla="*/ 578575 h 15035524"/>
                <a:gd name="connsiteX70" fmla="*/ 26402920 w 26402921"/>
                <a:gd name="connsiteY70" fmla="*/ 759442 h 15035524"/>
                <a:gd name="connsiteX71" fmla="*/ 14902301 w 26402921"/>
                <a:gd name="connsiteY71" fmla="*/ 5604356 h 15035524"/>
                <a:gd name="connsiteX72" fmla="*/ 16682563 w 26402921"/>
                <a:gd name="connsiteY72" fmla="*/ 6798531 h 15035524"/>
                <a:gd name="connsiteX0" fmla="*/ 16682563 w 26402921"/>
                <a:gd name="connsiteY0" fmla="*/ 6798531 h 15035524"/>
                <a:gd name="connsiteX1" fmla="*/ 16432262 w 26402921"/>
                <a:gd name="connsiteY1" fmla="*/ 7825917 h 15035524"/>
                <a:gd name="connsiteX2" fmla="*/ 16106317 w 26402921"/>
                <a:gd name="connsiteY2" fmla="*/ 8367221 h 15035524"/>
                <a:gd name="connsiteX3" fmla="*/ 16305649 w 26402921"/>
                <a:gd name="connsiteY3" fmla="*/ 8754550 h 15035524"/>
                <a:gd name="connsiteX4" fmla="*/ 16287189 w 26402921"/>
                <a:gd name="connsiteY4" fmla="*/ 9151157 h 15035524"/>
                <a:gd name="connsiteX5" fmla="*/ 16372801 w 26402921"/>
                <a:gd name="connsiteY5" fmla="*/ 9717422 h 15035524"/>
                <a:gd name="connsiteX6" fmla="*/ 16070155 w 26402921"/>
                <a:gd name="connsiteY6" fmla="*/ 9937808 h 15035524"/>
                <a:gd name="connsiteX7" fmla="*/ 15805690 w 26402921"/>
                <a:gd name="connsiteY7" fmla="*/ 10431999 h 15035524"/>
                <a:gd name="connsiteX8" fmla="*/ 15195097 w 26402921"/>
                <a:gd name="connsiteY8" fmla="*/ 10093742 h 15035524"/>
                <a:gd name="connsiteX9" fmla="*/ 15011380 w 26402921"/>
                <a:gd name="connsiteY9" fmla="*/ 11048592 h 15035524"/>
                <a:gd name="connsiteX10" fmla="*/ 14908430 w 26402921"/>
                <a:gd name="connsiteY10" fmla="*/ 11937487 h 15035524"/>
                <a:gd name="connsiteX11" fmla="*/ 14904684 w 26402921"/>
                <a:gd name="connsiteY11" fmla="*/ 12760926 h 15035524"/>
                <a:gd name="connsiteX12" fmla="*/ 14929927 w 26402921"/>
                <a:gd name="connsiteY12" fmla="*/ 14391846 h 15035524"/>
                <a:gd name="connsiteX13" fmla="*/ 12952786 w 26402921"/>
                <a:gd name="connsiteY13" fmla="*/ 14842599 h 15035524"/>
                <a:gd name="connsiteX14" fmla="*/ 11934663 w 26402921"/>
                <a:gd name="connsiteY14" fmla="*/ 14890849 h 15035524"/>
                <a:gd name="connsiteX15" fmla="*/ 8506848 w 26402921"/>
                <a:gd name="connsiteY15" fmla="*/ 15035524 h 15035524"/>
                <a:gd name="connsiteX16" fmla="*/ 7985095 w 26402921"/>
                <a:gd name="connsiteY16" fmla="*/ 14390442 h 15035524"/>
                <a:gd name="connsiteX17" fmla="*/ 7400308 w 26402921"/>
                <a:gd name="connsiteY17" fmla="*/ 14360297 h 15035524"/>
                <a:gd name="connsiteX18" fmla="*/ 6972273 w 26402921"/>
                <a:gd name="connsiteY18" fmla="*/ 14631594 h 15035524"/>
                <a:gd name="connsiteX19" fmla="*/ 5181729 w 26402921"/>
                <a:gd name="connsiteY19" fmla="*/ 14547195 h 15035524"/>
                <a:gd name="connsiteX20" fmla="*/ 4397998 w 26402921"/>
                <a:gd name="connsiteY20" fmla="*/ 13914178 h 15035524"/>
                <a:gd name="connsiteX21" fmla="*/ 2908896 w 26402921"/>
                <a:gd name="connsiteY21" fmla="*/ 13106324 h 15035524"/>
                <a:gd name="connsiteX22" fmla="*/ 1263043 w 26402921"/>
                <a:gd name="connsiteY22" fmla="*/ 12394931 h 15035524"/>
                <a:gd name="connsiteX23" fmla="*/ 485320 w 26402921"/>
                <a:gd name="connsiteY23" fmla="*/ 11942774 h 15035524"/>
                <a:gd name="connsiteX24" fmla="*/ 0 w 26402921"/>
                <a:gd name="connsiteY24" fmla="*/ 11649662 h 15035524"/>
                <a:gd name="connsiteX25" fmla="*/ 1003686 w 26402921"/>
                <a:gd name="connsiteY25" fmla="*/ 10903697 h 15035524"/>
                <a:gd name="connsiteX26" fmla="*/ 2902551 w 26402921"/>
                <a:gd name="connsiteY26" fmla="*/ 9719298 h 15035524"/>
                <a:gd name="connsiteX27" fmla="*/ 2558940 w 26402921"/>
                <a:gd name="connsiteY27" fmla="*/ 9185867 h 15035524"/>
                <a:gd name="connsiteX28" fmla="*/ 2402508 w 26402921"/>
                <a:gd name="connsiteY28" fmla="*/ 8498784 h 15035524"/>
                <a:gd name="connsiteX29" fmla="*/ 2730740 w 26402921"/>
                <a:gd name="connsiteY29" fmla="*/ 8471613 h 15035524"/>
                <a:gd name="connsiteX30" fmla="*/ 2947754 w 26402921"/>
                <a:gd name="connsiteY30" fmla="*/ 8001468 h 15035524"/>
                <a:gd name="connsiteX31" fmla="*/ 3499325 w 26402921"/>
                <a:gd name="connsiteY31" fmla="*/ 7558451 h 15035524"/>
                <a:gd name="connsiteX32" fmla="*/ 3680166 w 26402921"/>
                <a:gd name="connsiteY32" fmla="*/ 6681453 h 15035524"/>
                <a:gd name="connsiteX33" fmla="*/ 4186528 w 26402921"/>
                <a:gd name="connsiteY33" fmla="*/ 6690489 h 15035524"/>
                <a:gd name="connsiteX34" fmla="*/ 4837569 w 26402921"/>
                <a:gd name="connsiteY34" fmla="*/ 7160639 h 15035524"/>
                <a:gd name="connsiteX35" fmla="*/ 5352976 w 26402921"/>
                <a:gd name="connsiteY35" fmla="*/ 7079272 h 15035524"/>
                <a:gd name="connsiteX36" fmla="*/ 5741786 w 26402921"/>
                <a:gd name="connsiteY36" fmla="*/ 6708577 h 15035524"/>
                <a:gd name="connsiteX37" fmla="*/ 6157723 w 26402921"/>
                <a:gd name="connsiteY37" fmla="*/ 6545836 h 15035524"/>
                <a:gd name="connsiteX38" fmla="*/ 6745471 w 26402921"/>
                <a:gd name="connsiteY38" fmla="*/ 5976243 h 15035524"/>
                <a:gd name="connsiteX39" fmla="*/ 6890140 w 26402921"/>
                <a:gd name="connsiteY39" fmla="*/ 5126367 h 15035524"/>
                <a:gd name="connsiteX40" fmla="*/ 7568305 w 26402921"/>
                <a:gd name="connsiteY40" fmla="*/ 4556773 h 15035524"/>
                <a:gd name="connsiteX41" fmla="*/ 8137967 w 26402921"/>
                <a:gd name="connsiteY41" fmla="*/ 4113752 h 15035524"/>
                <a:gd name="connsiteX42" fmla="*/ 8463480 w 26402921"/>
                <a:gd name="connsiteY42" fmla="*/ 3309085 h 15035524"/>
                <a:gd name="connsiteX43" fmla="*/ 9024093 w 26402921"/>
                <a:gd name="connsiteY43" fmla="*/ 2956478 h 15035524"/>
                <a:gd name="connsiteX44" fmla="*/ 9675138 w 26402921"/>
                <a:gd name="connsiteY44" fmla="*/ 2603876 h 15035524"/>
                <a:gd name="connsiteX45" fmla="*/ 9558580 w 26402921"/>
                <a:gd name="connsiteY45" fmla="*/ 2055592 h 15035524"/>
                <a:gd name="connsiteX46" fmla="*/ 10353296 w 26402921"/>
                <a:gd name="connsiteY46" fmla="*/ 1383308 h 15035524"/>
                <a:gd name="connsiteX47" fmla="*/ 10832530 w 26402921"/>
                <a:gd name="connsiteY47" fmla="*/ 1310974 h 15035524"/>
                <a:gd name="connsiteX48" fmla="*/ 11058585 w 26402921"/>
                <a:gd name="connsiteY48" fmla="*/ 1763043 h 15035524"/>
                <a:gd name="connsiteX49" fmla="*/ 11411229 w 26402921"/>
                <a:gd name="connsiteY49" fmla="*/ 2142774 h 15035524"/>
                <a:gd name="connsiteX50" fmla="*/ 11998974 w 26402921"/>
                <a:gd name="connsiteY50" fmla="*/ 2224144 h 15035524"/>
                <a:gd name="connsiteX51" fmla="*/ 12315449 w 26402921"/>
                <a:gd name="connsiteY51" fmla="*/ 2884156 h 15035524"/>
                <a:gd name="connsiteX52" fmla="*/ 12785642 w 26402921"/>
                <a:gd name="connsiteY52" fmla="*/ 2703327 h 15035524"/>
                <a:gd name="connsiteX53" fmla="*/ 13671776 w 26402921"/>
                <a:gd name="connsiteY53" fmla="*/ 3155388 h 15035524"/>
                <a:gd name="connsiteX54" fmla="*/ 14123886 w 26402921"/>
                <a:gd name="connsiteY54" fmla="*/ 2857035 h 15035524"/>
                <a:gd name="connsiteX55" fmla="*/ 14259509 w 26402921"/>
                <a:gd name="connsiteY55" fmla="*/ 2287434 h 15035524"/>
                <a:gd name="connsiteX56" fmla="*/ 14892468 w 26402921"/>
                <a:gd name="connsiteY56" fmla="*/ 1645503 h 15035524"/>
                <a:gd name="connsiteX57" fmla="*/ 15778605 w 26402921"/>
                <a:gd name="connsiteY57" fmla="*/ 1093983 h 15035524"/>
                <a:gd name="connsiteX58" fmla="*/ 16022739 w 26402921"/>
                <a:gd name="connsiteY58" fmla="*/ 1564133 h 15035524"/>
                <a:gd name="connsiteX59" fmla="*/ 16556232 w 26402921"/>
                <a:gd name="connsiteY59" fmla="*/ 2142785 h 15035524"/>
                <a:gd name="connsiteX60" fmla="*/ 17406193 w 26402921"/>
                <a:gd name="connsiteY60" fmla="*/ 1292897 h 15035524"/>
                <a:gd name="connsiteX61" fmla="*/ 18120524 w 26402921"/>
                <a:gd name="connsiteY61" fmla="*/ 714260 h 15035524"/>
                <a:gd name="connsiteX62" fmla="*/ 18744437 w 26402921"/>
                <a:gd name="connsiteY62" fmla="*/ -1 h 15035524"/>
                <a:gd name="connsiteX63" fmla="*/ 19982300 w 26402921"/>
                <a:gd name="connsiteY63" fmla="*/ 343465 h 15035524"/>
                <a:gd name="connsiteX64" fmla="*/ 19837609 w 26402921"/>
                <a:gd name="connsiteY64" fmla="*/ 1121173 h 15035524"/>
                <a:gd name="connsiteX65" fmla="*/ 21881359 w 26402921"/>
                <a:gd name="connsiteY65" fmla="*/ 1772279 h 15035524"/>
                <a:gd name="connsiteX66" fmla="*/ 21537712 w 26402921"/>
                <a:gd name="connsiteY66" fmla="*/ 2767023 h 15035524"/>
                <a:gd name="connsiteX67" fmla="*/ 22478203 w 26402921"/>
                <a:gd name="connsiteY67" fmla="*/ 2296774 h 15035524"/>
                <a:gd name="connsiteX68" fmla="*/ 23888932 w 26402921"/>
                <a:gd name="connsiteY68" fmla="*/ 1880797 h 15035524"/>
                <a:gd name="connsiteX69" fmla="*/ 25010275 w 26402921"/>
                <a:gd name="connsiteY69" fmla="*/ 578575 h 15035524"/>
                <a:gd name="connsiteX70" fmla="*/ 26402920 w 26402921"/>
                <a:gd name="connsiteY70" fmla="*/ 759442 h 15035524"/>
                <a:gd name="connsiteX71" fmla="*/ 16362364 w 26402921"/>
                <a:gd name="connsiteY71" fmla="*/ 6360628 h 15035524"/>
                <a:gd name="connsiteX72" fmla="*/ 16682563 w 26402921"/>
                <a:gd name="connsiteY72" fmla="*/ 6798531 h 15035524"/>
                <a:gd name="connsiteX0" fmla="*/ 16682563 w 25010275"/>
                <a:gd name="connsiteY0" fmla="*/ 6798531 h 15035524"/>
                <a:gd name="connsiteX1" fmla="*/ 16432262 w 25010275"/>
                <a:gd name="connsiteY1" fmla="*/ 7825917 h 15035524"/>
                <a:gd name="connsiteX2" fmla="*/ 16106317 w 25010275"/>
                <a:gd name="connsiteY2" fmla="*/ 8367221 h 15035524"/>
                <a:gd name="connsiteX3" fmla="*/ 16305649 w 25010275"/>
                <a:gd name="connsiteY3" fmla="*/ 8754550 h 15035524"/>
                <a:gd name="connsiteX4" fmla="*/ 16287189 w 25010275"/>
                <a:gd name="connsiteY4" fmla="*/ 9151157 h 15035524"/>
                <a:gd name="connsiteX5" fmla="*/ 16372801 w 25010275"/>
                <a:gd name="connsiteY5" fmla="*/ 9717422 h 15035524"/>
                <a:gd name="connsiteX6" fmla="*/ 16070155 w 25010275"/>
                <a:gd name="connsiteY6" fmla="*/ 9937808 h 15035524"/>
                <a:gd name="connsiteX7" fmla="*/ 15805690 w 25010275"/>
                <a:gd name="connsiteY7" fmla="*/ 10431999 h 15035524"/>
                <a:gd name="connsiteX8" fmla="*/ 15195097 w 25010275"/>
                <a:gd name="connsiteY8" fmla="*/ 10093742 h 15035524"/>
                <a:gd name="connsiteX9" fmla="*/ 15011380 w 25010275"/>
                <a:gd name="connsiteY9" fmla="*/ 11048592 h 15035524"/>
                <a:gd name="connsiteX10" fmla="*/ 14908430 w 25010275"/>
                <a:gd name="connsiteY10" fmla="*/ 11937487 h 15035524"/>
                <a:gd name="connsiteX11" fmla="*/ 14904684 w 25010275"/>
                <a:gd name="connsiteY11" fmla="*/ 12760926 h 15035524"/>
                <a:gd name="connsiteX12" fmla="*/ 14929927 w 25010275"/>
                <a:gd name="connsiteY12" fmla="*/ 14391846 h 15035524"/>
                <a:gd name="connsiteX13" fmla="*/ 12952786 w 25010275"/>
                <a:gd name="connsiteY13" fmla="*/ 14842599 h 15035524"/>
                <a:gd name="connsiteX14" fmla="*/ 11934663 w 25010275"/>
                <a:gd name="connsiteY14" fmla="*/ 14890849 h 15035524"/>
                <a:gd name="connsiteX15" fmla="*/ 8506848 w 25010275"/>
                <a:gd name="connsiteY15" fmla="*/ 15035524 h 15035524"/>
                <a:gd name="connsiteX16" fmla="*/ 7985095 w 25010275"/>
                <a:gd name="connsiteY16" fmla="*/ 14390442 h 15035524"/>
                <a:gd name="connsiteX17" fmla="*/ 7400308 w 25010275"/>
                <a:gd name="connsiteY17" fmla="*/ 14360297 h 15035524"/>
                <a:gd name="connsiteX18" fmla="*/ 6972273 w 25010275"/>
                <a:gd name="connsiteY18" fmla="*/ 14631594 h 15035524"/>
                <a:gd name="connsiteX19" fmla="*/ 5181729 w 25010275"/>
                <a:gd name="connsiteY19" fmla="*/ 14547195 h 15035524"/>
                <a:gd name="connsiteX20" fmla="*/ 4397998 w 25010275"/>
                <a:gd name="connsiteY20" fmla="*/ 13914178 h 15035524"/>
                <a:gd name="connsiteX21" fmla="*/ 2908896 w 25010275"/>
                <a:gd name="connsiteY21" fmla="*/ 13106324 h 15035524"/>
                <a:gd name="connsiteX22" fmla="*/ 1263043 w 25010275"/>
                <a:gd name="connsiteY22" fmla="*/ 12394931 h 15035524"/>
                <a:gd name="connsiteX23" fmla="*/ 485320 w 25010275"/>
                <a:gd name="connsiteY23" fmla="*/ 11942774 h 15035524"/>
                <a:gd name="connsiteX24" fmla="*/ 0 w 25010275"/>
                <a:gd name="connsiteY24" fmla="*/ 11649662 h 15035524"/>
                <a:gd name="connsiteX25" fmla="*/ 1003686 w 25010275"/>
                <a:gd name="connsiteY25" fmla="*/ 10903697 h 15035524"/>
                <a:gd name="connsiteX26" fmla="*/ 2902551 w 25010275"/>
                <a:gd name="connsiteY26" fmla="*/ 9719298 h 15035524"/>
                <a:gd name="connsiteX27" fmla="*/ 2558940 w 25010275"/>
                <a:gd name="connsiteY27" fmla="*/ 9185867 h 15035524"/>
                <a:gd name="connsiteX28" fmla="*/ 2402508 w 25010275"/>
                <a:gd name="connsiteY28" fmla="*/ 8498784 h 15035524"/>
                <a:gd name="connsiteX29" fmla="*/ 2730740 w 25010275"/>
                <a:gd name="connsiteY29" fmla="*/ 8471613 h 15035524"/>
                <a:gd name="connsiteX30" fmla="*/ 2947754 w 25010275"/>
                <a:gd name="connsiteY30" fmla="*/ 8001468 h 15035524"/>
                <a:gd name="connsiteX31" fmla="*/ 3499325 w 25010275"/>
                <a:gd name="connsiteY31" fmla="*/ 7558451 h 15035524"/>
                <a:gd name="connsiteX32" fmla="*/ 3680166 w 25010275"/>
                <a:gd name="connsiteY32" fmla="*/ 6681453 h 15035524"/>
                <a:gd name="connsiteX33" fmla="*/ 4186528 w 25010275"/>
                <a:gd name="connsiteY33" fmla="*/ 6690489 h 15035524"/>
                <a:gd name="connsiteX34" fmla="*/ 4837569 w 25010275"/>
                <a:gd name="connsiteY34" fmla="*/ 7160639 h 15035524"/>
                <a:gd name="connsiteX35" fmla="*/ 5352976 w 25010275"/>
                <a:gd name="connsiteY35" fmla="*/ 7079272 h 15035524"/>
                <a:gd name="connsiteX36" fmla="*/ 5741786 w 25010275"/>
                <a:gd name="connsiteY36" fmla="*/ 6708577 h 15035524"/>
                <a:gd name="connsiteX37" fmla="*/ 6157723 w 25010275"/>
                <a:gd name="connsiteY37" fmla="*/ 6545836 h 15035524"/>
                <a:gd name="connsiteX38" fmla="*/ 6745471 w 25010275"/>
                <a:gd name="connsiteY38" fmla="*/ 5976243 h 15035524"/>
                <a:gd name="connsiteX39" fmla="*/ 6890140 w 25010275"/>
                <a:gd name="connsiteY39" fmla="*/ 5126367 h 15035524"/>
                <a:gd name="connsiteX40" fmla="*/ 7568305 w 25010275"/>
                <a:gd name="connsiteY40" fmla="*/ 4556773 h 15035524"/>
                <a:gd name="connsiteX41" fmla="*/ 8137967 w 25010275"/>
                <a:gd name="connsiteY41" fmla="*/ 4113752 h 15035524"/>
                <a:gd name="connsiteX42" fmla="*/ 8463480 w 25010275"/>
                <a:gd name="connsiteY42" fmla="*/ 3309085 h 15035524"/>
                <a:gd name="connsiteX43" fmla="*/ 9024093 w 25010275"/>
                <a:gd name="connsiteY43" fmla="*/ 2956478 h 15035524"/>
                <a:gd name="connsiteX44" fmla="*/ 9675138 w 25010275"/>
                <a:gd name="connsiteY44" fmla="*/ 2603876 h 15035524"/>
                <a:gd name="connsiteX45" fmla="*/ 9558580 w 25010275"/>
                <a:gd name="connsiteY45" fmla="*/ 2055592 h 15035524"/>
                <a:gd name="connsiteX46" fmla="*/ 10353296 w 25010275"/>
                <a:gd name="connsiteY46" fmla="*/ 1383308 h 15035524"/>
                <a:gd name="connsiteX47" fmla="*/ 10832530 w 25010275"/>
                <a:gd name="connsiteY47" fmla="*/ 1310974 h 15035524"/>
                <a:gd name="connsiteX48" fmla="*/ 11058585 w 25010275"/>
                <a:gd name="connsiteY48" fmla="*/ 1763043 h 15035524"/>
                <a:gd name="connsiteX49" fmla="*/ 11411229 w 25010275"/>
                <a:gd name="connsiteY49" fmla="*/ 2142774 h 15035524"/>
                <a:gd name="connsiteX50" fmla="*/ 11998974 w 25010275"/>
                <a:gd name="connsiteY50" fmla="*/ 2224144 h 15035524"/>
                <a:gd name="connsiteX51" fmla="*/ 12315449 w 25010275"/>
                <a:gd name="connsiteY51" fmla="*/ 2884156 h 15035524"/>
                <a:gd name="connsiteX52" fmla="*/ 12785642 w 25010275"/>
                <a:gd name="connsiteY52" fmla="*/ 2703327 h 15035524"/>
                <a:gd name="connsiteX53" fmla="*/ 13671776 w 25010275"/>
                <a:gd name="connsiteY53" fmla="*/ 3155388 h 15035524"/>
                <a:gd name="connsiteX54" fmla="*/ 14123886 w 25010275"/>
                <a:gd name="connsiteY54" fmla="*/ 2857035 h 15035524"/>
                <a:gd name="connsiteX55" fmla="*/ 14259509 w 25010275"/>
                <a:gd name="connsiteY55" fmla="*/ 2287434 h 15035524"/>
                <a:gd name="connsiteX56" fmla="*/ 14892468 w 25010275"/>
                <a:gd name="connsiteY56" fmla="*/ 1645503 h 15035524"/>
                <a:gd name="connsiteX57" fmla="*/ 15778605 w 25010275"/>
                <a:gd name="connsiteY57" fmla="*/ 1093983 h 15035524"/>
                <a:gd name="connsiteX58" fmla="*/ 16022739 w 25010275"/>
                <a:gd name="connsiteY58" fmla="*/ 1564133 h 15035524"/>
                <a:gd name="connsiteX59" fmla="*/ 16556232 w 25010275"/>
                <a:gd name="connsiteY59" fmla="*/ 2142785 h 15035524"/>
                <a:gd name="connsiteX60" fmla="*/ 17406193 w 25010275"/>
                <a:gd name="connsiteY60" fmla="*/ 1292897 h 15035524"/>
                <a:gd name="connsiteX61" fmla="*/ 18120524 w 25010275"/>
                <a:gd name="connsiteY61" fmla="*/ 714260 h 15035524"/>
                <a:gd name="connsiteX62" fmla="*/ 18744437 w 25010275"/>
                <a:gd name="connsiteY62" fmla="*/ -1 h 15035524"/>
                <a:gd name="connsiteX63" fmla="*/ 19982300 w 25010275"/>
                <a:gd name="connsiteY63" fmla="*/ 343465 h 15035524"/>
                <a:gd name="connsiteX64" fmla="*/ 19837609 w 25010275"/>
                <a:gd name="connsiteY64" fmla="*/ 1121173 h 15035524"/>
                <a:gd name="connsiteX65" fmla="*/ 21881359 w 25010275"/>
                <a:gd name="connsiteY65" fmla="*/ 1772279 h 15035524"/>
                <a:gd name="connsiteX66" fmla="*/ 21537712 w 25010275"/>
                <a:gd name="connsiteY66" fmla="*/ 2767023 h 15035524"/>
                <a:gd name="connsiteX67" fmla="*/ 22478203 w 25010275"/>
                <a:gd name="connsiteY67" fmla="*/ 2296774 h 15035524"/>
                <a:gd name="connsiteX68" fmla="*/ 23888932 w 25010275"/>
                <a:gd name="connsiteY68" fmla="*/ 1880797 h 15035524"/>
                <a:gd name="connsiteX69" fmla="*/ 25010275 w 25010275"/>
                <a:gd name="connsiteY69" fmla="*/ 578575 h 15035524"/>
                <a:gd name="connsiteX70" fmla="*/ 14750481 w 25010275"/>
                <a:gd name="connsiteY70" fmla="*/ 5913293 h 15035524"/>
                <a:gd name="connsiteX71" fmla="*/ 16362364 w 25010275"/>
                <a:gd name="connsiteY71" fmla="*/ 6360628 h 15035524"/>
                <a:gd name="connsiteX72" fmla="*/ 16682563 w 25010275"/>
                <a:gd name="connsiteY72" fmla="*/ 6798531 h 15035524"/>
                <a:gd name="connsiteX0" fmla="*/ 16682563 w 25010275"/>
                <a:gd name="connsiteY0" fmla="*/ 6798531 h 15035524"/>
                <a:gd name="connsiteX1" fmla="*/ 16432262 w 25010275"/>
                <a:gd name="connsiteY1" fmla="*/ 7825917 h 15035524"/>
                <a:gd name="connsiteX2" fmla="*/ 16106317 w 25010275"/>
                <a:gd name="connsiteY2" fmla="*/ 8367221 h 15035524"/>
                <a:gd name="connsiteX3" fmla="*/ 16305649 w 25010275"/>
                <a:gd name="connsiteY3" fmla="*/ 8754550 h 15035524"/>
                <a:gd name="connsiteX4" fmla="*/ 16287189 w 25010275"/>
                <a:gd name="connsiteY4" fmla="*/ 9151157 h 15035524"/>
                <a:gd name="connsiteX5" fmla="*/ 16372801 w 25010275"/>
                <a:gd name="connsiteY5" fmla="*/ 9717422 h 15035524"/>
                <a:gd name="connsiteX6" fmla="*/ 16070155 w 25010275"/>
                <a:gd name="connsiteY6" fmla="*/ 9937808 h 15035524"/>
                <a:gd name="connsiteX7" fmla="*/ 15805690 w 25010275"/>
                <a:gd name="connsiteY7" fmla="*/ 10431999 h 15035524"/>
                <a:gd name="connsiteX8" fmla="*/ 15195097 w 25010275"/>
                <a:gd name="connsiteY8" fmla="*/ 10093742 h 15035524"/>
                <a:gd name="connsiteX9" fmla="*/ 15011380 w 25010275"/>
                <a:gd name="connsiteY9" fmla="*/ 11048592 h 15035524"/>
                <a:gd name="connsiteX10" fmla="*/ 14908430 w 25010275"/>
                <a:gd name="connsiteY10" fmla="*/ 11937487 h 15035524"/>
                <a:gd name="connsiteX11" fmla="*/ 14904684 w 25010275"/>
                <a:gd name="connsiteY11" fmla="*/ 12760926 h 15035524"/>
                <a:gd name="connsiteX12" fmla="*/ 14929927 w 25010275"/>
                <a:gd name="connsiteY12" fmla="*/ 14391846 h 15035524"/>
                <a:gd name="connsiteX13" fmla="*/ 12952786 w 25010275"/>
                <a:gd name="connsiteY13" fmla="*/ 14842599 h 15035524"/>
                <a:gd name="connsiteX14" fmla="*/ 11934663 w 25010275"/>
                <a:gd name="connsiteY14" fmla="*/ 14890849 h 15035524"/>
                <a:gd name="connsiteX15" fmla="*/ 8506848 w 25010275"/>
                <a:gd name="connsiteY15" fmla="*/ 15035524 h 15035524"/>
                <a:gd name="connsiteX16" fmla="*/ 7985095 w 25010275"/>
                <a:gd name="connsiteY16" fmla="*/ 14390442 h 15035524"/>
                <a:gd name="connsiteX17" fmla="*/ 7400308 w 25010275"/>
                <a:gd name="connsiteY17" fmla="*/ 14360297 h 15035524"/>
                <a:gd name="connsiteX18" fmla="*/ 6972273 w 25010275"/>
                <a:gd name="connsiteY18" fmla="*/ 14631594 h 15035524"/>
                <a:gd name="connsiteX19" fmla="*/ 5181729 w 25010275"/>
                <a:gd name="connsiteY19" fmla="*/ 14547195 h 15035524"/>
                <a:gd name="connsiteX20" fmla="*/ 4397998 w 25010275"/>
                <a:gd name="connsiteY20" fmla="*/ 13914178 h 15035524"/>
                <a:gd name="connsiteX21" fmla="*/ 2908896 w 25010275"/>
                <a:gd name="connsiteY21" fmla="*/ 13106324 h 15035524"/>
                <a:gd name="connsiteX22" fmla="*/ 1263043 w 25010275"/>
                <a:gd name="connsiteY22" fmla="*/ 12394931 h 15035524"/>
                <a:gd name="connsiteX23" fmla="*/ 485320 w 25010275"/>
                <a:gd name="connsiteY23" fmla="*/ 11942774 h 15035524"/>
                <a:gd name="connsiteX24" fmla="*/ 0 w 25010275"/>
                <a:gd name="connsiteY24" fmla="*/ 11649662 h 15035524"/>
                <a:gd name="connsiteX25" fmla="*/ 1003686 w 25010275"/>
                <a:gd name="connsiteY25" fmla="*/ 10903697 h 15035524"/>
                <a:gd name="connsiteX26" fmla="*/ 2902551 w 25010275"/>
                <a:gd name="connsiteY26" fmla="*/ 9719298 h 15035524"/>
                <a:gd name="connsiteX27" fmla="*/ 2558940 w 25010275"/>
                <a:gd name="connsiteY27" fmla="*/ 9185867 h 15035524"/>
                <a:gd name="connsiteX28" fmla="*/ 2402508 w 25010275"/>
                <a:gd name="connsiteY28" fmla="*/ 8498784 h 15035524"/>
                <a:gd name="connsiteX29" fmla="*/ 2730740 w 25010275"/>
                <a:gd name="connsiteY29" fmla="*/ 8471613 h 15035524"/>
                <a:gd name="connsiteX30" fmla="*/ 2947754 w 25010275"/>
                <a:gd name="connsiteY30" fmla="*/ 8001468 h 15035524"/>
                <a:gd name="connsiteX31" fmla="*/ 3499325 w 25010275"/>
                <a:gd name="connsiteY31" fmla="*/ 7558451 h 15035524"/>
                <a:gd name="connsiteX32" fmla="*/ 3680166 w 25010275"/>
                <a:gd name="connsiteY32" fmla="*/ 6681453 h 15035524"/>
                <a:gd name="connsiteX33" fmla="*/ 4186528 w 25010275"/>
                <a:gd name="connsiteY33" fmla="*/ 6690489 h 15035524"/>
                <a:gd name="connsiteX34" fmla="*/ 4837569 w 25010275"/>
                <a:gd name="connsiteY34" fmla="*/ 7160639 h 15035524"/>
                <a:gd name="connsiteX35" fmla="*/ 5352976 w 25010275"/>
                <a:gd name="connsiteY35" fmla="*/ 7079272 h 15035524"/>
                <a:gd name="connsiteX36" fmla="*/ 5741786 w 25010275"/>
                <a:gd name="connsiteY36" fmla="*/ 6708577 h 15035524"/>
                <a:gd name="connsiteX37" fmla="*/ 6157723 w 25010275"/>
                <a:gd name="connsiteY37" fmla="*/ 6545836 h 15035524"/>
                <a:gd name="connsiteX38" fmla="*/ 6745471 w 25010275"/>
                <a:gd name="connsiteY38" fmla="*/ 5976243 h 15035524"/>
                <a:gd name="connsiteX39" fmla="*/ 6890140 w 25010275"/>
                <a:gd name="connsiteY39" fmla="*/ 5126367 h 15035524"/>
                <a:gd name="connsiteX40" fmla="*/ 7568305 w 25010275"/>
                <a:gd name="connsiteY40" fmla="*/ 4556773 h 15035524"/>
                <a:gd name="connsiteX41" fmla="*/ 8137967 w 25010275"/>
                <a:gd name="connsiteY41" fmla="*/ 4113752 h 15035524"/>
                <a:gd name="connsiteX42" fmla="*/ 8463480 w 25010275"/>
                <a:gd name="connsiteY42" fmla="*/ 3309085 h 15035524"/>
                <a:gd name="connsiteX43" fmla="*/ 9024093 w 25010275"/>
                <a:gd name="connsiteY43" fmla="*/ 2956478 h 15035524"/>
                <a:gd name="connsiteX44" fmla="*/ 9675138 w 25010275"/>
                <a:gd name="connsiteY44" fmla="*/ 2603876 h 15035524"/>
                <a:gd name="connsiteX45" fmla="*/ 9558580 w 25010275"/>
                <a:gd name="connsiteY45" fmla="*/ 2055592 h 15035524"/>
                <a:gd name="connsiteX46" fmla="*/ 10353296 w 25010275"/>
                <a:gd name="connsiteY46" fmla="*/ 1383308 h 15035524"/>
                <a:gd name="connsiteX47" fmla="*/ 10832530 w 25010275"/>
                <a:gd name="connsiteY47" fmla="*/ 1310974 h 15035524"/>
                <a:gd name="connsiteX48" fmla="*/ 11058585 w 25010275"/>
                <a:gd name="connsiteY48" fmla="*/ 1763043 h 15035524"/>
                <a:gd name="connsiteX49" fmla="*/ 11411229 w 25010275"/>
                <a:gd name="connsiteY49" fmla="*/ 2142774 h 15035524"/>
                <a:gd name="connsiteX50" fmla="*/ 11998974 w 25010275"/>
                <a:gd name="connsiteY50" fmla="*/ 2224144 h 15035524"/>
                <a:gd name="connsiteX51" fmla="*/ 12315449 w 25010275"/>
                <a:gd name="connsiteY51" fmla="*/ 2884156 h 15035524"/>
                <a:gd name="connsiteX52" fmla="*/ 12785642 w 25010275"/>
                <a:gd name="connsiteY52" fmla="*/ 2703327 h 15035524"/>
                <a:gd name="connsiteX53" fmla="*/ 13671776 w 25010275"/>
                <a:gd name="connsiteY53" fmla="*/ 3155388 h 15035524"/>
                <a:gd name="connsiteX54" fmla="*/ 14123886 w 25010275"/>
                <a:gd name="connsiteY54" fmla="*/ 2857035 h 15035524"/>
                <a:gd name="connsiteX55" fmla="*/ 14259509 w 25010275"/>
                <a:gd name="connsiteY55" fmla="*/ 2287434 h 15035524"/>
                <a:gd name="connsiteX56" fmla="*/ 14892468 w 25010275"/>
                <a:gd name="connsiteY56" fmla="*/ 1645503 h 15035524"/>
                <a:gd name="connsiteX57" fmla="*/ 15778605 w 25010275"/>
                <a:gd name="connsiteY57" fmla="*/ 1093983 h 15035524"/>
                <a:gd name="connsiteX58" fmla="*/ 16022739 w 25010275"/>
                <a:gd name="connsiteY58" fmla="*/ 1564133 h 15035524"/>
                <a:gd name="connsiteX59" fmla="*/ 16556232 w 25010275"/>
                <a:gd name="connsiteY59" fmla="*/ 2142785 h 15035524"/>
                <a:gd name="connsiteX60" fmla="*/ 17406193 w 25010275"/>
                <a:gd name="connsiteY60" fmla="*/ 1292897 h 15035524"/>
                <a:gd name="connsiteX61" fmla="*/ 18120524 w 25010275"/>
                <a:gd name="connsiteY61" fmla="*/ 714260 h 15035524"/>
                <a:gd name="connsiteX62" fmla="*/ 18744437 w 25010275"/>
                <a:gd name="connsiteY62" fmla="*/ -1 h 15035524"/>
                <a:gd name="connsiteX63" fmla="*/ 19982300 w 25010275"/>
                <a:gd name="connsiteY63" fmla="*/ 343465 h 15035524"/>
                <a:gd name="connsiteX64" fmla="*/ 19837609 w 25010275"/>
                <a:gd name="connsiteY64" fmla="*/ 1121173 h 15035524"/>
                <a:gd name="connsiteX65" fmla="*/ 21881359 w 25010275"/>
                <a:gd name="connsiteY65" fmla="*/ 1772279 h 15035524"/>
                <a:gd name="connsiteX66" fmla="*/ 21537712 w 25010275"/>
                <a:gd name="connsiteY66" fmla="*/ 2767023 h 15035524"/>
                <a:gd name="connsiteX67" fmla="*/ 22478203 w 25010275"/>
                <a:gd name="connsiteY67" fmla="*/ 2296774 h 15035524"/>
                <a:gd name="connsiteX68" fmla="*/ 23888932 w 25010275"/>
                <a:gd name="connsiteY68" fmla="*/ 1880797 h 15035524"/>
                <a:gd name="connsiteX69" fmla="*/ 25010275 w 25010275"/>
                <a:gd name="connsiteY69" fmla="*/ 578575 h 15035524"/>
                <a:gd name="connsiteX70" fmla="*/ 16350939 w 25010275"/>
                <a:gd name="connsiteY70" fmla="*/ 6053348 h 15035524"/>
                <a:gd name="connsiteX71" fmla="*/ 16362364 w 25010275"/>
                <a:gd name="connsiteY71" fmla="*/ 6360628 h 15035524"/>
                <a:gd name="connsiteX72" fmla="*/ 16682563 w 25010275"/>
                <a:gd name="connsiteY72" fmla="*/ 6798531 h 15035524"/>
                <a:gd name="connsiteX0" fmla="*/ 16682563 w 23888933"/>
                <a:gd name="connsiteY0" fmla="*/ 6798531 h 15035524"/>
                <a:gd name="connsiteX1" fmla="*/ 16432262 w 23888933"/>
                <a:gd name="connsiteY1" fmla="*/ 7825917 h 15035524"/>
                <a:gd name="connsiteX2" fmla="*/ 16106317 w 23888933"/>
                <a:gd name="connsiteY2" fmla="*/ 8367221 h 15035524"/>
                <a:gd name="connsiteX3" fmla="*/ 16305649 w 23888933"/>
                <a:gd name="connsiteY3" fmla="*/ 8754550 h 15035524"/>
                <a:gd name="connsiteX4" fmla="*/ 16287189 w 23888933"/>
                <a:gd name="connsiteY4" fmla="*/ 9151157 h 15035524"/>
                <a:gd name="connsiteX5" fmla="*/ 16372801 w 23888933"/>
                <a:gd name="connsiteY5" fmla="*/ 9717422 h 15035524"/>
                <a:gd name="connsiteX6" fmla="*/ 16070155 w 23888933"/>
                <a:gd name="connsiteY6" fmla="*/ 9937808 h 15035524"/>
                <a:gd name="connsiteX7" fmla="*/ 15805690 w 23888933"/>
                <a:gd name="connsiteY7" fmla="*/ 10431999 h 15035524"/>
                <a:gd name="connsiteX8" fmla="*/ 15195097 w 23888933"/>
                <a:gd name="connsiteY8" fmla="*/ 10093742 h 15035524"/>
                <a:gd name="connsiteX9" fmla="*/ 15011380 w 23888933"/>
                <a:gd name="connsiteY9" fmla="*/ 11048592 h 15035524"/>
                <a:gd name="connsiteX10" fmla="*/ 14908430 w 23888933"/>
                <a:gd name="connsiteY10" fmla="*/ 11937487 h 15035524"/>
                <a:gd name="connsiteX11" fmla="*/ 14904684 w 23888933"/>
                <a:gd name="connsiteY11" fmla="*/ 12760926 h 15035524"/>
                <a:gd name="connsiteX12" fmla="*/ 14929927 w 23888933"/>
                <a:gd name="connsiteY12" fmla="*/ 14391846 h 15035524"/>
                <a:gd name="connsiteX13" fmla="*/ 12952786 w 23888933"/>
                <a:gd name="connsiteY13" fmla="*/ 14842599 h 15035524"/>
                <a:gd name="connsiteX14" fmla="*/ 11934663 w 23888933"/>
                <a:gd name="connsiteY14" fmla="*/ 14890849 h 15035524"/>
                <a:gd name="connsiteX15" fmla="*/ 8506848 w 23888933"/>
                <a:gd name="connsiteY15" fmla="*/ 15035524 h 15035524"/>
                <a:gd name="connsiteX16" fmla="*/ 7985095 w 23888933"/>
                <a:gd name="connsiteY16" fmla="*/ 14390442 h 15035524"/>
                <a:gd name="connsiteX17" fmla="*/ 7400308 w 23888933"/>
                <a:gd name="connsiteY17" fmla="*/ 14360297 h 15035524"/>
                <a:gd name="connsiteX18" fmla="*/ 6972273 w 23888933"/>
                <a:gd name="connsiteY18" fmla="*/ 14631594 h 15035524"/>
                <a:gd name="connsiteX19" fmla="*/ 5181729 w 23888933"/>
                <a:gd name="connsiteY19" fmla="*/ 14547195 h 15035524"/>
                <a:gd name="connsiteX20" fmla="*/ 4397998 w 23888933"/>
                <a:gd name="connsiteY20" fmla="*/ 13914178 h 15035524"/>
                <a:gd name="connsiteX21" fmla="*/ 2908896 w 23888933"/>
                <a:gd name="connsiteY21" fmla="*/ 13106324 h 15035524"/>
                <a:gd name="connsiteX22" fmla="*/ 1263043 w 23888933"/>
                <a:gd name="connsiteY22" fmla="*/ 12394931 h 15035524"/>
                <a:gd name="connsiteX23" fmla="*/ 485320 w 23888933"/>
                <a:gd name="connsiteY23" fmla="*/ 11942774 h 15035524"/>
                <a:gd name="connsiteX24" fmla="*/ 0 w 23888933"/>
                <a:gd name="connsiteY24" fmla="*/ 11649662 h 15035524"/>
                <a:gd name="connsiteX25" fmla="*/ 1003686 w 23888933"/>
                <a:gd name="connsiteY25" fmla="*/ 10903697 h 15035524"/>
                <a:gd name="connsiteX26" fmla="*/ 2902551 w 23888933"/>
                <a:gd name="connsiteY26" fmla="*/ 9719298 h 15035524"/>
                <a:gd name="connsiteX27" fmla="*/ 2558940 w 23888933"/>
                <a:gd name="connsiteY27" fmla="*/ 9185867 h 15035524"/>
                <a:gd name="connsiteX28" fmla="*/ 2402508 w 23888933"/>
                <a:gd name="connsiteY28" fmla="*/ 8498784 h 15035524"/>
                <a:gd name="connsiteX29" fmla="*/ 2730740 w 23888933"/>
                <a:gd name="connsiteY29" fmla="*/ 8471613 h 15035524"/>
                <a:gd name="connsiteX30" fmla="*/ 2947754 w 23888933"/>
                <a:gd name="connsiteY30" fmla="*/ 8001468 h 15035524"/>
                <a:gd name="connsiteX31" fmla="*/ 3499325 w 23888933"/>
                <a:gd name="connsiteY31" fmla="*/ 7558451 h 15035524"/>
                <a:gd name="connsiteX32" fmla="*/ 3680166 w 23888933"/>
                <a:gd name="connsiteY32" fmla="*/ 6681453 h 15035524"/>
                <a:gd name="connsiteX33" fmla="*/ 4186528 w 23888933"/>
                <a:gd name="connsiteY33" fmla="*/ 6690489 h 15035524"/>
                <a:gd name="connsiteX34" fmla="*/ 4837569 w 23888933"/>
                <a:gd name="connsiteY34" fmla="*/ 7160639 h 15035524"/>
                <a:gd name="connsiteX35" fmla="*/ 5352976 w 23888933"/>
                <a:gd name="connsiteY35" fmla="*/ 7079272 h 15035524"/>
                <a:gd name="connsiteX36" fmla="*/ 5741786 w 23888933"/>
                <a:gd name="connsiteY36" fmla="*/ 6708577 h 15035524"/>
                <a:gd name="connsiteX37" fmla="*/ 6157723 w 23888933"/>
                <a:gd name="connsiteY37" fmla="*/ 6545836 h 15035524"/>
                <a:gd name="connsiteX38" fmla="*/ 6745471 w 23888933"/>
                <a:gd name="connsiteY38" fmla="*/ 5976243 h 15035524"/>
                <a:gd name="connsiteX39" fmla="*/ 6890140 w 23888933"/>
                <a:gd name="connsiteY39" fmla="*/ 5126367 h 15035524"/>
                <a:gd name="connsiteX40" fmla="*/ 7568305 w 23888933"/>
                <a:gd name="connsiteY40" fmla="*/ 4556773 h 15035524"/>
                <a:gd name="connsiteX41" fmla="*/ 8137967 w 23888933"/>
                <a:gd name="connsiteY41" fmla="*/ 4113752 h 15035524"/>
                <a:gd name="connsiteX42" fmla="*/ 8463480 w 23888933"/>
                <a:gd name="connsiteY42" fmla="*/ 3309085 h 15035524"/>
                <a:gd name="connsiteX43" fmla="*/ 9024093 w 23888933"/>
                <a:gd name="connsiteY43" fmla="*/ 2956478 h 15035524"/>
                <a:gd name="connsiteX44" fmla="*/ 9675138 w 23888933"/>
                <a:gd name="connsiteY44" fmla="*/ 2603876 h 15035524"/>
                <a:gd name="connsiteX45" fmla="*/ 9558580 w 23888933"/>
                <a:gd name="connsiteY45" fmla="*/ 2055592 h 15035524"/>
                <a:gd name="connsiteX46" fmla="*/ 10353296 w 23888933"/>
                <a:gd name="connsiteY46" fmla="*/ 1383308 h 15035524"/>
                <a:gd name="connsiteX47" fmla="*/ 10832530 w 23888933"/>
                <a:gd name="connsiteY47" fmla="*/ 1310974 h 15035524"/>
                <a:gd name="connsiteX48" fmla="*/ 11058585 w 23888933"/>
                <a:gd name="connsiteY48" fmla="*/ 1763043 h 15035524"/>
                <a:gd name="connsiteX49" fmla="*/ 11411229 w 23888933"/>
                <a:gd name="connsiteY49" fmla="*/ 2142774 h 15035524"/>
                <a:gd name="connsiteX50" fmla="*/ 11998974 w 23888933"/>
                <a:gd name="connsiteY50" fmla="*/ 2224144 h 15035524"/>
                <a:gd name="connsiteX51" fmla="*/ 12315449 w 23888933"/>
                <a:gd name="connsiteY51" fmla="*/ 2884156 h 15035524"/>
                <a:gd name="connsiteX52" fmla="*/ 12785642 w 23888933"/>
                <a:gd name="connsiteY52" fmla="*/ 2703327 h 15035524"/>
                <a:gd name="connsiteX53" fmla="*/ 13671776 w 23888933"/>
                <a:gd name="connsiteY53" fmla="*/ 3155388 h 15035524"/>
                <a:gd name="connsiteX54" fmla="*/ 14123886 w 23888933"/>
                <a:gd name="connsiteY54" fmla="*/ 2857035 h 15035524"/>
                <a:gd name="connsiteX55" fmla="*/ 14259509 w 23888933"/>
                <a:gd name="connsiteY55" fmla="*/ 2287434 h 15035524"/>
                <a:gd name="connsiteX56" fmla="*/ 14892468 w 23888933"/>
                <a:gd name="connsiteY56" fmla="*/ 1645503 h 15035524"/>
                <a:gd name="connsiteX57" fmla="*/ 15778605 w 23888933"/>
                <a:gd name="connsiteY57" fmla="*/ 1093983 h 15035524"/>
                <a:gd name="connsiteX58" fmla="*/ 16022739 w 23888933"/>
                <a:gd name="connsiteY58" fmla="*/ 1564133 h 15035524"/>
                <a:gd name="connsiteX59" fmla="*/ 16556232 w 23888933"/>
                <a:gd name="connsiteY59" fmla="*/ 2142785 h 15035524"/>
                <a:gd name="connsiteX60" fmla="*/ 17406193 w 23888933"/>
                <a:gd name="connsiteY60" fmla="*/ 1292897 h 15035524"/>
                <a:gd name="connsiteX61" fmla="*/ 18120524 w 23888933"/>
                <a:gd name="connsiteY61" fmla="*/ 714260 h 15035524"/>
                <a:gd name="connsiteX62" fmla="*/ 18744437 w 23888933"/>
                <a:gd name="connsiteY62" fmla="*/ -1 h 15035524"/>
                <a:gd name="connsiteX63" fmla="*/ 19982300 w 23888933"/>
                <a:gd name="connsiteY63" fmla="*/ 343465 h 15035524"/>
                <a:gd name="connsiteX64" fmla="*/ 19837609 w 23888933"/>
                <a:gd name="connsiteY64" fmla="*/ 1121173 h 15035524"/>
                <a:gd name="connsiteX65" fmla="*/ 21881359 w 23888933"/>
                <a:gd name="connsiteY65" fmla="*/ 1772279 h 15035524"/>
                <a:gd name="connsiteX66" fmla="*/ 21537712 w 23888933"/>
                <a:gd name="connsiteY66" fmla="*/ 2767023 h 15035524"/>
                <a:gd name="connsiteX67" fmla="*/ 22478203 w 23888933"/>
                <a:gd name="connsiteY67" fmla="*/ 2296774 h 15035524"/>
                <a:gd name="connsiteX68" fmla="*/ 23888932 w 23888933"/>
                <a:gd name="connsiteY68" fmla="*/ 1880797 h 15035524"/>
                <a:gd name="connsiteX69" fmla="*/ 17541488 w 23888933"/>
                <a:gd name="connsiteY69" fmla="*/ 3715695 h 15035524"/>
                <a:gd name="connsiteX70" fmla="*/ 16350939 w 23888933"/>
                <a:gd name="connsiteY70" fmla="*/ 6053348 h 15035524"/>
                <a:gd name="connsiteX71" fmla="*/ 16362364 w 23888933"/>
                <a:gd name="connsiteY71" fmla="*/ 6360628 h 15035524"/>
                <a:gd name="connsiteX72" fmla="*/ 16682563 w 23888933"/>
                <a:gd name="connsiteY72" fmla="*/ 6798531 h 15035524"/>
                <a:gd name="connsiteX0" fmla="*/ 16682563 w 23888933"/>
                <a:gd name="connsiteY0" fmla="*/ 6798531 h 15035524"/>
                <a:gd name="connsiteX1" fmla="*/ 16432262 w 23888933"/>
                <a:gd name="connsiteY1" fmla="*/ 7825917 h 15035524"/>
                <a:gd name="connsiteX2" fmla="*/ 16106317 w 23888933"/>
                <a:gd name="connsiteY2" fmla="*/ 8367221 h 15035524"/>
                <a:gd name="connsiteX3" fmla="*/ 16305649 w 23888933"/>
                <a:gd name="connsiteY3" fmla="*/ 8754550 h 15035524"/>
                <a:gd name="connsiteX4" fmla="*/ 16287189 w 23888933"/>
                <a:gd name="connsiteY4" fmla="*/ 9151157 h 15035524"/>
                <a:gd name="connsiteX5" fmla="*/ 16372801 w 23888933"/>
                <a:gd name="connsiteY5" fmla="*/ 9717422 h 15035524"/>
                <a:gd name="connsiteX6" fmla="*/ 16070155 w 23888933"/>
                <a:gd name="connsiteY6" fmla="*/ 9937808 h 15035524"/>
                <a:gd name="connsiteX7" fmla="*/ 15805690 w 23888933"/>
                <a:gd name="connsiteY7" fmla="*/ 10431999 h 15035524"/>
                <a:gd name="connsiteX8" fmla="*/ 15195097 w 23888933"/>
                <a:gd name="connsiteY8" fmla="*/ 10093742 h 15035524"/>
                <a:gd name="connsiteX9" fmla="*/ 15011380 w 23888933"/>
                <a:gd name="connsiteY9" fmla="*/ 11048592 h 15035524"/>
                <a:gd name="connsiteX10" fmla="*/ 14908430 w 23888933"/>
                <a:gd name="connsiteY10" fmla="*/ 11937487 h 15035524"/>
                <a:gd name="connsiteX11" fmla="*/ 14904684 w 23888933"/>
                <a:gd name="connsiteY11" fmla="*/ 12760926 h 15035524"/>
                <a:gd name="connsiteX12" fmla="*/ 14929927 w 23888933"/>
                <a:gd name="connsiteY12" fmla="*/ 14391846 h 15035524"/>
                <a:gd name="connsiteX13" fmla="*/ 12952786 w 23888933"/>
                <a:gd name="connsiteY13" fmla="*/ 14842599 h 15035524"/>
                <a:gd name="connsiteX14" fmla="*/ 11934663 w 23888933"/>
                <a:gd name="connsiteY14" fmla="*/ 14890849 h 15035524"/>
                <a:gd name="connsiteX15" fmla="*/ 8506848 w 23888933"/>
                <a:gd name="connsiteY15" fmla="*/ 15035524 h 15035524"/>
                <a:gd name="connsiteX16" fmla="*/ 7985095 w 23888933"/>
                <a:gd name="connsiteY16" fmla="*/ 14390442 h 15035524"/>
                <a:gd name="connsiteX17" fmla="*/ 7400308 w 23888933"/>
                <a:gd name="connsiteY17" fmla="*/ 14360297 h 15035524"/>
                <a:gd name="connsiteX18" fmla="*/ 6972273 w 23888933"/>
                <a:gd name="connsiteY18" fmla="*/ 14631594 h 15035524"/>
                <a:gd name="connsiteX19" fmla="*/ 5181729 w 23888933"/>
                <a:gd name="connsiteY19" fmla="*/ 14547195 h 15035524"/>
                <a:gd name="connsiteX20" fmla="*/ 4397998 w 23888933"/>
                <a:gd name="connsiteY20" fmla="*/ 13914178 h 15035524"/>
                <a:gd name="connsiteX21" fmla="*/ 2908896 w 23888933"/>
                <a:gd name="connsiteY21" fmla="*/ 13106324 h 15035524"/>
                <a:gd name="connsiteX22" fmla="*/ 1263043 w 23888933"/>
                <a:gd name="connsiteY22" fmla="*/ 12394931 h 15035524"/>
                <a:gd name="connsiteX23" fmla="*/ 485320 w 23888933"/>
                <a:gd name="connsiteY23" fmla="*/ 11942774 h 15035524"/>
                <a:gd name="connsiteX24" fmla="*/ 0 w 23888933"/>
                <a:gd name="connsiteY24" fmla="*/ 11649662 h 15035524"/>
                <a:gd name="connsiteX25" fmla="*/ 1003686 w 23888933"/>
                <a:gd name="connsiteY25" fmla="*/ 10903697 h 15035524"/>
                <a:gd name="connsiteX26" fmla="*/ 2902551 w 23888933"/>
                <a:gd name="connsiteY26" fmla="*/ 9719298 h 15035524"/>
                <a:gd name="connsiteX27" fmla="*/ 2558940 w 23888933"/>
                <a:gd name="connsiteY27" fmla="*/ 9185867 h 15035524"/>
                <a:gd name="connsiteX28" fmla="*/ 2402508 w 23888933"/>
                <a:gd name="connsiteY28" fmla="*/ 8498784 h 15035524"/>
                <a:gd name="connsiteX29" fmla="*/ 2730740 w 23888933"/>
                <a:gd name="connsiteY29" fmla="*/ 8471613 h 15035524"/>
                <a:gd name="connsiteX30" fmla="*/ 2947754 w 23888933"/>
                <a:gd name="connsiteY30" fmla="*/ 8001468 h 15035524"/>
                <a:gd name="connsiteX31" fmla="*/ 3499325 w 23888933"/>
                <a:gd name="connsiteY31" fmla="*/ 7558451 h 15035524"/>
                <a:gd name="connsiteX32" fmla="*/ 3680166 w 23888933"/>
                <a:gd name="connsiteY32" fmla="*/ 6681453 h 15035524"/>
                <a:gd name="connsiteX33" fmla="*/ 4186528 w 23888933"/>
                <a:gd name="connsiteY33" fmla="*/ 6690489 h 15035524"/>
                <a:gd name="connsiteX34" fmla="*/ 4837569 w 23888933"/>
                <a:gd name="connsiteY34" fmla="*/ 7160639 h 15035524"/>
                <a:gd name="connsiteX35" fmla="*/ 5352976 w 23888933"/>
                <a:gd name="connsiteY35" fmla="*/ 7079272 h 15035524"/>
                <a:gd name="connsiteX36" fmla="*/ 5741786 w 23888933"/>
                <a:gd name="connsiteY36" fmla="*/ 6708577 h 15035524"/>
                <a:gd name="connsiteX37" fmla="*/ 6157723 w 23888933"/>
                <a:gd name="connsiteY37" fmla="*/ 6545836 h 15035524"/>
                <a:gd name="connsiteX38" fmla="*/ 6745471 w 23888933"/>
                <a:gd name="connsiteY38" fmla="*/ 5976243 h 15035524"/>
                <a:gd name="connsiteX39" fmla="*/ 6890140 w 23888933"/>
                <a:gd name="connsiteY39" fmla="*/ 5126367 h 15035524"/>
                <a:gd name="connsiteX40" fmla="*/ 7568305 w 23888933"/>
                <a:gd name="connsiteY40" fmla="*/ 4556773 h 15035524"/>
                <a:gd name="connsiteX41" fmla="*/ 8137967 w 23888933"/>
                <a:gd name="connsiteY41" fmla="*/ 4113752 h 15035524"/>
                <a:gd name="connsiteX42" fmla="*/ 8463480 w 23888933"/>
                <a:gd name="connsiteY42" fmla="*/ 3309085 h 15035524"/>
                <a:gd name="connsiteX43" fmla="*/ 9024093 w 23888933"/>
                <a:gd name="connsiteY43" fmla="*/ 2956478 h 15035524"/>
                <a:gd name="connsiteX44" fmla="*/ 9675138 w 23888933"/>
                <a:gd name="connsiteY44" fmla="*/ 2603876 h 15035524"/>
                <a:gd name="connsiteX45" fmla="*/ 9558580 w 23888933"/>
                <a:gd name="connsiteY45" fmla="*/ 2055592 h 15035524"/>
                <a:gd name="connsiteX46" fmla="*/ 10353296 w 23888933"/>
                <a:gd name="connsiteY46" fmla="*/ 1383308 h 15035524"/>
                <a:gd name="connsiteX47" fmla="*/ 10832530 w 23888933"/>
                <a:gd name="connsiteY47" fmla="*/ 1310974 h 15035524"/>
                <a:gd name="connsiteX48" fmla="*/ 11058585 w 23888933"/>
                <a:gd name="connsiteY48" fmla="*/ 1763043 h 15035524"/>
                <a:gd name="connsiteX49" fmla="*/ 11411229 w 23888933"/>
                <a:gd name="connsiteY49" fmla="*/ 2142774 h 15035524"/>
                <a:gd name="connsiteX50" fmla="*/ 11998974 w 23888933"/>
                <a:gd name="connsiteY50" fmla="*/ 2224144 h 15035524"/>
                <a:gd name="connsiteX51" fmla="*/ 12315449 w 23888933"/>
                <a:gd name="connsiteY51" fmla="*/ 2884156 h 15035524"/>
                <a:gd name="connsiteX52" fmla="*/ 12785642 w 23888933"/>
                <a:gd name="connsiteY52" fmla="*/ 2703327 h 15035524"/>
                <a:gd name="connsiteX53" fmla="*/ 13671776 w 23888933"/>
                <a:gd name="connsiteY53" fmla="*/ 3155388 h 15035524"/>
                <a:gd name="connsiteX54" fmla="*/ 14123886 w 23888933"/>
                <a:gd name="connsiteY54" fmla="*/ 2857035 h 15035524"/>
                <a:gd name="connsiteX55" fmla="*/ 14259509 w 23888933"/>
                <a:gd name="connsiteY55" fmla="*/ 2287434 h 15035524"/>
                <a:gd name="connsiteX56" fmla="*/ 14892468 w 23888933"/>
                <a:gd name="connsiteY56" fmla="*/ 1645503 h 15035524"/>
                <a:gd name="connsiteX57" fmla="*/ 15778605 w 23888933"/>
                <a:gd name="connsiteY57" fmla="*/ 1093983 h 15035524"/>
                <a:gd name="connsiteX58" fmla="*/ 16022739 w 23888933"/>
                <a:gd name="connsiteY58" fmla="*/ 1564133 h 15035524"/>
                <a:gd name="connsiteX59" fmla="*/ 16556232 w 23888933"/>
                <a:gd name="connsiteY59" fmla="*/ 2142785 h 15035524"/>
                <a:gd name="connsiteX60" fmla="*/ 17406193 w 23888933"/>
                <a:gd name="connsiteY60" fmla="*/ 1292897 h 15035524"/>
                <a:gd name="connsiteX61" fmla="*/ 18120524 w 23888933"/>
                <a:gd name="connsiteY61" fmla="*/ 714260 h 15035524"/>
                <a:gd name="connsiteX62" fmla="*/ 18744437 w 23888933"/>
                <a:gd name="connsiteY62" fmla="*/ -1 h 15035524"/>
                <a:gd name="connsiteX63" fmla="*/ 19982300 w 23888933"/>
                <a:gd name="connsiteY63" fmla="*/ 343465 h 15035524"/>
                <a:gd name="connsiteX64" fmla="*/ 19837609 w 23888933"/>
                <a:gd name="connsiteY64" fmla="*/ 1121173 h 15035524"/>
                <a:gd name="connsiteX65" fmla="*/ 21881359 w 23888933"/>
                <a:gd name="connsiteY65" fmla="*/ 1772279 h 15035524"/>
                <a:gd name="connsiteX66" fmla="*/ 21537712 w 23888933"/>
                <a:gd name="connsiteY66" fmla="*/ 2767023 h 15035524"/>
                <a:gd name="connsiteX67" fmla="*/ 22478203 w 23888933"/>
                <a:gd name="connsiteY67" fmla="*/ 2296774 h 15035524"/>
                <a:gd name="connsiteX68" fmla="*/ 23888932 w 23888933"/>
                <a:gd name="connsiteY68" fmla="*/ 1880797 h 15035524"/>
                <a:gd name="connsiteX69" fmla="*/ 14031723 w 23888933"/>
                <a:gd name="connsiteY69" fmla="*/ 5592368 h 15035524"/>
                <a:gd name="connsiteX70" fmla="*/ 16350939 w 23888933"/>
                <a:gd name="connsiteY70" fmla="*/ 6053348 h 15035524"/>
                <a:gd name="connsiteX71" fmla="*/ 16362364 w 23888933"/>
                <a:gd name="connsiteY71" fmla="*/ 6360628 h 15035524"/>
                <a:gd name="connsiteX72" fmla="*/ 16682563 w 23888933"/>
                <a:gd name="connsiteY72" fmla="*/ 6798531 h 15035524"/>
                <a:gd name="connsiteX0" fmla="*/ 16682563 w 23888933"/>
                <a:gd name="connsiteY0" fmla="*/ 6798531 h 15035524"/>
                <a:gd name="connsiteX1" fmla="*/ 16432262 w 23888933"/>
                <a:gd name="connsiteY1" fmla="*/ 7825917 h 15035524"/>
                <a:gd name="connsiteX2" fmla="*/ 16106317 w 23888933"/>
                <a:gd name="connsiteY2" fmla="*/ 8367221 h 15035524"/>
                <a:gd name="connsiteX3" fmla="*/ 16305649 w 23888933"/>
                <a:gd name="connsiteY3" fmla="*/ 8754550 h 15035524"/>
                <a:gd name="connsiteX4" fmla="*/ 16287189 w 23888933"/>
                <a:gd name="connsiteY4" fmla="*/ 9151157 h 15035524"/>
                <a:gd name="connsiteX5" fmla="*/ 16372801 w 23888933"/>
                <a:gd name="connsiteY5" fmla="*/ 9717422 h 15035524"/>
                <a:gd name="connsiteX6" fmla="*/ 16070155 w 23888933"/>
                <a:gd name="connsiteY6" fmla="*/ 9937808 h 15035524"/>
                <a:gd name="connsiteX7" fmla="*/ 15805690 w 23888933"/>
                <a:gd name="connsiteY7" fmla="*/ 10431999 h 15035524"/>
                <a:gd name="connsiteX8" fmla="*/ 15195097 w 23888933"/>
                <a:gd name="connsiteY8" fmla="*/ 10093742 h 15035524"/>
                <a:gd name="connsiteX9" fmla="*/ 15011380 w 23888933"/>
                <a:gd name="connsiteY9" fmla="*/ 11048592 h 15035524"/>
                <a:gd name="connsiteX10" fmla="*/ 14908430 w 23888933"/>
                <a:gd name="connsiteY10" fmla="*/ 11937487 h 15035524"/>
                <a:gd name="connsiteX11" fmla="*/ 14904684 w 23888933"/>
                <a:gd name="connsiteY11" fmla="*/ 12760926 h 15035524"/>
                <a:gd name="connsiteX12" fmla="*/ 14929927 w 23888933"/>
                <a:gd name="connsiteY12" fmla="*/ 14391846 h 15035524"/>
                <a:gd name="connsiteX13" fmla="*/ 12952786 w 23888933"/>
                <a:gd name="connsiteY13" fmla="*/ 14842599 h 15035524"/>
                <a:gd name="connsiteX14" fmla="*/ 11934663 w 23888933"/>
                <a:gd name="connsiteY14" fmla="*/ 14890849 h 15035524"/>
                <a:gd name="connsiteX15" fmla="*/ 8506848 w 23888933"/>
                <a:gd name="connsiteY15" fmla="*/ 15035524 h 15035524"/>
                <a:gd name="connsiteX16" fmla="*/ 7985095 w 23888933"/>
                <a:gd name="connsiteY16" fmla="*/ 14390442 h 15035524"/>
                <a:gd name="connsiteX17" fmla="*/ 7400308 w 23888933"/>
                <a:gd name="connsiteY17" fmla="*/ 14360297 h 15035524"/>
                <a:gd name="connsiteX18" fmla="*/ 6972273 w 23888933"/>
                <a:gd name="connsiteY18" fmla="*/ 14631594 h 15035524"/>
                <a:gd name="connsiteX19" fmla="*/ 5181729 w 23888933"/>
                <a:gd name="connsiteY19" fmla="*/ 14547195 h 15035524"/>
                <a:gd name="connsiteX20" fmla="*/ 4397998 w 23888933"/>
                <a:gd name="connsiteY20" fmla="*/ 13914178 h 15035524"/>
                <a:gd name="connsiteX21" fmla="*/ 2908896 w 23888933"/>
                <a:gd name="connsiteY21" fmla="*/ 13106324 h 15035524"/>
                <a:gd name="connsiteX22" fmla="*/ 1263043 w 23888933"/>
                <a:gd name="connsiteY22" fmla="*/ 12394931 h 15035524"/>
                <a:gd name="connsiteX23" fmla="*/ 485320 w 23888933"/>
                <a:gd name="connsiteY23" fmla="*/ 11942774 h 15035524"/>
                <a:gd name="connsiteX24" fmla="*/ 0 w 23888933"/>
                <a:gd name="connsiteY24" fmla="*/ 11649662 h 15035524"/>
                <a:gd name="connsiteX25" fmla="*/ 1003686 w 23888933"/>
                <a:gd name="connsiteY25" fmla="*/ 10903697 h 15035524"/>
                <a:gd name="connsiteX26" fmla="*/ 2902551 w 23888933"/>
                <a:gd name="connsiteY26" fmla="*/ 9719298 h 15035524"/>
                <a:gd name="connsiteX27" fmla="*/ 2558940 w 23888933"/>
                <a:gd name="connsiteY27" fmla="*/ 9185867 h 15035524"/>
                <a:gd name="connsiteX28" fmla="*/ 2402508 w 23888933"/>
                <a:gd name="connsiteY28" fmla="*/ 8498784 h 15035524"/>
                <a:gd name="connsiteX29" fmla="*/ 2730740 w 23888933"/>
                <a:gd name="connsiteY29" fmla="*/ 8471613 h 15035524"/>
                <a:gd name="connsiteX30" fmla="*/ 2947754 w 23888933"/>
                <a:gd name="connsiteY30" fmla="*/ 8001468 h 15035524"/>
                <a:gd name="connsiteX31" fmla="*/ 3499325 w 23888933"/>
                <a:gd name="connsiteY31" fmla="*/ 7558451 h 15035524"/>
                <a:gd name="connsiteX32" fmla="*/ 3680166 w 23888933"/>
                <a:gd name="connsiteY32" fmla="*/ 6681453 h 15035524"/>
                <a:gd name="connsiteX33" fmla="*/ 4186528 w 23888933"/>
                <a:gd name="connsiteY33" fmla="*/ 6690489 h 15035524"/>
                <a:gd name="connsiteX34" fmla="*/ 4837569 w 23888933"/>
                <a:gd name="connsiteY34" fmla="*/ 7160639 h 15035524"/>
                <a:gd name="connsiteX35" fmla="*/ 5352976 w 23888933"/>
                <a:gd name="connsiteY35" fmla="*/ 7079272 h 15035524"/>
                <a:gd name="connsiteX36" fmla="*/ 5741786 w 23888933"/>
                <a:gd name="connsiteY36" fmla="*/ 6708577 h 15035524"/>
                <a:gd name="connsiteX37" fmla="*/ 6157723 w 23888933"/>
                <a:gd name="connsiteY37" fmla="*/ 6545836 h 15035524"/>
                <a:gd name="connsiteX38" fmla="*/ 6745471 w 23888933"/>
                <a:gd name="connsiteY38" fmla="*/ 5976243 h 15035524"/>
                <a:gd name="connsiteX39" fmla="*/ 6890140 w 23888933"/>
                <a:gd name="connsiteY39" fmla="*/ 5126367 h 15035524"/>
                <a:gd name="connsiteX40" fmla="*/ 7568305 w 23888933"/>
                <a:gd name="connsiteY40" fmla="*/ 4556773 h 15035524"/>
                <a:gd name="connsiteX41" fmla="*/ 8137967 w 23888933"/>
                <a:gd name="connsiteY41" fmla="*/ 4113752 h 15035524"/>
                <a:gd name="connsiteX42" fmla="*/ 8463480 w 23888933"/>
                <a:gd name="connsiteY42" fmla="*/ 3309085 h 15035524"/>
                <a:gd name="connsiteX43" fmla="*/ 9024093 w 23888933"/>
                <a:gd name="connsiteY43" fmla="*/ 2956478 h 15035524"/>
                <a:gd name="connsiteX44" fmla="*/ 9675138 w 23888933"/>
                <a:gd name="connsiteY44" fmla="*/ 2603876 h 15035524"/>
                <a:gd name="connsiteX45" fmla="*/ 9558580 w 23888933"/>
                <a:gd name="connsiteY45" fmla="*/ 2055592 h 15035524"/>
                <a:gd name="connsiteX46" fmla="*/ 10353296 w 23888933"/>
                <a:gd name="connsiteY46" fmla="*/ 1383308 h 15035524"/>
                <a:gd name="connsiteX47" fmla="*/ 10832530 w 23888933"/>
                <a:gd name="connsiteY47" fmla="*/ 1310974 h 15035524"/>
                <a:gd name="connsiteX48" fmla="*/ 11058585 w 23888933"/>
                <a:gd name="connsiteY48" fmla="*/ 1763043 h 15035524"/>
                <a:gd name="connsiteX49" fmla="*/ 11411229 w 23888933"/>
                <a:gd name="connsiteY49" fmla="*/ 2142774 h 15035524"/>
                <a:gd name="connsiteX50" fmla="*/ 11998974 w 23888933"/>
                <a:gd name="connsiteY50" fmla="*/ 2224144 h 15035524"/>
                <a:gd name="connsiteX51" fmla="*/ 12315449 w 23888933"/>
                <a:gd name="connsiteY51" fmla="*/ 2884156 h 15035524"/>
                <a:gd name="connsiteX52" fmla="*/ 12785642 w 23888933"/>
                <a:gd name="connsiteY52" fmla="*/ 2703327 h 15035524"/>
                <a:gd name="connsiteX53" fmla="*/ 13671776 w 23888933"/>
                <a:gd name="connsiteY53" fmla="*/ 3155388 h 15035524"/>
                <a:gd name="connsiteX54" fmla="*/ 14123886 w 23888933"/>
                <a:gd name="connsiteY54" fmla="*/ 2857035 h 15035524"/>
                <a:gd name="connsiteX55" fmla="*/ 14259509 w 23888933"/>
                <a:gd name="connsiteY55" fmla="*/ 2287434 h 15035524"/>
                <a:gd name="connsiteX56" fmla="*/ 14892468 w 23888933"/>
                <a:gd name="connsiteY56" fmla="*/ 1645503 h 15035524"/>
                <a:gd name="connsiteX57" fmla="*/ 15778605 w 23888933"/>
                <a:gd name="connsiteY57" fmla="*/ 1093983 h 15035524"/>
                <a:gd name="connsiteX58" fmla="*/ 16022739 w 23888933"/>
                <a:gd name="connsiteY58" fmla="*/ 1564133 h 15035524"/>
                <a:gd name="connsiteX59" fmla="*/ 16556232 w 23888933"/>
                <a:gd name="connsiteY59" fmla="*/ 2142785 h 15035524"/>
                <a:gd name="connsiteX60" fmla="*/ 17406193 w 23888933"/>
                <a:gd name="connsiteY60" fmla="*/ 1292897 h 15035524"/>
                <a:gd name="connsiteX61" fmla="*/ 18120524 w 23888933"/>
                <a:gd name="connsiteY61" fmla="*/ 714260 h 15035524"/>
                <a:gd name="connsiteX62" fmla="*/ 18744437 w 23888933"/>
                <a:gd name="connsiteY62" fmla="*/ -1 h 15035524"/>
                <a:gd name="connsiteX63" fmla="*/ 19982300 w 23888933"/>
                <a:gd name="connsiteY63" fmla="*/ 343465 h 15035524"/>
                <a:gd name="connsiteX64" fmla="*/ 19837609 w 23888933"/>
                <a:gd name="connsiteY64" fmla="*/ 1121173 h 15035524"/>
                <a:gd name="connsiteX65" fmla="*/ 21881359 w 23888933"/>
                <a:gd name="connsiteY65" fmla="*/ 1772279 h 15035524"/>
                <a:gd name="connsiteX66" fmla="*/ 21537712 w 23888933"/>
                <a:gd name="connsiteY66" fmla="*/ 2767023 h 15035524"/>
                <a:gd name="connsiteX67" fmla="*/ 22478203 w 23888933"/>
                <a:gd name="connsiteY67" fmla="*/ 2296774 h 15035524"/>
                <a:gd name="connsiteX68" fmla="*/ 23888932 w 23888933"/>
                <a:gd name="connsiteY68" fmla="*/ 1880797 h 15035524"/>
                <a:gd name="connsiteX69" fmla="*/ 15323320 w 23888933"/>
                <a:gd name="connsiteY69" fmla="*/ 5928489 h 15035524"/>
                <a:gd name="connsiteX70" fmla="*/ 16350939 w 23888933"/>
                <a:gd name="connsiteY70" fmla="*/ 6053348 h 15035524"/>
                <a:gd name="connsiteX71" fmla="*/ 16362364 w 23888933"/>
                <a:gd name="connsiteY71" fmla="*/ 6360628 h 15035524"/>
                <a:gd name="connsiteX72" fmla="*/ 16682563 w 23888933"/>
                <a:gd name="connsiteY72" fmla="*/ 6798531 h 15035524"/>
                <a:gd name="connsiteX0" fmla="*/ 16682563 w 22478203"/>
                <a:gd name="connsiteY0" fmla="*/ 6798531 h 15035524"/>
                <a:gd name="connsiteX1" fmla="*/ 16432262 w 22478203"/>
                <a:gd name="connsiteY1" fmla="*/ 7825917 h 15035524"/>
                <a:gd name="connsiteX2" fmla="*/ 16106317 w 22478203"/>
                <a:gd name="connsiteY2" fmla="*/ 8367221 h 15035524"/>
                <a:gd name="connsiteX3" fmla="*/ 16305649 w 22478203"/>
                <a:gd name="connsiteY3" fmla="*/ 8754550 h 15035524"/>
                <a:gd name="connsiteX4" fmla="*/ 16287189 w 22478203"/>
                <a:gd name="connsiteY4" fmla="*/ 9151157 h 15035524"/>
                <a:gd name="connsiteX5" fmla="*/ 16372801 w 22478203"/>
                <a:gd name="connsiteY5" fmla="*/ 9717422 h 15035524"/>
                <a:gd name="connsiteX6" fmla="*/ 16070155 w 22478203"/>
                <a:gd name="connsiteY6" fmla="*/ 9937808 h 15035524"/>
                <a:gd name="connsiteX7" fmla="*/ 15805690 w 22478203"/>
                <a:gd name="connsiteY7" fmla="*/ 10431999 h 15035524"/>
                <a:gd name="connsiteX8" fmla="*/ 15195097 w 22478203"/>
                <a:gd name="connsiteY8" fmla="*/ 10093742 h 15035524"/>
                <a:gd name="connsiteX9" fmla="*/ 15011380 w 22478203"/>
                <a:gd name="connsiteY9" fmla="*/ 11048592 h 15035524"/>
                <a:gd name="connsiteX10" fmla="*/ 14908430 w 22478203"/>
                <a:gd name="connsiteY10" fmla="*/ 11937487 h 15035524"/>
                <a:gd name="connsiteX11" fmla="*/ 14904684 w 22478203"/>
                <a:gd name="connsiteY11" fmla="*/ 12760926 h 15035524"/>
                <a:gd name="connsiteX12" fmla="*/ 14929927 w 22478203"/>
                <a:gd name="connsiteY12" fmla="*/ 14391846 h 15035524"/>
                <a:gd name="connsiteX13" fmla="*/ 12952786 w 22478203"/>
                <a:gd name="connsiteY13" fmla="*/ 14842599 h 15035524"/>
                <a:gd name="connsiteX14" fmla="*/ 11934663 w 22478203"/>
                <a:gd name="connsiteY14" fmla="*/ 14890849 h 15035524"/>
                <a:gd name="connsiteX15" fmla="*/ 8506848 w 22478203"/>
                <a:gd name="connsiteY15" fmla="*/ 15035524 h 15035524"/>
                <a:gd name="connsiteX16" fmla="*/ 7985095 w 22478203"/>
                <a:gd name="connsiteY16" fmla="*/ 14390442 h 15035524"/>
                <a:gd name="connsiteX17" fmla="*/ 7400308 w 22478203"/>
                <a:gd name="connsiteY17" fmla="*/ 14360297 h 15035524"/>
                <a:gd name="connsiteX18" fmla="*/ 6972273 w 22478203"/>
                <a:gd name="connsiteY18" fmla="*/ 14631594 h 15035524"/>
                <a:gd name="connsiteX19" fmla="*/ 5181729 w 22478203"/>
                <a:gd name="connsiteY19" fmla="*/ 14547195 h 15035524"/>
                <a:gd name="connsiteX20" fmla="*/ 4397998 w 22478203"/>
                <a:gd name="connsiteY20" fmla="*/ 13914178 h 15035524"/>
                <a:gd name="connsiteX21" fmla="*/ 2908896 w 22478203"/>
                <a:gd name="connsiteY21" fmla="*/ 13106324 h 15035524"/>
                <a:gd name="connsiteX22" fmla="*/ 1263043 w 22478203"/>
                <a:gd name="connsiteY22" fmla="*/ 12394931 h 15035524"/>
                <a:gd name="connsiteX23" fmla="*/ 485320 w 22478203"/>
                <a:gd name="connsiteY23" fmla="*/ 11942774 h 15035524"/>
                <a:gd name="connsiteX24" fmla="*/ 0 w 22478203"/>
                <a:gd name="connsiteY24" fmla="*/ 11649662 h 15035524"/>
                <a:gd name="connsiteX25" fmla="*/ 1003686 w 22478203"/>
                <a:gd name="connsiteY25" fmla="*/ 10903697 h 15035524"/>
                <a:gd name="connsiteX26" fmla="*/ 2902551 w 22478203"/>
                <a:gd name="connsiteY26" fmla="*/ 9719298 h 15035524"/>
                <a:gd name="connsiteX27" fmla="*/ 2558940 w 22478203"/>
                <a:gd name="connsiteY27" fmla="*/ 9185867 h 15035524"/>
                <a:gd name="connsiteX28" fmla="*/ 2402508 w 22478203"/>
                <a:gd name="connsiteY28" fmla="*/ 8498784 h 15035524"/>
                <a:gd name="connsiteX29" fmla="*/ 2730740 w 22478203"/>
                <a:gd name="connsiteY29" fmla="*/ 8471613 h 15035524"/>
                <a:gd name="connsiteX30" fmla="*/ 2947754 w 22478203"/>
                <a:gd name="connsiteY30" fmla="*/ 8001468 h 15035524"/>
                <a:gd name="connsiteX31" fmla="*/ 3499325 w 22478203"/>
                <a:gd name="connsiteY31" fmla="*/ 7558451 h 15035524"/>
                <a:gd name="connsiteX32" fmla="*/ 3680166 w 22478203"/>
                <a:gd name="connsiteY32" fmla="*/ 6681453 h 15035524"/>
                <a:gd name="connsiteX33" fmla="*/ 4186528 w 22478203"/>
                <a:gd name="connsiteY33" fmla="*/ 6690489 h 15035524"/>
                <a:gd name="connsiteX34" fmla="*/ 4837569 w 22478203"/>
                <a:gd name="connsiteY34" fmla="*/ 7160639 h 15035524"/>
                <a:gd name="connsiteX35" fmla="*/ 5352976 w 22478203"/>
                <a:gd name="connsiteY35" fmla="*/ 7079272 h 15035524"/>
                <a:gd name="connsiteX36" fmla="*/ 5741786 w 22478203"/>
                <a:gd name="connsiteY36" fmla="*/ 6708577 h 15035524"/>
                <a:gd name="connsiteX37" fmla="*/ 6157723 w 22478203"/>
                <a:gd name="connsiteY37" fmla="*/ 6545836 h 15035524"/>
                <a:gd name="connsiteX38" fmla="*/ 6745471 w 22478203"/>
                <a:gd name="connsiteY38" fmla="*/ 5976243 h 15035524"/>
                <a:gd name="connsiteX39" fmla="*/ 6890140 w 22478203"/>
                <a:gd name="connsiteY39" fmla="*/ 5126367 h 15035524"/>
                <a:gd name="connsiteX40" fmla="*/ 7568305 w 22478203"/>
                <a:gd name="connsiteY40" fmla="*/ 4556773 h 15035524"/>
                <a:gd name="connsiteX41" fmla="*/ 8137967 w 22478203"/>
                <a:gd name="connsiteY41" fmla="*/ 4113752 h 15035524"/>
                <a:gd name="connsiteX42" fmla="*/ 8463480 w 22478203"/>
                <a:gd name="connsiteY42" fmla="*/ 3309085 h 15035524"/>
                <a:gd name="connsiteX43" fmla="*/ 9024093 w 22478203"/>
                <a:gd name="connsiteY43" fmla="*/ 2956478 h 15035524"/>
                <a:gd name="connsiteX44" fmla="*/ 9675138 w 22478203"/>
                <a:gd name="connsiteY44" fmla="*/ 2603876 h 15035524"/>
                <a:gd name="connsiteX45" fmla="*/ 9558580 w 22478203"/>
                <a:gd name="connsiteY45" fmla="*/ 2055592 h 15035524"/>
                <a:gd name="connsiteX46" fmla="*/ 10353296 w 22478203"/>
                <a:gd name="connsiteY46" fmla="*/ 1383308 h 15035524"/>
                <a:gd name="connsiteX47" fmla="*/ 10832530 w 22478203"/>
                <a:gd name="connsiteY47" fmla="*/ 1310974 h 15035524"/>
                <a:gd name="connsiteX48" fmla="*/ 11058585 w 22478203"/>
                <a:gd name="connsiteY48" fmla="*/ 1763043 h 15035524"/>
                <a:gd name="connsiteX49" fmla="*/ 11411229 w 22478203"/>
                <a:gd name="connsiteY49" fmla="*/ 2142774 h 15035524"/>
                <a:gd name="connsiteX50" fmla="*/ 11998974 w 22478203"/>
                <a:gd name="connsiteY50" fmla="*/ 2224144 h 15035524"/>
                <a:gd name="connsiteX51" fmla="*/ 12315449 w 22478203"/>
                <a:gd name="connsiteY51" fmla="*/ 2884156 h 15035524"/>
                <a:gd name="connsiteX52" fmla="*/ 12785642 w 22478203"/>
                <a:gd name="connsiteY52" fmla="*/ 2703327 h 15035524"/>
                <a:gd name="connsiteX53" fmla="*/ 13671776 w 22478203"/>
                <a:gd name="connsiteY53" fmla="*/ 3155388 h 15035524"/>
                <a:gd name="connsiteX54" fmla="*/ 14123886 w 22478203"/>
                <a:gd name="connsiteY54" fmla="*/ 2857035 h 15035524"/>
                <a:gd name="connsiteX55" fmla="*/ 14259509 w 22478203"/>
                <a:gd name="connsiteY55" fmla="*/ 2287434 h 15035524"/>
                <a:gd name="connsiteX56" fmla="*/ 14892468 w 22478203"/>
                <a:gd name="connsiteY56" fmla="*/ 1645503 h 15035524"/>
                <a:gd name="connsiteX57" fmla="*/ 15778605 w 22478203"/>
                <a:gd name="connsiteY57" fmla="*/ 1093983 h 15035524"/>
                <a:gd name="connsiteX58" fmla="*/ 16022739 w 22478203"/>
                <a:gd name="connsiteY58" fmla="*/ 1564133 h 15035524"/>
                <a:gd name="connsiteX59" fmla="*/ 16556232 w 22478203"/>
                <a:gd name="connsiteY59" fmla="*/ 2142785 h 15035524"/>
                <a:gd name="connsiteX60" fmla="*/ 17406193 w 22478203"/>
                <a:gd name="connsiteY60" fmla="*/ 1292897 h 15035524"/>
                <a:gd name="connsiteX61" fmla="*/ 18120524 w 22478203"/>
                <a:gd name="connsiteY61" fmla="*/ 714260 h 15035524"/>
                <a:gd name="connsiteX62" fmla="*/ 18744437 w 22478203"/>
                <a:gd name="connsiteY62" fmla="*/ -1 h 15035524"/>
                <a:gd name="connsiteX63" fmla="*/ 19982300 w 22478203"/>
                <a:gd name="connsiteY63" fmla="*/ 343465 h 15035524"/>
                <a:gd name="connsiteX64" fmla="*/ 19837609 w 22478203"/>
                <a:gd name="connsiteY64" fmla="*/ 1121173 h 15035524"/>
                <a:gd name="connsiteX65" fmla="*/ 21881359 w 22478203"/>
                <a:gd name="connsiteY65" fmla="*/ 1772279 h 15035524"/>
                <a:gd name="connsiteX66" fmla="*/ 21537712 w 22478203"/>
                <a:gd name="connsiteY66" fmla="*/ 2767023 h 15035524"/>
                <a:gd name="connsiteX67" fmla="*/ 22478203 w 22478203"/>
                <a:gd name="connsiteY67" fmla="*/ 2296774 h 15035524"/>
                <a:gd name="connsiteX68" fmla="*/ 14960077 w 22478203"/>
                <a:gd name="connsiteY68" fmla="*/ 5017927 h 15035524"/>
                <a:gd name="connsiteX69" fmla="*/ 15323320 w 22478203"/>
                <a:gd name="connsiteY69" fmla="*/ 5928489 h 15035524"/>
                <a:gd name="connsiteX70" fmla="*/ 16350939 w 22478203"/>
                <a:gd name="connsiteY70" fmla="*/ 6053348 h 15035524"/>
                <a:gd name="connsiteX71" fmla="*/ 16362364 w 22478203"/>
                <a:gd name="connsiteY71" fmla="*/ 6360628 h 15035524"/>
                <a:gd name="connsiteX72" fmla="*/ 16682563 w 22478203"/>
                <a:gd name="connsiteY72" fmla="*/ 6798531 h 15035524"/>
                <a:gd name="connsiteX0" fmla="*/ 16682563 w 22478203"/>
                <a:gd name="connsiteY0" fmla="*/ 6798531 h 15035524"/>
                <a:gd name="connsiteX1" fmla="*/ 16432262 w 22478203"/>
                <a:gd name="connsiteY1" fmla="*/ 7825917 h 15035524"/>
                <a:gd name="connsiteX2" fmla="*/ 16106317 w 22478203"/>
                <a:gd name="connsiteY2" fmla="*/ 8367221 h 15035524"/>
                <a:gd name="connsiteX3" fmla="*/ 16305649 w 22478203"/>
                <a:gd name="connsiteY3" fmla="*/ 8754550 h 15035524"/>
                <a:gd name="connsiteX4" fmla="*/ 16287189 w 22478203"/>
                <a:gd name="connsiteY4" fmla="*/ 9151157 h 15035524"/>
                <a:gd name="connsiteX5" fmla="*/ 16372801 w 22478203"/>
                <a:gd name="connsiteY5" fmla="*/ 9717422 h 15035524"/>
                <a:gd name="connsiteX6" fmla="*/ 16070155 w 22478203"/>
                <a:gd name="connsiteY6" fmla="*/ 9937808 h 15035524"/>
                <a:gd name="connsiteX7" fmla="*/ 15805690 w 22478203"/>
                <a:gd name="connsiteY7" fmla="*/ 10431999 h 15035524"/>
                <a:gd name="connsiteX8" fmla="*/ 15195097 w 22478203"/>
                <a:gd name="connsiteY8" fmla="*/ 10093742 h 15035524"/>
                <a:gd name="connsiteX9" fmla="*/ 15011380 w 22478203"/>
                <a:gd name="connsiteY9" fmla="*/ 11048592 h 15035524"/>
                <a:gd name="connsiteX10" fmla="*/ 14908430 w 22478203"/>
                <a:gd name="connsiteY10" fmla="*/ 11937487 h 15035524"/>
                <a:gd name="connsiteX11" fmla="*/ 14904684 w 22478203"/>
                <a:gd name="connsiteY11" fmla="*/ 12760926 h 15035524"/>
                <a:gd name="connsiteX12" fmla="*/ 14929927 w 22478203"/>
                <a:gd name="connsiteY12" fmla="*/ 14391846 h 15035524"/>
                <a:gd name="connsiteX13" fmla="*/ 12952786 w 22478203"/>
                <a:gd name="connsiteY13" fmla="*/ 14842599 h 15035524"/>
                <a:gd name="connsiteX14" fmla="*/ 11934663 w 22478203"/>
                <a:gd name="connsiteY14" fmla="*/ 14890849 h 15035524"/>
                <a:gd name="connsiteX15" fmla="*/ 8506848 w 22478203"/>
                <a:gd name="connsiteY15" fmla="*/ 15035524 h 15035524"/>
                <a:gd name="connsiteX16" fmla="*/ 7985095 w 22478203"/>
                <a:gd name="connsiteY16" fmla="*/ 14390442 h 15035524"/>
                <a:gd name="connsiteX17" fmla="*/ 7400308 w 22478203"/>
                <a:gd name="connsiteY17" fmla="*/ 14360297 h 15035524"/>
                <a:gd name="connsiteX18" fmla="*/ 6972273 w 22478203"/>
                <a:gd name="connsiteY18" fmla="*/ 14631594 h 15035524"/>
                <a:gd name="connsiteX19" fmla="*/ 5181729 w 22478203"/>
                <a:gd name="connsiteY19" fmla="*/ 14547195 h 15035524"/>
                <a:gd name="connsiteX20" fmla="*/ 4397998 w 22478203"/>
                <a:gd name="connsiteY20" fmla="*/ 13914178 h 15035524"/>
                <a:gd name="connsiteX21" fmla="*/ 2908896 w 22478203"/>
                <a:gd name="connsiteY21" fmla="*/ 13106324 h 15035524"/>
                <a:gd name="connsiteX22" fmla="*/ 1263043 w 22478203"/>
                <a:gd name="connsiteY22" fmla="*/ 12394931 h 15035524"/>
                <a:gd name="connsiteX23" fmla="*/ 485320 w 22478203"/>
                <a:gd name="connsiteY23" fmla="*/ 11942774 h 15035524"/>
                <a:gd name="connsiteX24" fmla="*/ 0 w 22478203"/>
                <a:gd name="connsiteY24" fmla="*/ 11649662 h 15035524"/>
                <a:gd name="connsiteX25" fmla="*/ 1003686 w 22478203"/>
                <a:gd name="connsiteY25" fmla="*/ 10903697 h 15035524"/>
                <a:gd name="connsiteX26" fmla="*/ 2902551 w 22478203"/>
                <a:gd name="connsiteY26" fmla="*/ 9719298 h 15035524"/>
                <a:gd name="connsiteX27" fmla="*/ 2558940 w 22478203"/>
                <a:gd name="connsiteY27" fmla="*/ 9185867 h 15035524"/>
                <a:gd name="connsiteX28" fmla="*/ 2402508 w 22478203"/>
                <a:gd name="connsiteY28" fmla="*/ 8498784 h 15035524"/>
                <a:gd name="connsiteX29" fmla="*/ 2730740 w 22478203"/>
                <a:gd name="connsiteY29" fmla="*/ 8471613 h 15035524"/>
                <a:gd name="connsiteX30" fmla="*/ 2947754 w 22478203"/>
                <a:gd name="connsiteY30" fmla="*/ 8001468 h 15035524"/>
                <a:gd name="connsiteX31" fmla="*/ 3499325 w 22478203"/>
                <a:gd name="connsiteY31" fmla="*/ 7558451 h 15035524"/>
                <a:gd name="connsiteX32" fmla="*/ 3680166 w 22478203"/>
                <a:gd name="connsiteY32" fmla="*/ 6681453 h 15035524"/>
                <a:gd name="connsiteX33" fmla="*/ 4186528 w 22478203"/>
                <a:gd name="connsiteY33" fmla="*/ 6690489 h 15035524"/>
                <a:gd name="connsiteX34" fmla="*/ 4837569 w 22478203"/>
                <a:gd name="connsiteY34" fmla="*/ 7160639 h 15035524"/>
                <a:gd name="connsiteX35" fmla="*/ 5352976 w 22478203"/>
                <a:gd name="connsiteY35" fmla="*/ 7079272 h 15035524"/>
                <a:gd name="connsiteX36" fmla="*/ 5741786 w 22478203"/>
                <a:gd name="connsiteY36" fmla="*/ 6708577 h 15035524"/>
                <a:gd name="connsiteX37" fmla="*/ 6157723 w 22478203"/>
                <a:gd name="connsiteY37" fmla="*/ 6545836 h 15035524"/>
                <a:gd name="connsiteX38" fmla="*/ 6745471 w 22478203"/>
                <a:gd name="connsiteY38" fmla="*/ 5976243 h 15035524"/>
                <a:gd name="connsiteX39" fmla="*/ 6890140 w 22478203"/>
                <a:gd name="connsiteY39" fmla="*/ 5126367 h 15035524"/>
                <a:gd name="connsiteX40" fmla="*/ 7568305 w 22478203"/>
                <a:gd name="connsiteY40" fmla="*/ 4556773 h 15035524"/>
                <a:gd name="connsiteX41" fmla="*/ 8137967 w 22478203"/>
                <a:gd name="connsiteY41" fmla="*/ 4113752 h 15035524"/>
                <a:gd name="connsiteX42" fmla="*/ 8463480 w 22478203"/>
                <a:gd name="connsiteY42" fmla="*/ 3309085 h 15035524"/>
                <a:gd name="connsiteX43" fmla="*/ 9024093 w 22478203"/>
                <a:gd name="connsiteY43" fmla="*/ 2956478 h 15035524"/>
                <a:gd name="connsiteX44" fmla="*/ 9675138 w 22478203"/>
                <a:gd name="connsiteY44" fmla="*/ 2603876 h 15035524"/>
                <a:gd name="connsiteX45" fmla="*/ 9558580 w 22478203"/>
                <a:gd name="connsiteY45" fmla="*/ 2055592 h 15035524"/>
                <a:gd name="connsiteX46" fmla="*/ 10353296 w 22478203"/>
                <a:gd name="connsiteY46" fmla="*/ 1383308 h 15035524"/>
                <a:gd name="connsiteX47" fmla="*/ 10832530 w 22478203"/>
                <a:gd name="connsiteY47" fmla="*/ 1310974 h 15035524"/>
                <a:gd name="connsiteX48" fmla="*/ 11058585 w 22478203"/>
                <a:gd name="connsiteY48" fmla="*/ 1763043 h 15035524"/>
                <a:gd name="connsiteX49" fmla="*/ 11411229 w 22478203"/>
                <a:gd name="connsiteY49" fmla="*/ 2142774 h 15035524"/>
                <a:gd name="connsiteX50" fmla="*/ 11998974 w 22478203"/>
                <a:gd name="connsiteY50" fmla="*/ 2224144 h 15035524"/>
                <a:gd name="connsiteX51" fmla="*/ 12315449 w 22478203"/>
                <a:gd name="connsiteY51" fmla="*/ 2884156 h 15035524"/>
                <a:gd name="connsiteX52" fmla="*/ 12785642 w 22478203"/>
                <a:gd name="connsiteY52" fmla="*/ 2703327 h 15035524"/>
                <a:gd name="connsiteX53" fmla="*/ 13671776 w 22478203"/>
                <a:gd name="connsiteY53" fmla="*/ 3155388 h 15035524"/>
                <a:gd name="connsiteX54" fmla="*/ 14123886 w 22478203"/>
                <a:gd name="connsiteY54" fmla="*/ 2857035 h 15035524"/>
                <a:gd name="connsiteX55" fmla="*/ 14259509 w 22478203"/>
                <a:gd name="connsiteY55" fmla="*/ 2287434 h 15035524"/>
                <a:gd name="connsiteX56" fmla="*/ 14892468 w 22478203"/>
                <a:gd name="connsiteY56" fmla="*/ 1645503 h 15035524"/>
                <a:gd name="connsiteX57" fmla="*/ 15778605 w 22478203"/>
                <a:gd name="connsiteY57" fmla="*/ 1093983 h 15035524"/>
                <a:gd name="connsiteX58" fmla="*/ 16022739 w 22478203"/>
                <a:gd name="connsiteY58" fmla="*/ 1564133 h 15035524"/>
                <a:gd name="connsiteX59" fmla="*/ 16556232 w 22478203"/>
                <a:gd name="connsiteY59" fmla="*/ 2142785 h 15035524"/>
                <a:gd name="connsiteX60" fmla="*/ 17406193 w 22478203"/>
                <a:gd name="connsiteY60" fmla="*/ 1292897 h 15035524"/>
                <a:gd name="connsiteX61" fmla="*/ 18120524 w 22478203"/>
                <a:gd name="connsiteY61" fmla="*/ 714260 h 15035524"/>
                <a:gd name="connsiteX62" fmla="*/ 18744437 w 22478203"/>
                <a:gd name="connsiteY62" fmla="*/ -1 h 15035524"/>
                <a:gd name="connsiteX63" fmla="*/ 19982300 w 22478203"/>
                <a:gd name="connsiteY63" fmla="*/ 343465 h 15035524"/>
                <a:gd name="connsiteX64" fmla="*/ 19837609 w 22478203"/>
                <a:gd name="connsiteY64" fmla="*/ 1121173 h 15035524"/>
                <a:gd name="connsiteX65" fmla="*/ 21881359 w 22478203"/>
                <a:gd name="connsiteY65" fmla="*/ 1772279 h 15035524"/>
                <a:gd name="connsiteX66" fmla="*/ 21537712 w 22478203"/>
                <a:gd name="connsiteY66" fmla="*/ 2767023 h 15035524"/>
                <a:gd name="connsiteX67" fmla="*/ 22478203 w 22478203"/>
                <a:gd name="connsiteY67" fmla="*/ 2296774 h 15035524"/>
                <a:gd name="connsiteX68" fmla="*/ 13387695 w 22478203"/>
                <a:gd name="connsiteY68" fmla="*/ 5998279 h 15035524"/>
                <a:gd name="connsiteX69" fmla="*/ 15323320 w 22478203"/>
                <a:gd name="connsiteY69" fmla="*/ 5928489 h 15035524"/>
                <a:gd name="connsiteX70" fmla="*/ 16350939 w 22478203"/>
                <a:gd name="connsiteY70" fmla="*/ 6053348 h 15035524"/>
                <a:gd name="connsiteX71" fmla="*/ 16362364 w 22478203"/>
                <a:gd name="connsiteY71" fmla="*/ 6360628 h 15035524"/>
                <a:gd name="connsiteX72" fmla="*/ 16682563 w 22478203"/>
                <a:gd name="connsiteY72" fmla="*/ 6798531 h 15035524"/>
                <a:gd name="connsiteX0" fmla="*/ 16682563 w 22478203"/>
                <a:gd name="connsiteY0" fmla="*/ 6798531 h 15035524"/>
                <a:gd name="connsiteX1" fmla="*/ 16432262 w 22478203"/>
                <a:gd name="connsiteY1" fmla="*/ 7825917 h 15035524"/>
                <a:gd name="connsiteX2" fmla="*/ 16106317 w 22478203"/>
                <a:gd name="connsiteY2" fmla="*/ 8367221 h 15035524"/>
                <a:gd name="connsiteX3" fmla="*/ 16305649 w 22478203"/>
                <a:gd name="connsiteY3" fmla="*/ 8754550 h 15035524"/>
                <a:gd name="connsiteX4" fmla="*/ 16287189 w 22478203"/>
                <a:gd name="connsiteY4" fmla="*/ 9151157 h 15035524"/>
                <a:gd name="connsiteX5" fmla="*/ 16372801 w 22478203"/>
                <a:gd name="connsiteY5" fmla="*/ 9717422 h 15035524"/>
                <a:gd name="connsiteX6" fmla="*/ 16070155 w 22478203"/>
                <a:gd name="connsiteY6" fmla="*/ 9937808 h 15035524"/>
                <a:gd name="connsiteX7" fmla="*/ 15805690 w 22478203"/>
                <a:gd name="connsiteY7" fmla="*/ 10431999 h 15035524"/>
                <a:gd name="connsiteX8" fmla="*/ 15195097 w 22478203"/>
                <a:gd name="connsiteY8" fmla="*/ 10093742 h 15035524"/>
                <a:gd name="connsiteX9" fmla="*/ 15011380 w 22478203"/>
                <a:gd name="connsiteY9" fmla="*/ 11048592 h 15035524"/>
                <a:gd name="connsiteX10" fmla="*/ 14908430 w 22478203"/>
                <a:gd name="connsiteY10" fmla="*/ 11937487 h 15035524"/>
                <a:gd name="connsiteX11" fmla="*/ 14904684 w 22478203"/>
                <a:gd name="connsiteY11" fmla="*/ 12760926 h 15035524"/>
                <a:gd name="connsiteX12" fmla="*/ 14929927 w 22478203"/>
                <a:gd name="connsiteY12" fmla="*/ 14391846 h 15035524"/>
                <a:gd name="connsiteX13" fmla="*/ 12952786 w 22478203"/>
                <a:gd name="connsiteY13" fmla="*/ 14842599 h 15035524"/>
                <a:gd name="connsiteX14" fmla="*/ 11934663 w 22478203"/>
                <a:gd name="connsiteY14" fmla="*/ 14890849 h 15035524"/>
                <a:gd name="connsiteX15" fmla="*/ 8506848 w 22478203"/>
                <a:gd name="connsiteY15" fmla="*/ 15035524 h 15035524"/>
                <a:gd name="connsiteX16" fmla="*/ 7985095 w 22478203"/>
                <a:gd name="connsiteY16" fmla="*/ 14390442 h 15035524"/>
                <a:gd name="connsiteX17" fmla="*/ 7400308 w 22478203"/>
                <a:gd name="connsiteY17" fmla="*/ 14360297 h 15035524"/>
                <a:gd name="connsiteX18" fmla="*/ 6972273 w 22478203"/>
                <a:gd name="connsiteY18" fmla="*/ 14631594 h 15035524"/>
                <a:gd name="connsiteX19" fmla="*/ 5181729 w 22478203"/>
                <a:gd name="connsiteY19" fmla="*/ 14547195 h 15035524"/>
                <a:gd name="connsiteX20" fmla="*/ 4397998 w 22478203"/>
                <a:gd name="connsiteY20" fmla="*/ 13914178 h 15035524"/>
                <a:gd name="connsiteX21" fmla="*/ 2908896 w 22478203"/>
                <a:gd name="connsiteY21" fmla="*/ 13106324 h 15035524"/>
                <a:gd name="connsiteX22" fmla="*/ 1263043 w 22478203"/>
                <a:gd name="connsiteY22" fmla="*/ 12394931 h 15035524"/>
                <a:gd name="connsiteX23" fmla="*/ 485320 w 22478203"/>
                <a:gd name="connsiteY23" fmla="*/ 11942774 h 15035524"/>
                <a:gd name="connsiteX24" fmla="*/ 0 w 22478203"/>
                <a:gd name="connsiteY24" fmla="*/ 11649662 h 15035524"/>
                <a:gd name="connsiteX25" fmla="*/ 1003686 w 22478203"/>
                <a:gd name="connsiteY25" fmla="*/ 10903697 h 15035524"/>
                <a:gd name="connsiteX26" fmla="*/ 2902551 w 22478203"/>
                <a:gd name="connsiteY26" fmla="*/ 9719298 h 15035524"/>
                <a:gd name="connsiteX27" fmla="*/ 2558940 w 22478203"/>
                <a:gd name="connsiteY27" fmla="*/ 9185867 h 15035524"/>
                <a:gd name="connsiteX28" fmla="*/ 2402508 w 22478203"/>
                <a:gd name="connsiteY28" fmla="*/ 8498784 h 15035524"/>
                <a:gd name="connsiteX29" fmla="*/ 2730740 w 22478203"/>
                <a:gd name="connsiteY29" fmla="*/ 8471613 h 15035524"/>
                <a:gd name="connsiteX30" fmla="*/ 2947754 w 22478203"/>
                <a:gd name="connsiteY30" fmla="*/ 8001468 h 15035524"/>
                <a:gd name="connsiteX31" fmla="*/ 3499325 w 22478203"/>
                <a:gd name="connsiteY31" fmla="*/ 7558451 h 15035524"/>
                <a:gd name="connsiteX32" fmla="*/ 3680166 w 22478203"/>
                <a:gd name="connsiteY32" fmla="*/ 6681453 h 15035524"/>
                <a:gd name="connsiteX33" fmla="*/ 4186528 w 22478203"/>
                <a:gd name="connsiteY33" fmla="*/ 6690489 h 15035524"/>
                <a:gd name="connsiteX34" fmla="*/ 4837569 w 22478203"/>
                <a:gd name="connsiteY34" fmla="*/ 7160639 h 15035524"/>
                <a:gd name="connsiteX35" fmla="*/ 5352976 w 22478203"/>
                <a:gd name="connsiteY35" fmla="*/ 7079272 h 15035524"/>
                <a:gd name="connsiteX36" fmla="*/ 5741786 w 22478203"/>
                <a:gd name="connsiteY36" fmla="*/ 6708577 h 15035524"/>
                <a:gd name="connsiteX37" fmla="*/ 6157723 w 22478203"/>
                <a:gd name="connsiteY37" fmla="*/ 6545836 h 15035524"/>
                <a:gd name="connsiteX38" fmla="*/ 6745471 w 22478203"/>
                <a:gd name="connsiteY38" fmla="*/ 5976243 h 15035524"/>
                <a:gd name="connsiteX39" fmla="*/ 6890140 w 22478203"/>
                <a:gd name="connsiteY39" fmla="*/ 5126367 h 15035524"/>
                <a:gd name="connsiteX40" fmla="*/ 7568305 w 22478203"/>
                <a:gd name="connsiteY40" fmla="*/ 4556773 h 15035524"/>
                <a:gd name="connsiteX41" fmla="*/ 8137967 w 22478203"/>
                <a:gd name="connsiteY41" fmla="*/ 4113752 h 15035524"/>
                <a:gd name="connsiteX42" fmla="*/ 8463480 w 22478203"/>
                <a:gd name="connsiteY42" fmla="*/ 3309085 h 15035524"/>
                <a:gd name="connsiteX43" fmla="*/ 9024093 w 22478203"/>
                <a:gd name="connsiteY43" fmla="*/ 2956478 h 15035524"/>
                <a:gd name="connsiteX44" fmla="*/ 9675138 w 22478203"/>
                <a:gd name="connsiteY44" fmla="*/ 2603876 h 15035524"/>
                <a:gd name="connsiteX45" fmla="*/ 9558580 w 22478203"/>
                <a:gd name="connsiteY45" fmla="*/ 2055592 h 15035524"/>
                <a:gd name="connsiteX46" fmla="*/ 10353296 w 22478203"/>
                <a:gd name="connsiteY46" fmla="*/ 1383308 h 15035524"/>
                <a:gd name="connsiteX47" fmla="*/ 10832530 w 22478203"/>
                <a:gd name="connsiteY47" fmla="*/ 1310974 h 15035524"/>
                <a:gd name="connsiteX48" fmla="*/ 11058585 w 22478203"/>
                <a:gd name="connsiteY48" fmla="*/ 1763043 h 15035524"/>
                <a:gd name="connsiteX49" fmla="*/ 11411229 w 22478203"/>
                <a:gd name="connsiteY49" fmla="*/ 2142774 h 15035524"/>
                <a:gd name="connsiteX50" fmla="*/ 11998974 w 22478203"/>
                <a:gd name="connsiteY50" fmla="*/ 2224144 h 15035524"/>
                <a:gd name="connsiteX51" fmla="*/ 12315449 w 22478203"/>
                <a:gd name="connsiteY51" fmla="*/ 2884156 h 15035524"/>
                <a:gd name="connsiteX52" fmla="*/ 12785642 w 22478203"/>
                <a:gd name="connsiteY52" fmla="*/ 2703327 h 15035524"/>
                <a:gd name="connsiteX53" fmla="*/ 13671776 w 22478203"/>
                <a:gd name="connsiteY53" fmla="*/ 3155388 h 15035524"/>
                <a:gd name="connsiteX54" fmla="*/ 14123886 w 22478203"/>
                <a:gd name="connsiteY54" fmla="*/ 2857035 h 15035524"/>
                <a:gd name="connsiteX55" fmla="*/ 14259509 w 22478203"/>
                <a:gd name="connsiteY55" fmla="*/ 2287434 h 15035524"/>
                <a:gd name="connsiteX56" fmla="*/ 14892468 w 22478203"/>
                <a:gd name="connsiteY56" fmla="*/ 1645503 h 15035524"/>
                <a:gd name="connsiteX57" fmla="*/ 15778605 w 22478203"/>
                <a:gd name="connsiteY57" fmla="*/ 1093983 h 15035524"/>
                <a:gd name="connsiteX58" fmla="*/ 16022739 w 22478203"/>
                <a:gd name="connsiteY58" fmla="*/ 1564133 h 15035524"/>
                <a:gd name="connsiteX59" fmla="*/ 16556232 w 22478203"/>
                <a:gd name="connsiteY59" fmla="*/ 2142785 h 15035524"/>
                <a:gd name="connsiteX60" fmla="*/ 17406193 w 22478203"/>
                <a:gd name="connsiteY60" fmla="*/ 1292897 h 15035524"/>
                <a:gd name="connsiteX61" fmla="*/ 18120524 w 22478203"/>
                <a:gd name="connsiteY61" fmla="*/ 714260 h 15035524"/>
                <a:gd name="connsiteX62" fmla="*/ 18744437 w 22478203"/>
                <a:gd name="connsiteY62" fmla="*/ -1 h 15035524"/>
                <a:gd name="connsiteX63" fmla="*/ 19982300 w 22478203"/>
                <a:gd name="connsiteY63" fmla="*/ 343465 h 15035524"/>
                <a:gd name="connsiteX64" fmla="*/ 19837609 w 22478203"/>
                <a:gd name="connsiteY64" fmla="*/ 1121173 h 15035524"/>
                <a:gd name="connsiteX65" fmla="*/ 21881359 w 22478203"/>
                <a:gd name="connsiteY65" fmla="*/ 1772279 h 15035524"/>
                <a:gd name="connsiteX66" fmla="*/ 21537712 w 22478203"/>
                <a:gd name="connsiteY66" fmla="*/ 2767023 h 15035524"/>
                <a:gd name="connsiteX67" fmla="*/ 22478203 w 22478203"/>
                <a:gd name="connsiteY67" fmla="*/ 2296774 h 15035524"/>
                <a:gd name="connsiteX68" fmla="*/ 14370431 w 22478203"/>
                <a:gd name="connsiteY68" fmla="*/ 5830216 h 15035524"/>
                <a:gd name="connsiteX69" fmla="*/ 15323320 w 22478203"/>
                <a:gd name="connsiteY69" fmla="*/ 5928489 h 15035524"/>
                <a:gd name="connsiteX70" fmla="*/ 16350939 w 22478203"/>
                <a:gd name="connsiteY70" fmla="*/ 6053348 h 15035524"/>
                <a:gd name="connsiteX71" fmla="*/ 16362364 w 22478203"/>
                <a:gd name="connsiteY71" fmla="*/ 6360628 h 15035524"/>
                <a:gd name="connsiteX72" fmla="*/ 16682563 w 22478203"/>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21537712 w 21881361"/>
                <a:gd name="connsiteY66" fmla="*/ 2767023 h 15035524"/>
                <a:gd name="connsiteX67" fmla="*/ 15879834 w 21881361"/>
                <a:gd name="connsiteY67" fmla="*/ 3669271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21537712 w 21881361"/>
                <a:gd name="connsiteY66" fmla="*/ 2767023 h 15035524"/>
                <a:gd name="connsiteX67" fmla="*/ 12791242 w 21881361"/>
                <a:gd name="connsiteY67" fmla="*/ 4145446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21537712 w 21881361"/>
                <a:gd name="connsiteY66" fmla="*/ 2767023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9351795 w 21881361"/>
                <a:gd name="connsiteY66" fmla="*/ 5483998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8537524 w 21881361"/>
                <a:gd name="connsiteY66" fmla="*/ 7052559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8481365 w 21881361"/>
                <a:gd name="connsiteY66" fmla="*/ 9209329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13844296 w 21881361"/>
                <a:gd name="connsiteY66" fmla="*/ 6156232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9583129 w 19982300"/>
                <a:gd name="connsiteY65" fmla="*/ 5329554 h 15035524"/>
                <a:gd name="connsiteX66" fmla="*/ 13844296 w 19982300"/>
                <a:gd name="connsiteY66" fmla="*/ 6156232 h 15035524"/>
                <a:gd name="connsiteX67" fmla="*/ 14195152 w 19982300"/>
                <a:gd name="connsiteY67" fmla="*/ 5489927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0818567 w 19982300"/>
                <a:gd name="connsiteY65" fmla="*/ 7094187 h 15035524"/>
                <a:gd name="connsiteX66" fmla="*/ 13844296 w 19982300"/>
                <a:gd name="connsiteY66" fmla="*/ 6156232 h 15035524"/>
                <a:gd name="connsiteX67" fmla="*/ 14195152 w 19982300"/>
                <a:gd name="connsiteY67" fmla="*/ 5489927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0818567 w 19982300"/>
                <a:gd name="connsiteY65" fmla="*/ 709418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0902797 w 19982300"/>
                <a:gd name="connsiteY65" fmla="*/ 8634739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1717061 w 19982300"/>
                <a:gd name="connsiteY65" fmla="*/ 9643106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2531332 w 19982300"/>
                <a:gd name="connsiteY65" fmla="*/ 10399372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1239741 w 19982300"/>
                <a:gd name="connsiteY65" fmla="*/ 10035244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0537783 w 19982300"/>
                <a:gd name="connsiteY65" fmla="*/ 9419026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9358504 w 19982300"/>
                <a:gd name="connsiteY65" fmla="*/ 12556148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5820656 w 19982300"/>
                <a:gd name="connsiteY65" fmla="*/ 12276045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2868275 w 19982300"/>
                <a:gd name="connsiteY65" fmla="*/ 675806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9926023 w 19982300"/>
                <a:gd name="connsiteY64" fmla="*/ 5238645 h 15035524"/>
                <a:gd name="connsiteX65" fmla="*/ 12868275 w 19982300"/>
                <a:gd name="connsiteY65" fmla="*/ 675806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8353647 w 19982300"/>
                <a:gd name="connsiteY64" fmla="*/ 9412143 h 15035524"/>
                <a:gd name="connsiteX65" fmla="*/ 12868275 w 19982300"/>
                <a:gd name="connsiteY65" fmla="*/ 675806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1919572 w 19982300"/>
                <a:gd name="connsiteY64" fmla="*/ 7003278 h 15035524"/>
                <a:gd name="connsiteX65" fmla="*/ 12868275 w 19982300"/>
                <a:gd name="connsiteY65" fmla="*/ 675806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8744436"/>
                <a:gd name="connsiteY0" fmla="*/ 6798531 h 15035524"/>
                <a:gd name="connsiteX1" fmla="*/ 16432262 w 18744436"/>
                <a:gd name="connsiteY1" fmla="*/ 7825917 h 15035524"/>
                <a:gd name="connsiteX2" fmla="*/ 16106317 w 18744436"/>
                <a:gd name="connsiteY2" fmla="*/ 8367221 h 15035524"/>
                <a:gd name="connsiteX3" fmla="*/ 16305649 w 18744436"/>
                <a:gd name="connsiteY3" fmla="*/ 8754550 h 15035524"/>
                <a:gd name="connsiteX4" fmla="*/ 16287189 w 18744436"/>
                <a:gd name="connsiteY4" fmla="*/ 9151157 h 15035524"/>
                <a:gd name="connsiteX5" fmla="*/ 16372801 w 18744436"/>
                <a:gd name="connsiteY5" fmla="*/ 9717422 h 15035524"/>
                <a:gd name="connsiteX6" fmla="*/ 16070155 w 18744436"/>
                <a:gd name="connsiteY6" fmla="*/ 9937808 h 15035524"/>
                <a:gd name="connsiteX7" fmla="*/ 15805690 w 18744436"/>
                <a:gd name="connsiteY7" fmla="*/ 10431999 h 15035524"/>
                <a:gd name="connsiteX8" fmla="*/ 15195097 w 18744436"/>
                <a:gd name="connsiteY8" fmla="*/ 10093742 h 15035524"/>
                <a:gd name="connsiteX9" fmla="*/ 15011380 w 18744436"/>
                <a:gd name="connsiteY9" fmla="*/ 11048592 h 15035524"/>
                <a:gd name="connsiteX10" fmla="*/ 14908430 w 18744436"/>
                <a:gd name="connsiteY10" fmla="*/ 11937487 h 15035524"/>
                <a:gd name="connsiteX11" fmla="*/ 14904684 w 18744436"/>
                <a:gd name="connsiteY11" fmla="*/ 12760926 h 15035524"/>
                <a:gd name="connsiteX12" fmla="*/ 14929927 w 18744436"/>
                <a:gd name="connsiteY12" fmla="*/ 14391846 h 15035524"/>
                <a:gd name="connsiteX13" fmla="*/ 12952786 w 18744436"/>
                <a:gd name="connsiteY13" fmla="*/ 14842599 h 15035524"/>
                <a:gd name="connsiteX14" fmla="*/ 11934663 w 18744436"/>
                <a:gd name="connsiteY14" fmla="*/ 14890849 h 15035524"/>
                <a:gd name="connsiteX15" fmla="*/ 8506848 w 18744436"/>
                <a:gd name="connsiteY15" fmla="*/ 15035524 h 15035524"/>
                <a:gd name="connsiteX16" fmla="*/ 7985095 w 18744436"/>
                <a:gd name="connsiteY16" fmla="*/ 14390442 h 15035524"/>
                <a:gd name="connsiteX17" fmla="*/ 7400308 w 18744436"/>
                <a:gd name="connsiteY17" fmla="*/ 14360297 h 15035524"/>
                <a:gd name="connsiteX18" fmla="*/ 6972273 w 18744436"/>
                <a:gd name="connsiteY18" fmla="*/ 14631594 h 15035524"/>
                <a:gd name="connsiteX19" fmla="*/ 5181729 w 18744436"/>
                <a:gd name="connsiteY19" fmla="*/ 14547195 h 15035524"/>
                <a:gd name="connsiteX20" fmla="*/ 4397998 w 18744436"/>
                <a:gd name="connsiteY20" fmla="*/ 13914178 h 15035524"/>
                <a:gd name="connsiteX21" fmla="*/ 2908896 w 18744436"/>
                <a:gd name="connsiteY21" fmla="*/ 13106324 h 15035524"/>
                <a:gd name="connsiteX22" fmla="*/ 1263043 w 18744436"/>
                <a:gd name="connsiteY22" fmla="*/ 12394931 h 15035524"/>
                <a:gd name="connsiteX23" fmla="*/ 485320 w 18744436"/>
                <a:gd name="connsiteY23" fmla="*/ 11942774 h 15035524"/>
                <a:gd name="connsiteX24" fmla="*/ 0 w 18744436"/>
                <a:gd name="connsiteY24" fmla="*/ 11649662 h 15035524"/>
                <a:gd name="connsiteX25" fmla="*/ 1003686 w 18744436"/>
                <a:gd name="connsiteY25" fmla="*/ 10903697 h 15035524"/>
                <a:gd name="connsiteX26" fmla="*/ 2902551 w 18744436"/>
                <a:gd name="connsiteY26" fmla="*/ 9719298 h 15035524"/>
                <a:gd name="connsiteX27" fmla="*/ 2558940 w 18744436"/>
                <a:gd name="connsiteY27" fmla="*/ 9185867 h 15035524"/>
                <a:gd name="connsiteX28" fmla="*/ 2402508 w 18744436"/>
                <a:gd name="connsiteY28" fmla="*/ 8498784 h 15035524"/>
                <a:gd name="connsiteX29" fmla="*/ 2730740 w 18744436"/>
                <a:gd name="connsiteY29" fmla="*/ 8471613 h 15035524"/>
                <a:gd name="connsiteX30" fmla="*/ 2947754 w 18744436"/>
                <a:gd name="connsiteY30" fmla="*/ 8001468 h 15035524"/>
                <a:gd name="connsiteX31" fmla="*/ 3499325 w 18744436"/>
                <a:gd name="connsiteY31" fmla="*/ 7558451 h 15035524"/>
                <a:gd name="connsiteX32" fmla="*/ 3680166 w 18744436"/>
                <a:gd name="connsiteY32" fmla="*/ 6681453 h 15035524"/>
                <a:gd name="connsiteX33" fmla="*/ 4186528 w 18744436"/>
                <a:gd name="connsiteY33" fmla="*/ 6690489 h 15035524"/>
                <a:gd name="connsiteX34" fmla="*/ 4837569 w 18744436"/>
                <a:gd name="connsiteY34" fmla="*/ 7160639 h 15035524"/>
                <a:gd name="connsiteX35" fmla="*/ 5352976 w 18744436"/>
                <a:gd name="connsiteY35" fmla="*/ 7079272 h 15035524"/>
                <a:gd name="connsiteX36" fmla="*/ 5741786 w 18744436"/>
                <a:gd name="connsiteY36" fmla="*/ 6708577 h 15035524"/>
                <a:gd name="connsiteX37" fmla="*/ 6157723 w 18744436"/>
                <a:gd name="connsiteY37" fmla="*/ 6545836 h 15035524"/>
                <a:gd name="connsiteX38" fmla="*/ 6745471 w 18744436"/>
                <a:gd name="connsiteY38" fmla="*/ 5976243 h 15035524"/>
                <a:gd name="connsiteX39" fmla="*/ 6890140 w 18744436"/>
                <a:gd name="connsiteY39" fmla="*/ 5126367 h 15035524"/>
                <a:gd name="connsiteX40" fmla="*/ 7568305 w 18744436"/>
                <a:gd name="connsiteY40" fmla="*/ 4556773 h 15035524"/>
                <a:gd name="connsiteX41" fmla="*/ 8137967 w 18744436"/>
                <a:gd name="connsiteY41" fmla="*/ 4113752 h 15035524"/>
                <a:gd name="connsiteX42" fmla="*/ 8463480 w 18744436"/>
                <a:gd name="connsiteY42" fmla="*/ 3309085 h 15035524"/>
                <a:gd name="connsiteX43" fmla="*/ 9024093 w 18744436"/>
                <a:gd name="connsiteY43" fmla="*/ 2956478 h 15035524"/>
                <a:gd name="connsiteX44" fmla="*/ 9675138 w 18744436"/>
                <a:gd name="connsiteY44" fmla="*/ 2603876 h 15035524"/>
                <a:gd name="connsiteX45" fmla="*/ 9558580 w 18744436"/>
                <a:gd name="connsiteY45" fmla="*/ 2055592 h 15035524"/>
                <a:gd name="connsiteX46" fmla="*/ 10353296 w 18744436"/>
                <a:gd name="connsiteY46" fmla="*/ 1383308 h 15035524"/>
                <a:gd name="connsiteX47" fmla="*/ 10832530 w 18744436"/>
                <a:gd name="connsiteY47" fmla="*/ 1310974 h 15035524"/>
                <a:gd name="connsiteX48" fmla="*/ 11058585 w 18744436"/>
                <a:gd name="connsiteY48" fmla="*/ 1763043 h 15035524"/>
                <a:gd name="connsiteX49" fmla="*/ 11411229 w 18744436"/>
                <a:gd name="connsiteY49" fmla="*/ 2142774 h 15035524"/>
                <a:gd name="connsiteX50" fmla="*/ 11998974 w 18744436"/>
                <a:gd name="connsiteY50" fmla="*/ 2224144 h 15035524"/>
                <a:gd name="connsiteX51" fmla="*/ 12315449 w 18744436"/>
                <a:gd name="connsiteY51" fmla="*/ 2884156 h 15035524"/>
                <a:gd name="connsiteX52" fmla="*/ 12785642 w 18744436"/>
                <a:gd name="connsiteY52" fmla="*/ 2703327 h 15035524"/>
                <a:gd name="connsiteX53" fmla="*/ 13671776 w 18744436"/>
                <a:gd name="connsiteY53" fmla="*/ 3155388 h 15035524"/>
                <a:gd name="connsiteX54" fmla="*/ 14123886 w 18744436"/>
                <a:gd name="connsiteY54" fmla="*/ 2857035 h 15035524"/>
                <a:gd name="connsiteX55" fmla="*/ 14259509 w 18744436"/>
                <a:gd name="connsiteY55" fmla="*/ 2287434 h 15035524"/>
                <a:gd name="connsiteX56" fmla="*/ 14892468 w 18744436"/>
                <a:gd name="connsiteY56" fmla="*/ 1645503 h 15035524"/>
                <a:gd name="connsiteX57" fmla="*/ 15778605 w 18744436"/>
                <a:gd name="connsiteY57" fmla="*/ 1093983 h 15035524"/>
                <a:gd name="connsiteX58" fmla="*/ 16022739 w 18744436"/>
                <a:gd name="connsiteY58" fmla="*/ 1564133 h 15035524"/>
                <a:gd name="connsiteX59" fmla="*/ 16556232 w 18744436"/>
                <a:gd name="connsiteY59" fmla="*/ 2142785 h 15035524"/>
                <a:gd name="connsiteX60" fmla="*/ 17406193 w 18744436"/>
                <a:gd name="connsiteY60" fmla="*/ 1292897 h 15035524"/>
                <a:gd name="connsiteX61" fmla="*/ 18120524 w 18744436"/>
                <a:gd name="connsiteY61" fmla="*/ 714260 h 15035524"/>
                <a:gd name="connsiteX62" fmla="*/ 18744437 w 18744436"/>
                <a:gd name="connsiteY62" fmla="*/ -1 h 15035524"/>
                <a:gd name="connsiteX63" fmla="*/ 3500421 w 18744436"/>
                <a:gd name="connsiteY63" fmla="*/ 4096811 h 15035524"/>
                <a:gd name="connsiteX64" fmla="*/ 11919572 w 18744436"/>
                <a:gd name="connsiteY64" fmla="*/ 7003278 h 15035524"/>
                <a:gd name="connsiteX65" fmla="*/ 12868275 w 18744436"/>
                <a:gd name="connsiteY65" fmla="*/ 6758067 h 15035524"/>
                <a:gd name="connsiteX66" fmla="*/ 13844296 w 18744436"/>
                <a:gd name="connsiteY66" fmla="*/ 6156232 h 15035524"/>
                <a:gd name="connsiteX67" fmla="*/ 13886291 w 18744436"/>
                <a:gd name="connsiteY67" fmla="*/ 5321864 h 15035524"/>
                <a:gd name="connsiteX68" fmla="*/ 14370431 w 18744436"/>
                <a:gd name="connsiteY68" fmla="*/ 5830216 h 15035524"/>
                <a:gd name="connsiteX69" fmla="*/ 15323320 w 18744436"/>
                <a:gd name="connsiteY69" fmla="*/ 5928489 h 15035524"/>
                <a:gd name="connsiteX70" fmla="*/ 16350939 w 18744436"/>
                <a:gd name="connsiteY70" fmla="*/ 6053348 h 15035524"/>
                <a:gd name="connsiteX71" fmla="*/ 16362364 w 18744436"/>
                <a:gd name="connsiteY71" fmla="*/ 6360628 h 15035524"/>
                <a:gd name="connsiteX72" fmla="*/ 16682563 w 18744436"/>
                <a:gd name="connsiteY72" fmla="*/ 6798531 h 15035524"/>
                <a:gd name="connsiteX0" fmla="*/ 16682563 w 18744436"/>
                <a:gd name="connsiteY0" fmla="*/ 6798531 h 15035524"/>
                <a:gd name="connsiteX1" fmla="*/ 16432262 w 18744436"/>
                <a:gd name="connsiteY1" fmla="*/ 7825917 h 15035524"/>
                <a:gd name="connsiteX2" fmla="*/ 16106317 w 18744436"/>
                <a:gd name="connsiteY2" fmla="*/ 8367221 h 15035524"/>
                <a:gd name="connsiteX3" fmla="*/ 16305649 w 18744436"/>
                <a:gd name="connsiteY3" fmla="*/ 8754550 h 15035524"/>
                <a:gd name="connsiteX4" fmla="*/ 16287189 w 18744436"/>
                <a:gd name="connsiteY4" fmla="*/ 9151157 h 15035524"/>
                <a:gd name="connsiteX5" fmla="*/ 16372801 w 18744436"/>
                <a:gd name="connsiteY5" fmla="*/ 9717422 h 15035524"/>
                <a:gd name="connsiteX6" fmla="*/ 16070155 w 18744436"/>
                <a:gd name="connsiteY6" fmla="*/ 9937808 h 15035524"/>
                <a:gd name="connsiteX7" fmla="*/ 15805690 w 18744436"/>
                <a:gd name="connsiteY7" fmla="*/ 10431999 h 15035524"/>
                <a:gd name="connsiteX8" fmla="*/ 15195097 w 18744436"/>
                <a:gd name="connsiteY8" fmla="*/ 10093742 h 15035524"/>
                <a:gd name="connsiteX9" fmla="*/ 15011380 w 18744436"/>
                <a:gd name="connsiteY9" fmla="*/ 11048592 h 15035524"/>
                <a:gd name="connsiteX10" fmla="*/ 14908430 w 18744436"/>
                <a:gd name="connsiteY10" fmla="*/ 11937487 h 15035524"/>
                <a:gd name="connsiteX11" fmla="*/ 14904684 w 18744436"/>
                <a:gd name="connsiteY11" fmla="*/ 12760926 h 15035524"/>
                <a:gd name="connsiteX12" fmla="*/ 14929927 w 18744436"/>
                <a:gd name="connsiteY12" fmla="*/ 14391846 h 15035524"/>
                <a:gd name="connsiteX13" fmla="*/ 12952786 w 18744436"/>
                <a:gd name="connsiteY13" fmla="*/ 14842599 h 15035524"/>
                <a:gd name="connsiteX14" fmla="*/ 11934663 w 18744436"/>
                <a:gd name="connsiteY14" fmla="*/ 14890849 h 15035524"/>
                <a:gd name="connsiteX15" fmla="*/ 8506848 w 18744436"/>
                <a:gd name="connsiteY15" fmla="*/ 15035524 h 15035524"/>
                <a:gd name="connsiteX16" fmla="*/ 7985095 w 18744436"/>
                <a:gd name="connsiteY16" fmla="*/ 14390442 h 15035524"/>
                <a:gd name="connsiteX17" fmla="*/ 7400308 w 18744436"/>
                <a:gd name="connsiteY17" fmla="*/ 14360297 h 15035524"/>
                <a:gd name="connsiteX18" fmla="*/ 6972273 w 18744436"/>
                <a:gd name="connsiteY18" fmla="*/ 14631594 h 15035524"/>
                <a:gd name="connsiteX19" fmla="*/ 5181729 w 18744436"/>
                <a:gd name="connsiteY19" fmla="*/ 14547195 h 15035524"/>
                <a:gd name="connsiteX20" fmla="*/ 4397998 w 18744436"/>
                <a:gd name="connsiteY20" fmla="*/ 13914178 h 15035524"/>
                <a:gd name="connsiteX21" fmla="*/ 2908896 w 18744436"/>
                <a:gd name="connsiteY21" fmla="*/ 13106324 h 15035524"/>
                <a:gd name="connsiteX22" fmla="*/ 1263043 w 18744436"/>
                <a:gd name="connsiteY22" fmla="*/ 12394931 h 15035524"/>
                <a:gd name="connsiteX23" fmla="*/ 485320 w 18744436"/>
                <a:gd name="connsiteY23" fmla="*/ 11942774 h 15035524"/>
                <a:gd name="connsiteX24" fmla="*/ 0 w 18744436"/>
                <a:gd name="connsiteY24" fmla="*/ 11649662 h 15035524"/>
                <a:gd name="connsiteX25" fmla="*/ 1003686 w 18744436"/>
                <a:gd name="connsiteY25" fmla="*/ 10903697 h 15035524"/>
                <a:gd name="connsiteX26" fmla="*/ 2902551 w 18744436"/>
                <a:gd name="connsiteY26" fmla="*/ 9719298 h 15035524"/>
                <a:gd name="connsiteX27" fmla="*/ 2558940 w 18744436"/>
                <a:gd name="connsiteY27" fmla="*/ 9185867 h 15035524"/>
                <a:gd name="connsiteX28" fmla="*/ 2402508 w 18744436"/>
                <a:gd name="connsiteY28" fmla="*/ 8498784 h 15035524"/>
                <a:gd name="connsiteX29" fmla="*/ 2730740 w 18744436"/>
                <a:gd name="connsiteY29" fmla="*/ 8471613 h 15035524"/>
                <a:gd name="connsiteX30" fmla="*/ 2947754 w 18744436"/>
                <a:gd name="connsiteY30" fmla="*/ 8001468 h 15035524"/>
                <a:gd name="connsiteX31" fmla="*/ 3499325 w 18744436"/>
                <a:gd name="connsiteY31" fmla="*/ 7558451 h 15035524"/>
                <a:gd name="connsiteX32" fmla="*/ 3680166 w 18744436"/>
                <a:gd name="connsiteY32" fmla="*/ 6681453 h 15035524"/>
                <a:gd name="connsiteX33" fmla="*/ 4186528 w 18744436"/>
                <a:gd name="connsiteY33" fmla="*/ 6690489 h 15035524"/>
                <a:gd name="connsiteX34" fmla="*/ 4837569 w 18744436"/>
                <a:gd name="connsiteY34" fmla="*/ 7160639 h 15035524"/>
                <a:gd name="connsiteX35" fmla="*/ 5352976 w 18744436"/>
                <a:gd name="connsiteY35" fmla="*/ 7079272 h 15035524"/>
                <a:gd name="connsiteX36" fmla="*/ 5741786 w 18744436"/>
                <a:gd name="connsiteY36" fmla="*/ 6708577 h 15035524"/>
                <a:gd name="connsiteX37" fmla="*/ 6157723 w 18744436"/>
                <a:gd name="connsiteY37" fmla="*/ 6545836 h 15035524"/>
                <a:gd name="connsiteX38" fmla="*/ 6745471 w 18744436"/>
                <a:gd name="connsiteY38" fmla="*/ 5976243 h 15035524"/>
                <a:gd name="connsiteX39" fmla="*/ 6890140 w 18744436"/>
                <a:gd name="connsiteY39" fmla="*/ 5126367 h 15035524"/>
                <a:gd name="connsiteX40" fmla="*/ 7568305 w 18744436"/>
                <a:gd name="connsiteY40" fmla="*/ 4556773 h 15035524"/>
                <a:gd name="connsiteX41" fmla="*/ 8137967 w 18744436"/>
                <a:gd name="connsiteY41" fmla="*/ 4113752 h 15035524"/>
                <a:gd name="connsiteX42" fmla="*/ 8463480 w 18744436"/>
                <a:gd name="connsiteY42" fmla="*/ 3309085 h 15035524"/>
                <a:gd name="connsiteX43" fmla="*/ 9024093 w 18744436"/>
                <a:gd name="connsiteY43" fmla="*/ 2956478 h 15035524"/>
                <a:gd name="connsiteX44" fmla="*/ 9675138 w 18744436"/>
                <a:gd name="connsiteY44" fmla="*/ 2603876 h 15035524"/>
                <a:gd name="connsiteX45" fmla="*/ 9558580 w 18744436"/>
                <a:gd name="connsiteY45" fmla="*/ 2055592 h 15035524"/>
                <a:gd name="connsiteX46" fmla="*/ 10353296 w 18744436"/>
                <a:gd name="connsiteY46" fmla="*/ 1383308 h 15035524"/>
                <a:gd name="connsiteX47" fmla="*/ 10832530 w 18744436"/>
                <a:gd name="connsiteY47" fmla="*/ 1310974 h 15035524"/>
                <a:gd name="connsiteX48" fmla="*/ 11058585 w 18744436"/>
                <a:gd name="connsiteY48" fmla="*/ 1763043 h 15035524"/>
                <a:gd name="connsiteX49" fmla="*/ 11411229 w 18744436"/>
                <a:gd name="connsiteY49" fmla="*/ 2142774 h 15035524"/>
                <a:gd name="connsiteX50" fmla="*/ 11998974 w 18744436"/>
                <a:gd name="connsiteY50" fmla="*/ 2224144 h 15035524"/>
                <a:gd name="connsiteX51" fmla="*/ 12315449 w 18744436"/>
                <a:gd name="connsiteY51" fmla="*/ 2884156 h 15035524"/>
                <a:gd name="connsiteX52" fmla="*/ 12785642 w 18744436"/>
                <a:gd name="connsiteY52" fmla="*/ 2703327 h 15035524"/>
                <a:gd name="connsiteX53" fmla="*/ 13671776 w 18744436"/>
                <a:gd name="connsiteY53" fmla="*/ 3155388 h 15035524"/>
                <a:gd name="connsiteX54" fmla="*/ 14123886 w 18744436"/>
                <a:gd name="connsiteY54" fmla="*/ 2857035 h 15035524"/>
                <a:gd name="connsiteX55" fmla="*/ 14259509 w 18744436"/>
                <a:gd name="connsiteY55" fmla="*/ 2287434 h 15035524"/>
                <a:gd name="connsiteX56" fmla="*/ 14892468 w 18744436"/>
                <a:gd name="connsiteY56" fmla="*/ 1645503 h 15035524"/>
                <a:gd name="connsiteX57" fmla="*/ 15778605 w 18744436"/>
                <a:gd name="connsiteY57" fmla="*/ 1093983 h 15035524"/>
                <a:gd name="connsiteX58" fmla="*/ 16022739 w 18744436"/>
                <a:gd name="connsiteY58" fmla="*/ 1564133 h 15035524"/>
                <a:gd name="connsiteX59" fmla="*/ 16556232 w 18744436"/>
                <a:gd name="connsiteY59" fmla="*/ 2142785 h 15035524"/>
                <a:gd name="connsiteX60" fmla="*/ 17406193 w 18744436"/>
                <a:gd name="connsiteY60" fmla="*/ 1292897 h 15035524"/>
                <a:gd name="connsiteX61" fmla="*/ 18120524 w 18744436"/>
                <a:gd name="connsiteY61" fmla="*/ 714260 h 15035524"/>
                <a:gd name="connsiteX62" fmla="*/ 18744437 w 18744436"/>
                <a:gd name="connsiteY62" fmla="*/ -1 h 15035524"/>
                <a:gd name="connsiteX63" fmla="*/ 496059 w 18744436"/>
                <a:gd name="connsiteY63" fmla="*/ 6029507 h 15035524"/>
                <a:gd name="connsiteX64" fmla="*/ 11919572 w 18744436"/>
                <a:gd name="connsiteY64" fmla="*/ 7003278 h 15035524"/>
                <a:gd name="connsiteX65" fmla="*/ 12868275 w 18744436"/>
                <a:gd name="connsiteY65" fmla="*/ 6758067 h 15035524"/>
                <a:gd name="connsiteX66" fmla="*/ 13844296 w 18744436"/>
                <a:gd name="connsiteY66" fmla="*/ 6156232 h 15035524"/>
                <a:gd name="connsiteX67" fmla="*/ 13886291 w 18744436"/>
                <a:gd name="connsiteY67" fmla="*/ 5321864 h 15035524"/>
                <a:gd name="connsiteX68" fmla="*/ 14370431 w 18744436"/>
                <a:gd name="connsiteY68" fmla="*/ 5830216 h 15035524"/>
                <a:gd name="connsiteX69" fmla="*/ 15323320 w 18744436"/>
                <a:gd name="connsiteY69" fmla="*/ 5928489 h 15035524"/>
                <a:gd name="connsiteX70" fmla="*/ 16350939 w 18744436"/>
                <a:gd name="connsiteY70" fmla="*/ 6053348 h 15035524"/>
                <a:gd name="connsiteX71" fmla="*/ 16362364 w 18744436"/>
                <a:gd name="connsiteY71" fmla="*/ 6360628 h 15035524"/>
                <a:gd name="connsiteX72" fmla="*/ 16682563 w 18744436"/>
                <a:gd name="connsiteY72" fmla="*/ 6798531 h 15035524"/>
                <a:gd name="connsiteX0" fmla="*/ 16682563 w 18744436"/>
                <a:gd name="connsiteY0" fmla="*/ 6798531 h 15035524"/>
                <a:gd name="connsiteX1" fmla="*/ 16432262 w 18744436"/>
                <a:gd name="connsiteY1" fmla="*/ 7825917 h 15035524"/>
                <a:gd name="connsiteX2" fmla="*/ 16106317 w 18744436"/>
                <a:gd name="connsiteY2" fmla="*/ 8367221 h 15035524"/>
                <a:gd name="connsiteX3" fmla="*/ 16305649 w 18744436"/>
                <a:gd name="connsiteY3" fmla="*/ 8754550 h 15035524"/>
                <a:gd name="connsiteX4" fmla="*/ 16287189 w 18744436"/>
                <a:gd name="connsiteY4" fmla="*/ 9151157 h 15035524"/>
                <a:gd name="connsiteX5" fmla="*/ 16372801 w 18744436"/>
                <a:gd name="connsiteY5" fmla="*/ 9717422 h 15035524"/>
                <a:gd name="connsiteX6" fmla="*/ 16070155 w 18744436"/>
                <a:gd name="connsiteY6" fmla="*/ 9937808 h 15035524"/>
                <a:gd name="connsiteX7" fmla="*/ 15805690 w 18744436"/>
                <a:gd name="connsiteY7" fmla="*/ 10431999 h 15035524"/>
                <a:gd name="connsiteX8" fmla="*/ 15195097 w 18744436"/>
                <a:gd name="connsiteY8" fmla="*/ 10093742 h 15035524"/>
                <a:gd name="connsiteX9" fmla="*/ 15011380 w 18744436"/>
                <a:gd name="connsiteY9" fmla="*/ 11048592 h 15035524"/>
                <a:gd name="connsiteX10" fmla="*/ 14908430 w 18744436"/>
                <a:gd name="connsiteY10" fmla="*/ 11937487 h 15035524"/>
                <a:gd name="connsiteX11" fmla="*/ 14904684 w 18744436"/>
                <a:gd name="connsiteY11" fmla="*/ 12760926 h 15035524"/>
                <a:gd name="connsiteX12" fmla="*/ 14929927 w 18744436"/>
                <a:gd name="connsiteY12" fmla="*/ 14391846 h 15035524"/>
                <a:gd name="connsiteX13" fmla="*/ 12952786 w 18744436"/>
                <a:gd name="connsiteY13" fmla="*/ 14842599 h 15035524"/>
                <a:gd name="connsiteX14" fmla="*/ 11934663 w 18744436"/>
                <a:gd name="connsiteY14" fmla="*/ 14890849 h 15035524"/>
                <a:gd name="connsiteX15" fmla="*/ 8506848 w 18744436"/>
                <a:gd name="connsiteY15" fmla="*/ 15035524 h 15035524"/>
                <a:gd name="connsiteX16" fmla="*/ 7985095 w 18744436"/>
                <a:gd name="connsiteY16" fmla="*/ 14390442 h 15035524"/>
                <a:gd name="connsiteX17" fmla="*/ 7400308 w 18744436"/>
                <a:gd name="connsiteY17" fmla="*/ 14360297 h 15035524"/>
                <a:gd name="connsiteX18" fmla="*/ 6972273 w 18744436"/>
                <a:gd name="connsiteY18" fmla="*/ 14631594 h 15035524"/>
                <a:gd name="connsiteX19" fmla="*/ 5181729 w 18744436"/>
                <a:gd name="connsiteY19" fmla="*/ 14547195 h 15035524"/>
                <a:gd name="connsiteX20" fmla="*/ 4397998 w 18744436"/>
                <a:gd name="connsiteY20" fmla="*/ 13914178 h 15035524"/>
                <a:gd name="connsiteX21" fmla="*/ 2908896 w 18744436"/>
                <a:gd name="connsiteY21" fmla="*/ 13106324 h 15035524"/>
                <a:gd name="connsiteX22" fmla="*/ 1263043 w 18744436"/>
                <a:gd name="connsiteY22" fmla="*/ 12394931 h 15035524"/>
                <a:gd name="connsiteX23" fmla="*/ 485320 w 18744436"/>
                <a:gd name="connsiteY23" fmla="*/ 11942774 h 15035524"/>
                <a:gd name="connsiteX24" fmla="*/ 0 w 18744436"/>
                <a:gd name="connsiteY24" fmla="*/ 11649662 h 15035524"/>
                <a:gd name="connsiteX25" fmla="*/ 1003686 w 18744436"/>
                <a:gd name="connsiteY25" fmla="*/ 10903697 h 15035524"/>
                <a:gd name="connsiteX26" fmla="*/ 2902551 w 18744436"/>
                <a:gd name="connsiteY26" fmla="*/ 9719298 h 15035524"/>
                <a:gd name="connsiteX27" fmla="*/ 2558940 w 18744436"/>
                <a:gd name="connsiteY27" fmla="*/ 9185867 h 15035524"/>
                <a:gd name="connsiteX28" fmla="*/ 2402508 w 18744436"/>
                <a:gd name="connsiteY28" fmla="*/ 8498784 h 15035524"/>
                <a:gd name="connsiteX29" fmla="*/ 2730740 w 18744436"/>
                <a:gd name="connsiteY29" fmla="*/ 8471613 h 15035524"/>
                <a:gd name="connsiteX30" fmla="*/ 2947754 w 18744436"/>
                <a:gd name="connsiteY30" fmla="*/ 8001468 h 15035524"/>
                <a:gd name="connsiteX31" fmla="*/ 3499325 w 18744436"/>
                <a:gd name="connsiteY31" fmla="*/ 7558451 h 15035524"/>
                <a:gd name="connsiteX32" fmla="*/ 3680166 w 18744436"/>
                <a:gd name="connsiteY32" fmla="*/ 6681453 h 15035524"/>
                <a:gd name="connsiteX33" fmla="*/ 4186528 w 18744436"/>
                <a:gd name="connsiteY33" fmla="*/ 6690489 h 15035524"/>
                <a:gd name="connsiteX34" fmla="*/ 4837569 w 18744436"/>
                <a:gd name="connsiteY34" fmla="*/ 7160639 h 15035524"/>
                <a:gd name="connsiteX35" fmla="*/ 5352976 w 18744436"/>
                <a:gd name="connsiteY35" fmla="*/ 7079272 h 15035524"/>
                <a:gd name="connsiteX36" fmla="*/ 5741786 w 18744436"/>
                <a:gd name="connsiteY36" fmla="*/ 6708577 h 15035524"/>
                <a:gd name="connsiteX37" fmla="*/ 6157723 w 18744436"/>
                <a:gd name="connsiteY37" fmla="*/ 6545836 h 15035524"/>
                <a:gd name="connsiteX38" fmla="*/ 6745471 w 18744436"/>
                <a:gd name="connsiteY38" fmla="*/ 5976243 h 15035524"/>
                <a:gd name="connsiteX39" fmla="*/ 6890140 w 18744436"/>
                <a:gd name="connsiteY39" fmla="*/ 5126367 h 15035524"/>
                <a:gd name="connsiteX40" fmla="*/ 7568305 w 18744436"/>
                <a:gd name="connsiteY40" fmla="*/ 4556773 h 15035524"/>
                <a:gd name="connsiteX41" fmla="*/ 8137967 w 18744436"/>
                <a:gd name="connsiteY41" fmla="*/ 4113752 h 15035524"/>
                <a:gd name="connsiteX42" fmla="*/ 8463480 w 18744436"/>
                <a:gd name="connsiteY42" fmla="*/ 3309085 h 15035524"/>
                <a:gd name="connsiteX43" fmla="*/ 9024093 w 18744436"/>
                <a:gd name="connsiteY43" fmla="*/ 2956478 h 15035524"/>
                <a:gd name="connsiteX44" fmla="*/ 9675138 w 18744436"/>
                <a:gd name="connsiteY44" fmla="*/ 2603876 h 15035524"/>
                <a:gd name="connsiteX45" fmla="*/ 9558580 w 18744436"/>
                <a:gd name="connsiteY45" fmla="*/ 2055592 h 15035524"/>
                <a:gd name="connsiteX46" fmla="*/ 10353296 w 18744436"/>
                <a:gd name="connsiteY46" fmla="*/ 1383308 h 15035524"/>
                <a:gd name="connsiteX47" fmla="*/ 10832530 w 18744436"/>
                <a:gd name="connsiteY47" fmla="*/ 1310974 h 15035524"/>
                <a:gd name="connsiteX48" fmla="*/ 11058585 w 18744436"/>
                <a:gd name="connsiteY48" fmla="*/ 1763043 h 15035524"/>
                <a:gd name="connsiteX49" fmla="*/ 11411229 w 18744436"/>
                <a:gd name="connsiteY49" fmla="*/ 2142774 h 15035524"/>
                <a:gd name="connsiteX50" fmla="*/ 11998974 w 18744436"/>
                <a:gd name="connsiteY50" fmla="*/ 2224144 h 15035524"/>
                <a:gd name="connsiteX51" fmla="*/ 12315449 w 18744436"/>
                <a:gd name="connsiteY51" fmla="*/ 2884156 h 15035524"/>
                <a:gd name="connsiteX52" fmla="*/ 12785642 w 18744436"/>
                <a:gd name="connsiteY52" fmla="*/ 2703327 h 15035524"/>
                <a:gd name="connsiteX53" fmla="*/ 13671776 w 18744436"/>
                <a:gd name="connsiteY53" fmla="*/ 3155388 h 15035524"/>
                <a:gd name="connsiteX54" fmla="*/ 14123886 w 18744436"/>
                <a:gd name="connsiteY54" fmla="*/ 2857035 h 15035524"/>
                <a:gd name="connsiteX55" fmla="*/ 14259509 w 18744436"/>
                <a:gd name="connsiteY55" fmla="*/ 2287434 h 15035524"/>
                <a:gd name="connsiteX56" fmla="*/ 14892468 w 18744436"/>
                <a:gd name="connsiteY56" fmla="*/ 1645503 h 15035524"/>
                <a:gd name="connsiteX57" fmla="*/ 15778605 w 18744436"/>
                <a:gd name="connsiteY57" fmla="*/ 1093983 h 15035524"/>
                <a:gd name="connsiteX58" fmla="*/ 16022739 w 18744436"/>
                <a:gd name="connsiteY58" fmla="*/ 1564133 h 15035524"/>
                <a:gd name="connsiteX59" fmla="*/ 16556232 w 18744436"/>
                <a:gd name="connsiteY59" fmla="*/ 2142785 h 15035524"/>
                <a:gd name="connsiteX60" fmla="*/ 17406193 w 18744436"/>
                <a:gd name="connsiteY60" fmla="*/ 1292897 h 15035524"/>
                <a:gd name="connsiteX61" fmla="*/ 18120524 w 18744436"/>
                <a:gd name="connsiteY61" fmla="*/ 714260 h 15035524"/>
                <a:gd name="connsiteX62" fmla="*/ 18744437 w 18744436"/>
                <a:gd name="connsiteY62" fmla="*/ -1 h 15035524"/>
                <a:gd name="connsiteX63" fmla="*/ 271434 w 18744436"/>
                <a:gd name="connsiteY63" fmla="*/ 7065877 h 15035524"/>
                <a:gd name="connsiteX64" fmla="*/ 11919572 w 18744436"/>
                <a:gd name="connsiteY64" fmla="*/ 7003278 h 15035524"/>
                <a:gd name="connsiteX65" fmla="*/ 12868275 w 18744436"/>
                <a:gd name="connsiteY65" fmla="*/ 6758067 h 15035524"/>
                <a:gd name="connsiteX66" fmla="*/ 13844296 w 18744436"/>
                <a:gd name="connsiteY66" fmla="*/ 6156232 h 15035524"/>
                <a:gd name="connsiteX67" fmla="*/ 13886291 w 18744436"/>
                <a:gd name="connsiteY67" fmla="*/ 5321864 h 15035524"/>
                <a:gd name="connsiteX68" fmla="*/ 14370431 w 18744436"/>
                <a:gd name="connsiteY68" fmla="*/ 5830216 h 15035524"/>
                <a:gd name="connsiteX69" fmla="*/ 15323320 w 18744436"/>
                <a:gd name="connsiteY69" fmla="*/ 5928489 h 15035524"/>
                <a:gd name="connsiteX70" fmla="*/ 16350939 w 18744436"/>
                <a:gd name="connsiteY70" fmla="*/ 6053348 h 15035524"/>
                <a:gd name="connsiteX71" fmla="*/ 16362364 w 18744436"/>
                <a:gd name="connsiteY71" fmla="*/ 6360628 h 15035524"/>
                <a:gd name="connsiteX72" fmla="*/ 16682563 w 18744436"/>
                <a:gd name="connsiteY72" fmla="*/ 6798531 h 15035524"/>
                <a:gd name="connsiteX0" fmla="*/ 16682563 w 18744436"/>
                <a:gd name="connsiteY0" fmla="*/ 6798531 h 15035524"/>
                <a:gd name="connsiteX1" fmla="*/ 16432262 w 18744436"/>
                <a:gd name="connsiteY1" fmla="*/ 7825917 h 15035524"/>
                <a:gd name="connsiteX2" fmla="*/ 16106317 w 18744436"/>
                <a:gd name="connsiteY2" fmla="*/ 8367221 h 15035524"/>
                <a:gd name="connsiteX3" fmla="*/ 16305649 w 18744436"/>
                <a:gd name="connsiteY3" fmla="*/ 8754550 h 15035524"/>
                <a:gd name="connsiteX4" fmla="*/ 16287189 w 18744436"/>
                <a:gd name="connsiteY4" fmla="*/ 9151157 h 15035524"/>
                <a:gd name="connsiteX5" fmla="*/ 16372801 w 18744436"/>
                <a:gd name="connsiteY5" fmla="*/ 9717422 h 15035524"/>
                <a:gd name="connsiteX6" fmla="*/ 16070155 w 18744436"/>
                <a:gd name="connsiteY6" fmla="*/ 9937808 h 15035524"/>
                <a:gd name="connsiteX7" fmla="*/ 15805690 w 18744436"/>
                <a:gd name="connsiteY7" fmla="*/ 10431999 h 15035524"/>
                <a:gd name="connsiteX8" fmla="*/ 15195097 w 18744436"/>
                <a:gd name="connsiteY8" fmla="*/ 10093742 h 15035524"/>
                <a:gd name="connsiteX9" fmla="*/ 15011380 w 18744436"/>
                <a:gd name="connsiteY9" fmla="*/ 11048592 h 15035524"/>
                <a:gd name="connsiteX10" fmla="*/ 14908430 w 18744436"/>
                <a:gd name="connsiteY10" fmla="*/ 11937487 h 15035524"/>
                <a:gd name="connsiteX11" fmla="*/ 14904684 w 18744436"/>
                <a:gd name="connsiteY11" fmla="*/ 12760926 h 15035524"/>
                <a:gd name="connsiteX12" fmla="*/ 14929927 w 18744436"/>
                <a:gd name="connsiteY12" fmla="*/ 14391846 h 15035524"/>
                <a:gd name="connsiteX13" fmla="*/ 12952786 w 18744436"/>
                <a:gd name="connsiteY13" fmla="*/ 14842599 h 15035524"/>
                <a:gd name="connsiteX14" fmla="*/ 11934663 w 18744436"/>
                <a:gd name="connsiteY14" fmla="*/ 14890849 h 15035524"/>
                <a:gd name="connsiteX15" fmla="*/ 8506848 w 18744436"/>
                <a:gd name="connsiteY15" fmla="*/ 15035524 h 15035524"/>
                <a:gd name="connsiteX16" fmla="*/ 7985095 w 18744436"/>
                <a:gd name="connsiteY16" fmla="*/ 14390442 h 15035524"/>
                <a:gd name="connsiteX17" fmla="*/ 7400308 w 18744436"/>
                <a:gd name="connsiteY17" fmla="*/ 14360297 h 15035524"/>
                <a:gd name="connsiteX18" fmla="*/ 6972273 w 18744436"/>
                <a:gd name="connsiteY18" fmla="*/ 14631594 h 15035524"/>
                <a:gd name="connsiteX19" fmla="*/ 5181729 w 18744436"/>
                <a:gd name="connsiteY19" fmla="*/ 14547195 h 15035524"/>
                <a:gd name="connsiteX20" fmla="*/ 4397998 w 18744436"/>
                <a:gd name="connsiteY20" fmla="*/ 13914178 h 15035524"/>
                <a:gd name="connsiteX21" fmla="*/ 2908896 w 18744436"/>
                <a:gd name="connsiteY21" fmla="*/ 13106324 h 15035524"/>
                <a:gd name="connsiteX22" fmla="*/ 1263043 w 18744436"/>
                <a:gd name="connsiteY22" fmla="*/ 12394931 h 15035524"/>
                <a:gd name="connsiteX23" fmla="*/ 485320 w 18744436"/>
                <a:gd name="connsiteY23" fmla="*/ 11942774 h 15035524"/>
                <a:gd name="connsiteX24" fmla="*/ 0 w 18744436"/>
                <a:gd name="connsiteY24" fmla="*/ 11649662 h 15035524"/>
                <a:gd name="connsiteX25" fmla="*/ 1003686 w 18744436"/>
                <a:gd name="connsiteY25" fmla="*/ 10903697 h 15035524"/>
                <a:gd name="connsiteX26" fmla="*/ 2902551 w 18744436"/>
                <a:gd name="connsiteY26" fmla="*/ 9719298 h 15035524"/>
                <a:gd name="connsiteX27" fmla="*/ 2558940 w 18744436"/>
                <a:gd name="connsiteY27" fmla="*/ 9185867 h 15035524"/>
                <a:gd name="connsiteX28" fmla="*/ 2402508 w 18744436"/>
                <a:gd name="connsiteY28" fmla="*/ 8498784 h 15035524"/>
                <a:gd name="connsiteX29" fmla="*/ 2730740 w 18744436"/>
                <a:gd name="connsiteY29" fmla="*/ 8471613 h 15035524"/>
                <a:gd name="connsiteX30" fmla="*/ 2947754 w 18744436"/>
                <a:gd name="connsiteY30" fmla="*/ 8001468 h 15035524"/>
                <a:gd name="connsiteX31" fmla="*/ 3499325 w 18744436"/>
                <a:gd name="connsiteY31" fmla="*/ 7558451 h 15035524"/>
                <a:gd name="connsiteX32" fmla="*/ 3680166 w 18744436"/>
                <a:gd name="connsiteY32" fmla="*/ 6681453 h 15035524"/>
                <a:gd name="connsiteX33" fmla="*/ 4186528 w 18744436"/>
                <a:gd name="connsiteY33" fmla="*/ 6690489 h 15035524"/>
                <a:gd name="connsiteX34" fmla="*/ 4837569 w 18744436"/>
                <a:gd name="connsiteY34" fmla="*/ 7160639 h 15035524"/>
                <a:gd name="connsiteX35" fmla="*/ 5352976 w 18744436"/>
                <a:gd name="connsiteY35" fmla="*/ 7079272 h 15035524"/>
                <a:gd name="connsiteX36" fmla="*/ 5741786 w 18744436"/>
                <a:gd name="connsiteY36" fmla="*/ 6708577 h 15035524"/>
                <a:gd name="connsiteX37" fmla="*/ 6157723 w 18744436"/>
                <a:gd name="connsiteY37" fmla="*/ 6545836 h 15035524"/>
                <a:gd name="connsiteX38" fmla="*/ 6745471 w 18744436"/>
                <a:gd name="connsiteY38" fmla="*/ 5976243 h 15035524"/>
                <a:gd name="connsiteX39" fmla="*/ 6890140 w 18744436"/>
                <a:gd name="connsiteY39" fmla="*/ 5126367 h 15035524"/>
                <a:gd name="connsiteX40" fmla="*/ 7568305 w 18744436"/>
                <a:gd name="connsiteY40" fmla="*/ 4556773 h 15035524"/>
                <a:gd name="connsiteX41" fmla="*/ 8137967 w 18744436"/>
                <a:gd name="connsiteY41" fmla="*/ 4113752 h 15035524"/>
                <a:gd name="connsiteX42" fmla="*/ 8463480 w 18744436"/>
                <a:gd name="connsiteY42" fmla="*/ 3309085 h 15035524"/>
                <a:gd name="connsiteX43" fmla="*/ 9024093 w 18744436"/>
                <a:gd name="connsiteY43" fmla="*/ 2956478 h 15035524"/>
                <a:gd name="connsiteX44" fmla="*/ 9675138 w 18744436"/>
                <a:gd name="connsiteY44" fmla="*/ 2603876 h 15035524"/>
                <a:gd name="connsiteX45" fmla="*/ 9558580 w 18744436"/>
                <a:gd name="connsiteY45" fmla="*/ 2055592 h 15035524"/>
                <a:gd name="connsiteX46" fmla="*/ 10353296 w 18744436"/>
                <a:gd name="connsiteY46" fmla="*/ 1383308 h 15035524"/>
                <a:gd name="connsiteX47" fmla="*/ 10832530 w 18744436"/>
                <a:gd name="connsiteY47" fmla="*/ 1310974 h 15035524"/>
                <a:gd name="connsiteX48" fmla="*/ 11058585 w 18744436"/>
                <a:gd name="connsiteY48" fmla="*/ 1763043 h 15035524"/>
                <a:gd name="connsiteX49" fmla="*/ 11411229 w 18744436"/>
                <a:gd name="connsiteY49" fmla="*/ 2142774 h 15035524"/>
                <a:gd name="connsiteX50" fmla="*/ 11998974 w 18744436"/>
                <a:gd name="connsiteY50" fmla="*/ 2224144 h 15035524"/>
                <a:gd name="connsiteX51" fmla="*/ 12315449 w 18744436"/>
                <a:gd name="connsiteY51" fmla="*/ 2884156 h 15035524"/>
                <a:gd name="connsiteX52" fmla="*/ 12785642 w 18744436"/>
                <a:gd name="connsiteY52" fmla="*/ 2703327 h 15035524"/>
                <a:gd name="connsiteX53" fmla="*/ 13671776 w 18744436"/>
                <a:gd name="connsiteY53" fmla="*/ 3155388 h 15035524"/>
                <a:gd name="connsiteX54" fmla="*/ 14123886 w 18744436"/>
                <a:gd name="connsiteY54" fmla="*/ 2857035 h 15035524"/>
                <a:gd name="connsiteX55" fmla="*/ 14259509 w 18744436"/>
                <a:gd name="connsiteY55" fmla="*/ 2287434 h 15035524"/>
                <a:gd name="connsiteX56" fmla="*/ 14892468 w 18744436"/>
                <a:gd name="connsiteY56" fmla="*/ 1645503 h 15035524"/>
                <a:gd name="connsiteX57" fmla="*/ 15778605 w 18744436"/>
                <a:gd name="connsiteY57" fmla="*/ 1093983 h 15035524"/>
                <a:gd name="connsiteX58" fmla="*/ 16022739 w 18744436"/>
                <a:gd name="connsiteY58" fmla="*/ 1564133 h 15035524"/>
                <a:gd name="connsiteX59" fmla="*/ 16556232 w 18744436"/>
                <a:gd name="connsiteY59" fmla="*/ 2142785 h 15035524"/>
                <a:gd name="connsiteX60" fmla="*/ 17406193 w 18744436"/>
                <a:gd name="connsiteY60" fmla="*/ 1292897 h 15035524"/>
                <a:gd name="connsiteX61" fmla="*/ 18120524 w 18744436"/>
                <a:gd name="connsiteY61" fmla="*/ 714260 h 15035524"/>
                <a:gd name="connsiteX62" fmla="*/ 18744437 w 18744436"/>
                <a:gd name="connsiteY62" fmla="*/ -1 h 15035524"/>
                <a:gd name="connsiteX63" fmla="*/ 11109603 w 18744436"/>
                <a:gd name="connsiteY63" fmla="*/ 6729756 h 15035524"/>
                <a:gd name="connsiteX64" fmla="*/ 11919572 w 18744436"/>
                <a:gd name="connsiteY64" fmla="*/ 7003278 h 15035524"/>
                <a:gd name="connsiteX65" fmla="*/ 12868275 w 18744436"/>
                <a:gd name="connsiteY65" fmla="*/ 6758067 h 15035524"/>
                <a:gd name="connsiteX66" fmla="*/ 13844296 w 18744436"/>
                <a:gd name="connsiteY66" fmla="*/ 6156232 h 15035524"/>
                <a:gd name="connsiteX67" fmla="*/ 13886291 w 18744436"/>
                <a:gd name="connsiteY67" fmla="*/ 5321864 h 15035524"/>
                <a:gd name="connsiteX68" fmla="*/ 14370431 w 18744436"/>
                <a:gd name="connsiteY68" fmla="*/ 5830216 h 15035524"/>
                <a:gd name="connsiteX69" fmla="*/ 15323320 w 18744436"/>
                <a:gd name="connsiteY69" fmla="*/ 5928489 h 15035524"/>
                <a:gd name="connsiteX70" fmla="*/ 16350939 w 18744436"/>
                <a:gd name="connsiteY70" fmla="*/ 6053348 h 15035524"/>
                <a:gd name="connsiteX71" fmla="*/ 16362364 w 18744436"/>
                <a:gd name="connsiteY71" fmla="*/ 6360628 h 15035524"/>
                <a:gd name="connsiteX72" fmla="*/ 16682563 w 18744436"/>
                <a:gd name="connsiteY72" fmla="*/ 6798531 h 15035524"/>
                <a:gd name="connsiteX0" fmla="*/ 16682563 w 18120523"/>
                <a:gd name="connsiteY0" fmla="*/ 6084269 h 14321262"/>
                <a:gd name="connsiteX1" fmla="*/ 16432262 w 18120523"/>
                <a:gd name="connsiteY1" fmla="*/ 7111655 h 14321262"/>
                <a:gd name="connsiteX2" fmla="*/ 16106317 w 18120523"/>
                <a:gd name="connsiteY2" fmla="*/ 7652959 h 14321262"/>
                <a:gd name="connsiteX3" fmla="*/ 16305649 w 18120523"/>
                <a:gd name="connsiteY3" fmla="*/ 8040288 h 14321262"/>
                <a:gd name="connsiteX4" fmla="*/ 16287189 w 18120523"/>
                <a:gd name="connsiteY4" fmla="*/ 8436895 h 14321262"/>
                <a:gd name="connsiteX5" fmla="*/ 16372801 w 18120523"/>
                <a:gd name="connsiteY5" fmla="*/ 9003160 h 14321262"/>
                <a:gd name="connsiteX6" fmla="*/ 16070155 w 18120523"/>
                <a:gd name="connsiteY6" fmla="*/ 9223546 h 14321262"/>
                <a:gd name="connsiteX7" fmla="*/ 15805690 w 18120523"/>
                <a:gd name="connsiteY7" fmla="*/ 9717737 h 14321262"/>
                <a:gd name="connsiteX8" fmla="*/ 15195097 w 18120523"/>
                <a:gd name="connsiteY8" fmla="*/ 9379480 h 14321262"/>
                <a:gd name="connsiteX9" fmla="*/ 15011380 w 18120523"/>
                <a:gd name="connsiteY9" fmla="*/ 10334330 h 14321262"/>
                <a:gd name="connsiteX10" fmla="*/ 14908430 w 18120523"/>
                <a:gd name="connsiteY10" fmla="*/ 11223225 h 14321262"/>
                <a:gd name="connsiteX11" fmla="*/ 14904684 w 18120523"/>
                <a:gd name="connsiteY11" fmla="*/ 12046664 h 14321262"/>
                <a:gd name="connsiteX12" fmla="*/ 14929927 w 18120523"/>
                <a:gd name="connsiteY12" fmla="*/ 13677584 h 14321262"/>
                <a:gd name="connsiteX13" fmla="*/ 12952786 w 18120523"/>
                <a:gd name="connsiteY13" fmla="*/ 14128337 h 14321262"/>
                <a:gd name="connsiteX14" fmla="*/ 11934663 w 18120523"/>
                <a:gd name="connsiteY14" fmla="*/ 14176587 h 14321262"/>
                <a:gd name="connsiteX15" fmla="*/ 8506848 w 18120523"/>
                <a:gd name="connsiteY15" fmla="*/ 14321262 h 14321262"/>
                <a:gd name="connsiteX16" fmla="*/ 7985095 w 18120523"/>
                <a:gd name="connsiteY16" fmla="*/ 13676180 h 14321262"/>
                <a:gd name="connsiteX17" fmla="*/ 7400308 w 18120523"/>
                <a:gd name="connsiteY17" fmla="*/ 13646035 h 14321262"/>
                <a:gd name="connsiteX18" fmla="*/ 6972273 w 18120523"/>
                <a:gd name="connsiteY18" fmla="*/ 13917332 h 14321262"/>
                <a:gd name="connsiteX19" fmla="*/ 5181729 w 18120523"/>
                <a:gd name="connsiteY19" fmla="*/ 13832933 h 14321262"/>
                <a:gd name="connsiteX20" fmla="*/ 4397998 w 18120523"/>
                <a:gd name="connsiteY20" fmla="*/ 13199916 h 14321262"/>
                <a:gd name="connsiteX21" fmla="*/ 2908896 w 18120523"/>
                <a:gd name="connsiteY21" fmla="*/ 12392062 h 14321262"/>
                <a:gd name="connsiteX22" fmla="*/ 1263043 w 18120523"/>
                <a:gd name="connsiteY22" fmla="*/ 11680669 h 14321262"/>
                <a:gd name="connsiteX23" fmla="*/ 485320 w 18120523"/>
                <a:gd name="connsiteY23" fmla="*/ 11228512 h 14321262"/>
                <a:gd name="connsiteX24" fmla="*/ 0 w 18120523"/>
                <a:gd name="connsiteY24" fmla="*/ 10935400 h 14321262"/>
                <a:gd name="connsiteX25" fmla="*/ 1003686 w 18120523"/>
                <a:gd name="connsiteY25" fmla="*/ 10189435 h 14321262"/>
                <a:gd name="connsiteX26" fmla="*/ 2902551 w 18120523"/>
                <a:gd name="connsiteY26" fmla="*/ 9005036 h 14321262"/>
                <a:gd name="connsiteX27" fmla="*/ 2558940 w 18120523"/>
                <a:gd name="connsiteY27" fmla="*/ 8471605 h 14321262"/>
                <a:gd name="connsiteX28" fmla="*/ 2402508 w 18120523"/>
                <a:gd name="connsiteY28" fmla="*/ 7784522 h 14321262"/>
                <a:gd name="connsiteX29" fmla="*/ 2730740 w 18120523"/>
                <a:gd name="connsiteY29" fmla="*/ 7757351 h 14321262"/>
                <a:gd name="connsiteX30" fmla="*/ 2947754 w 18120523"/>
                <a:gd name="connsiteY30" fmla="*/ 7287206 h 14321262"/>
                <a:gd name="connsiteX31" fmla="*/ 3499325 w 18120523"/>
                <a:gd name="connsiteY31" fmla="*/ 6844189 h 14321262"/>
                <a:gd name="connsiteX32" fmla="*/ 3680166 w 18120523"/>
                <a:gd name="connsiteY32" fmla="*/ 5967191 h 14321262"/>
                <a:gd name="connsiteX33" fmla="*/ 4186528 w 18120523"/>
                <a:gd name="connsiteY33" fmla="*/ 5976227 h 14321262"/>
                <a:gd name="connsiteX34" fmla="*/ 4837569 w 18120523"/>
                <a:gd name="connsiteY34" fmla="*/ 6446377 h 14321262"/>
                <a:gd name="connsiteX35" fmla="*/ 5352976 w 18120523"/>
                <a:gd name="connsiteY35" fmla="*/ 6365010 h 14321262"/>
                <a:gd name="connsiteX36" fmla="*/ 5741786 w 18120523"/>
                <a:gd name="connsiteY36" fmla="*/ 5994315 h 14321262"/>
                <a:gd name="connsiteX37" fmla="*/ 6157723 w 18120523"/>
                <a:gd name="connsiteY37" fmla="*/ 5831574 h 14321262"/>
                <a:gd name="connsiteX38" fmla="*/ 6745471 w 18120523"/>
                <a:gd name="connsiteY38" fmla="*/ 5261981 h 14321262"/>
                <a:gd name="connsiteX39" fmla="*/ 6890140 w 18120523"/>
                <a:gd name="connsiteY39" fmla="*/ 4412105 h 14321262"/>
                <a:gd name="connsiteX40" fmla="*/ 7568305 w 18120523"/>
                <a:gd name="connsiteY40" fmla="*/ 3842511 h 14321262"/>
                <a:gd name="connsiteX41" fmla="*/ 8137967 w 18120523"/>
                <a:gd name="connsiteY41" fmla="*/ 3399490 h 14321262"/>
                <a:gd name="connsiteX42" fmla="*/ 8463480 w 18120523"/>
                <a:gd name="connsiteY42" fmla="*/ 2594823 h 14321262"/>
                <a:gd name="connsiteX43" fmla="*/ 9024093 w 18120523"/>
                <a:gd name="connsiteY43" fmla="*/ 2242216 h 14321262"/>
                <a:gd name="connsiteX44" fmla="*/ 9675138 w 18120523"/>
                <a:gd name="connsiteY44" fmla="*/ 1889614 h 14321262"/>
                <a:gd name="connsiteX45" fmla="*/ 9558580 w 18120523"/>
                <a:gd name="connsiteY45" fmla="*/ 1341330 h 14321262"/>
                <a:gd name="connsiteX46" fmla="*/ 10353296 w 18120523"/>
                <a:gd name="connsiteY46" fmla="*/ 669046 h 14321262"/>
                <a:gd name="connsiteX47" fmla="*/ 10832530 w 18120523"/>
                <a:gd name="connsiteY47" fmla="*/ 596712 h 14321262"/>
                <a:gd name="connsiteX48" fmla="*/ 11058585 w 18120523"/>
                <a:gd name="connsiteY48" fmla="*/ 1048781 h 14321262"/>
                <a:gd name="connsiteX49" fmla="*/ 11411229 w 18120523"/>
                <a:gd name="connsiteY49" fmla="*/ 1428512 h 14321262"/>
                <a:gd name="connsiteX50" fmla="*/ 11998974 w 18120523"/>
                <a:gd name="connsiteY50" fmla="*/ 1509882 h 14321262"/>
                <a:gd name="connsiteX51" fmla="*/ 12315449 w 18120523"/>
                <a:gd name="connsiteY51" fmla="*/ 2169894 h 14321262"/>
                <a:gd name="connsiteX52" fmla="*/ 12785642 w 18120523"/>
                <a:gd name="connsiteY52" fmla="*/ 1989065 h 14321262"/>
                <a:gd name="connsiteX53" fmla="*/ 13671776 w 18120523"/>
                <a:gd name="connsiteY53" fmla="*/ 2441126 h 14321262"/>
                <a:gd name="connsiteX54" fmla="*/ 14123886 w 18120523"/>
                <a:gd name="connsiteY54" fmla="*/ 2142773 h 14321262"/>
                <a:gd name="connsiteX55" fmla="*/ 14259509 w 18120523"/>
                <a:gd name="connsiteY55" fmla="*/ 1573172 h 14321262"/>
                <a:gd name="connsiteX56" fmla="*/ 14892468 w 18120523"/>
                <a:gd name="connsiteY56" fmla="*/ 931241 h 14321262"/>
                <a:gd name="connsiteX57" fmla="*/ 15778605 w 18120523"/>
                <a:gd name="connsiteY57" fmla="*/ 379721 h 14321262"/>
                <a:gd name="connsiteX58" fmla="*/ 16022739 w 18120523"/>
                <a:gd name="connsiteY58" fmla="*/ 849871 h 14321262"/>
                <a:gd name="connsiteX59" fmla="*/ 16556232 w 18120523"/>
                <a:gd name="connsiteY59" fmla="*/ 1428523 h 14321262"/>
                <a:gd name="connsiteX60" fmla="*/ 17406193 w 18120523"/>
                <a:gd name="connsiteY60" fmla="*/ 578635 h 14321262"/>
                <a:gd name="connsiteX61" fmla="*/ 18120524 w 18120523"/>
                <a:gd name="connsiteY61" fmla="*/ -2 h 14321262"/>
                <a:gd name="connsiteX62" fmla="*/ 7035843 w 18120523"/>
                <a:gd name="connsiteY62" fmla="*/ 6484324 h 14321262"/>
                <a:gd name="connsiteX63" fmla="*/ 11109603 w 18120523"/>
                <a:gd name="connsiteY63" fmla="*/ 6015494 h 14321262"/>
                <a:gd name="connsiteX64" fmla="*/ 11919572 w 18120523"/>
                <a:gd name="connsiteY64" fmla="*/ 6289016 h 14321262"/>
                <a:gd name="connsiteX65" fmla="*/ 12868275 w 18120523"/>
                <a:gd name="connsiteY65" fmla="*/ 6043805 h 14321262"/>
                <a:gd name="connsiteX66" fmla="*/ 13844296 w 18120523"/>
                <a:gd name="connsiteY66" fmla="*/ 5441970 h 14321262"/>
                <a:gd name="connsiteX67" fmla="*/ 13886291 w 18120523"/>
                <a:gd name="connsiteY67" fmla="*/ 4607602 h 14321262"/>
                <a:gd name="connsiteX68" fmla="*/ 14370431 w 18120523"/>
                <a:gd name="connsiteY68" fmla="*/ 5115954 h 14321262"/>
                <a:gd name="connsiteX69" fmla="*/ 15323320 w 18120523"/>
                <a:gd name="connsiteY69" fmla="*/ 5214227 h 14321262"/>
                <a:gd name="connsiteX70" fmla="*/ 16350939 w 18120523"/>
                <a:gd name="connsiteY70" fmla="*/ 5339086 h 14321262"/>
                <a:gd name="connsiteX71" fmla="*/ 16362364 w 18120523"/>
                <a:gd name="connsiteY71" fmla="*/ 5646366 h 14321262"/>
                <a:gd name="connsiteX72" fmla="*/ 16682563 w 18120523"/>
                <a:gd name="connsiteY72" fmla="*/ 6084269 h 14321262"/>
                <a:gd name="connsiteX0" fmla="*/ 16682563 w 18120523"/>
                <a:gd name="connsiteY0" fmla="*/ 6084269 h 14321262"/>
                <a:gd name="connsiteX1" fmla="*/ 16432262 w 18120523"/>
                <a:gd name="connsiteY1" fmla="*/ 7111655 h 14321262"/>
                <a:gd name="connsiteX2" fmla="*/ 16106317 w 18120523"/>
                <a:gd name="connsiteY2" fmla="*/ 7652959 h 14321262"/>
                <a:gd name="connsiteX3" fmla="*/ 16305649 w 18120523"/>
                <a:gd name="connsiteY3" fmla="*/ 8040288 h 14321262"/>
                <a:gd name="connsiteX4" fmla="*/ 16287189 w 18120523"/>
                <a:gd name="connsiteY4" fmla="*/ 8436895 h 14321262"/>
                <a:gd name="connsiteX5" fmla="*/ 16372801 w 18120523"/>
                <a:gd name="connsiteY5" fmla="*/ 9003160 h 14321262"/>
                <a:gd name="connsiteX6" fmla="*/ 16070155 w 18120523"/>
                <a:gd name="connsiteY6" fmla="*/ 9223546 h 14321262"/>
                <a:gd name="connsiteX7" fmla="*/ 15805690 w 18120523"/>
                <a:gd name="connsiteY7" fmla="*/ 9717737 h 14321262"/>
                <a:gd name="connsiteX8" fmla="*/ 15195097 w 18120523"/>
                <a:gd name="connsiteY8" fmla="*/ 9379480 h 14321262"/>
                <a:gd name="connsiteX9" fmla="*/ 15011380 w 18120523"/>
                <a:gd name="connsiteY9" fmla="*/ 10334330 h 14321262"/>
                <a:gd name="connsiteX10" fmla="*/ 14908430 w 18120523"/>
                <a:gd name="connsiteY10" fmla="*/ 11223225 h 14321262"/>
                <a:gd name="connsiteX11" fmla="*/ 14904684 w 18120523"/>
                <a:gd name="connsiteY11" fmla="*/ 12046664 h 14321262"/>
                <a:gd name="connsiteX12" fmla="*/ 14929927 w 18120523"/>
                <a:gd name="connsiteY12" fmla="*/ 13677584 h 14321262"/>
                <a:gd name="connsiteX13" fmla="*/ 12952786 w 18120523"/>
                <a:gd name="connsiteY13" fmla="*/ 14128337 h 14321262"/>
                <a:gd name="connsiteX14" fmla="*/ 11934663 w 18120523"/>
                <a:gd name="connsiteY14" fmla="*/ 14176587 h 14321262"/>
                <a:gd name="connsiteX15" fmla="*/ 8506848 w 18120523"/>
                <a:gd name="connsiteY15" fmla="*/ 14321262 h 14321262"/>
                <a:gd name="connsiteX16" fmla="*/ 7985095 w 18120523"/>
                <a:gd name="connsiteY16" fmla="*/ 13676180 h 14321262"/>
                <a:gd name="connsiteX17" fmla="*/ 7400308 w 18120523"/>
                <a:gd name="connsiteY17" fmla="*/ 13646035 h 14321262"/>
                <a:gd name="connsiteX18" fmla="*/ 6972273 w 18120523"/>
                <a:gd name="connsiteY18" fmla="*/ 13917332 h 14321262"/>
                <a:gd name="connsiteX19" fmla="*/ 5181729 w 18120523"/>
                <a:gd name="connsiteY19" fmla="*/ 13832933 h 14321262"/>
                <a:gd name="connsiteX20" fmla="*/ 4397998 w 18120523"/>
                <a:gd name="connsiteY20" fmla="*/ 13199916 h 14321262"/>
                <a:gd name="connsiteX21" fmla="*/ 2908896 w 18120523"/>
                <a:gd name="connsiteY21" fmla="*/ 12392062 h 14321262"/>
                <a:gd name="connsiteX22" fmla="*/ 1263043 w 18120523"/>
                <a:gd name="connsiteY22" fmla="*/ 11680669 h 14321262"/>
                <a:gd name="connsiteX23" fmla="*/ 485320 w 18120523"/>
                <a:gd name="connsiteY23" fmla="*/ 11228512 h 14321262"/>
                <a:gd name="connsiteX24" fmla="*/ 0 w 18120523"/>
                <a:gd name="connsiteY24" fmla="*/ 10935400 h 14321262"/>
                <a:gd name="connsiteX25" fmla="*/ 1003686 w 18120523"/>
                <a:gd name="connsiteY25" fmla="*/ 10189435 h 14321262"/>
                <a:gd name="connsiteX26" fmla="*/ 2902551 w 18120523"/>
                <a:gd name="connsiteY26" fmla="*/ 9005036 h 14321262"/>
                <a:gd name="connsiteX27" fmla="*/ 2558940 w 18120523"/>
                <a:gd name="connsiteY27" fmla="*/ 8471605 h 14321262"/>
                <a:gd name="connsiteX28" fmla="*/ 2402508 w 18120523"/>
                <a:gd name="connsiteY28" fmla="*/ 7784522 h 14321262"/>
                <a:gd name="connsiteX29" fmla="*/ 2730740 w 18120523"/>
                <a:gd name="connsiteY29" fmla="*/ 7757351 h 14321262"/>
                <a:gd name="connsiteX30" fmla="*/ 2947754 w 18120523"/>
                <a:gd name="connsiteY30" fmla="*/ 7287206 h 14321262"/>
                <a:gd name="connsiteX31" fmla="*/ 3499325 w 18120523"/>
                <a:gd name="connsiteY31" fmla="*/ 6844189 h 14321262"/>
                <a:gd name="connsiteX32" fmla="*/ 3680166 w 18120523"/>
                <a:gd name="connsiteY32" fmla="*/ 5967191 h 14321262"/>
                <a:gd name="connsiteX33" fmla="*/ 4186528 w 18120523"/>
                <a:gd name="connsiteY33" fmla="*/ 5976227 h 14321262"/>
                <a:gd name="connsiteX34" fmla="*/ 4837569 w 18120523"/>
                <a:gd name="connsiteY34" fmla="*/ 6446377 h 14321262"/>
                <a:gd name="connsiteX35" fmla="*/ 5352976 w 18120523"/>
                <a:gd name="connsiteY35" fmla="*/ 6365010 h 14321262"/>
                <a:gd name="connsiteX36" fmla="*/ 5741786 w 18120523"/>
                <a:gd name="connsiteY36" fmla="*/ 5994315 h 14321262"/>
                <a:gd name="connsiteX37" fmla="*/ 6157723 w 18120523"/>
                <a:gd name="connsiteY37" fmla="*/ 5831574 h 14321262"/>
                <a:gd name="connsiteX38" fmla="*/ 6745471 w 18120523"/>
                <a:gd name="connsiteY38" fmla="*/ 5261981 h 14321262"/>
                <a:gd name="connsiteX39" fmla="*/ 6890140 w 18120523"/>
                <a:gd name="connsiteY39" fmla="*/ 4412105 h 14321262"/>
                <a:gd name="connsiteX40" fmla="*/ 7568305 w 18120523"/>
                <a:gd name="connsiteY40" fmla="*/ 3842511 h 14321262"/>
                <a:gd name="connsiteX41" fmla="*/ 8137967 w 18120523"/>
                <a:gd name="connsiteY41" fmla="*/ 3399490 h 14321262"/>
                <a:gd name="connsiteX42" fmla="*/ 8463480 w 18120523"/>
                <a:gd name="connsiteY42" fmla="*/ 2594823 h 14321262"/>
                <a:gd name="connsiteX43" fmla="*/ 9024093 w 18120523"/>
                <a:gd name="connsiteY43" fmla="*/ 2242216 h 14321262"/>
                <a:gd name="connsiteX44" fmla="*/ 9675138 w 18120523"/>
                <a:gd name="connsiteY44" fmla="*/ 1889614 h 14321262"/>
                <a:gd name="connsiteX45" fmla="*/ 9558580 w 18120523"/>
                <a:gd name="connsiteY45" fmla="*/ 1341330 h 14321262"/>
                <a:gd name="connsiteX46" fmla="*/ 10353296 w 18120523"/>
                <a:gd name="connsiteY46" fmla="*/ 669046 h 14321262"/>
                <a:gd name="connsiteX47" fmla="*/ 10832530 w 18120523"/>
                <a:gd name="connsiteY47" fmla="*/ 596712 h 14321262"/>
                <a:gd name="connsiteX48" fmla="*/ 11058585 w 18120523"/>
                <a:gd name="connsiteY48" fmla="*/ 1048781 h 14321262"/>
                <a:gd name="connsiteX49" fmla="*/ 11411229 w 18120523"/>
                <a:gd name="connsiteY49" fmla="*/ 1428512 h 14321262"/>
                <a:gd name="connsiteX50" fmla="*/ 11998974 w 18120523"/>
                <a:gd name="connsiteY50" fmla="*/ 1509882 h 14321262"/>
                <a:gd name="connsiteX51" fmla="*/ 12315449 w 18120523"/>
                <a:gd name="connsiteY51" fmla="*/ 2169894 h 14321262"/>
                <a:gd name="connsiteX52" fmla="*/ 12785642 w 18120523"/>
                <a:gd name="connsiteY52" fmla="*/ 1989065 h 14321262"/>
                <a:gd name="connsiteX53" fmla="*/ 13671776 w 18120523"/>
                <a:gd name="connsiteY53" fmla="*/ 2441126 h 14321262"/>
                <a:gd name="connsiteX54" fmla="*/ 14123886 w 18120523"/>
                <a:gd name="connsiteY54" fmla="*/ 2142773 h 14321262"/>
                <a:gd name="connsiteX55" fmla="*/ 14259509 w 18120523"/>
                <a:gd name="connsiteY55" fmla="*/ 1573172 h 14321262"/>
                <a:gd name="connsiteX56" fmla="*/ 14892468 w 18120523"/>
                <a:gd name="connsiteY56" fmla="*/ 931241 h 14321262"/>
                <a:gd name="connsiteX57" fmla="*/ 15778605 w 18120523"/>
                <a:gd name="connsiteY57" fmla="*/ 379721 h 14321262"/>
                <a:gd name="connsiteX58" fmla="*/ 16022739 w 18120523"/>
                <a:gd name="connsiteY58" fmla="*/ 849871 h 14321262"/>
                <a:gd name="connsiteX59" fmla="*/ 16556232 w 18120523"/>
                <a:gd name="connsiteY59" fmla="*/ 1428523 h 14321262"/>
                <a:gd name="connsiteX60" fmla="*/ 17406193 w 18120523"/>
                <a:gd name="connsiteY60" fmla="*/ 578635 h 14321262"/>
                <a:gd name="connsiteX61" fmla="*/ 18120524 w 18120523"/>
                <a:gd name="connsiteY61" fmla="*/ -2 h 14321262"/>
                <a:gd name="connsiteX62" fmla="*/ 10152517 w 18120523"/>
                <a:gd name="connsiteY62" fmla="*/ 5644020 h 14321262"/>
                <a:gd name="connsiteX63" fmla="*/ 11109603 w 18120523"/>
                <a:gd name="connsiteY63" fmla="*/ 6015494 h 14321262"/>
                <a:gd name="connsiteX64" fmla="*/ 11919572 w 18120523"/>
                <a:gd name="connsiteY64" fmla="*/ 6289016 h 14321262"/>
                <a:gd name="connsiteX65" fmla="*/ 12868275 w 18120523"/>
                <a:gd name="connsiteY65" fmla="*/ 6043805 h 14321262"/>
                <a:gd name="connsiteX66" fmla="*/ 13844296 w 18120523"/>
                <a:gd name="connsiteY66" fmla="*/ 5441970 h 14321262"/>
                <a:gd name="connsiteX67" fmla="*/ 13886291 w 18120523"/>
                <a:gd name="connsiteY67" fmla="*/ 4607602 h 14321262"/>
                <a:gd name="connsiteX68" fmla="*/ 14370431 w 18120523"/>
                <a:gd name="connsiteY68" fmla="*/ 5115954 h 14321262"/>
                <a:gd name="connsiteX69" fmla="*/ 15323320 w 18120523"/>
                <a:gd name="connsiteY69" fmla="*/ 5214227 h 14321262"/>
                <a:gd name="connsiteX70" fmla="*/ 16350939 w 18120523"/>
                <a:gd name="connsiteY70" fmla="*/ 5339086 h 14321262"/>
                <a:gd name="connsiteX71" fmla="*/ 16362364 w 18120523"/>
                <a:gd name="connsiteY71" fmla="*/ 5646366 h 14321262"/>
                <a:gd name="connsiteX72" fmla="*/ 16682563 w 18120523"/>
                <a:gd name="connsiteY72" fmla="*/ 6084269 h 14321262"/>
                <a:gd name="connsiteX0" fmla="*/ 16682563 w 17406190"/>
                <a:gd name="connsiteY0" fmla="*/ 5704551 h 13941544"/>
                <a:gd name="connsiteX1" fmla="*/ 16432262 w 17406190"/>
                <a:gd name="connsiteY1" fmla="*/ 6731937 h 13941544"/>
                <a:gd name="connsiteX2" fmla="*/ 16106317 w 17406190"/>
                <a:gd name="connsiteY2" fmla="*/ 7273241 h 13941544"/>
                <a:gd name="connsiteX3" fmla="*/ 16305649 w 17406190"/>
                <a:gd name="connsiteY3" fmla="*/ 7660570 h 13941544"/>
                <a:gd name="connsiteX4" fmla="*/ 16287189 w 17406190"/>
                <a:gd name="connsiteY4" fmla="*/ 8057177 h 13941544"/>
                <a:gd name="connsiteX5" fmla="*/ 16372801 w 17406190"/>
                <a:gd name="connsiteY5" fmla="*/ 8623442 h 13941544"/>
                <a:gd name="connsiteX6" fmla="*/ 16070155 w 17406190"/>
                <a:gd name="connsiteY6" fmla="*/ 8843828 h 13941544"/>
                <a:gd name="connsiteX7" fmla="*/ 15805690 w 17406190"/>
                <a:gd name="connsiteY7" fmla="*/ 9338019 h 13941544"/>
                <a:gd name="connsiteX8" fmla="*/ 15195097 w 17406190"/>
                <a:gd name="connsiteY8" fmla="*/ 8999762 h 13941544"/>
                <a:gd name="connsiteX9" fmla="*/ 15011380 w 17406190"/>
                <a:gd name="connsiteY9" fmla="*/ 9954612 h 13941544"/>
                <a:gd name="connsiteX10" fmla="*/ 14908430 w 17406190"/>
                <a:gd name="connsiteY10" fmla="*/ 10843507 h 13941544"/>
                <a:gd name="connsiteX11" fmla="*/ 14904684 w 17406190"/>
                <a:gd name="connsiteY11" fmla="*/ 11666946 h 13941544"/>
                <a:gd name="connsiteX12" fmla="*/ 14929927 w 17406190"/>
                <a:gd name="connsiteY12" fmla="*/ 13297866 h 13941544"/>
                <a:gd name="connsiteX13" fmla="*/ 12952786 w 17406190"/>
                <a:gd name="connsiteY13" fmla="*/ 13748619 h 13941544"/>
                <a:gd name="connsiteX14" fmla="*/ 11934663 w 17406190"/>
                <a:gd name="connsiteY14" fmla="*/ 13796869 h 13941544"/>
                <a:gd name="connsiteX15" fmla="*/ 8506848 w 17406190"/>
                <a:gd name="connsiteY15" fmla="*/ 13941544 h 13941544"/>
                <a:gd name="connsiteX16" fmla="*/ 7985095 w 17406190"/>
                <a:gd name="connsiteY16" fmla="*/ 13296462 h 13941544"/>
                <a:gd name="connsiteX17" fmla="*/ 7400308 w 17406190"/>
                <a:gd name="connsiteY17" fmla="*/ 13266317 h 13941544"/>
                <a:gd name="connsiteX18" fmla="*/ 6972273 w 17406190"/>
                <a:gd name="connsiteY18" fmla="*/ 13537614 h 13941544"/>
                <a:gd name="connsiteX19" fmla="*/ 5181729 w 17406190"/>
                <a:gd name="connsiteY19" fmla="*/ 13453215 h 13941544"/>
                <a:gd name="connsiteX20" fmla="*/ 4397998 w 17406190"/>
                <a:gd name="connsiteY20" fmla="*/ 12820198 h 13941544"/>
                <a:gd name="connsiteX21" fmla="*/ 2908896 w 17406190"/>
                <a:gd name="connsiteY21" fmla="*/ 12012344 h 13941544"/>
                <a:gd name="connsiteX22" fmla="*/ 1263043 w 17406190"/>
                <a:gd name="connsiteY22" fmla="*/ 11300951 h 13941544"/>
                <a:gd name="connsiteX23" fmla="*/ 485320 w 17406190"/>
                <a:gd name="connsiteY23" fmla="*/ 10848794 h 13941544"/>
                <a:gd name="connsiteX24" fmla="*/ 0 w 17406190"/>
                <a:gd name="connsiteY24" fmla="*/ 10555682 h 13941544"/>
                <a:gd name="connsiteX25" fmla="*/ 1003686 w 17406190"/>
                <a:gd name="connsiteY25" fmla="*/ 9809717 h 13941544"/>
                <a:gd name="connsiteX26" fmla="*/ 2902551 w 17406190"/>
                <a:gd name="connsiteY26" fmla="*/ 8625318 h 13941544"/>
                <a:gd name="connsiteX27" fmla="*/ 2558940 w 17406190"/>
                <a:gd name="connsiteY27" fmla="*/ 8091887 h 13941544"/>
                <a:gd name="connsiteX28" fmla="*/ 2402508 w 17406190"/>
                <a:gd name="connsiteY28" fmla="*/ 7404804 h 13941544"/>
                <a:gd name="connsiteX29" fmla="*/ 2730740 w 17406190"/>
                <a:gd name="connsiteY29" fmla="*/ 7377633 h 13941544"/>
                <a:gd name="connsiteX30" fmla="*/ 2947754 w 17406190"/>
                <a:gd name="connsiteY30" fmla="*/ 6907488 h 13941544"/>
                <a:gd name="connsiteX31" fmla="*/ 3499325 w 17406190"/>
                <a:gd name="connsiteY31" fmla="*/ 6464471 h 13941544"/>
                <a:gd name="connsiteX32" fmla="*/ 3680166 w 17406190"/>
                <a:gd name="connsiteY32" fmla="*/ 5587473 h 13941544"/>
                <a:gd name="connsiteX33" fmla="*/ 4186528 w 17406190"/>
                <a:gd name="connsiteY33" fmla="*/ 5596509 h 13941544"/>
                <a:gd name="connsiteX34" fmla="*/ 4837569 w 17406190"/>
                <a:gd name="connsiteY34" fmla="*/ 6066659 h 13941544"/>
                <a:gd name="connsiteX35" fmla="*/ 5352976 w 17406190"/>
                <a:gd name="connsiteY35" fmla="*/ 5985292 h 13941544"/>
                <a:gd name="connsiteX36" fmla="*/ 5741786 w 17406190"/>
                <a:gd name="connsiteY36" fmla="*/ 5614597 h 13941544"/>
                <a:gd name="connsiteX37" fmla="*/ 6157723 w 17406190"/>
                <a:gd name="connsiteY37" fmla="*/ 5451856 h 13941544"/>
                <a:gd name="connsiteX38" fmla="*/ 6745471 w 17406190"/>
                <a:gd name="connsiteY38" fmla="*/ 4882263 h 13941544"/>
                <a:gd name="connsiteX39" fmla="*/ 6890140 w 17406190"/>
                <a:gd name="connsiteY39" fmla="*/ 4032387 h 13941544"/>
                <a:gd name="connsiteX40" fmla="*/ 7568305 w 17406190"/>
                <a:gd name="connsiteY40" fmla="*/ 3462793 h 13941544"/>
                <a:gd name="connsiteX41" fmla="*/ 8137967 w 17406190"/>
                <a:gd name="connsiteY41" fmla="*/ 3019772 h 13941544"/>
                <a:gd name="connsiteX42" fmla="*/ 8463480 w 17406190"/>
                <a:gd name="connsiteY42" fmla="*/ 2215105 h 13941544"/>
                <a:gd name="connsiteX43" fmla="*/ 9024093 w 17406190"/>
                <a:gd name="connsiteY43" fmla="*/ 1862498 h 13941544"/>
                <a:gd name="connsiteX44" fmla="*/ 9675138 w 17406190"/>
                <a:gd name="connsiteY44" fmla="*/ 1509896 h 13941544"/>
                <a:gd name="connsiteX45" fmla="*/ 9558580 w 17406190"/>
                <a:gd name="connsiteY45" fmla="*/ 961612 h 13941544"/>
                <a:gd name="connsiteX46" fmla="*/ 10353296 w 17406190"/>
                <a:gd name="connsiteY46" fmla="*/ 289328 h 13941544"/>
                <a:gd name="connsiteX47" fmla="*/ 10832530 w 17406190"/>
                <a:gd name="connsiteY47" fmla="*/ 216994 h 13941544"/>
                <a:gd name="connsiteX48" fmla="*/ 11058585 w 17406190"/>
                <a:gd name="connsiteY48" fmla="*/ 669063 h 13941544"/>
                <a:gd name="connsiteX49" fmla="*/ 11411229 w 17406190"/>
                <a:gd name="connsiteY49" fmla="*/ 1048794 h 13941544"/>
                <a:gd name="connsiteX50" fmla="*/ 11998974 w 17406190"/>
                <a:gd name="connsiteY50" fmla="*/ 1130164 h 13941544"/>
                <a:gd name="connsiteX51" fmla="*/ 12315449 w 17406190"/>
                <a:gd name="connsiteY51" fmla="*/ 1790176 h 13941544"/>
                <a:gd name="connsiteX52" fmla="*/ 12785642 w 17406190"/>
                <a:gd name="connsiteY52" fmla="*/ 1609347 h 13941544"/>
                <a:gd name="connsiteX53" fmla="*/ 13671776 w 17406190"/>
                <a:gd name="connsiteY53" fmla="*/ 2061408 h 13941544"/>
                <a:gd name="connsiteX54" fmla="*/ 14123886 w 17406190"/>
                <a:gd name="connsiteY54" fmla="*/ 1763055 h 13941544"/>
                <a:gd name="connsiteX55" fmla="*/ 14259509 w 17406190"/>
                <a:gd name="connsiteY55" fmla="*/ 1193454 h 13941544"/>
                <a:gd name="connsiteX56" fmla="*/ 14892468 w 17406190"/>
                <a:gd name="connsiteY56" fmla="*/ 551523 h 13941544"/>
                <a:gd name="connsiteX57" fmla="*/ 15778605 w 17406190"/>
                <a:gd name="connsiteY57" fmla="*/ 3 h 13941544"/>
                <a:gd name="connsiteX58" fmla="*/ 16022739 w 17406190"/>
                <a:gd name="connsiteY58" fmla="*/ 470153 h 13941544"/>
                <a:gd name="connsiteX59" fmla="*/ 16556232 w 17406190"/>
                <a:gd name="connsiteY59" fmla="*/ 1048805 h 13941544"/>
                <a:gd name="connsiteX60" fmla="*/ 17406193 w 17406190"/>
                <a:gd name="connsiteY60" fmla="*/ 198917 h 13941544"/>
                <a:gd name="connsiteX61" fmla="*/ 10152517 w 17406190"/>
                <a:gd name="connsiteY61" fmla="*/ 5264302 h 13941544"/>
                <a:gd name="connsiteX62" fmla="*/ 11109603 w 17406190"/>
                <a:gd name="connsiteY62" fmla="*/ 5635776 h 13941544"/>
                <a:gd name="connsiteX63" fmla="*/ 11919572 w 17406190"/>
                <a:gd name="connsiteY63" fmla="*/ 5909298 h 13941544"/>
                <a:gd name="connsiteX64" fmla="*/ 12868275 w 17406190"/>
                <a:gd name="connsiteY64" fmla="*/ 5664087 h 13941544"/>
                <a:gd name="connsiteX65" fmla="*/ 13844296 w 17406190"/>
                <a:gd name="connsiteY65" fmla="*/ 5062252 h 13941544"/>
                <a:gd name="connsiteX66" fmla="*/ 13886291 w 17406190"/>
                <a:gd name="connsiteY66" fmla="*/ 4227884 h 13941544"/>
                <a:gd name="connsiteX67" fmla="*/ 14370431 w 17406190"/>
                <a:gd name="connsiteY67" fmla="*/ 4736236 h 13941544"/>
                <a:gd name="connsiteX68" fmla="*/ 15323320 w 17406190"/>
                <a:gd name="connsiteY68" fmla="*/ 4834509 h 13941544"/>
                <a:gd name="connsiteX69" fmla="*/ 16350939 w 17406190"/>
                <a:gd name="connsiteY69" fmla="*/ 4959368 h 13941544"/>
                <a:gd name="connsiteX70" fmla="*/ 16362364 w 17406190"/>
                <a:gd name="connsiteY70" fmla="*/ 5266648 h 13941544"/>
                <a:gd name="connsiteX71" fmla="*/ 16682563 w 17406190"/>
                <a:gd name="connsiteY71" fmla="*/ 5704551 h 13941544"/>
                <a:gd name="connsiteX0" fmla="*/ 16682563 w 16682562"/>
                <a:gd name="connsiteY0" fmla="*/ 5704551 h 13941544"/>
                <a:gd name="connsiteX1" fmla="*/ 16432262 w 16682562"/>
                <a:gd name="connsiteY1" fmla="*/ 6731937 h 13941544"/>
                <a:gd name="connsiteX2" fmla="*/ 16106317 w 16682562"/>
                <a:gd name="connsiteY2" fmla="*/ 7273241 h 13941544"/>
                <a:gd name="connsiteX3" fmla="*/ 16305649 w 16682562"/>
                <a:gd name="connsiteY3" fmla="*/ 7660570 h 13941544"/>
                <a:gd name="connsiteX4" fmla="*/ 16287189 w 16682562"/>
                <a:gd name="connsiteY4" fmla="*/ 8057177 h 13941544"/>
                <a:gd name="connsiteX5" fmla="*/ 16372801 w 16682562"/>
                <a:gd name="connsiteY5" fmla="*/ 8623442 h 13941544"/>
                <a:gd name="connsiteX6" fmla="*/ 16070155 w 16682562"/>
                <a:gd name="connsiteY6" fmla="*/ 8843828 h 13941544"/>
                <a:gd name="connsiteX7" fmla="*/ 15805690 w 16682562"/>
                <a:gd name="connsiteY7" fmla="*/ 9338019 h 13941544"/>
                <a:gd name="connsiteX8" fmla="*/ 15195097 w 16682562"/>
                <a:gd name="connsiteY8" fmla="*/ 8999762 h 13941544"/>
                <a:gd name="connsiteX9" fmla="*/ 15011380 w 16682562"/>
                <a:gd name="connsiteY9" fmla="*/ 9954612 h 13941544"/>
                <a:gd name="connsiteX10" fmla="*/ 14908430 w 16682562"/>
                <a:gd name="connsiteY10" fmla="*/ 10843507 h 13941544"/>
                <a:gd name="connsiteX11" fmla="*/ 14904684 w 16682562"/>
                <a:gd name="connsiteY11" fmla="*/ 11666946 h 13941544"/>
                <a:gd name="connsiteX12" fmla="*/ 14929927 w 16682562"/>
                <a:gd name="connsiteY12" fmla="*/ 13297866 h 13941544"/>
                <a:gd name="connsiteX13" fmla="*/ 12952786 w 16682562"/>
                <a:gd name="connsiteY13" fmla="*/ 13748619 h 13941544"/>
                <a:gd name="connsiteX14" fmla="*/ 11934663 w 16682562"/>
                <a:gd name="connsiteY14" fmla="*/ 13796869 h 13941544"/>
                <a:gd name="connsiteX15" fmla="*/ 8506848 w 16682562"/>
                <a:gd name="connsiteY15" fmla="*/ 13941544 h 13941544"/>
                <a:gd name="connsiteX16" fmla="*/ 7985095 w 16682562"/>
                <a:gd name="connsiteY16" fmla="*/ 13296462 h 13941544"/>
                <a:gd name="connsiteX17" fmla="*/ 7400308 w 16682562"/>
                <a:gd name="connsiteY17" fmla="*/ 13266317 h 13941544"/>
                <a:gd name="connsiteX18" fmla="*/ 6972273 w 16682562"/>
                <a:gd name="connsiteY18" fmla="*/ 13537614 h 13941544"/>
                <a:gd name="connsiteX19" fmla="*/ 5181729 w 16682562"/>
                <a:gd name="connsiteY19" fmla="*/ 13453215 h 13941544"/>
                <a:gd name="connsiteX20" fmla="*/ 4397998 w 16682562"/>
                <a:gd name="connsiteY20" fmla="*/ 12820198 h 13941544"/>
                <a:gd name="connsiteX21" fmla="*/ 2908896 w 16682562"/>
                <a:gd name="connsiteY21" fmla="*/ 12012344 h 13941544"/>
                <a:gd name="connsiteX22" fmla="*/ 1263043 w 16682562"/>
                <a:gd name="connsiteY22" fmla="*/ 11300951 h 13941544"/>
                <a:gd name="connsiteX23" fmla="*/ 485320 w 16682562"/>
                <a:gd name="connsiteY23" fmla="*/ 10848794 h 13941544"/>
                <a:gd name="connsiteX24" fmla="*/ 0 w 16682562"/>
                <a:gd name="connsiteY24" fmla="*/ 10555682 h 13941544"/>
                <a:gd name="connsiteX25" fmla="*/ 1003686 w 16682562"/>
                <a:gd name="connsiteY25" fmla="*/ 9809717 h 13941544"/>
                <a:gd name="connsiteX26" fmla="*/ 2902551 w 16682562"/>
                <a:gd name="connsiteY26" fmla="*/ 8625318 h 13941544"/>
                <a:gd name="connsiteX27" fmla="*/ 2558940 w 16682562"/>
                <a:gd name="connsiteY27" fmla="*/ 8091887 h 13941544"/>
                <a:gd name="connsiteX28" fmla="*/ 2402508 w 16682562"/>
                <a:gd name="connsiteY28" fmla="*/ 7404804 h 13941544"/>
                <a:gd name="connsiteX29" fmla="*/ 2730740 w 16682562"/>
                <a:gd name="connsiteY29" fmla="*/ 7377633 h 13941544"/>
                <a:gd name="connsiteX30" fmla="*/ 2947754 w 16682562"/>
                <a:gd name="connsiteY30" fmla="*/ 6907488 h 13941544"/>
                <a:gd name="connsiteX31" fmla="*/ 3499325 w 16682562"/>
                <a:gd name="connsiteY31" fmla="*/ 6464471 h 13941544"/>
                <a:gd name="connsiteX32" fmla="*/ 3680166 w 16682562"/>
                <a:gd name="connsiteY32" fmla="*/ 5587473 h 13941544"/>
                <a:gd name="connsiteX33" fmla="*/ 4186528 w 16682562"/>
                <a:gd name="connsiteY33" fmla="*/ 5596509 h 13941544"/>
                <a:gd name="connsiteX34" fmla="*/ 4837569 w 16682562"/>
                <a:gd name="connsiteY34" fmla="*/ 6066659 h 13941544"/>
                <a:gd name="connsiteX35" fmla="*/ 5352976 w 16682562"/>
                <a:gd name="connsiteY35" fmla="*/ 5985292 h 13941544"/>
                <a:gd name="connsiteX36" fmla="*/ 5741786 w 16682562"/>
                <a:gd name="connsiteY36" fmla="*/ 5614597 h 13941544"/>
                <a:gd name="connsiteX37" fmla="*/ 6157723 w 16682562"/>
                <a:gd name="connsiteY37" fmla="*/ 5451856 h 13941544"/>
                <a:gd name="connsiteX38" fmla="*/ 6745471 w 16682562"/>
                <a:gd name="connsiteY38" fmla="*/ 4882263 h 13941544"/>
                <a:gd name="connsiteX39" fmla="*/ 6890140 w 16682562"/>
                <a:gd name="connsiteY39" fmla="*/ 4032387 h 13941544"/>
                <a:gd name="connsiteX40" fmla="*/ 7568305 w 16682562"/>
                <a:gd name="connsiteY40" fmla="*/ 3462793 h 13941544"/>
                <a:gd name="connsiteX41" fmla="*/ 8137967 w 16682562"/>
                <a:gd name="connsiteY41" fmla="*/ 3019772 h 13941544"/>
                <a:gd name="connsiteX42" fmla="*/ 8463480 w 16682562"/>
                <a:gd name="connsiteY42" fmla="*/ 2215105 h 13941544"/>
                <a:gd name="connsiteX43" fmla="*/ 9024093 w 16682562"/>
                <a:gd name="connsiteY43" fmla="*/ 1862498 h 13941544"/>
                <a:gd name="connsiteX44" fmla="*/ 9675138 w 16682562"/>
                <a:gd name="connsiteY44" fmla="*/ 1509896 h 13941544"/>
                <a:gd name="connsiteX45" fmla="*/ 9558580 w 16682562"/>
                <a:gd name="connsiteY45" fmla="*/ 961612 h 13941544"/>
                <a:gd name="connsiteX46" fmla="*/ 10353296 w 16682562"/>
                <a:gd name="connsiteY46" fmla="*/ 289328 h 13941544"/>
                <a:gd name="connsiteX47" fmla="*/ 10832530 w 16682562"/>
                <a:gd name="connsiteY47" fmla="*/ 216994 h 13941544"/>
                <a:gd name="connsiteX48" fmla="*/ 11058585 w 16682562"/>
                <a:gd name="connsiteY48" fmla="*/ 669063 h 13941544"/>
                <a:gd name="connsiteX49" fmla="*/ 11411229 w 16682562"/>
                <a:gd name="connsiteY49" fmla="*/ 1048794 h 13941544"/>
                <a:gd name="connsiteX50" fmla="*/ 11998974 w 16682562"/>
                <a:gd name="connsiteY50" fmla="*/ 1130164 h 13941544"/>
                <a:gd name="connsiteX51" fmla="*/ 12315449 w 16682562"/>
                <a:gd name="connsiteY51" fmla="*/ 1790176 h 13941544"/>
                <a:gd name="connsiteX52" fmla="*/ 12785642 w 16682562"/>
                <a:gd name="connsiteY52" fmla="*/ 1609347 h 13941544"/>
                <a:gd name="connsiteX53" fmla="*/ 13671776 w 16682562"/>
                <a:gd name="connsiteY53" fmla="*/ 2061408 h 13941544"/>
                <a:gd name="connsiteX54" fmla="*/ 14123886 w 16682562"/>
                <a:gd name="connsiteY54" fmla="*/ 1763055 h 13941544"/>
                <a:gd name="connsiteX55" fmla="*/ 14259509 w 16682562"/>
                <a:gd name="connsiteY55" fmla="*/ 1193454 h 13941544"/>
                <a:gd name="connsiteX56" fmla="*/ 14892468 w 16682562"/>
                <a:gd name="connsiteY56" fmla="*/ 551523 h 13941544"/>
                <a:gd name="connsiteX57" fmla="*/ 15778605 w 16682562"/>
                <a:gd name="connsiteY57" fmla="*/ 3 h 13941544"/>
                <a:gd name="connsiteX58" fmla="*/ 16022739 w 16682562"/>
                <a:gd name="connsiteY58" fmla="*/ 470153 h 13941544"/>
                <a:gd name="connsiteX59" fmla="*/ 16556232 w 16682562"/>
                <a:gd name="connsiteY59" fmla="*/ 1048805 h 13941544"/>
                <a:gd name="connsiteX60" fmla="*/ 10152517 w 16682562"/>
                <a:gd name="connsiteY60" fmla="*/ 5264302 h 13941544"/>
                <a:gd name="connsiteX61" fmla="*/ 11109603 w 16682562"/>
                <a:gd name="connsiteY61" fmla="*/ 5635776 h 13941544"/>
                <a:gd name="connsiteX62" fmla="*/ 11919572 w 16682562"/>
                <a:gd name="connsiteY62" fmla="*/ 5909298 h 13941544"/>
                <a:gd name="connsiteX63" fmla="*/ 12868275 w 16682562"/>
                <a:gd name="connsiteY63" fmla="*/ 5664087 h 13941544"/>
                <a:gd name="connsiteX64" fmla="*/ 13844296 w 16682562"/>
                <a:gd name="connsiteY64" fmla="*/ 5062252 h 13941544"/>
                <a:gd name="connsiteX65" fmla="*/ 13886291 w 16682562"/>
                <a:gd name="connsiteY65" fmla="*/ 4227884 h 13941544"/>
                <a:gd name="connsiteX66" fmla="*/ 14370431 w 16682562"/>
                <a:gd name="connsiteY66" fmla="*/ 4736236 h 13941544"/>
                <a:gd name="connsiteX67" fmla="*/ 15323320 w 16682562"/>
                <a:gd name="connsiteY67" fmla="*/ 4834509 h 13941544"/>
                <a:gd name="connsiteX68" fmla="*/ 16350939 w 16682562"/>
                <a:gd name="connsiteY68" fmla="*/ 4959368 h 13941544"/>
                <a:gd name="connsiteX69" fmla="*/ 16362364 w 16682562"/>
                <a:gd name="connsiteY69" fmla="*/ 5266648 h 13941544"/>
                <a:gd name="connsiteX70" fmla="*/ 16682563 w 16682562"/>
                <a:gd name="connsiteY70" fmla="*/ 5704551 h 13941544"/>
                <a:gd name="connsiteX0" fmla="*/ 16682563 w 16682562"/>
                <a:gd name="connsiteY0" fmla="*/ 5704551 h 13941544"/>
                <a:gd name="connsiteX1" fmla="*/ 16432262 w 16682562"/>
                <a:gd name="connsiteY1" fmla="*/ 6731937 h 13941544"/>
                <a:gd name="connsiteX2" fmla="*/ 16106317 w 16682562"/>
                <a:gd name="connsiteY2" fmla="*/ 7273241 h 13941544"/>
                <a:gd name="connsiteX3" fmla="*/ 16305649 w 16682562"/>
                <a:gd name="connsiteY3" fmla="*/ 7660570 h 13941544"/>
                <a:gd name="connsiteX4" fmla="*/ 16287189 w 16682562"/>
                <a:gd name="connsiteY4" fmla="*/ 8057177 h 13941544"/>
                <a:gd name="connsiteX5" fmla="*/ 16372801 w 16682562"/>
                <a:gd name="connsiteY5" fmla="*/ 8623442 h 13941544"/>
                <a:gd name="connsiteX6" fmla="*/ 16070155 w 16682562"/>
                <a:gd name="connsiteY6" fmla="*/ 8843828 h 13941544"/>
                <a:gd name="connsiteX7" fmla="*/ 15805690 w 16682562"/>
                <a:gd name="connsiteY7" fmla="*/ 9338019 h 13941544"/>
                <a:gd name="connsiteX8" fmla="*/ 15195097 w 16682562"/>
                <a:gd name="connsiteY8" fmla="*/ 8999762 h 13941544"/>
                <a:gd name="connsiteX9" fmla="*/ 15011380 w 16682562"/>
                <a:gd name="connsiteY9" fmla="*/ 9954612 h 13941544"/>
                <a:gd name="connsiteX10" fmla="*/ 14908430 w 16682562"/>
                <a:gd name="connsiteY10" fmla="*/ 10843507 h 13941544"/>
                <a:gd name="connsiteX11" fmla="*/ 14904684 w 16682562"/>
                <a:gd name="connsiteY11" fmla="*/ 11666946 h 13941544"/>
                <a:gd name="connsiteX12" fmla="*/ 14929927 w 16682562"/>
                <a:gd name="connsiteY12" fmla="*/ 13297866 h 13941544"/>
                <a:gd name="connsiteX13" fmla="*/ 12952786 w 16682562"/>
                <a:gd name="connsiteY13" fmla="*/ 13748619 h 13941544"/>
                <a:gd name="connsiteX14" fmla="*/ 11934663 w 16682562"/>
                <a:gd name="connsiteY14" fmla="*/ 13796869 h 13941544"/>
                <a:gd name="connsiteX15" fmla="*/ 8506848 w 16682562"/>
                <a:gd name="connsiteY15" fmla="*/ 13941544 h 13941544"/>
                <a:gd name="connsiteX16" fmla="*/ 7985095 w 16682562"/>
                <a:gd name="connsiteY16" fmla="*/ 13296462 h 13941544"/>
                <a:gd name="connsiteX17" fmla="*/ 7400308 w 16682562"/>
                <a:gd name="connsiteY17" fmla="*/ 13266317 h 13941544"/>
                <a:gd name="connsiteX18" fmla="*/ 6972273 w 16682562"/>
                <a:gd name="connsiteY18" fmla="*/ 13537614 h 13941544"/>
                <a:gd name="connsiteX19" fmla="*/ 5181729 w 16682562"/>
                <a:gd name="connsiteY19" fmla="*/ 13453215 h 13941544"/>
                <a:gd name="connsiteX20" fmla="*/ 4397998 w 16682562"/>
                <a:gd name="connsiteY20" fmla="*/ 12820198 h 13941544"/>
                <a:gd name="connsiteX21" fmla="*/ 2908896 w 16682562"/>
                <a:gd name="connsiteY21" fmla="*/ 12012344 h 13941544"/>
                <a:gd name="connsiteX22" fmla="*/ 1263043 w 16682562"/>
                <a:gd name="connsiteY22" fmla="*/ 11300951 h 13941544"/>
                <a:gd name="connsiteX23" fmla="*/ 485320 w 16682562"/>
                <a:gd name="connsiteY23" fmla="*/ 10848794 h 13941544"/>
                <a:gd name="connsiteX24" fmla="*/ 0 w 16682562"/>
                <a:gd name="connsiteY24" fmla="*/ 10555682 h 13941544"/>
                <a:gd name="connsiteX25" fmla="*/ 1003686 w 16682562"/>
                <a:gd name="connsiteY25" fmla="*/ 9809717 h 13941544"/>
                <a:gd name="connsiteX26" fmla="*/ 2902551 w 16682562"/>
                <a:gd name="connsiteY26" fmla="*/ 8625318 h 13941544"/>
                <a:gd name="connsiteX27" fmla="*/ 2558940 w 16682562"/>
                <a:gd name="connsiteY27" fmla="*/ 8091887 h 13941544"/>
                <a:gd name="connsiteX28" fmla="*/ 2402508 w 16682562"/>
                <a:gd name="connsiteY28" fmla="*/ 7404804 h 13941544"/>
                <a:gd name="connsiteX29" fmla="*/ 2730740 w 16682562"/>
                <a:gd name="connsiteY29" fmla="*/ 7377633 h 13941544"/>
                <a:gd name="connsiteX30" fmla="*/ 2947754 w 16682562"/>
                <a:gd name="connsiteY30" fmla="*/ 6907488 h 13941544"/>
                <a:gd name="connsiteX31" fmla="*/ 3499325 w 16682562"/>
                <a:gd name="connsiteY31" fmla="*/ 6464471 h 13941544"/>
                <a:gd name="connsiteX32" fmla="*/ 3680166 w 16682562"/>
                <a:gd name="connsiteY32" fmla="*/ 5587473 h 13941544"/>
                <a:gd name="connsiteX33" fmla="*/ 4186528 w 16682562"/>
                <a:gd name="connsiteY33" fmla="*/ 5596509 h 13941544"/>
                <a:gd name="connsiteX34" fmla="*/ 4837569 w 16682562"/>
                <a:gd name="connsiteY34" fmla="*/ 6066659 h 13941544"/>
                <a:gd name="connsiteX35" fmla="*/ 5352976 w 16682562"/>
                <a:gd name="connsiteY35" fmla="*/ 5985292 h 13941544"/>
                <a:gd name="connsiteX36" fmla="*/ 5741786 w 16682562"/>
                <a:gd name="connsiteY36" fmla="*/ 5614597 h 13941544"/>
                <a:gd name="connsiteX37" fmla="*/ 6157723 w 16682562"/>
                <a:gd name="connsiteY37" fmla="*/ 5451856 h 13941544"/>
                <a:gd name="connsiteX38" fmla="*/ 6745471 w 16682562"/>
                <a:gd name="connsiteY38" fmla="*/ 4882263 h 13941544"/>
                <a:gd name="connsiteX39" fmla="*/ 6890140 w 16682562"/>
                <a:gd name="connsiteY39" fmla="*/ 4032387 h 13941544"/>
                <a:gd name="connsiteX40" fmla="*/ 7568305 w 16682562"/>
                <a:gd name="connsiteY40" fmla="*/ 3462793 h 13941544"/>
                <a:gd name="connsiteX41" fmla="*/ 8137967 w 16682562"/>
                <a:gd name="connsiteY41" fmla="*/ 3019772 h 13941544"/>
                <a:gd name="connsiteX42" fmla="*/ 8463480 w 16682562"/>
                <a:gd name="connsiteY42" fmla="*/ 2215105 h 13941544"/>
                <a:gd name="connsiteX43" fmla="*/ 9024093 w 16682562"/>
                <a:gd name="connsiteY43" fmla="*/ 1862498 h 13941544"/>
                <a:gd name="connsiteX44" fmla="*/ 9675138 w 16682562"/>
                <a:gd name="connsiteY44" fmla="*/ 1509896 h 13941544"/>
                <a:gd name="connsiteX45" fmla="*/ 9558580 w 16682562"/>
                <a:gd name="connsiteY45" fmla="*/ 961612 h 13941544"/>
                <a:gd name="connsiteX46" fmla="*/ 10353296 w 16682562"/>
                <a:gd name="connsiteY46" fmla="*/ 289328 h 13941544"/>
                <a:gd name="connsiteX47" fmla="*/ 10832530 w 16682562"/>
                <a:gd name="connsiteY47" fmla="*/ 216994 h 13941544"/>
                <a:gd name="connsiteX48" fmla="*/ 11058585 w 16682562"/>
                <a:gd name="connsiteY48" fmla="*/ 669063 h 13941544"/>
                <a:gd name="connsiteX49" fmla="*/ 11411229 w 16682562"/>
                <a:gd name="connsiteY49" fmla="*/ 1048794 h 13941544"/>
                <a:gd name="connsiteX50" fmla="*/ 11998974 w 16682562"/>
                <a:gd name="connsiteY50" fmla="*/ 1130164 h 13941544"/>
                <a:gd name="connsiteX51" fmla="*/ 12315449 w 16682562"/>
                <a:gd name="connsiteY51" fmla="*/ 1790176 h 13941544"/>
                <a:gd name="connsiteX52" fmla="*/ 12785642 w 16682562"/>
                <a:gd name="connsiteY52" fmla="*/ 1609347 h 13941544"/>
                <a:gd name="connsiteX53" fmla="*/ 13671776 w 16682562"/>
                <a:gd name="connsiteY53" fmla="*/ 2061408 h 13941544"/>
                <a:gd name="connsiteX54" fmla="*/ 14123886 w 16682562"/>
                <a:gd name="connsiteY54" fmla="*/ 1763055 h 13941544"/>
                <a:gd name="connsiteX55" fmla="*/ 14259509 w 16682562"/>
                <a:gd name="connsiteY55" fmla="*/ 1193454 h 13941544"/>
                <a:gd name="connsiteX56" fmla="*/ 14892468 w 16682562"/>
                <a:gd name="connsiteY56" fmla="*/ 551523 h 13941544"/>
                <a:gd name="connsiteX57" fmla="*/ 15778605 w 16682562"/>
                <a:gd name="connsiteY57" fmla="*/ 3 h 13941544"/>
                <a:gd name="connsiteX58" fmla="*/ 16022739 w 16682562"/>
                <a:gd name="connsiteY58" fmla="*/ 470153 h 13941544"/>
                <a:gd name="connsiteX59" fmla="*/ 9312071 w 16682562"/>
                <a:gd name="connsiteY59" fmla="*/ 4353992 h 13941544"/>
                <a:gd name="connsiteX60" fmla="*/ 10152517 w 16682562"/>
                <a:gd name="connsiteY60" fmla="*/ 5264302 h 13941544"/>
                <a:gd name="connsiteX61" fmla="*/ 11109603 w 16682562"/>
                <a:gd name="connsiteY61" fmla="*/ 5635776 h 13941544"/>
                <a:gd name="connsiteX62" fmla="*/ 11919572 w 16682562"/>
                <a:gd name="connsiteY62" fmla="*/ 5909298 h 13941544"/>
                <a:gd name="connsiteX63" fmla="*/ 12868275 w 16682562"/>
                <a:gd name="connsiteY63" fmla="*/ 5664087 h 13941544"/>
                <a:gd name="connsiteX64" fmla="*/ 13844296 w 16682562"/>
                <a:gd name="connsiteY64" fmla="*/ 5062252 h 13941544"/>
                <a:gd name="connsiteX65" fmla="*/ 13886291 w 16682562"/>
                <a:gd name="connsiteY65" fmla="*/ 4227884 h 13941544"/>
                <a:gd name="connsiteX66" fmla="*/ 14370431 w 16682562"/>
                <a:gd name="connsiteY66" fmla="*/ 4736236 h 13941544"/>
                <a:gd name="connsiteX67" fmla="*/ 15323320 w 16682562"/>
                <a:gd name="connsiteY67" fmla="*/ 4834509 h 13941544"/>
                <a:gd name="connsiteX68" fmla="*/ 16350939 w 16682562"/>
                <a:gd name="connsiteY68" fmla="*/ 4959368 h 13941544"/>
                <a:gd name="connsiteX69" fmla="*/ 16362364 w 16682562"/>
                <a:gd name="connsiteY69" fmla="*/ 5266648 h 13941544"/>
                <a:gd name="connsiteX70" fmla="*/ 16682563 w 16682562"/>
                <a:gd name="connsiteY70" fmla="*/ 5704551 h 13941544"/>
                <a:gd name="connsiteX0" fmla="*/ 16682563 w 16682562"/>
                <a:gd name="connsiteY0" fmla="*/ 5704551 h 13941544"/>
                <a:gd name="connsiteX1" fmla="*/ 16432262 w 16682562"/>
                <a:gd name="connsiteY1" fmla="*/ 6731937 h 13941544"/>
                <a:gd name="connsiteX2" fmla="*/ 16106317 w 16682562"/>
                <a:gd name="connsiteY2" fmla="*/ 7273241 h 13941544"/>
                <a:gd name="connsiteX3" fmla="*/ 16305649 w 16682562"/>
                <a:gd name="connsiteY3" fmla="*/ 7660570 h 13941544"/>
                <a:gd name="connsiteX4" fmla="*/ 16287189 w 16682562"/>
                <a:gd name="connsiteY4" fmla="*/ 8057177 h 13941544"/>
                <a:gd name="connsiteX5" fmla="*/ 16372801 w 16682562"/>
                <a:gd name="connsiteY5" fmla="*/ 8623442 h 13941544"/>
                <a:gd name="connsiteX6" fmla="*/ 16070155 w 16682562"/>
                <a:gd name="connsiteY6" fmla="*/ 8843828 h 13941544"/>
                <a:gd name="connsiteX7" fmla="*/ 15805690 w 16682562"/>
                <a:gd name="connsiteY7" fmla="*/ 9338019 h 13941544"/>
                <a:gd name="connsiteX8" fmla="*/ 15195097 w 16682562"/>
                <a:gd name="connsiteY8" fmla="*/ 8999762 h 13941544"/>
                <a:gd name="connsiteX9" fmla="*/ 15011380 w 16682562"/>
                <a:gd name="connsiteY9" fmla="*/ 9954612 h 13941544"/>
                <a:gd name="connsiteX10" fmla="*/ 14908430 w 16682562"/>
                <a:gd name="connsiteY10" fmla="*/ 10843507 h 13941544"/>
                <a:gd name="connsiteX11" fmla="*/ 14904684 w 16682562"/>
                <a:gd name="connsiteY11" fmla="*/ 11666946 h 13941544"/>
                <a:gd name="connsiteX12" fmla="*/ 14929927 w 16682562"/>
                <a:gd name="connsiteY12" fmla="*/ 13297866 h 13941544"/>
                <a:gd name="connsiteX13" fmla="*/ 12952786 w 16682562"/>
                <a:gd name="connsiteY13" fmla="*/ 13748619 h 13941544"/>
                <a:gd name="connsiteX14" fmla="*/ 11934663 w 16682562"/>
                <a:gd name="connsiteY14" fmla="*/ 13796869 h 13941544"/>
                <a:gd name="connsiteX15" fmla="*/ 8506848 w 16682562"/>
                <a:gd name="connsiteY15" fmla="*/ 13941544 h 13941544"/>
                <a:gd name="connsiteX16" fmla="*/ 7985095 w 16682562"/>
                <a:gd name="connsiteY16" fmla="*/ 13296462 h 13941544"/>
                <a:gd name="connsiteX17" fmla="*/ 7400308 w 16682562"/>
                <a:gd name="connsiteY17" fmla="*/ 13266317 h 13941544"/>
                <a:gd name="connsiteX18" fmla="*/ 6972273 w 16682562"/>
                <a:gd name="connsiteY18" fmla="*/ 13537614 h 13941544"/>
                <a:gd name="connsiteX19" fmla="*/ 5181729 w 16682562"/>
                <a:gd name="connsiteY19" fmla="*/ 13453215 h 13941544"/>
                <a:gd name="connsiteX20" fmla="*/ 4397998 w 16682562"/>
                <a:gd name="connsiteY20" fmla="*/ 12820198 h 13941544"/>
                <a:gd name="connsiteX21" fmla="*/ 2908896 w 16682562"/>
                <a:gd name="connsiteY21" fmla="*/ 12012344 h 13941544"/>
                <a:gd name="connsiteX22" fmla="*/ 1263043 w 16682562"/>
                <a:gd name="connsiteY22" fmla="*/ 11300951 h 13941544"/>
                <a:gd name="connsiteX23" fmla="*/ 485320 w 16682562"/>
                <a:gd name="connsiteY23" fmla="*/ 10848794 h 13941544"/>
                <a:gd name="connsiteX24" fmla="*/ 0 w 16682562"/>
                <a:gd name="connsiteY24" fmla="*/ 10555682 h 13941544"/>
                <a:gd name="connsiteX25" fmla="*/ 1003686 w 16682562"/>
                <a:gd name="connsiteY25" fmla="*/ 9809717 h 13941544"/>
                <a:gd name="connsiteX26" fmla="*/ 2902551 w 16682562"/>
                <a:gd name="connsiteY26" fmla="*/ 8625318 h 13941544"/>
                <a:gd name="connsiteX27" fmla="*/ 2558940 w 16682562"/>
                <a:gd name="connsiteY27" fmla="*/ 8091887 h 13941544"/>
                <a:gd name="connsiteX28" fmla="*/ 2402508 w 16682562"/>
                <a:gd name="connsiteY28" fmla="*/ 7404804 h 13941544"/>
                <a:gd name="connsiteX29" fmla="*/ 2730740 w 16682562"/>
                <a:gd name="connsiteY29" fmla="*/ 7377633 h 13941544"/>
                <a:gd name="connsiteX30" fmla="*/ 2947754 w 16682562"/>
                <a:gd name="connsiteY30" fmla="*/ 6907488 h 13941544"/>
                <a:gd name="connsiteX31" fmla="*/ 3499325 w 16682562"/>
                <a:gd name="connsiteY31" fmla="*/ 6464471 h 13941544"/>
                <a:gd name="connsiteX32" fmla="*/ 3680166 w 16682562"/>
                <a:gd name="connsiteY32" fmla="*/ 5587473 h 13941544"/>
                <a:gd name="connsiteX33" fmla="*/ 4186528 w 16682562"/>
                <a:gd name="connsiteY33" fmla="*/ 5596509 h 13941544"/>
                <a:gd name="connsiteX34" fmla="*/ 4837569 w 16682562"/>
                <a:gd name="connsiteY34" fmla="*/ 6066659 h 13941544"/>
                <a:gd name="connsiteX35" fmla="*/ 5352976 w 16682562"/>
                <a:gd name="connsiteY35" fmla="*/ 5985292 h 13941544"/>
                <a:gd name="connsiteX36" fmla="*/ 5741786 w 16682562"/>
                <a:gd name="connsiteY36" fmla="*/ 5614597 h 13941544"/>
                <a:gd name="connsiteX37" fmla="*/ 6157723 w 16682562"/>
                <a:gd name="connsiteY37" fmla="*/ 5451856 h 13941544"/>
                <a:gd name="connsiteX38" fmla="*/ 6745471 w 16682562"/>
                <a:gd name="connsiteY38" fmla="*/ 4882263 h 13941544"/>
                <a:gd name="connsiteX39" fmla="*/ 6890140 w 16682562"/>
                <a:gd name="connsiteY39" fmla="*/ 4032387 h 13941544"/>
                <a:gd name="connsiteX40" fmla="*/ 7568305 w 16682562"/>
                <a:gd name="connsiteY40" fmla="*/ 3462793 h 13941544"/>
                <a:gd name="connsiteX41" fmla="*/ 8137967 w 16682562"/>
                <a:gd name="connsiteY41" fmla="*/ 3019772 h 13941544"/>
                <a:gd name="connsiteX42" fmla="*/ 8463480 w 16682562"/>
                <a:gd name="connsiteY42" fmla="*/ 2215105 h 13941544"/>
                <a:gd name="connsiteX43" fmla="*/ 9024093 w 16682562"/>
                <a:gd name="connsiteY43" fmla="*/ 1862498 h 13941544"/>
                <a:gd name="connsiteX44" fmla="*/ 9675138 w 16682562"/>
                <a:gd name="connsiteY44" fmla="*/ 1509896 h 13941544"/>
                <a:gd name="connsiteX45" fmla="*/ 9558580 w 16682562"/>
                <a:gd name="connsiteY45" fmla="*/ 961612 h 13941544"/>
                <a:gd name="connsiteX46" fmla="*/ 10353296 w 16682562"/>
                <a:gd name="connsiteY46" fmla="*/ 289328 h 13941544"/>
                <a:gd name="connsiteX47" fmla="*/ 10832530 w 16682562"/>
                <a:gd name="connsiteY47" fmla="*/ 216994 h 13941544"/>
                <a:gd name="connsiteX48" fmla="*/ 11058585 w 16682562"/>
                <a:gd name="connsiteY48" fmla="*/ 669063 h 13941544"/>
                <a:gd name="connsiteX49" fmla="*/ 11411229 w 16682562"/>
                <a:gd name="connsiteY49" fmla="*/ 1048794 h 13941544"/>
                <a:gd name="connsiteX50" fmla="*/ 11998974 w 16682562"/>
                <a:gd name="connsiteY50" fmla="*/ 1130164 h 13941544"/>
                <a:gd name="connsiteX51" fmla="*/ 12315449 w 16682562"/>
                <a:gd name="connsiteY51" fmla="*/ 1790176 h 13941544"/>
                <a:gd name="connsiteX52" fmla="*/ 12785642 w 16682562"/>
                <a:gd name="connsiteY52" fmla="*/ 1609347 h 13941544"/>
                <a:gd name="connsiteX53" fmla="*/ 13671776 w 16682562"/>
                <a:gd name="connsiteY53" fmla="*/ 2061408 h 13941544"/>
                <a:gd name="connsiteX54" fmla="*/ 14123886 w 16682562"/>
                <a:gd name="connsiteY54" fmla="*/ 1763055 h 13941544"/>
                <a:gd name="connsiteX55" fmla="*/ 14259509 w 16682562"/>
                <a:gd name="connsiteY55" fmla="*/ 1193454 h 13941544"/>
                <a:gd name="connsiteX56" fmla="*/ 14892468 w 16682562"/>
                <a:gd name="connsiteY56" fmla="*/ 551523 h 13941544"/>
                <a:gd name="connsiteX57" fmla="*/ 15778605 w 16682562"/>
                <a:gd name="connsiteY57" fmla="*/ 3 h 13941544"/>
                <a:gd name="connsiteX58" fmla="*/ 16022739 w 16682562"/>
                <a:gd name="connsiteY58" fmla="*/ 470153 h 13941544"/>
                <a:gd name="connsiteX59" fmla="*/ 9761321 w 16682562"/>
                <a:gd name="connsiteY59" fmla="*/ 4466032 h 13941544"/>
                <a:gd name="connsiteX60" fmla="*/ 10152517 w 16682562"/>
                <a:gd name="connsiteY60" fmla="*/ 5264302 h 13941544"/>
                <a:gd name="connsiteX61" fmla="*/ 11109603 w 16682562"/>
                <a:gd name="connsiteY61" fmla="*/ 5635776 h 13941544"/>
                <a:gd name="connsiteX62" fmla="*/ 11919572 w 16682562"/>
                <a:gd name="connsiteY62" fmla="*/ 5909298 h 13941544"/>
                <a:gd name="connsiteX63" fmla="*/ 12868275 w 16682562"/>
                <a:gd name="connsiteY63" fmla="*/ 5664087 h 13941544"/>
                <a:gd name="connsiteX64" fmla="*/ 13844296 w 16682562"/>
                <a:gd name="connsiteY64" fmla="*/ 5062252 h 13941544"/>
                <a:gd name="connsiteX65" fmla="*/ 13886291 w 16682562"/>
                <a:gd name="connsiteY65" fmla="*/ 4227884 h 13941544"/>
                <a:gd name="connsiteX66" fmla="*/ 14370431 w 16682562"/>
                <a:gd name="connsiteY66" fmla="*/ 4736236 h 13941544"/>
                <a:gd name="connsiteX67" fmla="*/ 15323320 w 16682562"/>
                <a:gd name="connsiteY67" fmla="*/ 4834509 h 13941544"/>
                <a:gd name="connsiteX68" fmla="*/ 16350939 w 16682562"/>
                <a:gd name="connsiteY68" fmla="*/ 4959368 h 13941544"/>
                <a:gd name="connsiteX69" fmla="*/ 16362364 w 16682562"/>
                <a:gd name="connsiteY69" fmla="*/ 5266648 h 13941544"/>
                <a:gd name="connsiteX70" fmla="*/ 16682563 w 16682562"/>
                <a:gd name="connsiteY70" fmla="*/ 5704551 h 13941544"/>
                <a:gd name="connsiteX0" fmla="*/ 16682563 w 16682562"/>
                <a:gd name="connsiteY0" fmla="*/ 5704551 h 13941544"/>
                <a:gd name="connsiteX1" fmla="*/ 16432262 w 16682562"/>
                <a:gd name="connsiteY1" fmla="*/ 6731937 h 13941544"/>
                <a:gd name="connsiteX2" fmla="*/ 16106317 w 16682562"/>
                <a:gd name="connsiteY2" fmla="*/ 7273241 h 13941544"/>
                <a:gd name="connsiteX3" fmla="*/ 16305649 w 16682562"/>
                <a:gd name="connsiteY3" fmla="*/ 7660570 h 13941544"/>
                <a:gd name="connsiteX4" fmla="*/ 16287189 w 16682562"/>
                <a:gd name="connsiteY4" fmla="*/ 8057177 h 13941544"/>
                <a:gd name="connsiteX5" fmla="*/ 16372801 w 16682562"/>
                <a:gd name="connsiteY5" fmla="*/ 8623442 h 13941544"/>
                <a:gd name="connsiteX6" fmla="*/ 16070155 w 16682562"/>
                <a:gd name="connsiteY6" fmla="*/ 8843828 h 13941544"/>
                <a:gd name="connsiteX7" fmla="*/ 15805690 w 16682562"/>
                <a:gd name="connsiteY7" fmla="*/ 9338019 h 13941544"/>
                <a:gd name="connsiteX8" fmla="*/ 15195097 w 16682562"/>
                <a:gd name="connsiteY8" fmla="*/ 8999762 h 13941544"/>
                <a:gd name="connsiteX9" fmla="*/ 15011380 w 16682562"/>
                <a:gd name="connsiteY9" fmla="*/ 9954612 h 13941544"/>
                <a:gd name="connsiteX10" fmla="*/ 14908430 w 16682562"/>
                <a:gd name="connsiteY10" fmla="*/ 10843507 h 13941544"/>
                <a:gd name="connsiteX11" fmla="*/ 14904684 w 16682562"/>
                <a:gd name="connsiteY11" fmla="*/ 11666946 h 13941544"/>
                <a:gd name="connsiteX12" fmla="*/ 14929927 w 16682562"/>
                <a:gd name="connsiteY12" fmla="*/ 13297866 h 13941544"/>
                <a:gd name="connsiteX13" fmla="*/ 12952786 w 16682562"/>
                <a:gd name="connsiteY13" fmla="*/ 13748619 h 13941544"/>
                <a:gd name="connsiteX14" fmla="*/ 11934663 w 16682562"/>
                <a:gd name="connsiteY14" fmla="*/ 13796869 h 13941544"/>
                <a:gd name="connsiteX15" fmla="*/ 8506848 w 16682562"/>
                <a:gd name="connsiteY15" fmla="*/ 13941544 h 13941544"/>
                <a:gd name="connsiteX16" fmla="*/ 7985095 w 16682562"/>
                <a:gd name="connsiteY16" fmla="*/ 13296462 h 13941544"/>
                <a:gd name="connsiteX17" fmla="*/ 7400308 w 16682562"/>
                <a:gd name="connsiteY17" fmla="*/ 13266317 h 13941544"/>
                <a:gd name="connsiteX18" fmla="*/ 6972273 w 16682562"/>
                <a:gd name="connsiteY18" fmla="*/ 13537614 h 13941544"/>
                <a:gd name="connsiteX19" fmla="*/ 5181729 w 16682562"/>
                <a:gd name="connsiteY19" fmla="*/ 13453215 h 13941544"/>
                <a:gd name="connsiteX20" fmla="*/ 4397998 w 16682562"/>
                <a:gd name="connsiteY20" fmla="*/ 12820198 h 13941544"/>
                <a:gd name="connsiteX21" fmla="*/ 2908896 w 16682562"/>
                <a:gd name="connsiteY21" fmla="*/ 12012344 h 13941544"/>
                <a:gd name="connsiteX22" fmla="*/ 1263043 w 16682562"/>
                <a:gd name="connsiteY22" fmla="*/ 11300951 h 13941544"/>
                <a:gd name="connsiteX23" fmla="*/ 485320 w 16682562"/>
                <a:gd name="connsiteY23" fmla="*/ 10848794 h 13941544"/>
                <a:gd name="connsiteX24" fmla="*/ 0 w 16682562"/>
                <a:gd name="connsiteY24" fmla="*/ 10555682 h 13941544"/>
                <a:gd name="connsiteX25" fmla="*/ 1003686 w 16682562"/>
                <a:gd name="connsiteY25" fmla="*/ 9809717 h 13941544"/>
                <a:gd name="connsiteX26" fmla="*/ 2902551 w 16682562"/>
                <a:gd name="connsiteY26" fmla="*/ 8625318 h 13941544"/>
                <a:gd name="connsiteX27" fmla="*/ 2558940 w 16682562"/>
                <a:gd name="connsiteY27" fmla="*/ 8091887 h 13941544"/>
                <a:gd name="connsiteX28" fmla="*/ 2402508 w 16682562"/>
                <a:gd name="connsiteY28" fmla="*/ 7404804 h 13941544"/>
                <a:gd name="connsiteX29" fmla="*/ 2730740 w 16682562"/>
                <a:gd name="connsiteY29" fmla="*/ 7377633 h 13941544"/>
                <a:gd name="connsiteX30" fmla="*/ 2947754 w 16682562"/>
                <a:gd name="connsiteY30" fmla="*/ 6907488 h 13941544"/>
                <a:gd name="connsiteX31" fmla="*/ 3499325 w 16682562"/>
                <a:gd name="connsiteY31" fmla="*/ 6464471 h 13941544"/>
                <a:gd name="connsiteX32" fmla="*/ 3680166 w 16682562"/>
                <a:gd name="connsiteY32" fmla="*/ 5587473 h 13941544"/>
                <a:gd name="connsiteX33" fmla="*/ 4186528 w 16682562"/>
                <a:gd name="connsiteY33" fmla="*/ 5596509 h 13941544"/>
                <a:gd name="connsiteX34" fmla="*/ 4837569 w 16682562"/>
                <a:gd name="connsiteY34" fmla="*/ 6066659 h 13941544"/>
                <a:gd name="connsiteX35" fmla="*/ 5352976 w 16682562"/>
                <a:gd name="connsiteY35" fmla="*/ 5985292 h 13941544"/>
                <a:gd name="connsiteX36" fmla="*/ 5741786 w 16682562"/>
                <a:gd name="connsiteY36" fmla="*/ 5614597 h 13941544"/>
                <a:gd name="connsiteX37" fmla="*/ 6157723 w 16682562"/>
                <a:gd name="connsiteY37" fmla="*/ 5451856 h 13941544"/>
                <a:gd name="connsiteX38" fmla="*/ 6745471 w 16682562"/>
                <a:gd name="connsiteY38" fmla="*/ 4882263 h 13941544"/>
                <a:gd name="connsiteX39" fmla="*/ 6890140 w 16682562"/>
                <a:gd name="connsiteY39" fmla="*/ 4032387 h 13941544"/>
                <a:gd name="connsiteX40" fmla="*/ 7568305 w 16682562"/>
                <a:gd name="connsiteY40" fmla="*/ 3462793 h 13941544"/>
                <a:gd name="connsiteX41" fmla="*/ 8137967 w 16682562"/>
                <a:gd name="connsiteY41" fmla="*/ 3019772 h 13941544"/>
                <a:gd name="connsiteX42" fmla="*/ 8463480 w 16682562"/>
                <a:gd name="connsiteY42" fmla="*/ 2215105 h 13941544"/>
                <a:gd name="connsiteX43" fmla="*/ 9024093 w 16682562"/>
                <a:gd name="connsiteY43" fmla="*/ 1862498 h 13941544"/>
                <a:gd name="connsiteX44" fmla="*/ 9675138 w 16682562"/>
                <a:gd name="connsiteY44" fmla="*/ 1509896 h 13941544"/>
                <a:gd name="connsiteX45" fmla="*/ 9558580 w 16682562"/>
                <a:gd name="connsiteY45" fmla="*/ 961612 h 13941544"/>
                <a:gd name="connsiteX46" fmla="*/ 10353296 w 16682562"/>
                <a:gd name="connsiteY46" fmla="*/ 289328 h 13941544"/>
                <a:gd name="connsiteX47" fmla="*/ 10832530 w 16682562"/>
                <a:gd name="connsiteY47" fmla="*/ 216994 h 13941544"/>
                <a:gd name="connsiteX48" fmla="*/ 11058585 w 16682562"/>
                <a:gd name="connsiteY48" fmla="*/ 669063 h 13941544"/>
                <a:gd name="connsiteX49" fmla="*/ 11411229 w 16682562"/>
                <a:gd name="connsiteY49" fmla="*/ 1048794 h 13941544"/>
                <a:gd name="connsiteX50" fmla="*/ 11998974 w 16682562"/>
                <a:gd name="connsiteY50" fmla="*/ 1130164 h 13941544"/>
                <a:gd name="connsiteX51" fmla="*/ 12315449 w 16682562"/>
                <a:gd name="connsiteY51" fmla="*/ 1790176 h 13941544"/>
                <a:gd name="connsiteX52" fmla="*/ 12785642 w 16682562"/>
                <a:gd name="connsiteY52" fmla="*/ 1609347 h 13941544"/>
                <a:gd name="connsiteX53" fmla="*/ 13671776 w 16682562"/>
                <a:gd name="connsiteY53" fmla="*/ 2061408 h 13941544"/>
                <a:gd name="connsiteX54" fmla="*/ 14123886 w 16682562"/>
                <a:gd name="connsiteY54" fmla="*/ 1763055 h 13941544"/>
                <a:gd name="connsiteX55" fmla="*/ 14259509 w 16682562"/>
                <a:gd name="connsiteY55" fmla="*/ 1193454 h 13941544"/>
                <a:gd name="connsiteX56" fmla="*/ 14892468 w 16682562"/>
                <a:gd name="connsiteY56" fmla="*/ 551523 h 13941544"/>
                <a:gd name="connsiteX57" fmla="*/ 15778605 w 16682562"/>
                <a:gd name="connsiteY57" fmla="*/ 3 h 13941544"/>
                <a:gd name="connsiteX58" fmla="*/ 9761321 w 16682562"/>
                <a:gd name="connsiteY58" fmla="*/ 4466032 h 13941544"/>
                <a:gd name="connsiteX59" fmla="*/ 10152517 w 16682562"/>
                <a:gd name="connsiteY59" fmla="*/ 5264302 h 13941544"/>
                <a:gd name="connsiteX60" fmla="*/ 11109603 w 16682562"/>
                <a:gd name="connsiteY60" fmla="*/ 5635776 h 13941544"/>
                <a:gd name="connsiteX61" fmla="*/ 11919572 w 16682562"/>
                <a:gd name="connsiteY61" fmla="*/ 5909298 h 13941544"/>
                <a:gd name="connsiteX62" fmla="*/ 12868275 w 16682562"/>
                <a:gd name="connsiteY62" fmla="*/ 5664087 h 13941544"/>
                <a:gd name="connsiteX63" fmla="*/ 13844296 w 16682562"/>
                <a:gd name="connsiteY63" fmla="*/ 5062252 h 13941544"/>
                <a:gd name="connsiteX64" fmla="*/ 13886291 w 16682562"/>
                <a:gd name="connsiteY64" fmla="*/ 4227884 h 13941544"/>
                <a:gd name="connsiteX65" fmla="*/ 14370431 w 16682562"/>
                <a:gd name="connsiteY65" fmla="*/ 4736236 h 13941544"/>
                <a:gd name="connsiteX66" fmla="*/ 15323320 w 16682562"/>
                <a:gd name="connsiteY66" fmla="*/ 4834509 h 13941544"/>
                <a:gd name="connsiteX67" fmla="*/ 16350939 w 16682562"/>
                <a:gd name="connsiteY67" fmla="*/ 4959368 h 13941544"/>
                <a:gd name="connsiteX68" fmla="*/ 16362364 w 16682562"/>
                <a:gd name="connsiteY68" fmla="*/ 5266648 h 13941544"/>
                <a:gd name="connsiteX69" fmla="*/ 16682563 w 16682562"/>
                <a:gd name="connsiteY69" fmla="*/ 5704551 h 13941544"/>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13671776 w 16682562"/>
                <a:gd name="connsiteY53" fmla="*/ 1844415 h 13724551"/>
                <a:gd name="connsiteX54" fmla="*/ 14123886 w 16682562"/>
                <a:gd name="connsiteY54" fmla="*/ 1546062 h 13724551"/>
                <a:gd name="connsiteX55" fmla="*/ 14259509 w 16682562"/>
                <a:gd name="connsiteY55" fmla="*/ 976461 h 13724551"/>
                <a:gd name="connsiteX56" fmla="*/ 14892468 w 16682562"/>
                <a:gd name="connsiteY56" fmla="*/ 334530 h 13724551"/>
                <a:gd name="connsiteX57" fmla="*/ 9761321 w 16682562"/>
                <a:gd name="connsiteY57" fmla="*/ 4249039 h 13724551"/>
                <a:gd name="connsiteX58" fmla="*/ 10152517 w 16682562"/>
                <a:gd name="connsiteY58" fmla="*/ 5047309 h 13724551"/>
                <a:gd name="connsiteX59" fmla="*/ 11109603 w 16682562"/>
                <a:gd name="connsiteY59" fmla="*/ 5418783 h 13724551"/>
                <a:gd name="connsiteX60" fmla="*/ 11919572 w 16682562"/>
                <a:gd name="connsiteY60" fmla="*/ 5692305 h 13724551"/>
                <a:gd name="connsiteX61" fmla="*/ 12868275 w 16682562"/>
                <a:gd name="connsiteY61" fmla="*/ 5447094 h 13724551"/>
                <a:gd name="connsiteX62" fmla="*/ 13844296 w 16682562"/>
                <a:gd name="connsiteY62" fmla="*/ 4845259 h 13724551"/>
                <a:gd name="connsiteX63" fmla="*/ 13886291 w 16682562"/>
                <a:gd name="connsiteY63" fmla="*/ 4010891 h 13724551"/>
                <a:gd name="connsiteX64" fmla="*/ 14370431 w 16682562"/>
                <a:gd name="connsiteY64" fmla="*/ 4519243 h 13724551"/>
                <a:gd name="connsiteX65" fmla="*/ 15323320 w 16682562"/>
                <a:gd name="connsiteY65" fmla="*/ 4617516 h 13724551"/>
                <a:gd name="connsiteX66" fmla="*/ 16350939 w 16682562"/>
                <a:gd name="connsiteY66" fmla="*/ 4742375 h 13724551"/>
                <a:gd name="connsiteX67" fmla="*/ 16362364 w 16682562"/>
                <a:gd name="connsiteY67" fmla="*/ 5049655 h 13724551"/>
                <a:gd name="connsiteX68" fmla="*/ 16682563 w 16682562"/>
                <a:gd name="connsiteY68"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13671776 w 16682562"/>
                <a:gd name="connsiteY53" fmla="*/ 1844415 h 13724551"/>
                <a:gd name="connsiteX54" fmla="*/ 14123886 w 16682562"/>
                <a:gd name="connsiteY54" fmla="*/ 1546062 h 13724551"/>
                <a:gd name="connsiteX55" fmla="*/ 14259509 w 16682562"/>
                <a:gd name="connsiteY55" fmla="*/ 976461 h 13724551"/>
                <a:gd name="connsiteX56" fmla="*/ 9761321 w 16682562"/>
                <a:gd name="connsiteY56" fmla="*/ 4249039 h 13724551"/>
                <a:gd name="connsiteX57" fmla="*/ 10152517 w 16682562"/>
                <a:gd name="connsiteY57" fmla="*/ 5047309 h 13724551"/>
                <a:gd name="connsiteX58" fmla="*/ 11109603 w 16682562"/>
                <a:gd name="connsiteY58" fmla="*/ 5418783 h 13724551"/>
                <a:gd name="connsiteX59" fmla="*/ 11919572 w 16682562"/>
                <a:gd name="connsiteY59" fmla="*/ 5692305 h 13724551"/>
                <a:gd name="connsiteX60" fmla="*/ 12868275 w 16682562"/>
                <a:gd name="connsiteY60" fmla="*/ 5447094 h 13724551"/>
                <a:gd name="connsiteX61" fmla="*/ 13844296 w 16682562"/>
                <a:gd name="connsiteY61" fmla="*/ 4845259 h 13724551"/>
                <a:gd name="connsiteX62" fmla="*/ 13886291 w 16682562"/>
                <a:gd name="connsiteY62" fmla="*/ 4010891 h 13724551"/>
                <a:gd name="connsiteX63" fmla="*/ 14370431 w 16682562"/>
                <a:gd name="connsiteY63" fmla="*/ 4519243 h 13724551"/>
                <a:gd name="connsiteX64" fmla="*/ 15323320 w 16682562"/>
                <a:gd name="connsiteY64" fmla="*/ 4617516 h 13724551"/>
                <a:gd name="connsiteX65" fmla="*/ 16350939 w 16682562"/>
                <a:gd name="connsiteY65" fmla="*/ 4742375 h 13724551"/>
                <a:gd name="connsiteX66" fmla="*/ 16362364 w 16682562"/>
                <a:gd name="connsiteY66" fmla="*/ 5049655 h 13724551"/>
                <a:gd name="connsiteX67" fmla="*/ 16682563 w 16682562"/>
                <a:gd name="connsiteY67"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13671776 w 16682562"/>
                <a:gd name="connsiteY53" fmla="*/ 1844415 h 13724551"/>
                <a:gd name="connsiteX54" fmla="*/ 14123886 w 16682562"/>
                <a:gd name="connsiteY54" fmla="*/ 1546062 h 13724551"/>
                <a:gd name="connsiteX55" fmla="*/ 9761321 w 16682562"/>
                <a:gd name="connsiteY55" fmla="*/ 4249039 h 13724551"/>
                <a:gd name="connsiteX56" fmla="*/ 10152517 w 16682562"/>
                <a:gd name="connsiteY56" fmla="*/ 5047309 h 13724551"/>
                <a:gd name="connsiteX57" fmla="*/ 11109603 w 16682562"/>
                <a:gd name="connsiteY57" fmla="*/ 5418783 h 13724551"/>
                <a:gd name="connsiteX58" fmla="*/ 11919572 w 16682562"/>
                <a:gd name="connsiteY58" fmla="*/ 5692305 h 13724551"/>
                <a:gd name="connsiteX59" fmla="*/ 12868275 w 16682562"/>
                <a:gd name="connsiteY59" fmla="*/ 5447094 h 13724551"/>
                <a:gd name="connsiteX60" fmla="*/ 13844296 w 16682562"/>
                <a:gd name="connsiteY60" fmla="*/ 4845259 h 13724551"/>
                <a:gd name="connsiteX61" fmla="*/ 13886291 w 16682562"/>
                <a:gd name="connsiteY61" fmla="*/ 4010891 h 13724551"/>
                <a:gd name="connsiteX62" fmla="*/ 14370431 w 16682562"/>
                <a:gd name="connsiteY62" fmla="*/ 4519243 h 13724551"/>
                <a:gd name="connsiteX63" fmla="*/ 15323320 w 16682562"/>
                <a:gd name="connsiteY63" fmla="*/ 4617516 h 13724551"/>
                <a:gd name="connsiteX64" fmla="*/ 16350939 w 16682562"/>
                <a:gd name="connsiteY64" fmla="*/ 4742375 h 13724551"/>
                <a:gd name="connsiteX65" fmla="*/ 16362364 w 16682562"/>
                <a:gd name="connsiteY65" fmla="*/ 5049655 h 13724551"/>
                <a:gd name="connsiteX66" fmla="*/ 16682563 w 16682562"/>
                <a:gd name="connsiteY66"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13671776 w 16682562"/>
                <a:gd name="connsiteY53" fmla="*/ 1844415 h 13724551"/>
                <a:gd name="connsiteX54" fmla="*/ 9761321 w 16682562"/>
                <a:gd name="connsiteY54" fmla="*/ 4249039 h 13724551"/>
                <a:gd name="connsiteX55" fmla="*/ 10152517 w 16682562"/>
                <a:gd name="connsiteY55" fmla="*/ 5047309 h 13724551"/>
                <a:gd name="connsiteX56" fmla="*/ 11109603 w 16682562"/>
                <a:gd name="connsiteY56" fmla="*/ 5418783 h 13724551"/>
                <a:gd name="connsiteX57" fmla="*/ 11919572 w 16682562"/>
                <a:gd name="connsiteY57" fmla="*/ 5692305 h 13724551"/>
                <a:gd name="connsiteX58" fmla="*/ 12868275 w 16682562"/>
                <a:gd name="connsiteY58" fmla="*/ 5447094 h 13724551"/>
                <a:gd name="connsiteX59" fmla="*/ 13844296 w 16682562"/>
                <a:gd name="connsiteY59" fmla="*/ 4845259 h 13724551"/>
                <a:gd name="connsiteX60" fmla="*/ 13886291 w 16682562"/>
                <a:gd name="connsiteY60" fmla="*/ 4010891 h 13724551"/>
                <a:gd name="connsiteX61" fmla="*/ 14370431 w 16682562"/>
                <a:gd name="connsiteY61" fmla="*/ 4519243 h 13724551"/>
                <a:gd name="connsiteX62" fmla="*/ 15323320 w 16682562"/>
                <a:gd name="connsiteY62" fmla="*/ 4617516 h 13724551"/>
                <a:gd name="connsiteX63" fmla="*/ 16350939 w 16682562"/>
                <a:gd name="connsiteY63" fmla="*/ 4742375 h 13724551"/>
                <a:gd name="connsiteX64" fmla="*/ 16362364 w 16682562"/>
                <a:gd name="connsiteY64" fmla="*/ 5049655 h 13724551"/>
                <a:gd name="connsiteX65" fmla="*/ 16682563 w 16682562"/>
                <a:gd name="connsiteY65"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9761321 w 16682562"/>
                <a:gd name="connsiteY53" fmla="*/ 4249039 h 13724551"/>
                <a:gd name="connsiteX54" fmla="*/ 10152517 w 16682562"/>
                <a:gd name="connsiteY54" fmla="*/ 5047309 h 13724551"/>
                <a:gd name="connsiteX55" fmla="*/ 11109603 w 16682562"/>
                <a:gd name="connsiteY55" fmla="*/ 5418783 h 13724551"/>
                <a:gd name="connsiteX56" fmla="*/ 11919572 w 16682562"/>
                <a:gd name="connsiteY56" fmla="*/ 5692305 h 13724551"/>
                <a:gd name="connsiteX57" fmla="*/ 12868275 w 16682562"/>
                <a:gd name="connsiteY57" fmla="*/ 5447094 h 13724551"/>
                <a:gd name="connsiteX58" fmla="*/ 13844296 w 16682562"/>
                <a:gd name="connsiteY58" fmla="*/ 4845259 h 13724551"/>
                <a:gd name="connsiteX59" fmla="*/ 13886291 w 16682562"/>
                <a:gd name="connsiteY59" fmla="*/ 4010891 h 13724551"/>
                <a:gd name="connsiteX60" fmla="*/ 14370431 w 16682562"/>
                <a:gd name="connsiteY60" fmla="*/ 4519243 h 13724551"/>
                <a:gd name="connsiteX61" fmla="*/ 15323320 w 16682562"/>
                <a:gd name="connsiteY61" fmla="*/ 4617516 h 13724551"/>
                <a:gd name="connsiteX62" fmla="*/ 16350939 w 16682562"/>
                <a:gd name="connsiteY62" fmla="*/ 4742375 h 13724551"/>
                <a:gd name="connsiteX63" fmla="*/ 16362364 w 16682562"/>
                <a:gd name="connsiteY63" fmla="*/ 5049655 h 13724551"/>
                <a:gd name="connsiteX64" fmla="*/ 16682563 w 16682562"/>
                <a:gd name="connsiteY64"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8216041 w 16682562"/>
                <a:gd name="connsiteY51" fmla="*/ 3870010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8524896 w 16682562"/>
                <a:gd name="connsiteY51" fmla="*/ 4654291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8348814 w 16682562"/>
                <a:gd name="connsiteY50" fmla="*/ 3770198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9078849 w 16682562"/>
                <a:gd name="connsiteY50" fmla="*/ 3798207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8463027 w 16682562"/>
                <a:gd name="connsiteY49" fmla="*/ 3408723 h 13724551"/>
                <a:gd name="connsiteX50" fmla="*/ 9078849 w 16682562"/>
                <a:gd name="connsiteY50" fmla="*/ 3798207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8856118 w 16682562"/>
                <a:gd name="connsiteY49" fmla="*/ 3184643 h 13724551"/>
                <a:gd name="connsiteX50" fmla="*/ 9078849 w 16682562"/>
                <a:gd name="connsiteY50" fmla="*/ 3798207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8856118 w 16682562"/>
                <a:gd name="connsiteY48" fmla="*/ 3184643 h 13724551"/>
                <a:gd name="connsiteX49" fmla="*/ 9078849 w 16682562"/>
                <a:gd name="connsiteY49" fmla="*/ 3798207 h 13724551"/>
                <a:gd name="connsiteX50" fmla="*/ 9086459 w 16682562"/>
                <a:gd name="connsiteY50" fmla="*/ 4346185 h 13724551"/>
                <a:gd name="connsiteX51" fmla="*/ 9761321 w 16682562"/>
                <a:gd name="connsiteY51" fmla="*/ 4249039 h 13724551"/>
                <a:gd name="connsiteX52" fmla="*/ 10152517 w 16682562"/>
                <a:gd name="connsiteY52" fmla="*/ 5047309 h 13724551"/>
                <a:gd name="connsiteX53" fmla="*/ 11109603 w 16682562"/>
                <a:gd name="connsiteY53" fmla="*/ 5418783 h 13724551"/>
                <a:gd name="connsiteX54" fmla="*/ 11919572 w 16682562"/>
                <a:gd name="connsiteY54" fmla="*/ 5692305 h 13724551"/>
                <a:gd name="connsiteX55" fmla="*/ 12868275 w 16682562"/>
                <a:gd name="connsiteY55" fmla="*/ 5447094 h 13724551"/>
                <a:gd name="connsiteX56" fmla="*/ 13844296 w 16682562"/>
                <a:gd name="connsiteY56" fmla="*/ 4845259 h 13724551"/>
                <a:gd name="connsiteX57" fmla="*/ 13886291 w 16682562"/>
                <a:gd name="connsiteY57" fmla="*/ 4010891 h 13724551"/>
                <a:gd name="connsiteX58" fmla="*/ 14370431 w 16682562"/>
                <a:gd name="connsiteY58" fmla="*/ 4519243 h 13724551"/>
                <a:gd name="connsiteX59" fmla="*/ 15323320 w 16682562"/>
                <a:gd name="connsiteY59" fmla="*/ 4617516 h 13724551"/>
                <a:gd name="connsiteX60" fmla="*/ 16350939 w 16682562"/>
                <a:gd name="connsiteY60" fmla="*/ 4742375 h 13724551"/>
                <a:gd name="connsiteX61" fmla="*/ 16362364 w 16682562"/>
                <a:gd name="connsiteY61" fmla="*/ 5049655 h 13724551"/>
                <a:gd name="connsiteX62" fmla="*/ 16682563 w 16682562"/>
                <a:gd name="connsiteY62" fmla="*/ 5487558 h 13724551"/>
                <a:gd name="connsiteX0" fmla="*/ 16682563 w 16682562"/>
                <a:gd name="connsiteY0" fmla="*/ 5415225 h 13652218"/>
                <a:gd name="connsiteX1" fmla="*/ 16432262 w 16682562"/>
                <a:gd name="connsiteY1" fmla="*/ 6442611 h 13652218"/>
                <a:gd name="connsiteX2" fmla="*/ 16106317 w 16682562"/>
                <a:gd name="connsiteY2" fmla="*/ 6983915 h 13652218"/>
                <a:gd name="connsiteX3" fmla="*/ 16305649 w 16682562"/>
                <a:gd name="connsiteY3" fmla="*/ 7371244 h 13652218"/>
                <a:gd name="connsiteX4" fmla="*/ 16287189 w 16682562"/>
                <a:gd name="connsiteY4" fmla="*/ 7767851 h 13652218"/>
                <a:gd name="connsiteX5" fmla="*/ 16372801 w 16682562"/>
                <a:gd name="connsiteY5" fmla="*/ 8334116 h 13652218"/>
                <a:gd name="connsiteX6" fmla="*/ 16070155 w 16682562"/>
                <a:gd name="connsiteY6" fmla="*/ 8554502 h 13652218"/>
                <a:gd name="connsiteX7" fmla="*/ 15805690 w 16682562"/>
                <a:gd name="connsiteY7" fmla="*/ 9048693 h 13652218"/>
                <a:gd name="connsiteX8" fmla="*/ 15195097 w 16682562"/>
                <a:gd name="connsiteY8" fmla="*/ 8710436 h 13652218"/>
                <a:gd name="connsiteX9" fmla="*/ 15011380 w 16682562"/>
                <a:gd name="connsiteY9" fmla="*/ 9665286 h 13652218"/>
                <a:gd name="connsiteX10" fmla="*/ 14908430 w 16682562"/>
                <a:gd name="connsiteY10" fmla="*/ 10554181 h 13652218"/>
                <a:gd name="connsiteX11" fmla="*/ 14904684 w 16682562"/>
                <a:gd name="connsiteY11" fmla="*/ 11377620 h 13652218"/>
                <a:gd name="connsiteX12" fmla="*/ 14929927 w 16682562"/>
                <a:gd name="connsiteY12" fmla="*/ 13008540 h 13652218"/>
                <a:gd name="connsiteX13" fmla="*/ 12952786 w 16682562"/>
                <a:gd name="connsiteY13" fmla="*/ 13459293 h 13652218"/>
                <a:gd name="connsiteX14" fmla="*/ 11934663 w 16682562"/>
                <a:gd name="connsiteY14" fmla="*/ 13507543 h 13652218"/>
                <a:gd name="connsiteX15" fmla="*/ 8506848 w 16682562"/>
                <a:gd name="connsiteY15" fmla="*/ 13652218 h 13652218"/>
                <a:gd name="connsiteX16" fmla="*/ 7985095 w 16682562"/>
                <a:gd name="connsiteY16" fmla="*/ 13007136 h 13652218"/>
                <a:gd name="connsiteX17" fmla="*/ 7400308 w 16682562"/>
                <a:gd name="connsiteY17" fmla="*/ 12976991 h 13652218"/>
                <a:gd name="connsiteX18" fmla="*/ 6972273 w 16682562"/>
                <a:gd name="connsiteY18" fmla="*/ 13248288 h 13652218"/>
                <a:gd name="connsiteX19" fmla="*/ 5181729 w 16682562"/>
                <a:gd name="connsiteY19" fmla="*/ 13163889 h 13652218"/>
                <a:gd name="connsiteX20" fmla="*/ 4397998 w 16682562"/>
                <a:gd name="connsiteY20" fmla="*/ 12530872 h 13652218"/>
                <a:gd name="connsiteX21" fmla="*/ 2908896 w 16682562"/>
                <a:gd name="connsiteY21" fmla="*/ 11723018 h 13652218"/>
                <a:gd name="connsiteX22" fmla="*/ 1263043 w 16682562"/>
                <a:gd name="connsiteY22" fmla="*/ 11011625 h 13652218"/>
                <a:gd name="connsiteX23" fmla="*/ 485320 w 16682562"/>
                <a:gd name="connsiteY23" fmla="*/ 10559468 h 13652218"/>
                <a:gd name="connsiteX24" fmla="*/ 0 w 16682562"/>
                <a:gd name="connsiteY24" fmla="*/ 10266356 h 13652218"/>
                <a:gd name="connsiteX25" fmla="*/ 1003686 w 16682562"/>
                <a:gd name="connsiteY25" fmla="*/ 9520391 h 13652218"/>
                <a:gd name="connsiteX26" fmla="*/ 2902551 w 16682562"/>
                <a:gd name="connsiteY26" fmla="*/ 8335992 h 13652218"/>
                <a:gd name="connsiteX27" fmla="*/ 2558940 w 16682562"/>
                <a:gd name="connsiteY27" fmla="*/ 7802561 h 13652218"/>
                <a:gd name="connsiteX28" fmla="*/ 2402508 w 16682562"/>
                <a:gd name="connsiteY28" fmla="*/ 7115478 h 13652218"/>
                <a:gd name="connsiteX29" fmla="*/ 2730740 w 16682562"/>
                <a:gd name="connsiteY29" fmla="*/ 7088307 h 13652218"/>
                <a:gd name="connsiteX30" fmla="*/ 2947754 w 16682562"/>
                <a:gd name="connsiteY30" fmla="*/ 6618162 h 13652218"/>
                <a:gd name="connsiteX31" fmla="*/ 3499325 w 16682562"/>
                <a:gd name="connsiteY31" fmla="*/ 6175145 h 13652218"/>
                <a:gd name="connsiteX32" fmla="*/ 3680166 w 16682562"/>
                <a:gd name="connsiteY32" fmla="*/ 5298147 h 13652218"/>
                <a:gd name="connsiteX33" fmla="*/ 4186528 w 16682562"/>
                <a:gd name="connsiteY33" fmla="*/ 5307183 h 13652218"/>
                <a:gd name="connsiteX34" fmla="*/ 4837569 w 16682562"/>
                <a:gd name="connsiteY34" fmla="*/ 5777333 h 13652218"/>
                <a:gd name="connsiteX35" fmla="*/ 5352976 w 16682562"/>
                <a:gd name="connsiteY35" fmla="*/ 5695966 h 13652218"/>
                <a:gd name="connsiteX36" fmla="*/ 5741786 w 16682562"/>
                <a:gd name="connsiteY36" fmla="*/ 5325271 h 13652218"/>
                <a:gd name="connsiteX37" fmla="*/ 6157723 w 16682562"/>
                <a:gd name="connsiteY37" fmla="*/ 5162530 h 13652218"/>
                <a:gd name="connsiteX38" fmla="*/ 6745471 w 16682562"/>
                <a:gd name="connsiteY38" fmla="*/ 4592937 h 13652218"/>
                <a:gd name="connsiteX39" fmla="*/ 6890140 w 16682562"/>
                <a:gd name="connsiteY39" fmla="*/ 3743061 h 13652218"/>
                <a:gd name="connsiteX40" fmla="*/ 7568305 w 16682562"/>
                <a:gd name="connsiteY40" fmla="*/ 3173467 h 13652218"/>
                <a:gd name="connsiteX41" fmla="*/ 8137967 w 16682562"/>
                <a:gd name="connsiteY41" fmla="*/ 2730446 h 13652218"/>
                <a:gd name="connsiteX42" fmla="*/ 8463480 w 16682562"/>
                <a:gd name="connsiteY42" fmla="*/ 1925779 h 13652218"/>
                <a:gd name="connsiteX43" fmla="*/ 9024093 w 16682562"/>
                <a:gd name="connsiteY43" fmla="*/ 1573172 h 13652218"/>
                <a:gd name="connsiteX44" fmla="*/ 9675138 w 16682562"/>
                <a:gd name="connsiteY44" fmla="*/ 1220570 h 13652218"/>
                <a:gd name="connsiteX45" fmla="*/ 9558580 w 16682562"/>
                <a:gd name="connsiteY45" fmla="*/ 672286 h 13652218"/>
                <a:gd name="connsiteX46" fmla="*/ 10353296 w 16682562"/>
                <a:gd name="connsiteY46" fmla="*/ 2 h 13652218"/>
                <a:gd name="connsiteX47" fmla="*/ 8856118 w 16682562"/>
                <a:gd name="connsiteY47" fmla="*/ 3112310 h 13652218"/>
                <a:gd name="connsiteX48" fmla="*/ 9078849 w 16682562"/>
                <a:gd name="connsiteY48" fmla="*/ 3725874 h 13652218"/>
                <a:gd name="connsiteX49" fmla="*/ 9086459 w 16682562"/>
                <a:gd name="connsiteY49" fmla="*/ 4273852 h 13652218"/>
                <a:gd name="connsiteX50" fmla="*/ 9761321 w 16682562"/>
                <a:gd name="connsiteY50" fmla="*/ 4176706 h 13652218"/>
                <a:gd name="connsiteX51" fmla="*/ 10152517 w 16682562"/>
                <a:gd name="connsiteY51" fmla="*/ 4974976 h 13652218"/>
                <a:gd name="connsiteX52" fmla="*/ 11109603 w 16682562"/>
                <a:gd name="connsiteY52" fmla="*/ 5346450 h 13652218"/>
                <a:gd name="connsiteX53" fmla="*/ 11919572 w 16682562"/>
                <a:gd name="connsiteY53" fmla="*/ 5619972 h 13652218"/>
                <a:gd name="connsiteX54" fmla="*/ 12868275 w 16682562"/>
                <a:gd name="connsiteY54" fmla="*/ 5374761 h 13652218"/>
                <a:gd name="connsiteX55" fmla="*/ 13844296 w 16682562"/>
                <a:gd name="connsiteY55" fmla="*/ 4772926 h 13652218"/>
                <a:gd name="connsiteX56" fmla="*/ 13886291 w 16682562"/>
                <a:gd name="connsiteY56" fmla="*/ 3938558 h 13652218"/>
                <a:gd name="connsiteX57" fmla="*/ 14370431 w 16682562"/>
                <a:gd name="connsiteY57" fmla="*/ 4446910 h 13652218"/>
                <a:gd name="connsiteX58" fmla="*/ 15323320 w 16682562"/>
                <a:gd name="connsiteY58" fmla="*/ 4545183 h 13652218"/>
                <a:gd name="connsiteX59" fmla="*/ 16350939 w 16682562"/>
                <a:gd name="connsiteY59" fmla="*/ 4670042 h 13652218"/>
                <a:gd name="connsiteX60" fmla="*/ 16362364 w 16682562"/>
                <a:gd name="connsiteY60" fmla="*/ 4977322 h 13652218"/>
                <a:gd name="connsiteX61" fmla="*/ 16682563 w 16682562"/>
                <a:gd name="connsiteY61" fmla="*/ 5415225 h 13652218"/>
                <a:gd name="connsiteX0" fmla="*/ 16682563 w 16682562"/>
                <a:gd name="connsiteY0" fmla="*/ 4742941 h 12979934"/>
                <a:gd name="connsiteX1" fmla="*/ 16432262 w 16682562"/>
                <a:gd name="connsiteY1" fmla="*/ 5770327 h 12979934"/>
                <a:gd name="connsiteX2" fmla="*/ 16106317 w 16682562"/>
                <a:gd name="connsiteY2" fmla="*/ 6311631 h 12979934"/>
                <a:gd name="connsiteX3" fmla="*/ 16305649 w 16682562"/>
                <a:gd name="connsiteY3" fmla="*/ 6698960 h 12979934"/>
                <a:gd name="connsiteX4" fmla="*/ 16287189 w 16682562"/>
                <a:gd name="connsiteY4" fmla="*/ 7095567 h 12979934"/>
                <a:gd name="connsiteX5" fmla="*/ 16372801 w 16682562"/>
                <a:gd name="connsiteY5" fmla="*/ 7661832 h 12979934"/>
                <a:gd name="connsiteX6" fmla="*/ 16070155 w 16682562"/>
                <a:gd name="connsiteY6" fmla="*/ 7882218 h 12979934"/>
                <a:gd name="connsiteX7" fmla="*/ 15805690 w 16682562"/>
                <a:gd name="connsiteY7" fmla="*/ 8376409 h 12979934"/>
                <a:gd name="connsiteX8" fmla="*/ 15195097 w 16682562"/>
                <a:gd name="connsiteY8" fmla="*/ 8038152 h 12979934"/>
                <a:gd name="connsiteX9" fmla="*/ 15011380 w 16682562"/>
                <a:gd name="connsiteY9" fmla="*/ 8993002 h 12979934"/>
                <a:gd name="connsiteX10" fmla="*/ 14908430 w 16682562"/>
                <a:gd name="connsiteY10" fmla="*/ 9881897 h 12979934"/>
                <a:gd name="connsiteX11" fmla="*/ 14904684 w 16682562"/>
                <a:gd name="connsiteY11" fmla="*/ 10705336 h 12979934"/>
                <a:gd name="connsiteX12" fmla="*/ 14929927 w 16682562"/>
                <a:gd name="connsiteY12" fmla="*/ 12336256 h 12979934"/>
                <a:gd name="connsiteX13" fmla="*/ 12952786 w 16682562"/>
                <a:gd name="connsiteY13" fmla="*/ 12787009 h 12979934"/>
                <a:gd name="connsiteX14" fmla="*/ 11934663 w 16682562"/>
                <a:gd name="connsiteY14" fmla="*/ 12835259 h 12979934"/>
                <a:gd name="connsiteX15" fmla="*/ 8506848 w 16682562"/>
                <a:gd name="connsiteY15" fmla="*/ 12979934 h 12979934"/>
                <a:gd name="connsiteX16" fmla="*/ 7985095 w 16682562"/>
                <a:gd name="connsiteY16" fmla="*/ 12334852 h 12979934"/>
                <a:gd name="connsiteX17" fmla="*/ 7400308 w 16682562"/>
                <a:gd name="connsiteY17" fmla="*/ 12304707 h 12979934"/>
                <a:gd name="connsiteX18" fmla="*/ 6972273 w 16682562"/>
                <a:gd name="connsiteY18" fmla="*/ 12576004 h 12979934"/>
                <a:gd name="connsiteX19" fmla="*/ 5181729 w 16682562"/>
                <a:gd name="connsiteY19" fmla="*/ 12491605 h 12979934"/>
                <a:gd name="connsiteX20" fmla="*/ 4397998 w 16682562"/>
                <a:gd name="connsiteY20" fmla="*/ 11858588 h 12979934"/>
                <a:gd name="connsiteX21" fmla="*/ 2908896 w 16682562"/>
                <a:gd name="connsiteY21" fmla="*/ 11050734 h 12979934"/>
                <a:gd name="connsiteX22" fmla="*/ 1263043 w 16682562"/>
                <a:gd name="connsiteY22" fmla="*/ 10339341 h 12979934"/>
                <a:gd name="connsiteX23" fmla="*/ 485320 w 16682562"/>
                <a:gd name="connsiteY23" fmla="*/ 9887184 h 12979934"/>
                <a:gd name="connsiteX24" fmla="*/ 0 w 16682562"/>
                <a:gd name="connsiteY24" fmla="*/ 9594072 h 12979934"/>
                <a:gd name="connsiteX25" fmla="*/ 1003686 w 16682562"/>
                <a:gd name="connsiteY25" fmla="*/ 8848107 h 12979934"/>
                <a:gd name="connsiteX26" fmla="*/ 2902551 w 16682562"/>
                <a:gd name="connsiteY26" fmla="*/ 7663708 h 12979934"/>
                <a:gd name="connsiteX27" fmla="*/ 2558940 w 16682562"/>
                <a:gd name="connsiteY27" fmla="*/ 7130277 h 12979934"/>
                <a:gd name="connsiteX28" fmla="*/ 2402508 w 16682562"/>
                <a:gd name="connsiteY28" fmla="*/ 6443194 h 12979934"/>
                <a:gd name="connsiteX29" fmla="*/ 2730740 w 16682562"/>
                <a:gd name="connsiteY29" fmla="*/ 6416023 h 12979934"/>
                <a:gd name="connsiteX30" fmla="*/ 2947754 w 16682562"/>
                <a:gd name="connsiteY30" fmla="*/ 5945878 h 12979934"/>
                <a:gd name="connsiteX31" fmla="*/ 3499325 w 16682562"/>
                <a:gd name="connsiteY31" fmla="*/ 5502861 h 12979934"/>
                <a:gd name="connsiteX32" fmla="*/ 3680166 w 16682562"/>
                <a:gd name="connsiteY32" fmla="*/ 4625863 h 12979934"/>
                <a:gd name="connsiteX33" fmla="*/ 4186528 w 16682562"/>
                <a:gd name="connsiteY33" fmla="*/ 4634899 h 12979934"/>
                <a:gd name="connsiteX34" fmla="*/ 4837569 w 16682562"/>
                <a:gd name="connsiteY34" fmla="*/ 5105049 h 12979934"/>
                <a:gd name="connsiteX35" fmla="*/ 5352976 w 16682562"/>
                <a:gd name="connsiteY35" fmla="*/ 5023682 h 12979934"/>
                <a:gd name="connsiteX36" fmla="*/ 5741786 w 16682562"/>
                <a:gd name="connsiteY36" fmla="*/ 4652987 h 12979934"/>
                <a:gd name="connsiteX37" fmla="*/ 6157723 w 16682562"/>
                <a:gd name="connsiteY37" fmla="*/ 4490246 h 12979934"/>
                <a:gd name="connsiteX38" fmla="*/ 6745471 w 16682562"/>
                <a:gd name="connsiteY38" fmla="*/ 3920653 h 12979934"/>
                <a:gd name="connsiteX39" fmla="*/ 6890140 w 16682562"/>
                <a:gd name="connsiteY39" fmla="*/ 3070777 h 12979934"/>
                <a:gd name="connsiteX40" fmla="*/ 7568305 w 16682562"/>
                <a:gd name="connsiteY40" fmla="*/ 2501183 h 12979934"/>
                <a:gd name="connsiteX41" fmla="*/ 8137967 w 16682562"/>
                <a:gd name="connsiteY41" fmla="*/ 2058162 h 12979934"/>
                <a:gd name="connsiteX42" fmla="*/ 8463480 w 16682562"/>
                <a:gd name="connsiteY42" fmla="*/ 1253495 h 12979934"/>
                <a:gd name="connsiteX43" fmla="*/ 9024093 w 16682562"/>
                <a:gd name="connsiteY43" fmla="*/ 900888 h 12979934"/>
                <a:gd name="connsiteX44" fmla="*/ 9675138 w 16682562"/>
                <a:gd name="connsiteY44" fmla="*/ 548286 h 12979934"/>
                <a:gd name="connsiteX45" fmla="*/ 9558580 w 16682562"/>
                <a:gd name="connsiteY45" fmla="*/ 2 h 12979934"/>
                <a:gd name="connsiteX46" fmla="*/ 8856118 w 16682562"/>
                <a:gd name="connsiteY46" fmla="*/ 2440026 h 12979934"/>
                <a:gd name="connsiteX47" fmla="*/ 9078849 w 16682562"/>
                <a:gd name="connsiteY47" fmla="*/ 3053590 h 12979934"/>
                <a:gd name="connsiteX48" fmla="*/ 9086459 w 16682562"/>
                <a:gd name="connsiteY48" fmla="*/ 3601568 h 12979934"/>
                <a:gd name="connsiteX49" fmla="*/ 9761321 w 16682562"/>
                <a:gd name="connsiteY49" fmla="*/ 3504422 h 12979934"/>
                <a:gd name="connsiteX50" fmla="*/ 10152517 w 16682562"/>
                <a:gd name="connsiteY50" fmla="*/ 4302692 h 12979934"/>
                <a:gd name="connsiteX51" fmla="*/ 11109603 w 16682562"/>
                <a:gd name="connsiteY51" fmla="*/ 4674166 h 12979934"/>
                <a:gd name="connsiteX52" fmla="*/ 11919572 w 16682562"/>
                <a:gd name="connsiteY52" fmla="*/ 4947688 h 12979934"/>
                <a:gd name="connsiteX53" fmla="*/ 12868275 w 16682562"/>
                <a:gd name="connsiteY53" fmla="*/ 4702477 h 12979934"/>
                <a:gd name="connsiteX54" fmla="*/ 13844296 w 16682562"/>
                <a:gd name="connsiteY54" fmla="*/ 4100642 h 12979934"/>
                <a:gd name="connsiteX55" fmla="*/ 13886291 w 16682562"/>
                <a:gd name="connsiteY55" fmla="*/ 3266274 h 12979934"/>
                <a:gd name="connsiteX56" fmla="*/ 14370431 w 16682562"/>
                <a:gd name="connsiteY56" fmla="*/ 3774626 h 12979934"/>
                <a:gd name="connsiteX57" fmla="*/ 15323320 w 16682562"/>
                <a:gd name="connsiteY57" fmla="*/ 3872899 h 12979934"/>
                <a:gd name="connsiteX58" fmla="*/ 16350939 w 16682562"/>
                <a:gd name="connsiteY58" fmla="*/ 3997758 h 12979934"/>
                <a:gd name="connsiteX59" fmla="*/ 16362364 w 16682562"/>
                <a:gd name="connsiteY59" fmla="*/ 4305038 h 12979934"/>
                <a:gd name="connsiteX60" fmla="*/ 16682563 w 16682562"/>
                <a:gd name="connsiteY60" fmla="*/ 4742941 h 12979934"/>
                <a:gd name="connsiteX0" fmla="*/ 16682563 w 16682562"/>
                <a:gd name="connsiteY0" fmla="*/ 4194654 h 12431647"/>
                <a:gd name="connsiteX1" fmla="*/ 16432262 w 16682562"/>
                <a:gd name="connsiteY1" fmla="*/ 5222040 h 12431647"/>
                <a:gd name="connsiteX2" fmla="*/ 16106317 w 16682562"/>
                <a:gd name="connsiteY2" fmla="*/ 5763344 h 12431647"/>
                <a:gd name="connsiteX3" fmla="*/ 16305649 w 16682562"/>
                <a:gd name="connsiteY3" fmla="*/ 6150673 h 12431647"/>
                <a:gd name="connsiteX4" fmla="*/ 16287189 w 16682562"/>
                <a:gd name="connsiteY4" fmla="*/ 6547280 h 12431647"/>
                <a:gd name="connsiteX5" fmla="*/ 16372801 w 16682562"/>
                <a:gd name="connsiteY5" fmla="*/ 7113545 h 12431647"/>
                <a:gd name="connsiteX6" fmla="*/ 16070155 w 16682562"/>
                <a:gd name="connsiteY6" fmla="*/ 7333931 h 12431647"/>
                <a:gd name="connsiteX7" fmla="*/ 15805690 w 16682562"/>
                <a:gd name="connsiteY7" fmla="*/ 7828122 h 12431647"/>
                <a:gd name="connsiteX8" fmla="*/ 15195097 w 16682562"/>
                <a:gd name="connsiteY8" fmla="*/ 7489865 h 12431647"/>
                <a:gd name="connsiteX9" fmla="*/ 15011380 w 16682562"/>
                <a:gd name="connsiteY9" fmla="*/ 8444715 h 12431647"/>
                <a:gd name="connsiteX10" fmla="*/ 14908430 w 16682562"/>
                <a:gd name="connsiteY10" fmla="*/ 9333610 h 12431647"/>
                <a:gd name="connsiteX11" fmla="*/ 14904684 w 16682562"/>
                <a:gd name="connsiteY11" fmla="*/ 10157049 h 12431647"/>
                <a:gd name="connsiteX12" fmla="*/ 14929927 w 16682562"/>
                <a:gd name="connsiteY12" fmla="*/ 11787969 h 12431647"/>
                <a:gd name="connsiteX13" fmla="*/ 12952786 w 16682562"/>
                <a:gd name="connsiteY13" fmla="*/ 12238722 h 12431647"/>
                <a:gd name="connsiteX14" fmla="*/ 11934663 w 16682562"/>
                <a:gd name="connsiteY14" fmla="*/ 12286972 h 12431647"/>
                <a:gd name="connsiteX15" fmla="*/ 8506848 w 16682562"/>
                <a:gd name="connsiteY15" fmla="*/ 12431647 h 12431647"/>
                <a:gd name="connsiteX16" fmla="*/ 7985095 w 16682562"/>
                <a:gd name="connsiteY16" fmla="*/ 11786565 h 12431647"/>
                <a:gd name="connsiteX17" fmla="*/ 7400308 w 16682562"/>
                <a:gd name="connsiteY17" fmla="*/ 11756420 h 12431647"/>
                <a:gd name="connsiteX18" fmla="*/ 6972273 w 16682562"/>
                <a:gd name="connsiteY18" fmla="*/ 12027717 h 12431647"/>
                <a:gd name="connsiteX19" fmla="*/ 5181729 w 16682562"/>
                <a:gd name="connsiteY19" fmla="*/ 11943318 h 12431647"/>
                <a:gd name="connsiteX20" fmla="*/ 4397998 w 16682562"/>
                <a:gd name="connsiteY20" fmla="*/ 11310301 h 12431647"/>
                <a:gd name="connsiteX21" fmla="*/ 2908896 w 16682562"/>
                <a:gd name="connsiteY21" fmla="*/ 10502447 h 12431647"/>
                <a:gd name="connsiteX22" fmla="*/ 1263043 w 16682562"/>
                <a:gd name="connsiteY22" fmla="*/ 9791054 h 12431647"/>
                <a:gd name="connsiteX23" fmla="*/ 485320 w 16682562"/>
                <a:gd name="connsiteY23" fmla="*/ 9338897 h 12431647"/>
                <a:gd name="connsiteX24" fmla="*/ 0 w 16682562"/>
                <a:gd name="connsiteY24" fmla="*/ 9045785 h 12431647"/>
                <a:gd name="connsiteX25" fmla="*/ 1003686 w 16682562"/>
                <a:gd name="connsiteY25" fmla="*/ 8299820 h 12431647"/>
                <a:gd name="connsiteX26" fmla="*/ 2902551 w 16682562"/>
                <a:gd name="connsiteY26" fmla="*/ 7115421 h 12431647"/>
                <a:gd name="connsiteX27" fmla="*/ 2558940 w 16682562"/>
                <a:gd name="connsiteY27" fmla="*/ 6581990 h 12431647"/>
                <a:gd name="connsiteX28" fmla="*/ 2402508 w 16682562"/>
                <a:gd name="connsiteY28" fmla="*/ 5894907 h 12431647"/>
                <a:gd name="connsiteX29" fmla="*/ 2730740 w 16682562"/>
                <a:gd name="connsiteY29" fmla="*/ 5867736 h 12431647"/>
                <a:gd name="connsiteX30" fmla="*/ 2947754 w 16682562"/>
                <a:gd name="connsiteY30" fmla="*/ 5397591 h 12431647"/>
                <a:gd name="connsiteX31" fmla="*/ 3499325 w 16682562"/>
                <a:gd name="connsiteY31" fmla="*/ 4954574 h 12431647"/>
                <a:gd name="connsiteX32" fmla="*/ 3680166 w 16682562"/>
                <a:gd name="connsiteY32" fmla="*/ 4077576 h 12431647"/>
                <a:gd name="connsiteX33" fmla="*/ 4186528 w 16682562"/>
                <a:gd name="connsiteY33" fmla="*/ 4086612 h 12431647"/>
                <a:gd name="connsiteX34" fmla="*/ 4837569 w 16682562"/>
                <a:gd name="connsiteY34" fmla="*/ 4556762 h 12431647"/>
                <a:gd name="connsiteX35" fmla="*/ 5352976 w 16682562"/>
                <a:gd name="connsiteY35" fmla="*/ 4475395 h 12431647"/>
                <a:gd name="connsiteX36" fmla="*/ 5741786 w 16682562"/>
                <a:gd name="connsiteY36" fmla="*/ 4104700 h 12431647"/>
                <a:gd name="connsiteX37" fmla="*/ 6157723 w 16682562"/>
                <a:gd name="connsiteY37" fmla="*/ 3941959 h 12431647"/>
                <a:gd name="connsiteX38" fmla="*/ 6745471 w 16682562"/>
                <a:gd name="connsiteY38" fmla="*/ 3372366 h 12431647"/>
                <a:gd name="connsiteX39" fmla="*/ 6890140 w 16682562"/>
                <a:gd name="connsiteY39" fmla="*/ 2522490 h 12431647"/>
                <a:gd name="connsiteX40" fmla="*/ 7568305 w 16682562"/>
                <a:gd name="connsiteY40" fmla="*/ 1952896 h 12431647"/>
                <a:gd name="connsiteX41" fmla="*/ 8137967 w 16682562"/>
                <a:gd name="connsiteY41" fmla="*/ 1509875 h 12431647"/>
                <a:gd name="connsiteX42" fmla="*/ 8463480 w 16682562"/>
                <a:gd name="connsiteY42" fmla="*/ 705208 h 12431647"/>
                <a:gd name="connsiteX43" fmla="*/ 9024093 w 16682562"/>
                <a:gd name="connsiteY43" fmla="*/ 352601 h 12431647"/>
                <a:gd name="connsiteX44" fmla="*/ 9675138 w 16682562"/>
                <a:gd name="connsiteY44" fmla="*/ -1 h 12431647"/>
                <a:gd name="connsiteX45" fmla="*/ 8856118 w 16682562"/>
                <a:gd name="connsiteY45" fmla="*/ 1891739 h 12431647"/>
                <a:gd name="connsiteX46" fmla="*/ 9078849 w 16682562"/>
                <a:gd name="connsiteY46" fmla="*/ 2505303 h 12431647"/>
                <a:gd name="connsiteX47" fmla="*/ 9086459 w 16682562"/>
                <a:gd name="connsiteY47" fmla="*/ 3053281 h 12431647"/>
                <a:gd name="connsiteX48" fmla="*/ 9761321 w 16682562"/>
                <a:gd name="connsiteY48" fmla="*/ 2956135 h 12431647"/>
                <a:gd name="connsiteX49" fmla="*/ 10152517 w 16682562"/>
                <a:gd name="connsiteY49" fmla="*/ 3754405 h 12431647"/>
                <a:gd name="connsiteX50" fmla="*/ 11109603 w 16682562"/>
                <a:gd name="connsiteY50" fmla="*/ 4125879 h 12431647"/>
                <a:gd name="connsiteX51" fmla="*/ 11919572 w 16682562"/>
                <a:gd name="connsiteY51" fmla="*/ 4399401 h 12431647"/>
                <a:gd name="connsiteX52" fmla="*/ 12868275 w 16682562"/>
                <a:gd name="connsiteY52" fmla="*/ 4154190 h 12431647"/>
                <a:gd name="connsiteX53" fmla="*/ 13844296 w 16682562"/>
                <a:gd name="connsiteY53" fmla="*/ 3552355 h 12431647"/>
                <a:gd name="connsiteX54" fmla="*/ 13886291 w 16682562"/>
                <a:gd name="connsiteY54" fmla="*/ 2717987 h 12431647"/>
                <a:gd name="connsiteX55" fmla="*/ 14370431 w 16682562"/>
                <a:gd name="connsiteY55" fmla="*/ 3226339 h 12431647"/>
                <a:gd name="connsiteX56" fmla="*/ 15323320 w 16682562"/>
                <a:gd name="connsiteY56" fmla="*/ 3324612 h 12431647"/>
                <a:gd name="connsiteX57" fmla="*/ 16350939 w 16682562"/>
                <a:gd name="connsiteY57" fmla="*/ 3449471 h 12431647"/>
                <a:gd name="connsiteX58" fmla="*/ 16362364 w 16682562"/>
                <a:gd name="connsiteY58" fmla="*/ 3756751 h 12431647"/>
                <a:gd name="connsiteX59" fmla="*/ 16682563 w 16682562"/>
                <a:gd name="connsiteY59" fmla="*/ 4194654 h 12431647"/>
                <a:gd name="connsiteX0" fmla="*/ 16682563 w 16682562"/>
                <a:gd name="connsiteY0" fmla="*/ 3842051 h 12079044"/>
                <a:gd name="connsiteX1" fmla="*/ 16432262 w 16682562"/>
                <a:gd name="connsiteY1" fmla="*/ 4869437 h 12079044"/>
                <a:gd name="connsiteX2" fmla="*/ 16106317 w 16682562"/>
                <a:gd name="connsiteY2" fmla="*/ 5410741 h 12079044"/>
                <a:gd name="connsiteX3" fmla="*/ 16305649 w 16682562"/>
                <a:gd name="connsiteY3" fmla="*/ 5798070 h 12079044"/>
                <a:gd name="connsiteX4" fmla="*/ 16287189 w 16682562"/>
                <a:gd name="connsiteY4" fmla="*/ 6194677 h 12079044"/>
                <a:gd name="connsiteX5" fmla="*/ 16372801 w 16682562"/>
                <a:gd name="connsiteY5" fmla="*/ 6760942 h 12079044"/>
                <a:gd name="connsiteX6" fmla="*/ 16070155 w 16682562"/>
                <a:gd name="connsiteY6" fmla="*/ 6981328 h 12079044"/>
                <a:gd name="connsiteX7" fmla="*/ 15805690 w 16682562"/>
                <a:gd name="connsiteY7" fmla="*/ 7475519 h 12079044"/>
                <a:gd name="connsiteX8" fmla="*/ 15195097 w 16682562"/>
                <a:gd name="connsiteY8" fmla="*/ 7137262 h 12079044"/>
                <a:gd name="connsiteX9" fmla="*/ 15011380 w 16682562"/>
                <a:gd name="connsiteY9" fmla="*/ 8092112 h 12079044"/>
                <a:gd name="connsiteX10" fmla="*/ 14908430 w 16682562"/>
                <a:gd name="connsiteY10" fmla="*/ 8981007 h 12079044"/>
                <a:gd name="connsiteX11" fmla="*/ 14904684 w 16682562"/>
                <a:gd name="connsiteY11" fmla="*/ 9804446 h 12079044"/>
                <a:gd name="connsiteX12" fmla="*/ 14929927 w 16682562"/>
                <a:gd name="connsiteY12" fmla="*/ 11435366 h 12079044"/>
                <a:gd name="connsiteX13" fmla="*/ 12952786 w 16682562"/>
                <a:gd name="connsiteY13" fmla="*/ 11886119 h 12079044"/>
                <a:gd name="connsiteX14" fmla="*/ 11934663 w 16682562"/>
                <a:gd name="connsiteY14" fmla="*/ 11934369 h 12079044"/>
                <a:gd name="connsiteX15" fmla="*/ 8506848 w 16682562"/>
                <a:gd name="connsiteY15" fmla="*/ 12079044 h 12079044"/>
                <a:gd name="connsiteX16" fmla="*/ 7985095 w 16682562"/>
                <a:gd name="connsiteY16" fmla="*/ 11433962 h 12079044"/>
                <a:gd name="connsiteX17" fmla="*/ 7400308 w 16682562"/>
                <a:gd name="connsiteY17" fmla="*/ 11403817 h 12079044"/>
                <a:gd name="connsiteX18" fmla="*/ 6972273 w 16682562"/>
                <a:gd name="connsiteY18" fmla="*/ 11675114 h 12079044"/>
                <a:gd name="connsiteX19" fmla="*/ 5181729 w 16682562"/>
                <a:gd name="connsiteY19" fmla="*/ 11590715 h 12079044"/>
                <a:gd name="connsiteX20" fmla="*/ 4397998 w 16682562"/>
                <a:gd name="connsiteY20" fmla="*/ 10957698 h 12079044"/>
                <a:gd name="connsiteX21" fmla="*/ 2908896 w 16682562"/>
                <a:gd name="connsiteY21" fmla="*/ 10149844 h 12079044"/>
                <a:gd name="connsiteX22" fmla="*/ 1263043 w 16682562"/>
                <a:gd name="connsiteY22" fmla="*/ 9438451 h 12079044"/>
                <a:gd name="connsiteX23" fmla="*/ 485320 w 16682562"/>
                <a:gd name="connsiteY23" fmla="*/ 8986294 h 12079044"/>
                <a:gd name="connsiteX24" fmla="*/ 0 w 16682562"/>
                <a:gd name="connsiteY24" fmla="*/ 8693182 h 12079044"/>
                <a:gd name="connsiteX25" fmla="*/ 1003686 w 16682562"/>
                <a:gd name="connsiteY25" fmla="*/ 7947217 h 12079044"/>
                <a:gd name="connsiteX26" fmla="*/ 2902551 w 16682562"/>
                <a:gd name="connsiteY26" fmla="*/ 6762818 h 12079044"/>
                <a:gd name="connsiteX27" fmla="*/ 2558940 w 16682562"/>
                <a:gd name="connsiteY27" fmla="*/ 6229387 h 12079044"/>
                <a:gd name="connsiteX28" fmla="*/ 2402508 w 16682562"/>
                <a:gd name="connsiteY28" fmla="*/ 5542304 h 12079044"/>
                <a:gd name="connsiteX29" fmla="*/ 2730740 w 16682562"/>
                <a:gd name="connsiteY29" fmla="*/ 5515133 h 12079044"/>
                <a:gd name="connsiteX30" fmla="*/ 2947754 w 16682562"/>
                <a:gd name="connsiteY30" fmla="*/ 5044988 h 12079044"/>
                <a:gd name="connsiteX31" fmla="*/ 3499325 w 16682562"/>
                <a:gd name="connsiteY31" fmla="*/ 4601971 h 12079044"/>
                <a:gd name="connsiteX32" fmla="*/ 3680166 w 16682562"/>
                <a:gd name="connsiteY32" fmla="*/ 3724973 h 12079044"/>
                <a:gd name="connsiteX33" fmla="*/ 4186528 w 16682562"/>
                <a:gd name="connsiteY33" fmla="*/ 3734009 h 12079044"/>
                <a:gd name="connsiteX34" fmla="*/ 4837569 w 16682562"/>
                <a:gd name="connsiteY34" fmla="*/ 4204159 h 12079044"/>
                <a:gd name="connsiteX35" fmla="*/ 5352976 w 16682562"/>
                <a:gd name="connsiteY35" fmla="*/ 4122792 h 12079044"/>
                <a:gd name="connsiteX36" fmla="*/ 5741786 w 16682562"/>
                <a:gd name="connsiteY36" fmla="*/ 3752097 h 12079044"/>
                <a:gd name="connsiteX37" fmla="*/ 6157723 w 16682562"/>
                <a:gd name="connsiteY37" fmla="*/ 3589356 h 12079044"/>
                <a:gd name="connsiteX38" fmla="*/ 6745471 w 16682562"/>
                <a:gd name="connsiteY38" fmla="*/ 3019763 h 12079044"/>
                <a:gd name="connsiteX39" fmla="*/ 6890140 w 16682562"/>
                <a:gd name="connsiteY39" fmla="*/ 2169887 h 12079044"/>
                <a:gd name="connsiteX40" fmla="*/ 7568305 w 16682562"/>
                <a:gd name="connsiteY40" fmla="*/ 1600293 h 12079044"/>
                <a:gd name="connsiteX41" fmla="*/ 8137967 w 16682562"/>
                <a:gd name="connsiteY41" fmla="*/ 1157272 h 12079044"/>
                <a:gd name="connsiteX42" fmla="*/ 8463480 w 16682562"/>
                <a:gd name="connsiteY42" fmla="*/ 352605 h 12079044"/>
                <a:gd name="connsiteX43" fmla="*/ 9024093 w 16682562"/>
                <a:gd name="connsiteY43" fmla="*/ -2 h 12079044"/>
                <a:gd name="connsiteX44" fmla="*/ 8856118 w 16682562"/>
                <a:gd name="connsiteY44" fmla="*/ 1539136 h 12079044"/>
                <a:gd name="connsiteX45" fmla="*/ 9078849 w 16682562"/>
                <a:gd name="connsiteY45" fmla="*/ 2152700 h 12079044"/>
                <a:gd name="connsiteX46" fmla="*/ 9086459 w 16682562"/>
                <a:gd name="connsiteY46" fmla="*/ 2700678 h 12079044"/>
                <a:gd name="connsiteX47" fmla="*/ 9761321 w 16682562"/>
                <a:gd name="connsiteY47" fmla="*/ 2603532 h 12079044"/>
                <a:gd name="connsiteX48" fmla="*/ 10152517 w 16682562"/>
                <a:gd name="connsiteY48" fmla="*/ 3401802 h 12079044"/>
                <a:gd name="connsiteX49" fmla="*/ 11109603 w 16682562"/>
                <a:gd name="connsiteY49" fmla="*/ 3773276 h 12079044"/>
                <a:gd name="connsiteX50" fmla="*/ 11919572 w 16682562"/>
                <a:gd name="connsiteY50" fmla="*/ 4046798 h 12079044"/>
                <a:gd name="connsiteX51" fmla="*/ 12868275 w 16682562"/>
                <a:gd name="connsiteY51" fmla="*/ 3801587 h 12079044"/>
                <a:gd name="connsiteX52" fmla="*/ 13844296 w 16682562"/>
                <a:gd name="connsiteY52" fmla="*/ 3199752 h 12079044"/>
                <a:gd name="connsiteX53" fmla="*/ 13886291 w 16682562"/>
                <a:gd name="connsiteY53" fmla="*/ 2365384 h 12079044"/>
                <a:gd name="connsiteX54" fmla="*/ 14370431 w 16682562"/>
                <a:gd name="connsiteY54" fmla="*/ 2873736 h 12079044"/>
                <a:gd name="connsiteX55" fmla="*/ 15323320 w 16682562"/>
                <a:gd name="connsiteY55" fmla="*/ 2972009 h 12079044"/>
                <a:gd name="connsiteX56" fmla="*/ 16350939 w 16682562"/>
                <a:gd name="connsiteY56" fmla="*/ 3096868 h 12079044"/>
                <a:gd name="connsiteX57" fmla="*/ 16362364 w 16682562"/>
                <a:gd name="connsiteY57" fmla="*/ 3404148 h 12079044"/>
                <a:gd name="connsiteX58" fmla="*/ 16682563 w 16682562"/>
                <a:gd name="connsiteY58" fmla="*/ 3842051 h 12079044"/>
                <a:gd name="connsiteX0" fmla="*/ 16682563 w 16682562"/>
                <a:gd name="connsiteY0" fmla="*/ 3489448 h 11726441"/>
                <a:gd name="connsiteX1" fmla="*/ 16432262 w 16682562"/>
                <a:gd name="connsiteY1" fmla="*/ 4516834 h 11726441"/>
                <a:gd name="connsiteX2" fmla="*/ 16106317 w 16682562"/>
                <a:gd name="connsiteY2" fmla="*/ 5058138 h 11726441"/>
                <a:gd name="connsiteX3" fmla="*/ 16305649 w 16682562"/>
                <a:gd name="connsiteY3" fmla="*/ 5445467 h 11726441"/>
                <a:gd name="connsiteX4" fmla="*/ 16287189 w 16682562"/>
                <a:gd name="connsiteY4" fmla="*/ 5842074 h 11726441"/>
                <a:gd name="connsiteX5" fmla="*/ 16372801 w 16682562"/>
                <a:gd name="connsiteY5" fmla="*/ 6408339 h 11726441"/>
                <a:gd name="connsiteX6" fmla="*/ 16070155 w 16682562"/>
                <a:gd name="connsiteY6" fmla="*/ 6628725 h 11726441"/>
                <a:gd name="connsiteX7" fmla="*/ 15805690 w 16682562"/>
                <a:gd name="connsiteY7" fmla="*/ 7122916 h 11726441"/>
                <a:gd name="connsiteX8" fmla="*/ 15195097 w 16682562"/>
                <a:gd name="connsiteY8" fmla="*/ 6784659 h 11726441"/>
                <a:gd name="connsiteX9" fmla="*/ 15011380 w 16682562"/>
                <a:gd name="connsiteY9" fmla="*/ 7739509 h 11726441"/>
                <a:gd name="connsiteX10" fmla="*/ 14908430 w 16682562"/>
                <a:gd name="connsiteY10" fmla="*/ 8628404 h 11726441"/>
                <a:gd name="connsiteX11" fmla="*/ 14904684 w 16682562"/>
                <a:gd name="connsiteY11" fmla="*/ 9451843 h 11726441"/>
                <a:gd name="connsiteX12" fmla="*/ 14929927 w 16682562"/>
                <a:gd name="connsiteY12" fmla="*/ 11082763 h 11726441"/>
                <a:gd name="connsiteX13" fmla="*/ 12952786 w 16682562"/>
                <a:gd name="connsiteY13" fmla="*/ 11533516 h 11726441"/>
                <a:gd name="connsiteX14" fmla="*/ 11934663 w 16682562"/>
                <a:gd name="connsiteY14" fmla="*/ 11581766 h 11726441"/>
                <a:gd name="connsiteX15" fmla="*/ 8506848 w 16682562"/>
                <a:gd name="connsiteY15" fmla="*/ 11726441 h 11726441"/>
                <a:gd name="connsiteX16" fmla="*/ 7985095 w 16682562"/>
                <a:gd name="connsiteY16" fmla="*/ 11081359 h 11726441"/>
                <a:gd name="connsiteX17" fmla="*/ 7400308 w 16682562"/>
                <a:gd name="connsiteY17" fmla="*/ 11051214 h 11726441"/>
                <a:gd name="connsiteX18" fmla="*/ 6972273 w 16682562"/>
                <a:gd name="connsiteY18" fmla="*/ 11322511 h 11726441"/>
                <a:gd name="connsiteX19" fmla="*/ 5181729 w 16682562"/>
                <a:gd name="connsiteY19" fmla="*/ 11238112 h 11726441"/>
                <a:gd name="connsiteX20" fmla="*/ 4397998 w 16682562"/>
                <a:gd name="connsiteY20" fmla="*/ 10605095 h 11726441"/>
                <a:gd name="connsiteX21" fmla="*/ 2908896 w 16682562"/>
                <a:gd name="connsiteY21" fmla="*/ 9797241 h 11726441"/>
                <a:gd name="connsiteX22" fmla="*/ 1263043 w 16682562"/>
                <a:gd name="connsiteY22" fmla="*/ 9085848 h 11726441"/>
                <a:gd name="connsiteX23" fmla="*/ 485320 w 16682562"/>
                <a:gd name="connsiteY23" fmla="*/ 8633691 h 11726441"/>
                <a:gd name="connsiteX24" fmla="*/ 0 w 16682562"/>
                <a:gd name="connsiteY24" fmla="*/ 8340579 h 11726441"/>
                <a:gd name="connsiteX25" fmla="*/ 1003686 w 16682562"/>
                <a:gd name="connsiteY25" fmla="*/ 7594614 h 11726441"/>
                <a:gd name="connsiteX26" fmla="*/ 2902551 w 16682562"/>
                <a:gd name="connsiteY26" fmla="*/ 6410215 h 11726441"/>
                <a:gd name="connsiteX27" fmla="*/ 2558940 w 16682562"/>
                <a:gd name="connsiteY27" fmla="*/ 5876784 h 11726441"/>
                <a:gd name="connsiteX28" fmla="*/ 2402508 w 16682562"/>
                <a:gd name="connsiteY28" fmla="*/ 5189701 h 11726441"/>
                <a:gd name="connsiteX29" fmla="*/ 2730740 w 16682562"/>
                <a:gd name="connsiteY29" fmla="*/ 5162530 h 11726441"/>
                <a:gd name="connsiteX30" fmla="*/ 2947754 w 16682562"/>
                <a:gd name="connsiteY30" fmla="*/ 4692385 h 11726441"/>
                <a:gd name="connsiteX31" fmla="*/ 3499325 w 16682562"/>
                <a:gd name="connsiteY31" fmla="*/ 4249368 h 11726441"/>
                <a:gd name="connsiteX32" fmla="*/ 3680166 w 16682562"/>
                <a:gd name="connsiteY32" fmla="*/ 3372370 h 11726441"/>
                <a:gd name="connsiteX33" fmla="*/ 4186528 w 16682562"/>
                <a:gd name="connsiteY33" fmla="*/ 3381406 h 11726441"/>
                <a:gd name="connsiteX34" fmla="*/ 4837569 w 16682562"/>
                <a:gd name="connsiteY34" fmla="*/ 3851556 h 11726441"/>
                <a:gd name="connsiteX35" fmla="*/ 5352976 w 16682562"/>
                <a:gd name="connsiteY35" fmla="*/ 3770189 h 11726441"/>
                <a:gd name="connsiteX36" fmla="*/ 5741786 w 16682562"/>
                <a:gd name="connsiteY36" fmla="*/ 3399494 h 11726441"/>
                <a:gd name="connsiteX37" fmla="*/ 6157723 w 16682562"/>
                <a:gd name="connsiteY37" fmla="*/ 3236753 h 11726441"/>
                <a:gd name="connsiteX38" fmla="*/ 6745471 w 16682562"/>
                <a:gd name="connsiteY38" fmla="*/ 2667160 h 11726441"/>
                <a:gd name="connsiteX39" fmla="*/ 6890140 w 16682562"/>
                <a:gd name="connsiteY39" fmla="*/ 1817284 h 11726441"/>
                <a:gd name="connsiteX40" fmla="*/ 7568305 w 16682562"/>
                <a:gd name="connsiteY40" fmla="*/ 1247690 h 11726441"/>
                <a:gd name="connsiteX41" fmla="*/ 8137967 w 16682562"/>
                <a:gd name="connsiteY41" fmla="*/ 804669 h 11726441"/>
                <a:gd name="connsiteX42" fmla="*/ 8463480 w 16682562"/>
                <a:gd name="connsiteY42" fmla="*/ 2 h 11726441"/>
                <a:gd name="connsiteX43" fmla="*/ 8856118 w 16682562"/>
                <a:gd name="connsiteY43" fmla="*/ 1186533 h 11726441"/>
                <a:gd name="connsiteX44" fmla="*/ 9078849 w 16682562"/>
                <a:gd name="connsiteY44" fmla="*/ 1800097 h 11726441"/>
                <a:gd name="connsiteX45" fmla="*/ 9086459 w 16682562"/>
                <a:gd name="connsiteY45" fmla="*/ 2348075 h 11726441"/>
                <a:gd name="connsiteX46" fmla="*/ 9761321 w 16682562"/>
                <a:gd name="connsiteY46" fmla="*/ 2250929 h 11726441"/>
                <a:gd name="connsiteX47" fmla="*/ 10152517 w 16682562"/>
                <a:gd name="connsiteY47" fmla="*/ 3049199 h 11726441"/>
                <a:gd name="connsiteX48" fmla="*/ 11109603 w 16682562"/>
                <a:gd name="connsiteY48" fmla="*/ 3420673 h 11726441"/>
                <a:gd name="connsiteX49" fmla="*/ 11919572 w 16682562"/>
                <a:gd name="connsiteY49" fmla="*/ 3694195 h 11726441"/>
                <a:gd name="connsiteX50" fmla="*/ 12868275 w 16682562"/>
                <a:gd name="connsiteY50" fmla="*/ 3448984 h 11726441"/>
                <a:gd name="connsiteX51" fmla="*/ 13844296 w 16682562"/>
                <a:gd name="connsiteY51" fmla="*/ 2847149 h 11726441"/>
                <a:gd name="connsiteX52" fmla="*/ 13886291 w 16682562"/>
                <a:gd name="connsiteY52" fmla="*/ 2012781 h 11726441"/>
                <a:gd name="connsiteX53" fmla="*/ 14370431 w 16682562"/>
                <a:gd name="connsiteY53" fmla="*/ 2521133 h 11726441"/>
                <a:gd name="connsiteX54" fmla="*/ 15323320 w 16682562"/>
                <a:gd name="connsiteY54" fmla="*/ 2619406 h 11726441"/>
                <a:gd name="connsiteX55" fmla="*/ 16350939 w 16682562"/>
                <a:gd name="connsiteY55" fmla="*/ 2744265 h 11726441"/>
                <a:gd name="connsiteX56" fmla="*/ 16362364 w 16682562"/>
                <a:gd name="connsiteY56" fmla="*/ 3051545 h 11726441"/>
                <a:gd name="connsiteX57" fmla="*/ 16682563 w 16682562"/>
                <a:gd name="connsiteY57" fmla="*/ 3489448 h 11726441"/>
                <a:gd name="connsiteX0" fmla="*/ 16682563 w 16682562"/>
                <a:gd name="connsiteY0" fmla="*/ 2684781 h 10921774"/>
                <a:gd name="connsiteX1" fmla="*/ 16432262 w 16682562"/>
                <a:gd name="connsiteY1" fmla="*/ 3712167 h 10921774"/>
                <a:gd name="connsiteX2" fmla="*/ 16106317 w 16682562"/>
                <a:gd name="connsiteY2" fmla="*/ 4253471 h 10921774"/>
                <a:gd name="connsiteX3" fmla="*/ 16305649 w 16682562"/>
                <a:gd name="connsiteY3" fmla="*/ 4640800 h 10921774"/>
                <a:gd name="connsiteX4" fmla="*/ 16287189 w 16682562"/>
                <a:gd name="connsiteY4" fmla="*/ 5037407 h 10921774"/>
                <a:gd name="connsiteX5" fmla="*/ 16372801 w 16682562"/>
                <a:gd name="connsiteY5" fmla="*/ 5603672 h 10921774"/>
                <a:gd name="connsiteX6" fmla="*/ 16070155 w 16682562"/>
                <a:gd name="connsiteY6" fmla="*/ 5824058 h 10921774"/>
                <a:gd name="connsiteX7" fmla="*/ 15805690 w 16682562"/>
                <a:gd name="connsiteY7" fmla="*/ 6318249 h 10921774"/>
                <a:gd name="connsiteX8" fmla="*/ 15195097 w 16682562"/>
                <a:gd name="connsiteY8" fmla="*/ 5979992 h 10921774"/>
                <a:gd name="connsiteX9" fmla="*/ 15011380 w 16682562"/>
                <a:gd name="connsiteY9" fmla="*/ 6934842 h 10921774"/>
                <a:gd name="connsiteX10" fmla="*/ 14908430 w 16682562"/>
                <a:gd name="connsiteY10" fmla="*/ 7823737 h 10921774"/>
                <a:gd name="connsiteX11" fmla="*/ 14904684 w 16682562"/>
                <a:gd name="connsiteY11" fmla="*/ 8647176 h 10921774"/>
                <a:gd name="connsiteX12" fmla="*/ 14929927 w 16682562"/>
                <a:gd name="connsiteY12" fmla="*/ 10278096 h 10921774"/>
                <a:gd name="connsiteX13" fmla="*/ 12952786 w 16682562"/>
                <a:gd name="connsiteY13" fmla="*/ 10728849 h 10921774"/>
                <a:gd name="connsiteX14" fmla="*/ 11934663 w 16682562"/>
                <a:gd name="connsiteY14" fmla="*/ 10777099 h 10921774"/>
                <a:gd name="connsiteX15" fmla="*/ 8506848 w 16682562"/>
                <a:gd name="connsiteY15" fmla="*/ 10921774 h 10921774"/>
                <a:gd name="connsiteX16" fmla="*/ 7985095 w 16682562"/>
                <a:gd name="connsiteY16" fmla="*/ 10276692 h 10921774"/>
                <a:gd name="connsiteX17" fmla="*/ 7400308 w 16682562"/>
                <a:gd name="connsiteY17" fmla="*/ 10246547 h 10921774"/>
                <a:gd name="connsiteX18" fmla="*/ 6972273 w 16682562"/>
                <a:gd name="connsiteY18" fmla="*/ 10517844 h 10921774"/>
                <a:gd name="connsiteX19" fmla="*/ 5181729 w 16682562"/>
                <a:gd name="connsiteY19" fmla="*/ 10433445 h 10921774"/>
                <a:gd name="connsiteX20" fmla="*/ 4397998 w 16682562"/>
                <a:gd name="connsiteY20" fmla="*/ 9800428 h 10921774"/>
                <a:gd name="connsiteX21" fmla="*/ 2908896 w 16682562"/>
                <a:gd name="connsiteY21" fmla="*/ 8992574 h 10921774"/>
                <a:gd name="connsiteX22" fmla="*/ 1263043 w 16682562"/>
                <a:gd name="connsiteY22" fmla="*/ 8281181 h 10921774"/>
                <a:gd name="connsiteX23" fmla="*/ 485320 w 16682562"/>
                <a:gd name="connsiteY23" fmla="*/ 7829024 h 10921774"/>
                <a:gd name="connsiteX24" fmla="*/ 0 w 16682562"/>
                <a:gd name="connsiteY24" fmla="*/ 7535912 h 10921774"/>
                <a:gd name="connsiteX25" fmla="*/ 1003686 w 16682562"/>
                <a:gd name="connsiteY25" fmla="*/ 6789947 h 10921774"/>
                <a:gd name="connsiteX26" fmla="*/ 2902551 w 16682562"/>
                <a:gd name="connsiteY26" fmla="*/ 5605548 h 10921774"/>
                <a:gd name="connsiteX27" fmla="*/ 2558940 w 16682562"/>
                <a:gd name="connsiteY27" fmla="*/ 5072117 h 10921774"/>
                <a:gd name="connsiteX28" fmla="*/ 2402508 w 16682562"/>
                <a:gd name="connsiteY28" fmla="*/ 4385034 h 10921774"/>
                <a:gd name="connsiteX29" fmla="*/ 2730740 w 16682562"/>
                <a:gd name="connsiteY29" fmla="*/ 4357863 h 10921774"/>
                <a:gd name="connsiteX30" fmla="*/ 2947754 w 16682562"/>
                <a:gd name="connsiteY30" fmla="*/ 3887718 h 10921774"/>
                <a:gd name="connsiteX31" fmla="*/ 3499325 w 16682562"/>
                <a:gd name="connsiteY31" fmla="*/ 3444701 h 10921774"/>
                <a:gd name="connsiteX32" fmla="*/ 3680166 w 16682562"/>
                <a:gd name="connsiteY32" fmla="*/ 2567703 h 10921774"/>
                <a:gd name="connsiteX33" fmla="*/ 4186528 w 16682562"/>
                <a:gd name="connsiteY33" fmla="*/ 2576739 h 10921774"/>
                <a:gd name="connsiteX34" fmla="*/ 4837569 w 16682562"/>
                <a:gd name="connsiteY34" fmla="*/ 3046889 h 10921774"/>
                <a:gd name="connsiteX35" fmla="*/ 5352976 w 16682562"/>
                <a:gd name="connsiteY35" fmla="*/ 2965522 h 10921774"/>
                <a:gd name="connsiteX36" fmla="*/ 5741786 w 16682562"/>
                <a:gd name="connsiteY36" fmla="*/ 2594827 h 10921774"/>
                <a:gd name="connsiteX37" fmla="*/ 6157723 w 16682562"/>
                <a:gd name="connsiteY37" fmla="*/ 2432086 h 10921774"/>
                <a:gd name="connsiteX38" fmla="*/ 6745471 w 16682562"/>
                <a:gd name="connsiteY38" fmla="*/ 1862493 h 10921774"/>
                <a:gd name="connsiteX39" fmla="*/ 6890140 w 16682562"/>
                <a:gd name="connsiteY39" fmla="*/ 1012617 h 10921774"/>
                <a:gd name="connsiteX40" fmla="*/ 7568305 w 16682562"/>
                <a:gd name="connsiteY40" fmla="*/ 443023 h 10921774"/>
                <a:gd name="connsiteX41" fmla="*/ 8137967 w 16682562"/>
                <a:gd name="connsiteY41" fmla="*/ 2 h 10921774"/>
                <a:gd name="connsiteX42" fmla="*/ 8856118 w 16682562"/>
                <a:gd name="connsiteY42" fmla="*/ 381866 h 10921774"/>
                <a:gd name="connsiteX43" fmla="*/ 9078849 w 16682562"/>
                <a:gd name="connsiteY43" fmla="*/ 995430 h 10921774"/>
                <a:gd name="connsiteX44" fmla="*/ 9086459 w 16682562"/>
                <a:gd name="connsiteY44" fmla="*/ 1543408 h 10921774"/>
                <a:gd name="connsiteX45" fmla="*/ 9761321 w 16682562"/>
                <a:gd name="connsiteY45" fmla="*/ 1446262 h 10921774"/>
                <a:gd name="connsiteX46" fmla="*/ 10152517 w 16682562"/>
                <a:gd name="connsiteY46" fmla="*/ 2244532 h 10921774"/>
                <a:gd name="connsiteX47" fmla="*/ 11109603 w 16682562"/>
                <a:gd name="connsiteY47" fmla="*/ 2616006 h 10921774"/>
                <a:gd name="connsiteX48" fmla="*/ 11919572 w 16682562"/>
                <a:gd name="connsiteY48" fmla="*/ 2889528 h 10921774"/>
                <a:gd name="connsiteX49" fmla="*/ 12868275 w 16682562"/>
                <a:gd name="connsiteY49" fmla="*/ 2644317 h 10921774"/>
                <a:gd name="connsiteX50" fmla="*/ 13844296 w 16682562"/>
                <a:gd name="connsiteY50" fmla="*/ 2042482 h 10921774"/>
                <a:gd name="connsiteX51" fmla="*/ 13886291 w 16682562"/>
                <a:gd name="connsiteY51" fmla="*/ 1208114 h 10921774"/>
                <a:gd name="connsiteX52" fmla="*/ 14370431 w 16682562"/>
                <a:gd name="connsiteY52" fmla="*/ 1716466 h 10921774"/>
                <a:gd name="connsiteX53" fmla="*/ 15323320 w 16682562"/>
                <a:gd name="connsiteY53" fmla="*/ 1814739 h 10921774"/>
                <a:gd name="connsiteX54" fmla="*/ 16350939 w 16682562"/>
                <a:gd name="connsiteY54" fmla="*/ 1939598 h 10921774"/>
                <a:gd name="connsiteX55" fmla="*/ 16362364 w 16682562"/>
                <a:gd name="connsiteY55" fmla="*/ 2246878 h 10921774"/>
                <a:gd name="connsiteX56" fmla="*/ 16682563 w 16682562"/>
                <a:gd name="connsiteY56" fmla="*/ 2684781 h 10921774"/>
                <a:gd name="connsiteX0" fmla="*/ 16682563 w 16682562"/>
                <a:gd name="connsiteY0" fmla="*/ 2908861 h 11145854"/>
                <a:gd name="connsiteX1" fmla="*/ 16432262 w 16682562"/>
                <a:gd name="connsiteY1" fmla="*/ 3936247 h 11145854"/>
                <a:gd name="connsiteX2" fmla="*/ 16106317 w 16682562"/>
                <a:gd name="connsiteY2" fmla="*/ 4477551 h 11145854"/>
                <a:gd name="connsiteX3" fmla="*/ 16305649 w 16682562"/>
                <a:gd name="connsiteY3" fmla="*/ 4864880 h 11145854"/>
                <a:gd name="connsiteX4" fmla="*/ 16287189 w 16682562"/>
                <a:gd name="connsiteY4" fmla="*/ 5261487 h 11145854"/>
                <a:gd name="connsiteX5" fmla="*/ 16372801 w 16682562"/>
                <a:gd name="connsiteY5" fmla="*/ 5827752 h 11145854"/>
                <a:gd name="connsiteX6" fmla="*/ 16070155 w 16682562"/>
                <a:gd name="connsiteY6" fmla="*/ 6048138 h 11145854"/>
                <a:gd name="connsiteX7" fmla="*/ 15805690 w 16682562"/>
                <a:gd name="connsiteY7" fmla="*/ 6542329 h 11145854"/>
                <a:gd name="connsiteX8" fmla="*/ 15195097 w 16682562"/>
                <a:gd name="connsiteY8" fmla="*/ 6204072 h 11145854"/>
                <a:gd name="connsiteX9" fmla="*/ 15011380 w 16682562"/>
                <a:gd name="connsiteY9" fmla="*/ 7158922 h 11145854"/>
                <a:gd name="connsiteX10" fmla="*/ 14908430 w 16682562"/>
                <a:gd name="connsiteY10" fmla="*/ 8047817 h 11145854"/>
                <a:gd name="connsiteX11" fmla="*/ 14904684 w 16682562"/>
                <a:gd name="connsiteY11" fmla="*/ 8871256 h 11145854"/>
                <a:gd name="connsiteX12" fmla="*/ 14929927 w 16682562"/>
                <a:gd name="connsiteY12" fmla="*/ 10502176 h 11145854"/>
                <a:gd name="connsiteX13" fmla="*/ 12952786 w 16682562"/>
                <a:gd name="connsiteY13" fmla="*/ 10952929 h 11145854"/>
                <a:gd name="connsiteX14" fmla="*/ 11934663 w 16682562"/>
                <a:gd name="connsiteY14" fmla="*/ 11001179 h 11145854"/>
                <a:gd name="connsiteX15" fmla="*/ 8506848 w 16682562"/>
                <a:gd name="connsiteY15" fmla="*/ 11145854 h 11145854"/>
                <a:gd name="connsiteX16" fmla="*/ 7985095 w 16682562"/>
                <a:gd name="connsiteY16" fmla="*/ 10500772 h 11145854"/>
                <a:gd name="connsiteX17" fmla="*/ 7400308 w 16682562"/>
                <a:gd name="connsiteY17" fmla="*/ 10470627 h 11145854"/>
                <a:gd name="connsiteX18" fmla="*/ 6972273 w 16682562"/>
                <a:gd name="connsiteY18" fmla="*/ 10741924 h 11145854"/>
                <a:gd name="connsiteX19" fmla="*/ 5181729 w 16682562"/>
                <a:gd name="connsiteY19" fmla="*/ 10657525 h 11145854"/>
                <a:gd name="connsiteX20" fmla="*/ 4397998 w 16682562"/>
                <a:gd name="connsiteY20" fmla="*/ 10024508 h 11145854"/>
                <a:gd name="connsiteX21" fmla="*/ 2908896 w 16682562"/>
                <a:gd name="connsiteY21" fmla="*/ 9216654 h 11145854"/>
                <a:gd name="connsiteX22" fmla="*/ 1263043 w 16682562"/>
                <a:gd name="connsiteY22" fmla="*/ 8505261 h 11145854"/>
                <a:gd name="connsiteX23" fmla="*/ 485320 w 16682562"/>
                <a:gd name="connsiteY23" fmla="*/ 8053104 h 11145854"/>
                <a:gd name="connsiteX24" fmla="*/ 0 w 16682562"/>
                <a:gd name="connsiteY24" fmla="*/ 7759992 h 11145854"/>
                <a:gd name="connsiteX25" fmla="*/ 1003686 w 16682562"/>
                <a:gd name="connsiteY25" fmla="*/ 7014027 h 11145854"/>
                <a:gd name="connsiteX26" fmla="*/ 2902551 w 16682562"/>
                <a:gd name="connsiteY26" fmla="*/ 5829628 h 11145854"/>
                <a:gd name="connsiteX27" fmla="*/ 2558940 w 16682562"/>
                <a:gd name="connsiteY27" fmla="*/ 5296197 h 11145854"/>
                <a:gd name="connsiteX28" fmla="*/ 2402508 w 16682562"/>
                <a:gd name="connsiteY28" fmla="*/ 4609114 h 11145854"/>
                <a:gd name="connsiteX29" fmla="*/ 2730740 w 16682562"/>
                <a:gd name="connsiteY29" fmla="*/ 4581943 h 11145854"/>
                <a:gd name="connsiteX30" fmla="*/ 2947754 w 16682562"/>
                <a:gd name="connsiteY30" fmla="*/ 4111798 h 11145854"/>
                <a:gd name="connsiteX31" fmla="*/ 3499325 w 16682562"/>
                <a:gd name="connsiteY31" fmla="*/ 3668781 h 11145854"/>
                <a:gd name="connsiteX32" fmla="*/ 3680166 w 16682562"/>
                <a:gd name="connsiteY32" fmla="*/ 2791783 h 11145854"/>
                <a:gd name="connsiteX33" fmla="*/ 4186528 w 16682562"/>
                <a:gd name="connsiteY33" fmla="*/ 2800819 h 11145854"/>
                <a:gd name="connsiteX34" fmla="*/ 4837569 w 16682562"/>
                <a:gd name="connsiteY34" fmla="*/ 3270969 h 11145854"/>
                <a:gd name="connsiteX35" fmla="*/ 5352976 w 16682562"/>
                <a:gd name="connsiteY35" fmla="*/ 3189602 h 11145854"/>
                <a:gd name="connsiteX36" fmla="*/ 5741786 w 16682562"/>
                <a:gd name="connsiteY36" fmla="*/ 2818907 h 11145854"/>
                <a:gd name="connsiteX37" fmla="*/ 6157723 w 16682562"/>
                <a:gd name="connsiteY37" fmla="*/ 2656166 h 11145854"/>
                <a:gd name="connsiteX38" fmla="*/ 6745471 w 16682562"/>
                <a:gd name="connsiteY38" fmla="*/ 2086573 h 11145854"/>
                <a:gd name="connsiteX39" fmla="*/ 6890140 w 16682562"/>
                <a:gd name="connsiteY39" fmla="*/ 1236697 h 11145854"/>
                <a:gd name="connsiteX40" fmla="*/ 7568305 w 16682562"/>
                <a:gd name="connsiteY40" fmla="*/ 667103 h 11145854"/>
                <a:gd name="connsiteX41" fmla="*/ 8502979 w 16682562"/>
                <a:gd name="connsiteY41" fmla="*/ 0 h 11145854"/>
                <a:gd name="connsiteX42" fmla="*/ 8856118 w 16682562"/>
                <a:gd name="connsiteY42" fmla="*/ 605946 h 11145854"/>
                <a:gd name="connsiteX43" fmla="*/ 9078849 w 16682562"/>
                <a:gd name="connsiteY43" fmla="*/ 1219510 h 11145854"/>
                <a:gd name="connsiteX44" fmla="*/ 9086459 w 16682562"/>
                <a:gd name="connsiteY44" fmla="*/ 1767488 h 11145854"/>
                <a:gd name="connsiteX45" fmla="*/ 9761321 w 16682562"/>
                <a:gd name="connsiteY45" fmla="*/ 1670342 h 11145854"/>
                <a:gd name="connsiteX46" fmla="*/ 10152517 w 16682562"/>
                <a:gd name="connsiteY46" fmla="*/ 2468612 h 11145854"/>
                <a:gd name="connsiteX47" fmla="*/ 11109603 w 16682562"/>
                <a:gd name="connsiteY47" fmla="*/ 2840086 h 11145854"/>
                <a:gd name="connsiteX48" fmla="*/ 11919572 w 16682562"/>
                <a:gd name="connsiteY48" fmla="*/ 3113608 h 11145854"/>
                <a:gd name="connsiteX49" fmla="*/ 12868275 w 16682562"/>
                <a:gd name="connsiteY49" fmla="*/ 2868397 h 11145854"/>
                <a:gd name="connsiteX50" fmla="*/ 13844296 w 16682562"/>
                <a:gd name="connsiteY50" fmla="*/ 2266562 h 11145854"/>
                <a:gd name="connsiteX51" fmla="*/ 13886291 w 16682562"/>
                <a:gd name="connsiteY51" fmla="*/ 1432194 h 11145854"/>
                <a:gd name="connsiteX52" fmla="*/ 14370431 w 16682562"/>
                <a:gd name="connsiteY52" fmla="*/ 1940546 h 11145854"/>
                <a:gd name="connsiteX53" fmla="*/ 15323320 w 16682562"/>
                <a:gd name="connsiteY53" fmla="*/ 2038819 h 11145854"/>
                <a:gd name="connsiteX54" fmla="*/ 16350939 w 16682562"/>
                <a:gd name="connsiteY54" fmla="*/ 2163678 h 11145854"/>
                <a:gd name="connsiteX55" fmla="*/ 16362364 w 16682562"/>
                <a:gd name="connsiteY55" fmla="*/ 2470958 h 11145854"/>
                <a:gd name="connsiteX56" fmla="*/ 16682563 w 16682562"/>
                <a:gd name="connsiteY56" fmla="*/ 2908861 h 11145854"/>
                <a:gd name="connsiteX0" fmla="*/ 16682563 w 16682562"/>
                <a:gd name="connsiteY0" fmla="*/ 2908861 h 11145854"/>
                <a:gd name="connsiteX1" fmla="*/ 16432262 w 16682562"/>
                <a:gd name="connsiteY1" fmla="*/ 3936247 h 11145854"/>
                <a:gd name="connsiteX2" fmla="*/ 16106317 w 16682562"/>
                <a:gd name="connsiteY2" fmla="*/ 4477551 h 11145854"/>
                <a:gd name="connsiteX3" fmla="*/ 16305649 w 16682562"/>
                <a:gd name="connsiteY3" fmla="*/ 4864880 h 11145854"/>
                <a:gd name="connsiteX4" fmla="*/ 16287189 w 16682562"/>
                <a:gd name="connsiteY4" fmla="*/ 5261487 h 11145854"/>
                <a:gd name="connsiteX5" fmla="*/ 16372801 w 16682562"/>
                <a:gd name="connsiteY5" fmla="*/ 5827752 h 11145854"/>
                <a:gd name="connsiteX6" fmla="*/ 16070155 w 16682562"/>
                <a:gd name="connsiteY6" fmla="*/ 6048138 h 11145854"/>
                <a:gd name="connsiteX7" fmla="*/ 15805690 w 16682562"/>
                <a:gd name="connsiteY7" fmla="*/ 6542329 h 11145854"/>
                <a:gd name="connsiteX8" fmla="*/ 15195097 w 16682562"/>
                <a:gd name="connsiteY8" fmla="*/ 6204072 h 11145854"/>
                <a:gd name="connsiteX9" fmla="*/ 15011380 w 16682562"/>
                <a:gd name="connsiteY9" fmla="*/ 7158922 h 11145854"/>
                <a:gd name="connsiteX10" fmla="*/ 14908430 w 16682562"/>
                <a:gd name="connsiteY10" fmla="*/ 8047817 h 11145854"/>
                <a:gd name="connsiteX11" fmla="*/ 14904684 w 16682562"/>
                <a:gd name="connsiteY11" fmla="*/ 8871256 h 11145854"/>
                <a:gd name="connsiteX12" fmla="*/ 14962237 w 16682562"/>
                <a:gd name="connsiteY12" fmla="*/ 10899713 h 11145854"/>
                <a:gd name="connsiteX13" fmla="*/ 12952786 w 16682562"/>
                <a:gd name="connsiteY13" fmla="*/ 10952929 h 11145854"/>
                <a:gd name="connsiteX14" fmla="*/ 11934663 w 16682562"/>
                <a:gd name="connsiteY14" fmla="*/ 11001179 h 11145854"/>
                <a:gd name="connsiteX15" fmla="*/ 8506848 w 16682562"/>
                <a:gd name="connsiteY15" fmla="*/ 11145854 h 11145854"/>
                <a:gd name="connsiteX16" fmla="*/ 7985095 w 16682562"/>
                <a:gd name="connsiteY16" fmla="*/ 10500772 h 11145854"/>
                <a:gd name="connsiteX17" fmla="*/ 7400308 w 16682562"/>
                <a:gd name="connsiteY17" fmla="*/ 10470627 h 11145854"/>
                <a:gd name="connsiteX18" fmla="*/ 6972273 w 16682562"/>
                <a:gd name="connsiteY18" fmla="*/ 10741924 h 11145854"/>
                <a:gd name="connsiteX19" fmla="*/ 5181729 w 16682562"/>
                <a:gd name="connsiteY19" fmla="*/ 10657525 h 11145854"/>
                <a:gd name="connsiteX20" fmla="*/ 4397998 w 16682562"/>
                <a:gd name="connsiteY20" fmla="*/ 10024508 h 11145854"/>
                <a:gd name="connsiteX21" fmla="*/ 2908896 w 16682562"/>
                <a:gd name="connsiteY21" fmla="*/ 9216654 h 11145854"/>
                <a:gd name="connsiteX22" fmla="*/ 1263043 w 16682562"/>
                <a:gd name="connsiteY22" fmla="*/ 8505261 h 11145854"/>
                <a:gd name="connsiteX23" fmla="*/ 485320 w 16682562"/>
                <a:gd name="connsiteY23" fmla="*/ 8053104 h 11145854"/>
                <a:gd name="connsiteX24" fmla="*/ 0 w 16682562"/>
                <a:gd name="connsiteY24" fmla="*/ 7759992 h 11145854"/>
                <a:gd name="connsiteX25" fmla="*/ 1003686 w 16682562"/>
                <a:gd name="connsiteY25" fmla="*/ 7014027 h 11145854"/>
                <a:gd name="connsiteX26" fmla="*/ 2902551 w 16682562"/>
                <a:gd name="connsiteY26" fmla="*/ 5829628 h 11145854"/>
                <a:gd name="connsiteX27" fmla="*/ 2558940 w 16682562"/>
                <a:gd name="connsiteY27" fmla="*/ 5296197 h 11145854"/>
                <a:gd name="connsiteX28" fmla="*/ 2402508 w 16682562"/>
                <a:gd name="connsiteY28" fmla="*/ 4609114 h 11145854"/>
                <a:gd name="connsiteX29" fmla="*/ 2730740 w 16682562"/>
                <a:gd name="connsiteY29" fmla="*/ 4581943 h 11145854"/>
                <a:gd name="connsiteX30" fmla="*/ 2947754 w 16682562"/>
                <a:gd name="connsiteY30" fmla="*/ 4111798 h 11145854"/>
                <a:gd name="connsiteX31" fmla="*/ 3499325 w 16682562"/>
                <a:gd name="connsiteY31" fmla="*/ 3668781 h 11145854"/>
                <a:gd name="connsiteX32" fmla="*/ 3680166 w 16682562"/>
                <a:gd name="connsiteY32" fmla="*/ 2791783 h 11145854"/>
                <a:gd name="connsiteX33" fmla="*/ 4186528 w 16682562"/>
                <a:gd name="connsiteY33" fmla="*/ 2800819 h 11145854"/>
                <a:gd name="connsiteX34" fmla="*/ 4837569 w 16682562"/>
                <a:gd name="connsiteY34" fmla="*/ 3270969 h 11145854"/>
                <a:gd name="connsiteX35" fmla="*/ 5352976 w 16682562"/>
                <a:gd name="connsiteY35" fmla="*/ 3189602 h 11145854"/>
                <a:gd name="connsiteX36" fmla="*/ 5741786 w 16682562"/>
                <a:gd name="connsiteY36" fmla="*/ 2818907 h 11145854"/>
                <a:gd name="connsiteX37" fmla="*/ 6157723 w 16682562"/>
                <a:gd name="connsiteY37" fmla="*/ 2656166 h 11145854"/>
                <a:gd name="connsiteX38" fmla="*/ 6745471 w 16682562"/>
                <a:gd name="connsiteY38" fmla="*/ 2086573 h 11145854"/>
                <a:gd name="connsiteX39" fmla="*/ 6890140 w 16682562"/>
                <a:gd name="connsiteY39" fmla="*/ 1236697 h 11145854"/>
                <a:gd name="connsiteX40" fmla="*/ 7568305 w 16682562"/>
                <a:gd name="connsiteY40" fmla="*/ 667103 h 11145854"/>
                <a:gd name="connsiteX41" fmla="*/ 8502979 w 16682562"/>
                <a:gd name="connsiteY41" fmla="*/ 0 h 11145854"/>
                <a:gd name="connsiteX42" fmla="*/ 8856118 w 16682562"/>
                <a:gd name="connsiteY42" fmla="*/ 605946 h 11145854"/>
                <a:gd name="connsiteX43" fmla="*/ 9078849 w 16682562"/>
                <a:gd name="connsiteY43" fmla="*/ 1219510 h 11145854"/>
                <a:gd name="connsiteX44" fmla="*/ 9086459 w 16682562"/>
                <a:gd name="connsiteY44" fmla="*/ 1767488 h 11145854"/>
                <a:gd name="connsiteX45" fmla="*/ 9761321 w 16682562"/>
                <a:gd name="connsiteY45" fmla="*/ 1670342 h 11145854"/>
                <a:gd name="connsiteX46" fmla="*/ 10152517 w 16682562"/>
                <a:gd name="connsiteY46" fmla="*/ 2468612 h 11145854"/>
                <a:gd name="connsiteX47" fmla="*/ 11109603 w 16682562"/>
                <a:gd name="connsiteY47" fmla="*/ 2840086 h 11145854"/>
                <a:gd name="connsiteX48" fmla="*/ 11919572 w 16682562"/>
                <a:gd name="connsiteY48" fmla="*/ 3113608 h 11145854"/>
                <a:gd name="connsiteX49" fmla="*/ 12868275 w 16682562"/>
                <a:gd name="connsiteY49" fmla="*/ 2868397 h 11145854"/>
                <a:gd name="connsiteX50" fmla="*/ 13844296 w 16682562"/>
                <a:gd name="connsiteY50" fmla="*/ 2266562 h 11145854"/>
                <a:gd name="connsiteX51" fmla="*/ 13886291 w 16682562"/>
                <a:gd name="connsiteY51" fmla="*/ 1432194 h 11145854"/>
                <a:gd name="connsiteX52" fmla="*/ 14370431 w 16682562"/>
                <a:gd name="connsiteY52" fmla="*/ 1940546 h 11145854"/>
                <a:gd name="connsiteX53" fmla="*/ 15323320 w 16682562"/>
                <a:gd name="connsiteY53" fmla="*/ 2038819 h 11145854"/>
                <a:gd name="connsiteX54" fmla="*/ 16350939 w 16682562"/>
                <a:gd name="connsiteY54" fmla="*/ 2163678 h 11145854"/>
                <a:gd name="connsiteX55" fmla="*/ 16362364 w 16682562"/>
                <a:gd name="connsiteY55" fmla="*/ 2470958 h 11145854"/>
                <a:gd name="connsiteX56" fmla="*/ 16682563 w 16682562"/>
                <a:gd name="connsiteY56" fmla="*/ 2908861 h 11145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6682562" h="11145854">
                  <a:moveTo>
                    <a:pt x="16682563" y="2908861"/>
                  </a:moveTo>
                  <a:lnTo>
                    <a:pt x="16432262" y="3936247"/>
                  </a:lnTo>
                  <a:lnTo>
                    <a:pt x="16106317" y="4477551"/>
                  </a:lnTo>
                  <a:lnTo>
                    <a:pt x="16305649" y="4864880"/>
                  </a:lnTo>
                  <a:lnTo>
                    <a:pt x="16287189" y="5261487"/>
                  </a:lnTo>
                  <a:lnTo>
                    <a:pt x="16372801" y="5827752"/>
                  </a:lnTo>
                  <a:lnTo>
                    <a:pt x="16070155" y="6048138"/>
                  </a:lnTo>
                  <a:lnTo>
                    <a:pt x="15805690" y="6542329"/>
                  </a:lnTo>
                  <a:lnTo>
                    <a:pt x="15195097" y="6204072"/>
                  </a:lnTo>
                  <a:lnTo>
                    <a:pt x="15011380" y="7158922"/>
                  </a:lnTo>
                  <a:lnTo>
                    <a:pt x="14908430" y="8047817"/>
                  </a:lnTo>
                  <a:cubicBezTo>
                    <a:pt x="14907181" y="8322297"/>
                    <a:pt x="14905933" y="8596776"/>
                    <a:pt x="14904684" y="8871256"/>
                  </a:cubicBezTo>
                  <a:lnTo>
                    <a:pt x="14962237" y="10899713"/>
                  </a:lnTo>
                  <a:lnTo>
                    <a:pt x="12952786" y="10952929"/>
                  </a:lnTo>
                  <a:lnTo>
                    <a:pt x="11934663" y="11001179"/>
                  </a:lnTo>
                  <a:lnTo>
                    <a:pt x="8506848" y="11145854"/>
                  </a:lnTo>
                  <a:lnTo>
                    <a:pt x="7985095" y="10500772"/>
                  </a:lnTo>
                  <a:lnTo>
                    <a:pt x="7400308" y="10470627"/>
                  </a:lnTo>
                  <a:lnTo>
                    <a:pt x="6972273" y="10741924"/>
                  </a:lnTo>
                  <a:lnTo>
                    <a:pt x="5181729" y="10657525"/>
                  </a:lnTo>
                  <a:lnTo>
                    <a:pt x="4397998" y="10024508"/>
                  </a:lnTo>
                  <a:lnTo>
                    <a:pt x="2908896" y="9216654"/>
                  </a:lnTo>
                  <a:lnTo>
                    <a:pt x="1263043" y="8505261"/>
                  </a:lnTo>
                  <a:lnTo>
                    <a:pt x="485320" y="8053104"/>
                  </a:lnTo>
                  <a:lnTo>
                    <a:pt x="0" y="7759992"/>
                  </a:lnTo>
                  <a:lnTo>
                    <a:pt x="1003686" y="7014027"/>
                  </a:lnTo>
                  <a:lnTo>
                    <a:pt x="2902551" y="5829628"/>
                  </a:lnTo>
                  <a:lnTo>
                    <a:pt x="2558940" y="5296197"/>
                  </a:lnTo>
                  <a:lnTo>
                    <a:pt x="2402508" y="4609114"/>
                  </a:lnTo>
                  <a:lnTo>
                    <a:pt x="2730740" y="4581943"/>
                  </a:lnTo>
                  <a:lnTo>
                    <a:pt x="2947754" y="4111798"/>
                  </a:lnTo>
                  <a:lnTo>
                    <a:pt x="3499325" y="3668781"/>
                  </a:lnTo>
                  <a:lnTo>
                    <a:pt x="3680166" y="2791783"/>
                  </a:lnTo>
                  <a:lnTo>
                    <a:pt x="4186528" y="2800819"/>
                  </a:lnTo>
                  <a:lnTo>
                    <a:pt x="4837569" y="3270969"/>
                  </a:lnTo>
                  <a:lnTo>
                    <a:pt x="5352976" y="3189602"/>
                  </a:lnTo>
                  <a:lnTo>
                    <a:pt x="5741786" y="2818907"/>
                  </a:lnTo>
                  <a:lnTo>
                    <a:pt x="6157723" y="2656166"/>
                  </a:lnTo>
                  <a:lnTo>
                    <a:pt x="6745471" y="2086573"/>
                  </a:lnTo>
                  <a:lnTo>
                    <a:pt x="6890140" y="1236697"/>
                  </a:lnTo>
                  <a:lnTo>
                    <a:pt x="7568305" y="667103"/>
                  </a:lnTo>
                  <a:lnTo>
                    <a:pt x="8502979" y="0"/>
                  </a:lnTo>
                  <a:lnTo>
                    <a:pt x="8856118" y="605946"/>
                  </a:lnTo>
                  <a:lnTo>
                    <a:pt x="9078849" y="1219510"/>
                  </a:lnTo>
                  <a:lnTo>
                    <a:pt x="9086459" y="1767488"/>
                  </a:lnTo>
                  <a:lnTo>
                    <a:pt x="9761321" y="1670342"/>
                  </a:lnTo>
                  <a:lnTo>
                    <a:pt x="10152517" y="2468612"/>
                  </a:lnTo>
                  <a:lnTo>
                    <a:pt x="11109603" y="2840086"/>
                  </a:lnTo>
                  <a:lnTo>
                    <a:pt x="11919572" y="3113608"/>
                  </a:lnTo>
                  <a:lnTo>
                    <a:pt x="12868275" y="2868397"/>
                  </a:lnTo>
                  <a:lnTo>
                    <a:pt x="13844296" y="2266562"/>
                  </a:lnTo>
                  <a:lnTo>
                    <a:pt x="13886291" y="1432194"/>
                  </a:lnTo>
                  <a:lnTo>
                    <a:pt x="14370431" y="1940546"/>
                  </a:lnTo>
                  <a:lnTo>
                    <a:pt x="15323320" y="2038819"/>
                  </a:lnTo>
                  <a:lnTo>
                    <a:pt x="16350939" y="2163678"/>
                  </a:lnTo>
                  <a:lnTo>
                    <a:pt x="16362364" y="2470958"/>
                  </a:lnTo>
                  <a:lnTo>
                    <a:pt x="16682563" y="2908861"/>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9" name="任意多边形 100">
              <a:extLst>
                <a:ext uri="{FF2B5EF4-FFF2-40B4-BE49-F238E27FC236}">
                  <a16:creationId xmlns:a16="http://schemas.microsoft.com/office/drawing/2014/main" id="{6A5A5368-40BC-EEC9-B6D9-E0668AA105BB}"/>
                </a:ext>
              </a:extLst>
            </p:cNvPr>
            <p:cNvSpPr>
              <a:spLocks/>
            </p:cNvSpPr>
            <p:nvPr/>
          </p:nvSpPr>
          <p:spPr bwMode="auto">
            <a:xfrm>
              <a:off x="9033346" y="1396896"/>
              <a:ext cx="1968177" cy="2589199"/>
            </a:xfrm>
            <a:custGeom>
              <a:avLst/>
              <a:gdLst>
                <a:gd name="connsiteX0" fmla="*/ 477776 w 18447968"/>
                <a:gd name="connsiteY0" fmla="*/ 7436569 h 15946069"/>
                <a:gd name="connsiteX1" fmla="*/ 271294 w 18447968"/>
                <a:gd name="connsiteY1" fmla="*/ 8060457 h 15946069"/>
                <a:gd name="connsiteX2" fmla="*/ 379812 w 18447968"/>
                <a:gd name="connsiteY2" fmla="*/ 8675382 h 15946069"/>
                <a:gd name="connsiteX3" fmla="*/ 759624 w 18447968"/>
                <a:gd name="connsiteY3" fmla="*/ 9217969 h 15946069"/>
                <a:gd name="connsiteX4" fmla="*/ 687278 w 18447968"/>
                <a:gd name="connsiteY4" fmla="*/ 9670126 h 15946069"/>
                <a:gd name="connsiteX5" fmla="*/ 144687 w 18447968"/>
                <a:gd name="connsiteY5" fmla="*/ 9941420 h 15946069"/>
                <a:gd name="connsiteX6" fmla="*/ 343643 w 18447968"/>
                <a:gd name="connsiteY6" fmla="*/ 10592536 h 15946069"/>
                <a:gd name="connsiteX7" fmla="*/ 940487 w 18447968"/>
                <a:gd name="connsiteY7" fmla="*/ 10954252 h 15946069"/>
                <a:gd name="connsiteX8" fmla="*/ 596844 w 18447968"/>
                <a:gd name="connsiteY8" fmla="*/ 11786221 h 15946069"/>
                <a:gd name="connsiteX9" fmla="*/ 633017 w 18447968"/>
                <a:gd name="connsiteY9" fmla="*/ 12780969 h 15946069"/>
                <a:gd name="connsiteX10" fmla="*/ 198944 w 18447968"/>
                <a:gd name="connsiteY10" fmla="*/ 13341645 h 15946069"/>
                <a:gd name="connsiteX11" fmla="*/ 723451 w 18447968"/>
                <a:gd name="connsiteY11" fmla="*/ 13757629 h 15946069"/>
                <a:gd name="connsiteX12" fmla="*/ 1640036 w 18447968"/>
                <a:gd name="connsiteY12" fmla="*/ 13197151 h 15946069"/>
                <a:gd name="connsiteX13" fmla="*/ 1880971 w 18447968"/>
                <a:gd name="connsiteY13" fmla="*/ 13395906 h 15946069"/>
                <a:gd name="connsiteX14" fmla="*/ 2930086 w 18447968"/>
                <a:gd name="connsiteY14" fmla="*/ 12952832 h 15946069"/>
                <a:gd name="connsiteX15" fmla="*/ 3828256 w 18447968"/>
                <a:gd name="connsiteY15" fmla="*/ 13245188 h 15946069"/>
                <a:gd name="connsiteX16" fmla="*/ 4768739 w 18447968"/>
                <a:gd name="connsiteY16" fmla="*/ 13040205 h 15946069"/>
                <a:gd name="connsiteX17" fmla="*/ 5190751 w 18447968"/>
                <a:gd name="connsiteY17" fmla="*/ 13649115 h 15946069"/>
                <a:gd name="connsiteX18" fmla="*/ 5932290 w 18447968"/>
                <a:gd name="connsiteY18" fmla="*/ 13444132 h 15946069"/>
                <a:gd name="connsiteX19" fmla="*/ 6498992 w 18447968"/>
                <a:gd name="connsiteY19" fmla="*/ 12991975 h 15946069"/>
                <a:gd name="connsiteX20" fmla="*/ 7373161 w 18447968"/>
                <a:gd name="connsiteY20" fmla="*/ 13582800 h 15946069"/>
                <a:gd name="connsiteX21" fmla="*/ 8512588 w 18447968"/>
                <a:gd name="connsiteY21" fmla="*/ 13570738 h 15946069"/>
                <a:gd name="connsiteX22" fmla="*/ 9416903 w 18447968"/>
                <a:gd name="connsiteY22" fmla="*/ 13281357 h 15946069"/>
                <a:gd name="connsiteX23" fmla="*/ 9742454 w 18447968"/>
                <a:gd name="connsiteY23" fmla="*/ 14004811 h 15946069"/>
                <a:gd name="connsiteX24" fmla="*/ 10080066 w 18447968"/>
                <a:gd name="connsiteY24" fmla="*/ 14716204 h 15946069"/>
                <a:gd name="connsiteX25" fmla="*/ 10616683 w 18447968"/>
                <a:gd name="connsiteY25" fmla="*/ 15358294 h 15946069"/>
                <a:gd name="connsiteX26" fmla="*/ 11117010 w 18447968"/>
                <a:gd name="connsiteY26" fmla="*/ 15946069 h 15946069"/>
                <a:gd name="connsiteX27" fmla="*/ 11593335 w 18447968"/>
                <a:gd name="connsiteY27" fmla="*/ 15822497 h 15946069"/>
                <a:gd name="connsiteX28" fmla="*/ 11780218 w 18447968"/>
                <a:gd name="connsiteY28" fmla="*/ 13579811 h 15946069"/>
                <a:gd name="connsiteX29" fmla="*/ 11954994 w 18447968"/>
                <a:gd name="connsiteY29" fmla="*/ 12135890 h 15946069"/>
                <a:gd name="connsiteX30" fmla="*/ 12196146 w 18447968"/>
                <a:gd name="connsiteY30" fmla="*/ 11388328 h 15946069"/>
                <a:gd name="connsiteX31" fmla="*/ 13166775 w 18447968"/>
                <a:gd name="connsiteY31" fmla="*/ 11707856 h 15946069"/>
                <a:gd name="connsiteX32" fmla="*/ 14004775 w 18447968"/>
                <a:gd name="connsiteY32" fmla="*/ 11611395 h 15946069"/>
                <a:gd name="connsiteX33" fmla="*/ 14939235 w 18447968"/>
                <a:gd name="connsiteY33" fmla="*/ 11322014 h 15946069"/>
                <a:gd name="connsiteX34" fmla="*/ 15409477 w 18447968"/>
                <a:gd name="connsiteY34" fmla="*/ 11882693 h 15946069"/>
                <a:gd name="connsiteX35" fmla="*/ 15861634 w 18447968"/>
                <a:gd name="connsiteY35" fmla="*/ 11273783 h 15946069"/>
                <a:gd name="connsiteX36" fmla="*/ 16413199 w 18447968"/>
                <a:gd name="connsiteY36" fmla="*/ 10920339 h 15946069"/>
                <a:gd name="connsiteX37" fmla="*/ 16765948 w 18447968"/>
                <a:gd name="connsiteY37" fmla="*/ 10200671 h 15946069"/>
                <a:gd name="connsiteX38" fmla="*/ 16428336 w 18447968"/>
                <a:gd name="connsiteY38" fmla="*/ 9374732 h 15946069"/>
                <a:gd name="connsiteX39" fmla="*/ 15946033 w 18447968"/>
                <a:gd name="connsiteY39" fmla="*/ 8440272 h 15946069"/>
                <a:gd name="connsiteX40" fmla="*/ 16024409 w 18447968"/>
                <a:gd name="connsiteY40" fmla="*/ 7433474 h 15946069"/>
                <a:gd name="connsiteX41" fmla="*/ 16958870 w 18447968"/>
                <a:gd name="connsiteY41" fmla="*/ 6776350 h 15946069"/>
                <a:gd name="connsiteX42" fmla="*/ 17911414 w 18447968"/>
                <a:gd name="connsiteY42" fmla="*/ 6083041 h 15946069"/>
                <a:gd name="connsiteX43" fmla="*/ 17694370 w 18447968"/>
                <a:gd name="connsiteY43" fmla="*/ 5570592 h 15946069"/>
                <a:gd name="connsiteX44" fmla="*/ 17385711 w 18447968"/>
                <a:gd name="connsiteY44" fmla="*/ 5219213 h 15946069"/>
                <a:gd name="connsiteX45" fmla="*/ 17637701 w 18447968"/>
                <a:gd name="connsiteY45" fmla="*/ 4819407 h 15946069"/>
                <a:gd name="connsiteX46" fmla="*/ 18171858 w 18447968"/>
                <a:gd name="connsiteY46" fmla="*/ 4701949 h 15946069"/>
                <a:gd name="connsiteX47" fmla="*/ 18447970 w 18447968"/>
                <a:gd name="connsiteY47" fmla="*/ 4316604 h 15946069"/>
                <a:gd name="connsiteX48" fmla="*/ 17814953 w 18447968"/>
                <a:gd name="connsiteY48" fmla="*/ 4117660 h 15946069"/>
                <a:gd name="connsiteX49" fmla="*/ 17067422 w 18447968"/>
                <a:gd name="connsiteY49" fmla="*/ 3472551 h 15946069"/>
                <a:gd name="connsiteX50" fmla="*/ 16852763 w 18447968"/>
                <a:gd name="connsiteY50" fmla="*/ 3282076 h 15946069"/>
                <a:gd name="connsiteX51" fmla="*/ 16161870 w 18447968"/>
                <a:gd name="connsiteY51" fmla="*/ 4063407 h 15946069"/>
                <a:gd name="connsiteX52" fmla="*/ 14429201 w 18447968"/>
                <a:gd name="connsiteY52" fmla="*/ 4027238 h 15946069"/>
                <a:gd name="connsiteX53" fmla="*/ 13383819 w 18447968"/>
                <a:gd name="connsiteY53" fmla="*/ 2963756 h 15946069"/>
                <a:gd name="connsiteX54" fmla="*/ 12493981 w 18447968"/>
                <a:gd name="connsiteY54" fmla="*/ 2927587 h 15946069"/>
                <a:gd name="connsiteX55" fmla="*/ 11976717 w 18447968"/>
                <a:gd name="connsiteY55" fmla="*/ 2139025 h 15946069"/>
                <a:gd name="connsiteX56" fmla="*/ 11484768 w 18447968"/>
                <a:gd name="connsiteY56" fmla="*/ 1495155 h 15946069"/>
                <a:gd name="connsiteX57" fmla="*/ 10830043 w 18447968"/>
                <a:gd name="connsiteY57" fmla="*/ 1256418 h 15946069"/>
                <a:gd name="connsiteX58" fmla="*/ 10323633 w 18447968"/>
                <a:gd name="connsiteY58" fmla="*/ 1220249 h 15946069"/>
                <a:gd name="connsiteX59" fmla="*/ 9802745 w 18447968"/>
                <a:gd name="connsiteY59" fmla="*/ 1603676 h 15946069"/>
                <a:gd name="connsiteX60" fmla="*/ 9223982 w 18447968"/>
                <a:gd name="connsiteY60" fmla="*/ 1621761 h 15946069"/>
                <a:gd name="connsiteX61" fmla="*/ 8782678 w 18447968"/>
                <a:gd name="connsiteY61" fmla="*/ 2171586 h 15946069"/>
                <a:gd name="connsiteX62" fmla="*/ 8272645 w 18447968"/>
                <a:gd name="connsiteY62" fmla="*/ 2102856 h 15946069"/>
                <a:gd name="connsiteX63" fmla="*/ 7853048 w 18447968"/>
                <a:gd name="connsiteY63" fmla="*/ 2526075 h 15946069"/>
                <a:gd name="connsiteX64" fmla="*/ 7323799 w 18447968"/>
                <a:gd name="connsiteY64" fmla="*/ 2632907 h 15946069"/>
                <a:gd name="connsiteX65" fmla="*/ 6977672 w 18447968"/>
                <a:gd name="connsiteY65" fmla="*/ 2178817 h 15946069"/>
                <a:gd name="connsiteX66" fmla="*/ 6594245 w 18447968"/>
                <a:gd name="connsiteY66" fmla="*/ 2055834 h 15946069"/>
                <a:gd name="connsiteX67" fmla="*/ 6431470 w 18447968"/>
                <a:gd name="connsiteY67" fmla="*/ 1314295 h 15946069"/>
                <a:gd name="connsiteX68" fmla="*/ 5642908 w 18447968"/>
                <a:gd name="connsiteY68" fmla="*/ 1343233 h 15946069"/>
                <a:gd name="connsiteX69" fmla="*/ 5150959 w 18447968"/>
                <a:gd name="connsiteY69" fmla="*/ 1610907 h 15946069"/>
                <a:gd name="connsiteX70" fmla="*/ 5480133 w 18447968"/>
                <a:gd name="connsiteY70" fmla="*/ 2167963 h 15946069"/>
                <a:gd name="connsiteX71" fmla="*/ 4742216 w 18447968"/>
                <a:gd name="connsiteY71" fmla="*/ 2862495 h 15946069"/>
                <a:gd name="connsiteX72" fmla="*/ 2658667 w 18447968"/>
                <a:gd name="connsiteY72" fmla="*/ 0 h 15946069"/>
                <a:gd name="connsiteX73" fmla="*/ 2658682 w 18447968"/>
                <a:gd name="connsiteY73" fmla="*/ 1018890 h 15946069"/>
                <a:gd name="connsiteX74" fmla="*/ 1850829 w 18447968"/>
                <a:gd name="connsiteY74" fmla="*/ 1730283 h 15946069"/>
                <a:gd name="connsiteX75" fmla="*/ 1404694 w 18447968"/>
                <a:gd name="connsiteY75" fmla="*/ 2272862 h 15946069"/>
                <a:gd name="connsiteX76" fmla="*/ 2351216 w 18447968"/>
                <a:gd name="connsiteY76" fmla="*/ 3388182 h 15946069"/>
                <a:gd name="connsiteX77" fmla="*/ 2658682 w 18447968"/>
                <a:gd name="connsiteY77" fmla="*/ 4286458 h 15946069"/>
                <a:gd name="connsiteX78" fmla="*/ 1935228 w 18447968"/>
                <a:gd name="connsiteY78" fmla="*/ 5220918 h 15946069"/>
                <a:gd name="connsiteX79" fmla="*/ 875281 w 18447968"/>
                <a:gd name="connsiteY79" fmla="*/ 5166646 h 15946069"/>
                <a:gd name="connsiteX80" fmla="*/ 0 w 18447968"/>
                <a:gd name="connsiteY80" fmla="*/ 5890112 h 15946069"/>
                <a:gd name="connsiteX81" fmla="*/ 72345 w 18447968"/>
                <a:gd name="connsiteY81" fmla="*/ 6921032 h 15946069"/>
                <a:gd name="connsiteX82" fmla="*/ 477776 w 18447968"/>
                <a:gd name="connsiteY82" fmla="*/ 7436569 h 15946069"/>
                <a:gd name="connsiteX0" fmla="*/ 477776 w 18447968"/>
                <a:gd name="connsiteY0" fmla="*/ 7436569 h 15946069"/>
                <a:gd name="connsiteX1" fmla="*/ 271294 w 18447968"/>
                <a:gd name="connsiteY1" fmla="*/ 8060457 h 15946069"/>
                <a:gd name="connsiteX2" fmla="*/ 379812 w 18447968"/>
                <a:gd name="connsiteY2" fmla="*/ 8675382 h 15946069"/>
                <a:gd name="connsiteX3" fmla="*/ 759624 w 18447968"/>
                <a:gd name="connsiteY3" fmla="*/ 9217969 h 15946069"/>
                <a:gd name="connsiteX4" fmla="*/ 687278 w 18447968"/>
                <a:gd name="connsiteY4" fmla="*/ 9670126 h 15946069"/>
                <a:gd name="connsiteX5" fmla="*/ 144687 w 18447968"/>
                <a:gd name="connsiteY5" fmla="*/ 9941420 h 15946069"/>
                <a:gd name="connsiteX6" fmla="*/ 343643 w 18447968"/>
                <a:gd name="connsiteY6" fmla="*/ 10592536 h 15946069"/>
                <a:gd name="connsiteX7" fmla="*/ 940487 w 18447968"/>
                <a:gd name="connsiteY7" fmla="*/ 10954252 h 15946069"/>
                <a:gd name="connsiteX8" fmla="*/ 596844 w 18447968"/>
                <a:gd name="connsiteY8" fmla="*/ 11786221 h 15946069"/>
                <a:gd name="connsiteX9" fmla="*/ 633017 w 18447968"/>
                <a:gd name="connsiteY9" fmla="*/ 12780969 h 15946069"/>
                <a:gd name="connsiteX10" fmla="*/ 198944 w 18447968"/>
                <a:gd name="connsiteY10" fmla="*/ 13341645 h 15946069"/>
                <a:gd name="connsiteX11" fmla="*/ 723451 w 18447968"/>
                <a:gd name="connsiteY11" fmla="*/ 13757629 h 15946069"/>
                <a:gd name="connsiteX12" fmla="*/ 1640036 w 18447968"/>
                <a:gd name="connsiteY12" fmla="*/ 13197151 h 15946069"/>
                <a:gd name="connsiteX13" fmla="*/ 1880971 w 18447968"/>
                <a:gd name="connsiteY13" fmla="*/ 13395906 h 15946069"/>
                <a:gd name="connsiteX14" fmla="*/ 2930086 w 18447968"/>
                <a:gd name="connsiteY14" fmla="*/ 12952832 h 15946069"/>
                <a:gd name="connsiteX15" fmla="*/ 3828256 w 18447968"/>
                <a:gd name="connsiteY15" fmla="*/ 13245188 h 15946069"/>
                <a:gd name="connsiteX16" fmla="*/ 4768739 w 18447968"/>
                <a:gd name="connsiteY16" fmla="*/ 13040205 h 15946069"/>
                <a:gd name="connsiteX17" fmla="*/ 5190751 w 18447968"/>
                <a:gd name="connsiteY17" fmla="*/ 13649115 h 15946069"/>
                <a:gd name="connsiteX18" fmla="*/ 5932290 w 18447968"/>
                <a:gd name="connsiteY18" fmla="*/ 13444132 h 15946069"/>
                <a:gd name="connsiteX19" fmla="*/ 6498992 w 18447968"/>
                <a:gd name="connsiteY19" fmla="*/ 12991975 h 15946069"/>
                <a:gd name="connsiteX20" fmla="*/ 7373161 w 18447968"/>
                <a:gd name="connsiteY20" fmla="*/ 13582800 h 15946069"/>
                <a:gd name="connsiteX21" fmla="*/ 8512588 w 18447968"/>
                <a:gd name="connsiteY21" fmla="*/ 13570738 h 15946069"/>
                <a:gd name="connsiteX22" fmla="*/ 9416903 w 18447968"/>
                <a:gd name="connsiteY22" fmla="*/ 13281357 h 15946069"/>
                <a:gd name="connsiteX23" fmla="*/ 9742454 w 18447968"/>
                <a:gd name="connsiteY23" fmla="*/ 14004811 h 15946069"/>
                <a:gd name="connsiteX24" fmla="*/ 10080066 w 18447968"/>
                <a:gd name="connsiteY24" fmla="*/ 14716204 h 15946069"/>
                <a:gd name="connsiteX25" fmla="*/ 10616683 w 18447968"/>
                <a:gd name="connsiteY25" fmla="*/ 15358294 h 15946069"/>
                <a:gd name="connsiteX26" fmla="*/ 11117010 w 18447968"/>
                <a:gd name="connsiteY26" fmla="*/ 15946069 h 15946069"/>
                <a:gd name="connsiteX27" fmla="*/ 11593335 w 18447968"/>
                <a:gd name="connsiteY27" fmla="*/ 15822497 h 15946069"/>
                <a:gd name="connsiteX28" fmla="*/ 11780218 w 18447968"/>
                <a:gd name="connsiteY28" fmla="*/ 13579811 h 15946069"/>
                <a:gd name="connsiteX29" fmla="*/ 11954994 w 18447968"/>
                <a:gd name="connsiteY29" fmla="*/ 12135890 h 15946069"/>
                <a:gd name="connsiteX30" fmla="*/ 12196146 w 18447968"/>
                <a:gd name="connsiteY30" fmla="*/ 11388328 h 15946069"/>
                <a:gd name="connsiteX31" fmla="*/ 13166775 w 18447968"/>
                <a:gd name="connsiteY31" fmla="*/ 11707856 h 15946069"/>
                <a:gd name="connsiteX32" fmla="*/ 14004775 w 18447968"/>
                <a:gd name="connsiteY32" fmla="*/ 11611395 h 15946069"/>
                <a:gd name="connsiteX33" fmla="*/ 14939235 w 18447968"/>
                <a:gd name="connsiteY33" fmla="*/ 11322014 h 15946069"/>
                <a:gd name="connsiteX34" fmla="*/ 15409477 w 18447968"/>
                <a:gd name="connsiteY34" fmla="*/ 11882693 h 15946069"/>
                <a:gd name="connsiteX35" fmla="*/ 15861634 w 18447968"/>
                <a:gd name="connsiteY35" fmla="*/ 11273783 h 15946069"/>
                <a:gd name="connsiteX36" fmla="*/ 16413199 w 18447968"/>
                <a:gd name="connsiteY36" fmla="*/ 10920339 h 15946069"/>
                <a:gd name="connsiteX37" fmla="*/ 16765948 w 18447968"/>
                <a:gd name="connsiteY37" fmla="*/ 10200671 h 15946069"/>
                <a:gd name="connsiteX38" fmla="*/ 16428336 w 18447968"/>
                <a:gd name="connsiteY38" fmla="*/ 9374732 h 15946069"/>
                <a:gd name="connsiteX39" fmla="*/ 15946033 w 18447968"/>
                <a:gd name="connsiteY39" fmla="*/ 8440272 h 15946069"/>
                <a:gd name="connsiteX40" fmla="*/ 16024409 w 18447968"/>
                <a:gd name="connsiteY40" fmla="*/ 7433474 h 15946069"/>
                <a:gd name="connsiteX41" fmla="*/ 16958870 w 18447968"/>
                <a:gd name="connsiteY41" fmla="*/ 6776350 h 15946069"/>
                <a:gd name="connsiteX42" fmla="*/ 17911414 w 18447968"/>
                <a:gd name="connsiteY42" fmla="*/ 6083041 h 15946069"/>
                <a:gd name="connsiteX43" fmla="*/ 17694370 w 18447968"/>
                <a:gd name="connsiteY43" fmla="*/ 5570592 h 15946069"/>
                <a:gd name="connsiteX44" fmla="*/ 17385711 w 18447968"/>
                <a:gd name="connsiteY44" fmla="*/ 5219213 h 15946069"/>
                <a:gd name="connsiteX45" fmla="*/ 17637701 w 18447968"/>
                <a:gd name="connsiteY45" fmla="*/ 4819407 h 15946069"/>
                <a:gd name="connsiteX46" fmla="*/ 18171858 w 18447968"/>
                <a:gd name="connsiteY46" fmla="*/ 4701949 h 15946069"/>
                <a:gd name="connsiteX47" fmla="*/ 18447970 w 18447968"/>
                <a:gd name="connsiteY47" fmla="*/ 4316604 h 15946069"/>
                <a:gd name="connsiteX48" fmla="*/ 17814953 w 18447968"/>
                <a:gd name="connsiteY48" fmla="*/ 4117660 h 15946069"/>
                <a:gd name="connsiteX49" fmla="*/ 17067422 w 18447968"/>
                <a:gd name="connsiteY49" fmla="*/ 3472551 h 15946069"/>
                <a:gd name="connsiteX50" fmla="*/ 16852763 w 18447968"/>
                <a:gd name="connsiteY50" fmla="*/ 3282076 h 15946069"/>
                <a:gd name="connsiteX51" fmla="*/ 14429201 w 18447968"/>
                <a:gd name="connsiteY51" fmla="*/ 4027238 h 15946069"/>
                <a:gd name="connsiteX52" fmla="*/ 13383819 w 18447968"/>
                <a:gd name="connsiteY52" fmla="*/ 2963756 h 15946069"/>
                <a:gd name="connsiteX53" fmla="*/ 12493981 w 18447968"/>
                <a:gd name="connsiteY53" fmla="*/ 2927587 h 15946069"/>
                <a:gd name="connsiteX54" fmla="*/ 11976717 w 18447968"/>
                <a:gd name="connsiteY54" fmla="*/ 2139025 h 15946069"/>
                <a:gd name="connsiteX55" fmla="*/ 11484768 w 18447968"/>
                <a:gd name="connsiteY55" fmla="*/ 1495155 h 15946069"/>
                <a:gd name="connsiteX56" fmla="*/ 10830043 w 18447968"/>
                <a:gd name="connsiteY56" fmla="*/ 1256418 h 15946069"/>
                <a:gd name="connsiteX57" fmla="*/ 10323633 w 18447968"/>
                <a:gd name="connsiteY57" fmla="*/ 1220249 h 15946069"/>
                <a:gd name="connsiteX58" fmla="*/ 9802745 w 18447968"/>
                <a:gd name="connsiteY58" fmla="*/ 1603676 h 15946069"/>
                <a:gd name="connsiteX59" fmla="*/ 9223982 w 18447968"/>
                <a:gd name="connsiteY59" fmla="*/ 1621761 h 15946069"/>
                <a:gd name="connsiteX60" fmla="*/ 8782678 w 18447968"/>
                <a:gd name="connsiteY60" fmla="*/ 2171586 h 15946069"/>
                <a:gd name="connsiteX61" fmla="*/ 8272645 w 18447968"/>
                <a:gd name="connsiteY61" fmla="*/ 2102856 h 15946069"/>
                <a:gd name="connsiteX62" fmla="*/ 7853048 w 18447968"/>
                <a:gd name="connsiteY62" fmla="*/ 2526075 h 15946069"/>
                <a:gd name="connsiteX63" fmla="*/ 7323799 w 18447968"/>
                <a:gd name="connsiteY63" fmla="*/ 2632907 h 15946069"/>
                <a:gd name="connsiteX64" fmla="*/ 6977672 w 18447968"/>
                <a:gd name="connsiteY64" fmla="*/ 2178817 h 15946069"/>
                <a:gd name="connsiteX65" fmla="*/ 6594245 w 18447968"/>
                <a:gd name="connsiteY65" fmla="*/ 2055834 h 15946069"/>
                <a:gd name="connsiteX66" fmla="*/ 6431470 w 18447968"/>
                <a:gd name="connsiteY66" fmla="*/ 1314295 h 15946069"/>
                <a:gd name="connsiteX67" fmla="*/ 5642908 w 18447968"/>
                <a:gd name="connsiteY67" fmla="*/ 1343233 h 15946069"/>
                <a:gd name="connsiteX68" fmla="*/ 5150959 w 18447968"/>
                <a:gd name="connsiteY68" fmla="*/ 1610907 h 15946069"/>
                <a:gd name="connsiteX69" fmla="*/ 5480133 w 18447968"/>
                <a:gd name="connsiteY69" fmla="*/ 2167963 h 15946069"/>
                <a:gd name="connsiteX70" fmla="*/ 4742216 w 18447968"/>
                <a:gd name="connsiteY70" fmla="*/ 2862495 h 15946069"/>
                <a:gd name="connsiteX71" fmla="*/ 2658667 w 18447968"/>
                <a:gd name="connsiteY71" fmla="*/ 0 h 15946069"/>
                <a:gd name="connsiteX72" fmla="*/ 2658682 w 18447968"/>
                <a:gd name="connsiteY72" fmla="*/ 1018890 h 15946069"/>
                <a:gd name="connsiteX73" fmla="*/ 1850829 w 18447968"/>
                <a:gd name="connsiteY73" fmla="*/ 1730283 h 15946069"/>
                <a:gd name="connsiteX74" fmla="*/ 1404694 w 18447968"/>
                <a:gd name="connsiteY74" fmla="*/ 2272862 h 15946069"/>
                <a:gd name="connsiteX75" fmla="*/ 2351216 w 18447968"/>
                <a:gd name="connsiteY75" fmla="*/ 3388182 h 15946069"/>
                <a:gd name="connsiteX76" fmla="*/ 2658682 w 18447968"/>
                <a:gd name="connsiteY76" fmla="*/ 4286458 h 15946069"/>
                <a:gd name="connsiteX77" fmla="*/ 1935228 w 18447968"/>
                <a:gd name="connsiteY77" fmla="*/ 5220918 h 15946069"/>
                <a:gd name="connsiteX78" fmla="*/ 875281 w 18447968"/>
                <a:gd name="connsiteY78" fmla="*/ 5166646 h 15946069"/>
                <a:gd name="connsiteX79" fmla="*/ 0 w 18447968"/>
                <a:gd name="connsiteY79" fmla="*/ 5890112 h 15946069"/>
                <a:gd name="connsiteX80" fmla="*/ 72345 w 18447968"/>
                <a:gd name="connsiteY80" fmla="*/ 6921032 h 15946069"/>
                <a:gd name="connsiteX81" fmla="*/ 477776 w 18447968"/>
                <a:gd name="connsiteY81" fmla="*/ 7436569 h 15946069"/>
                <a:gd name="connsiteX0" fmla="*/ 477776 w 18447968"/>
                <a:gd name="connsiteY0" fmla="*/ 7436569 h 15946069"/>
                <a:gd name="connsiteX1" fmla="*/ 271294 w 18447968"/>
                <a:gd name="connsiteY1" fmla="*/ 8060457 h 15946069"/>
                <a:gd name="connsiteX2" fmla="*/ 379812 w 18447968"/>
                <a:gd name="connsiteY2" fmla="*/ 8675382 h 15946069"/>
                <a:gd name="connsiteX3" fmla="*/ 759624 w 18447968"/>
                <a:gd name="connsiteY3" fmla="*/ 9217969 h 15946069"/>
                <a:gd name="connsiteX4" fmla="*/ 687278 w 18447968"/>
                <a:gd name="connsiteY4" fmla="*/ 9670126 h 15946069"/>
                <a:gd name="connsiteX5" fmla="*/ 144687 w 18447968"/>
                <a:gd name="connsiteY5" fmla="*/ 9941420 h 15946069"/>
                <a:gd name="connsiteX6" fmla="*/ 343643 w 18447968"/>
                <a:gd name="connsiteY6" fmla="*/ 10592536 h 15946069"/>
                <a:gd name="connsiteX7" fmla="*/ 940487 w 18447968"/>
                <a:gd name="connsiteY7" fmla="*/ 10954252 h 15946069"/>
                <a:gd name="connsiteX8" fmla="*/ 596844 w 18447968"/>
                <a:gd name="connsiteY8" fmla="*/ 11786221 h 15946069"/>
                <a:gd name="connsiteX9" fmla="*/ 633017 w 18447968"/>
                <a:gd name="connsiteY9" fmla="*/ 12780969 h 15946069"/>
                <a:gd name="connsiteX10" fmla="*/ 198944 w 18447968"/>
                <a:gd name="connsiteY10" fmla="*/ 13341645 h 15946069"/>
                <a:gd name="connsiteX11" fmla="*/ 723451 w 18447968"/>
                <a:gd name="connsiteY11" fmla="*/ 13757629 h 15946069"/>
                <a:gd name="connsiteX12" fmla="*/ 1640036 w 18447968"/>
                <a:gd name="connsiteY12" fmla="*/ 13197151 h 15946069"/>
                <a:gd name="connsiteX13" fmla="*/ 1880971 w 18447968"/>
                <a:gd name="connsiteY13" fmla="*/ 13395906 h 15946069"/>
                <a:gd name="connsiteX14" fmla="*/ 2930086 w 18447968"/>
                <a:gd name="connsiteY14" fmla="*/ 12952832 h 15946069"/>
                <a:gd name="connsiteX15" fmla="*/ 3828256 w 18447968"/>
                <a:gd name="connsiteY15" fmla="*/ 13245188 h 15946069"/>
                <a:gd name="connsiteX16" fmla="*/ 4768739 w 18447968"/>
                <a:gd name="connsiteY16" fmla="*/ 13040205 h 15946069"/>
                <a:gd name="connsiteX17" fmla="*/ 5190751 w 18447968"/>
                <a:gd name="connsiteY17" fmla="*/ 13649115 h 15946069"/>
                <a:gd name="connsiteX18" fmla="*/ 5932290 w 18447968"/>
                <a:gd name="connsiteY18" fmla="*/ 13444132 h 15946069"/>
                <a:gd name="connsiteX19" fmla="*/ 6498992 w 18447968"/>
                <a:gd name="connsiteY19" fmla="*/ 12991975 h 15946069"/>
                <a:gd name="connsiteX20" fmla="*/ 7373161 w 18447968"/>
                <a:gd name="connsiteY20" fmla="*/ 13582800 h 15946069"/>
                <a:gd name="connsiteX21" fmla="*/ 8512588 w 18447968"/>
                <a:gd name="connsiteY21" fmla="*/ 13570738 h 15946069"/>
                <a:gd name="connsiteX22" fmla="*/ 9416903 w 18447968"/>
                <a:gd name="connsiteY22" fmla="*/ 13281357 h 15946069"/>
                <a:gd name="connsiteX23" fmla="*/ 9742454 w 18447968"/>
                <a:gd name="connsiteY23" fmla="*/ 14004811 h 15946069"/>
                <a:gd name="connsiteX24" fmla="*/ 10080066 w 18447968"/>
                <a:gd name="connsiteY24" fmla="*/ 14716204 h 15946069"/>
                <a:gd name="connsiteX25" fmla="*/ 10616683 w 18447968"/>
                <a:gd name="connsiteY25" fmla="*/ 15358294 h 15946069"/>
                <a:gd name="connsiteX26" fmla="*/ 11117010 w 18447968"/>
                <a:gd name="connsiteY26" fmla="*/ 15946069 h 15946069"/>
                <a:gd name="connsiteX27" fmla="*/ 11593335 w 18447968"/>
                <a:gd name="connsiteY27" fmla="*/ 15822497 h 15946069"/>
                <a:gd name="connsiteX28" fmla="*/ 11780218 w 18447968"/>
                <a:gd name="connsiteY28" fmla="*/ 13579811 h 15946069"/>
                <a:gd name="connsiteX29" fmla="*/ 11954994 w 18447968"/>
                <a:gd name="connsiteY29" fmla="*/ 12135890 h 15946069"/>
                <a:gd name="connsiteX30" fmla="*/ 12196146 w 18447968"/>
                <a:gd name="connsiteY30" fmla="*/ 11388328 h 15946069"/>
                <a:gd name="connsiteX31" fmla="*/ 13166775 w 18447968"/>
                <a:gd name="connsiteY31" fmla="*/ 11707856 h 15946069"/>
                <a:gd name="connsiteX32" fmla="*/ 14004775 w 18447968"/>
                <a:gd name="connsiteY32" fmla="*/ 11611395 h 15946069"/>
                <a:gd name="connsiteX33" fmla="*/ 14939235 w 18447968"/>
                <a:gd name="connsiteY33" fmla="*/ 11322014 h 15946069"/>
                <a:gd name="connsiteX34" fmla="*/ 15409477 w 18447968"/>
                <a:gd name="connsiteY34" fmla="*/ 11882693 h 15946069"/>
                <a:gd name="connsiteX35" fmla="*/ 15861634 w 18447968"/>
                <a:gd name="connsiteY35" fmla="*/ 11273783 h 15946069"/>
                <a:gd name="connsiteX36" fmla="*/ 16413199 w 18447968"/>
                <a:gd name="connsiteY36" fmla="*/ 10920339 h 15946069"/>
                <a:gd name="connsiteX37" fmla="*/ 16765948 w 18447968"/>
                <a:gd name="connsiteY37" fmla="*/ 10200671 h 15946069"/>
                <a:gd name="connsiteX38" fmla="*/ 16428336 w 18447968"/>
                <a:gd name="connsiteY38" fmla="*/ 9374732 h 15946069"/>
                <a:gd name="connsiteX39" fmla="*/ 15946033 w 18447968"/>
                <a:gd name="connsiteY39" fmla="*/ 8440272 h 15946069"/>
                <a:gd name="connsiteX40" fmla="*/ 16024409 w 18447968"/>
                <a:gd name="connsiteY40" fmla="*/ 7433474 h 15946069"/>
                <a:gd name="connsiteX41" fmla="*/ 16958870 w 18447968"/>
                <a:gd name="connsiteY41" fmla="*/ 6776350 h 15946069"/>
                <a:gd name="connsiteX42" fmla="*/ 17911414 w 18447968"/>
                <a:gd name="connsiteY42" fmla="*/ 6083041 h 15946069"/>
                <a:gd name="connsiteX43" fmla="*/ 17694370 w 18447968"/>
                <a:gd name="connsiteY43" fmla="*/ 5570592 h 15946069"/>
                <a:gd name="connsiteX44" fmla="*/ 17385711 w 18447968"/>
                <a:gd name="connsiteY44" fmla="*/ 5219213 h 15946069"/>
                <a:gd name="connsiteX45" fmla="*/ 17637701 w 18447968"/>
                <a:gd name="connsiteY45" fmla="*/ 4819407 h 15946069"/>
                <a:gd name="connsiteX46" fmla="*/ 18171858 w 18447968"/>
                <a:gd name="connsiteY46" fmla="*/ 4701949 h 15946069"/>
                <a:gd name="connsiteX47" fmla="*/ 18447970 w 18447968"/>
                <a:gd name="connsiteY47" fmla="*/ 4316604 h 15946069"/>
                <a:gd name="connsiteX48" fmla="*/ 17814953 w 18447968"/>
                <a:gd name="connsiteY48" fmla="*/ 4117660 h 15946069"/>
                <a:gd name="connsiteX49" fmla="*/ 16852763 w 18447968"/>
                <a:gd name="connsiteY49" fmla="*/ 3282076 h 15946069"/>
                <a:gd name="connsiteX50" fmla="*/ 14429201 w 18447968"/>
                <a:gd name="connsiteY50" fmla="*/ 4027238 h 15946069"/>
                <a:gd name="connsiteX51" fmla="*/ 13383819 w 18447968"/>
                <a:gd name="connsiteY51" fmla="*/ 2963756 h 15946069"/>
                <a:gd name="connsiteX52" fmla="*/ 12493981 w 18447968"/>
                <a:gd name="connsiteY52" fmla="*/ 2927587 h 15946069"/>
                <a:gd name="connsiteX53" fmla="*/ 11976717 w 18447968"/>
                <a:gd name="connsiteY53" fmla="*/ 2139025 h 15946069"/>
                <a:gd name="connsiteX54" fmla="*/ 11484768 w 18447968"/>
                <a:gd name="connsiteY54" fmla="*/ 1495155 h 15946069"/>
                <a:gd name="connsiteX55" fmla="*/ 10830043 w 18447968"/>
                <a:gd name="connsiteY55" fmla="*/ 1256418 h 15946069"/>
                <a:gd name="connsiteX56" fmla="*/ 10323633 w 18447968"/>
                <a:gd name="connsiteY56" fmla="*/ 1220249 h 15946069"/>
                <a:gd name="connsiteX57" fmla="*/ 9802745 w 18447968"/>
                <a:gd name="connsiteY57" fmla="*/ 1603676 h 15946069"/>
                <a:gd name="connsiteX58" fmla="*/ 9223982 w 18447968"/>
                <a:gd name="connsiteY58" fmla="*/ 1621761 h 15946069"/>
                <a:gd name="connsiteX59" fmla="*/ 8782678 w 18447968"/>
                <a:gd name="connsiteY59" fmla="*/ 2171586 h 15946069"/>
                <a:gd name="connsiteX60" fmla="*/ 8272645 w 18447968"/>
                <a:gd name="connsiteY60" fmla="*/ 2102856 h 15946069"/>
                <a:gd name="connsiteX61" fmla="*/ 7853048 w 18447968"/>
                <a:gd name="connsiteY61" fmla="*/ 2526075 h 15946069"/>
                <a:gd name="connsiteX62" fmla="*/ 7323799 w 18447968"/>
                <a:gd name="connsiteY62" fmla="*/ 2632907 h 15946069"/>
                <a:gd name="connsiteX63" fmla="*/ 6977672 w 18447968"/>
                <a:gd name="connsiteY63" fmla="*/ 2178817 h 15946069"/>
                <a:gd name="connsiteX64" fmla="*/ 6594245 w 18447968"/>
                <a:gd name="connsiteY64" fmla="*/ 2055834 h 15946069"/>
                <a:gd name="connsiteX65" fmla="*/ 6431470 w 18447968"/>
                <a:gd name="connsiteY65" fmla="*/ 1314295 h 15946069"/>
                <a:gd name="connsiteX66" fmla="*/ 5642908 w 18447968"/>
                <a:gd name="connsiteY66" fmla="*/ 1343233 h 15946069"/>
                <a:gd name="connsiteX67" fmla="*/ 5150959 w 18447968"/>
                <a:gd name="connsiteY67" fmla="*/ 1610907 h 15946069"/>
                <a:gd name="connsiteX68" fmla="*/ 5480133 w 18447968"/>
                <a:gd name="connsiteY68" fmla="*/ 2167963 h 15946069"/>
                <a:gd name="connsiteX69" fmla="*/ 4742216 w 18447968"/>
                <a:gd name="connsiteY69" fmla="*/ 2862495 h 15946069"/>
                <a:gd name="connsiteX70" fmla="*/ 2658667 w 18447968"/>
                <a:gd name="connsiteY70" fmla="*/ 0 h 15946069"/>
                <a:gd name="connsiteX71" fmla="*/ 2658682 w 18447968"/>
                <a:gd name="connsiteY71" fmla="*/ 1018890 h 15946069"/>
                <a:gd name="connsiteX72" fmla="*/ 1850829 w 18447968"/>
                <a:gd name="connsiteY72" fmla="*/ 1730283 h 15946069"/>
                <a:gd name="connsiteX73" fmla="*/ 1404694 w 18447968"/>
                <a:gd name="connsiteY73" fmla="*/ 2272862 h 15946069"/>
                <a:gd name="connsiteX74" fmla="*/ 2351216 w 18447968"/>
                <a:gd name="connsiteY74" fmla="*/ 3388182 h 15946069"/>
                <a:gd name="connsiteX75" fmla="*/ 2658682 w 18447968"/>
                <a:gd name="connsiteY75" fmla="*/ 4286458 h 15946069"/>
                <a:gd name="connsiteX76" fmla="*/ 1935228 w 18447968"/>
                <a:gd name="connsiteY76" fmla="*/ 5220918 h 15946069"/>
                <a:gd name="connsiteX77" fmla="*/ 875281 w 18447968"/>
                <a:gd name="connsiteY77" fmla="*/ 5166646 h 15946069"/>
                <a:gd name="connsiteX78" fmla="*/ 0 w 18447968"/>
                <a:gd name="connsiteY78" fmla="*/ 5890112 h 15946069"/>
                <a:gd name="connsiteX79" fmla="*/ 72345 w 18447968"/>
                <a:gd name="connsiteY79" fmla="*/ 6921032 h 15946069"/>
                <a:gd name="connsiteX80" fmla="*/ 477776 w 18447968"/>
                <a:gd name="connsiteY8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5946033 w 18171859"/>
                <a:gd name="connsiteY39" fmla="*/ 8440272 h 15946069"/>
                <a:gd name="connsiteX40" fmla="*/ 16024409 w 18171859"/>
                <a:gd name="connsiteY40" fmla="*/ 7433474 h 15946069"/>
                <a:gd name="connsiteX41" fmla="*/ 16958870 w 18171859"/>
                <a:gd name="connsiteY41" fmla="*/ 6776350 h 15946069"/>
                <a:gd name="connsiteX42" fmla="*/ 17911414 w 18171859"/>
                <a:gd name="connsiteY42" fmla="*/ 6083041 h 15946069"/>
                <a:gd name="connsiteX43" fmla="*/ 17694370 w 18171859"/>
                <a:gd name="connsiteY43" fmla="*/ 5570592 h 15946069"/>
                <a:gd name="connsiteX44" fmla="*/ 17385711 w 18171859"/>
                <a:gd name="connsiteY44" fmla="*/ 5219213 h 15946069"/>
                <a:gd name="connsiteX45" fmla="*/ 17637701 w 18171859"/>
                <a:gd name="connsiteY45" fmla="*/ 4819407 h 15946069"/>
                <a:gd name="connsiteX46" fmla="*/ 18171858 w 18171859"/>
                <a:gd name="connsiteY46" fmla="*/ 4701949 h 15946069"/>
                <a:gd name="connsiteX47" fmla="*/ 17814953 w 18171859"/>
                <a:gd name="connsiteY47" fmla="*/ 4117660 h 15946069"/>
                <a:gd name="connsiteX48" fmla="*/ 16852763 w 18171859"/>
                <a:gd name="connsiteY48" fmla="*/ 3282076 h 15946069"/>
                <a:gd name="connsiteX49" fmla="*/ 14429201 w 18171859"/>
                <a:gd name="connsiteY49" fmla="*/ 4027238 h 15946069"/>
                <a:gd name="connsiteX50" fmla="*/ 13383819 w 18171859"/>
                <a:gd name="connsiteY50" fmla="*/ 2963756 h 15946069"/>
                <a:gd name="connsiteX51" fmla="*/ 12493981 w 18171859"/>
                <a:gd name="connsiteY51" fmla="*/ 2927587 h 15946069"/>
                <a:gd name="connsiteX52" fmla="*/ 11976717 w 18171859"/>
                <a:gd name="connsiteY52" fmla="*/ 2139025 h 15946069"/>
                <a:gd name="connsiteX53" fmla="*/ 11484768 w 18171859"/>
                <a:gd name="connsiteY53" fmla="*/ 1495155 h 15946069"/>
                <a:gd name="connsiteX54" fmla="*/ 10830043 w 18171859"/>
                <a:gd name="connsiteY54" fmla="*/ 1256418 h 15946069"/>
                <a:gd name="connsiteX55" fmla="*/ 10323633 w 18171859"/>
                <a:gd name="connsiteY55" fmla="*/ 1220249 h 15946069"/>
                <a:gd name="connsiteX56" fmla="*/ 9802745 w 18171859"/>
                <a:gd name="connsiteY56" fmla="*/ 1603676 h 15946069"/>
                <a:gd name="connsiteX57" fmla="*/ 9223982 w 18171859"/>
                <a:gd name="connsiteY57" fmla="*/ 1621761 h 15946069"/>
                <a:gd name="connsiteX58" fmla="*/ 8782678 w 18171859"/>
                <a:gd name="connsiteY58" fmla="*/ 2171586 h 15946069"/>
                <a:gd name="connsiteX59" fmla="*/ 8272645 w 18171859"/>
                <a:gd name="connsiteY59" fmla="*/ 2102856 h 15946069"/>
                <a:gd name="connsiteX60" fmla="*/ 7853048 w 18171859"/>
                <a:gd name="connsiteY60" fmla="*/ 2526075 h 15946069"/>
                <a:gd name="connsiteX61" fmla="*/ 7323799 w 18171859"/>
                <a:gd name="connsiteY61" fmla="*/ 2632907 h 15946069"/>
                <a:gd name="connsiteX62" fmla="*/ 6977672 w 18171859"/>
                <a:gd name="connsiteY62" fmla="*/ 2178817 h 15946069"/>
                <a:gd name="connsiteX63" fmla="*/ 6594245 w 18171859"/>
                <a:gd name="connsiteY63" fmla="*/ 2055834 h 15946069"/>
                <a:gd name="connsiteX64" fmla="*/ 6431470 w 18171859"/>
                <a:gd name="connsiteY64" fmla="*/ 1314295 h 15946069"/>
                <a:gd name="connsiteX65" fmla="*/ 5642908 w 18171859"/>
                <a:gd name="connsiteY65" fmla="*/ 1343233 h 15946069"/>
                <a:gd name="connsiteX66" fmla="*/ 5150959 w 18171859"/>
                <a:gd name="connsiteY66" fmla="*/ 1610907 h 15946069"/>
                <a:gd name="connsiteX67" fmla="*/ 5480133 w 18171859"/>
                <a:gd name="connsiteY67" fmla="*/ 2167963 h 15946069"/>
                <a:gd name="connsiteX68" fmla="*/ 4742216 w 18171859"/>
                <a:gd name="connsiteY68" fmla="*/ 2862495 h 15946069"/>
                <a:gd name="connsiteX69" fmla="*/ 2658667 w 18171859"/>
                <a:gd name="connsiteY69" fmla="*/ 0 h 15946069"/>
                <a:gd name="connsiteX70" fmla="*/ 2658682 w 18171859"/>
                <a:gd name="connsiteY70" fmla="*/ 1018890 h 15946069"/>
                <a:gd name="connsiteX71" fmla="*/ 1850829 w 18171859"/>
                <a:gd name="connsiteY71" fmla="*/ 1730283 h 15946069"/>
                <a:gd name="connsiteX72" fmla="*/ 1404694 w 18171859"/>
                <a:gd name="connsiteY72" fmla="*/ 2272862 h 15946069"/>
                <a:gd name="connsiteX73" fmla="*/ 2351216 w 18171859"/>
                <a:gd name="connsiteY73" fmla="*/ 3388182 h 15946069"/>
                <a:gd name="connsiteX74" fmla="*/ 2658682 w 18171859"/>
                <a:gd name="connsiteY74" fmla="*/ 4286458 h 15946069"/>
                <a:gd name="connsiteX75" fmla="*/ 1935228 w 18171859"/>
                <a:gd name="connsiteY75" fmla="*/ 5220918 h 15946069"/>
                <a:gd name="connsiteX76" fmla="*/ 875281 w 18171859"/>
                <a:gd name="connsiteY76" fmla="*/ 5166646 h 15946069"/>
                <a:gd name="connsiteX77" fmla="*/ 0 w 18171859"/>
                <a:gd name="connsiteY77" fmla="*/ 5890112 h 15946069"/>
                <a:gd name="connsiteX78" fmla="*/ 72345 w 18171859"/>
                <a:gd name="connsiteY78" fmla="*/ 6921032 h 15946069"/>
                <a:gd name="connsiteX79" fmla="*/ 477776 w 18171859"/>
                <a:gd name="connsiteY79"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5946033 w 18171859"/>
                <a:gd name="connsiteY39" fmla="*/ 8440272 h 15946069"/>
                <a:gd name="connsiteX40" fmla="*/ 16024409 w 18171859"/>
                <a:gd name="connsiteY40" fmla="*/ 7433474 h 15946069"/>
                <a:gd name="connsiteX41" fmla="*/ 16958870 w 18171859"/>
                <a:gd name="connsiteY41" fmla="*/ 6776350 h 15946069"/>
                <a:gd name="connsiteX42" fmla="*/ 17911414 w 18171859"/>
                <a:gd name="connsiteY42" fmla="*/ 6083041 h 15946069"/>
                <a:gd name="connsiteX43" fmla="*/ 17694370 w 18171859"/>
                <a:gd name="connsiteY43" fmla="*/ 5570592 h 15946069"/>
                <a:gd name="connsiteX44" fmla="*/ 17385711 w 18171859"/>
                <a:gd name="connsiteY44" fmla="*/ 5219213 h 15946069"/>
                <a:gd name="connsiteX45" fmla="*/ 18171858 w 18171859"/>
                <a:gd name="connsiteY45" fmla="*/ 4701949 h 15946069"/>
                <a:gd name="connsiteX46" fmla="*/ 17814953 w 18171859"/>
                <a:gd name="connsiteY46" fmla="*/ 4117660 h 15946069"/>
                <a:gd name="connsiteX47" fmla="*/ 16852763 w 18171859"/>
                <a:gd name="connsiteY47" fmla="*/ 3282076 h 15946069"/>
                <a:gd name="connsiteX48" fmla="*/ 14429201 w 18171859"/>
                <a:gd name="connsiteY48" fmla="*/ 4027238 h 15946069"/>
                <a:gd name="connsiteX49" fmla="*/ 13383819 w 18171859"/>
                <a:gd name="connsiteY49" fmla="*/ 2963756 h 15946069"/>
                <a:gd name="connsiteX50" fmla="*/ 12493981 w 18171859"/>
                <a:gd name="connsiteY50" fmla="*/ 2927587 h 15946069"/>
                <a:gd name="connsiteX51" fmla="*/ 11976717 w 18171859"/>
                <a:gd name="connsiteY51" fmla="*/ 2139025 h 15946069"/>
                <a:gd name="connsiteX52" fmla="*/ 11484768 w 18171859"/>
                <a:gd name="connsiteY52" fmla="*/ 1495155 h 15946069"/>
                <a:gd name="connsiteX53" fmla="*/ 10830043 w 18171859"/>
                <a:gd name="connsiteY53" fmla="*/ 1256418 h 15946069"/>
                <a:gd name="connsiteX54" fmla="*/ 10323633 w 18171859"/>
                <a:gd name="connsiteY54" fmla="*/ 1220249 h 15946069"/>
                <a:gd name="connsiteX55" fmla="*/ 9802745 w 18171859"/>
                <a:gd name="connsiteY55" fmla="*/ 1603676 h 15946069"/>
                <a:gd name="connsiteX56" fmla="*/ 9223982 w 18171859"/>
                <a:gd name="connsiteY56" fmla="*/ 1621761 h 15946069"/>
                <a:gd name="connsiteX57" fmla="*/ 8782678 w 18171859"/>
                <a:gd name="connsiteY57" fmla="*/ 2171586 h 15946069"/>
                <a:gd name="connsiteX58" fmla="*/ 8272645 w 18171859"/>
                <a:gd name="connsiteY58" fmla="*/ 2102856 h 15946069"/>
                <a:gd name="connsiteX59" fmla="*/ 7853048 w 18171859"/>
                <a:gd name="connsiteY59" fmla="*/ 2526075 h 15946069"/>
                <a:gd name="connsiteX60" fmla="*/ 7323799 w 18171859"/>
                <a:gd name="connsiteY60" fmla="*/ 2632907 h 15946069"/>
                <a:gd name="connsiteX61" fmla="*/ 6977672 w 18171859"/>
                <a:gd name="connsiteY61" fmla="*/ 2178817 h 15946069"/>
                <a:gd name="connsiteX62" fmla="*/ 6594245 w 18171859"/>
                <a:gd name="connsiteY62" fmla="*/ 2055834 h 15946069"/>
                <a:gd name="connsiteX63" fmla="*/ 6431470 w 18171859"/>
                <a:gd name="connsiteY63" fmla="*/ 1314295 h 15946069"/>
                <a:gd name="connsiteX64" fmla="*/ 5642908 w 18171859"/>
                <a:gd name="connsiteY64" fmla="*/ 1343233 h 15946069"/>
                <a:gd name="connsiteX65" fmla="*/ 5150959 w 18171859"/>
                <a:gd name="connsiteY65" fmla="*/ 1610907 h 15946069"/>
                <a:gd name="connsiteX66" fmla="*/ 5480133 w 18171859"/>
                <a:gd name="connsiteY66" fmla="*/ 2167963 h 15946069"/>
                <a:gd name="connsiteX67" fmla="*/ 4742216 w 18171859"/>
                <a:gd name="connsiteY67" fmla="*/ 2862495 h 15946069"/>
                <a:gd name="connsiteX68" fmla="*/ 2658667 w 18171859"/>
                <a:gd name="connsiteY68" fmla="*/ 0 h 15946069"/>
                <a:gd name="connsiteX69" fmla="*/ 2658682 w 18171859"/>
                <a:gd name="connsiteY69" fmla="*/ 1018890 h 15946069"/>
                <a:gd name="connsiteX70" fmla="*/ 1850829 w 18171859"/>
                <a:gd name="connsiteY70" fmla="*/ 1730283 h 15946069"/>
                <a:gd name="connsiteX71" fmla="*/ 1404694 w 18171859"/>
                <a:gd name="connsiteY71" fmla="*/ 2272862 h 15946069"/>
                <a:gd name="connsiteX72" fmla="*/ 2351216 w 18171859"/>
                <a:gd name="connsiteY72" fmla="*/ 3388182 h 15946069"/>
                <a:gd name="connsiteX73" fmla="*/ 2658682 w 18171859"/>
                <a:gd name="connsiteY73" fmla="*/ 4286458 h 15946069"/>
                <a:gd name="connsiteX74" fmla="*/ 1935228 w 18171859"/>
                <a:gd name="connsiteY74" fmla="*/ 5220918 h 15946069"/>
                <a:gd name="connsiteX75" fmla="*/ 875281 w 18171859"/>
                <a:gd name="connsiteY75" fmla="*/ 5166646 h 15946069"/>
                <a:gd name="connsiteX76" fmla="*/ 0 w 18171859"/>
                <a:gd name="connsiteY76" fmla="*/ 5890112 h 15946069"/>
                <a:gd name="connsiteX77" fmla="*/ 72345 w 18171859"/>
                <a:gd name="connsiteY77" fmla="*/ 6921032 h 15946069"/>
                <a:gd name="connsiteX78" fmla="*/ 477776 w 18171859"/>
                <a:gd name="connsiteY78"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5946033 w 18171859"/>
                <a:gd name="connsiteY39" fmla="*/ 8440272 h 15946069"/>
                <a:gd name="connsiteX40" fmla="*/ 16024409 w 18171859"/>
                <a:gd name="connsiteY40" fmla="*/ 7433474 h 15946069"/>
                <a:gd name="connsiteX41" fmla="*/ 16958870 w 18171859"/>
                <a:gd name="connsiteY41" fmla="*/ 6776350 h 15946069"/>
                <a:gd name="connsiteX42" fmla="*/ 17911414 w 18171859"/>
                <a:gd name="connsiteY42" fmla="*/ 6083041 h 15946069"/>
                <a:gd name="connsiteX43" fmla="*/ 17385711 w 18171859"/>
                <a:gd name="connsiteY43" fmla="*/ 5219213 h 15946069"/>
                <a:gd name="connsiteX44" fmla="*/ 18171858 w 18171859"/>
                <a:gd name="connsiteY44" fmla="*/ 4701949 h 15946069"/>
                <a:gd name="connsiteX45" fmla="*/ 17814953 w 18171859"/>
                <a:gd name="connsiteY45" fmla="*/ 4117660 h 15946069"/>
                <a:gd name="connsiteX46" fmla="*/ 16852763 w 18171859"/>
                <a:gd name="connsiteY46" fmla="*/ 3282076 h 15946069"/>
                <a:gd name="connsiteX47" fmla="*/ 14429201 w 18171859"/>
                <a:gd name="connsiteY47" fmla="*/ 4027238 h 15946069"/>
                <a:gd name="connsiteX48" fmla="*/ 13383819 w 18171859"/>
                <a:gd name="connsiteY48" fmla="*/ 2963756 h 15946069"/>
                <a:gd name="connsiteX49" fmla="*/ 12493981 w 18171859"/>
                <a:gd name="connsiteY49" fmla="*/ 2927587 h 15946069"/>
                <a:gd name="connsiteX50" fmla="*/ 11976717 w 18171859"/>
                <a:gd name="connsiteY50" fmla="*/ 2139025 h 15946069"/>
                <a:gd name="connsiteX51" fmla="*/ 11484768 w 18171859"/>
                <a:gd name="connsiteY51" fmla="*/ 1495155 h 15946069"/>
                <a:gd name="connsiteX52" fmla="*/ 10830043 w 18171859"/>
                <a:gd name="connsiteY52" fmla="*/ 1256418 h 15946069"/>
                <a:gd name="connsiteX53" fmla="*/ 10323633 w 18171859"/>
                <a:gd name="connsiteY53" fmla="*/ 1220249 h 15946069"/>
                <a:gd name="connsiteX54" fmla="*/ 9802745 w 18171859"/>
                <a:gd name="connsiteY54" fmla="*/ 1603676 h 15946069"/>
                <a:gd name="connsiteX55" fmla="*/ 9223982 w 18171859"/>
                <a:gd name="connsiteY55" fmla="*/ 1621761 h 15946069"/>
                <a:gd name="connsiteX56" fmla="*/ 8782678 w 18171859"/>
                <a:gd name="connsiteY56" fmla="*/ 2171586 h 15946069"/>
                <a:gd name="connsiteX57" fmla="*/ 8272645 w 18171859"/>
                <a:gd name="connsiteY57" fmla="*/ 2102856 h 15946069"/>
                <a:gd name="connsiteX58" fmla="*/ 7853048 w 18171859"/>
                <a:gd name="connsiteY58" fmla="*/ 2526075 h 15946069"/>
                <a:gd name="connsiteX59" fmla="*/ 7323799 w 18171859"/>
                <a:gd name="connsiteY59" fmla="*/ 2632907 h 15946069"/>
                <a:gd name="connsiteX60" fmla="*/ 6977672 w 18171859"/>
                <a:gd name="connsiteY60" fmla="*/ 2178817 h 15946069"/>
                <a:gd name="connsiteX61" fmla="*/ 6594245 w 18171859"/>
                <a:gd name="connsiteY61" fmla="*/ 2055834 h 15946069"/>
                <a:gd name="connsiteX62" fmla="*/ 6431470 w 18171859"/>
                <a:gd name="connsiteY62" fmla="*/ 1314295 h 15946069"/>
                <a:gd name="connsiteX63" fmla="*/ 5642908 w 18171859"/>
                <a:gd name="connsiteY63" fmla="*/ 1343233 h 15946069"/>
                <a:gd name="connsiteX64" fmla="*/ 5150959 w 18171859"/>
                <a:gd name="connsiteY64" fmla="*/ 1610907 h 15946069"/>
                <a:gd name="connsiteX65" fmla="*/ 5480133 w 18171859"/>
                <a:gd name="connsiteY65" fmla="*/ 2167963 h 15946069"/>
                <a:gd name="connsiteX66" fmla="*/ 4742216 w 18171859"/>
                <a:gd name="connsiteY66" fmla="*/ 2862495 h 15946069"/>
                <a:gd name="connsiteX67" fmla="*/ 2658667 w 18171859"/>
                <a:gd name="connsiteY67" fmla="*/ 0 h 15946069"/>
                <a:gd name="connsiteX68" fmla="*/ 2658682 w 18171859"/>
                <a:gd name="connsiteY68" fmla="*/ 1018890 h 15946069"/>
                <a:gd name="connsiteX69" fmla="*/ 1850829 w 18171859"/>
                <a:gd name="connsiteY69" fmla="*/ 1730283 h 15946069"/>
                <a:gd name="connsiteX70" fmla="*/ 1404694 w 18171859"/>
                <a:gd name="connsiteY70" fmla="*/ 2272862 h 15946069"/>
                <a:gd name="connsiteX71" fmla="*/ 2351216 w 18171859"/>
                <a:gd name="connsiteY71" fmla="*/ 3388182 h 15946069"/>
                <a:gd name="connsiteX72" fmla="*/ 2658682 w 18171859"/>
                <a:gd name="connsiteY72" fmla="*/ 4286458 h 15946069"/>
                <a:gd name="connsiteX73" fmla="*/ 1935228 w 18171859"/>
                <a:gd name="connsiteY73" fmla="*/ 5220918 h 15946069"/>
                <a:gd name="connsiteX74" fmla="*/ 875281 w 18171859"/>
                <a:gd name="connsiteY74" fmla="*/ 5166646 h 15946069"/>
                <a:gd name="connsiteX75" fmla="*/ 0 w 18171859"/>
                <a:gd name="connsiteY75" fmla="*/ 5890112 h 15946069"/>
                <a:gd name="connsiteX76" fmla="*/ 72345 w 18171859"/>
                <a:gd name="connsiteY76" fmla="*/ 6921032 h 15946069"/>
                <a:gd name="connsiteX77" fmla="*/ 477776 w 18171859"/>
                <a:gd name="connsiteY77"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5946033 w 18171859"/>
                <a:gd name="connsiteY39" fmla="*/ 8440272 h 15946069"/>
                <a:gd name="connsiteX40" fmla="*/ 16024409 w 18171859"/>
                <a:gd name="connsiteY40" fmla="*/ 7433474 h 15946069"/>
                <a:gd name="connsiteX41" fmla="*/ 17911414 w 18171859"/>
                <a:gd name="connsiteY41" fmla="*/ 6083041 h 15946069"/>
                <a:gd name="connsiteX42" fmla="*/ 17385711 w 18171859"/>
                <a:gd name="connsiteY42" fmla="*/ 5219213 h 15946069"/>
                <a:gd name="connsiteX43" fmla="*/ 18171858 w 18171859"/>
                <a:gd name="connsiteY43" fmla="*/ 4701949 h 15946069"/>
                <a:gd name="connsiteX44" fmla="*/ 17814953 w 18171859"/>
                <a:gd name="connsiteY44" fmla="*/ 4117660 h 15946069"/>
                <a:gd name="connsiteX45" fmla="*/ 16852763 w 18171859"/>
                <a:gd name="connsiteY45" fmla="*/ 3282076 h 15946069"/>
                <a:gd name="connsiteX46" fmla="*/ 14429201 w 18171859"/>
                <a:gd name="connsiteY46" fmla="*/ 4027238 h 15946069"/>
                <a:gd name="connsiteX47" fmla="*/ 13383819 w 18171859"/>
                <a:gd name="connsiteY47" fmla="*/ 2963756 h 15946069"/>
                <a:gd name="connsiteX48" fmla="*/ 12493981 w 18171859"/>
                <a:gd name="connsiteY48" fmla="*/ 2927587 h 15946069"/>
                <a:gd name="connsiteX49" fmla="*/ 11976717 w 18171859"/>
                <a:gd name="connsiteY49" fmla="*/ 2139025 h 15946069"/>
                <a:gd name="connsiteX50" fmla="*/ 11484768 w 18171859"/>
                <a:gd name="connsiteY50" fmla="*/ 1495155 h 15946069"/>
                <a:gd name="connsiteX51" fmla="*/ 10830043 w 18171859"/>
                <a:gd name="connsiteY51" fmla="*/ 1256418 h 15946069"/>
                <a:gd name="connsiteX52" fmla="*/ 10323633 w 18171859"/>
                <a:gd name="connsiteY52" fmla="*/ 1220249 h 15946069"/>
                <a:gd name="connsiteX53" fmla="*/ 9802745 w 18171859"/>
                <a:gd name="connsiteY53" fmla="*/ 1603676 h 15946069"/>
                <a:gd name="connsiteX54" fmla="*/ 9223982 w 18171859"/>
                <a:gd name="connsiteY54" fmla="*/ 1621761 h 15946069"/>
                <a:gd name="connsiteX55" fmla="*/ 8782678 w 18171859"/>
                <a:gd name="connsiteY55" fmla="*/ 2171586 h 15946069"/>
                <a:gd name="connsiteX56" fmla="*/ 8272645 w 18171859"/>
                <a:gd name="connsiteY56" fmla="*/ 2102856 h 15946069"/>
                <a:gd name="connsiteX57" fmla="*/ 7853048 w 18171859"/>
                <a:gd name="connsiteY57" fmla="*/ 2526075 h 15946069"/>
                <a:gd name="connsiteX58" fmla="*/ 7323799 w 18171859"/>
                <a:gd name="connsiteY58" fmla="*/ 2632907 h 15946069"/>
                <a:gd name="connsiteX59" fmla="*/ 6977672 w 18171859"/>
                <a:gd name="connsiteY59" fmla="*/ 2178817 h 15946069"/>
                <a:gd name="connsiteX60" fmla="*/ 6594245 w 18171859"/>
                <a:gd name="connsiteY60" fmla="*/ 2055834 h 15946069"/>
                <a:gd name="connsiteX61" fmla="*/ 6431470 w 18171859"/>
                <a:gd name="connsiteY61" fmla="*/ 1314295 h 15946069"/>
                <a:gd name="connsiteX62" fmla="*/ 5642908 w 18171859"/>
                <a:gd name="connsiteY62" fmla="*/ 1343233 h 15946069"/>
                <a:gd name="connsiteX63" fmla="*/ 5150959 w 18171859"/>
                <a:gd name="connsiteY63" fmla="*/ 1610907 h 15946069"/>
                <a:gd name="connsiteX64" fmla="*/ 5480133 w 18171859"/>
                <a:gd name="connsiteY64" fmla="*/ 2167963 h 15946069"/>
                <a:gd name="connsiteX65" fmla="*/ 4742216 w 18171859"/>
                <a:gd name="connsiteY65" fmla="*/ 2862495 h 15946069"/>
                <a:gd name="connsiteX66" fmla="*/ 2658667 w 18171859"/>
                <a:gd name="connsiteY66" fmla="*/ 0 h 15946069"/>
                <a:gd name="connsiteX67" fmla="*/ 2658682 w 18171859"/>
                <a:gd name="connsiteY67" fmla="*/ 1018890 h 15946069"/>
                <a:gd name="connsiteX68" fmla="*/ 1850829 w 18171859"/>
                <a:gd name="connsiteY68" fmla="*/ 1730283 h 15946069"/>
                <a:gd name="connsiteX69" fmla="*/ 1404694 w 18171859"/>
                <a:gd name="connsiteY69" fmla="*/ 2272862 h 15946069"/>
                <a:gd name="connsiteX70" fmla="*/ 2351216 w 18171859"/>
                <a:gd name="connsiteY70" fmla="*/ 3388182 h 15946069"/>
                <a:gd name="connsiteX71" fmla="*/ 2658682 w 18171859"/>
                <a:gd name="connsiteY71" fmla="*/ 4286458 h 15946069"/>
                <a:gd name="connsiteX72" fmla="*/ 1935228 w 18171859"/>
                <a:gd name="connsiteY72" fmla="*/ 5220918 h 15946069"/>
                <a:gd name="connsiteX73" fmla="*/ 875281 w 18171859"/>
                <a:gd name="connsiteY73" fmla="*/ 5166646 h 15946069"/>
                <a:gd name="connsiteX74" fmla="*/ 0 w 18171859"/>
                <a:gd name="connsiteY74" fmla="*/ 5890112 h 15946069"/>
                <a:gd name="connsiteX75" fmla="*/ 72345 w 18171859"/>
                <a:gd name="connsiteY75" fmla="*/ 6921032 h 15946069"/>
                <a:gd name="connsiteX76" fmla="*/ 477776 w 18171859"/>
                <a:gd name="connsiteY76"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6024409 w 18171859"/>
                <a:gd name="connsiteY39" fmla="*/ 7433474 h 15946069"/>
                <a:gd name="connsiteX40" fmla="*/ 17911414 w 18171859"/>
                <a:gd name="connsiteY40" fmla="*/ 6083041 h 15946069"/>
                <a:gd name="connsiteX41" fmla="*/ 17385711 w 18171859"/>
                <a:gd name="connsiteY41" fmla="*/ 5219213 h 15946069"/>
                <a:gd name="connsiteX42" fmla="*/ 18171858 w 18171859"/>
                <a:gd name="connsiteY42" fmla="*/ 4701949 h 15946069"/>
                <a:gd name="connsiteX43" fmla="*/ 17814953 w 18171859"/>
                <a:gd name="connsiteY43" fmla="*/ 4117660 h 15946069"/>
                <a:gd name="connsiteX44" fmla="*/ 16852763 w 18171859"/>
                <a:gd name="connsiteY44" fmla="*/ 3282076 h 15946069"/>
                <a:gd name="connsiteX45" fmla="*/ 14429201 w 18171859"/>
                <a:gd name="connsiteY45" fmla="*/ 4027238 h 15946069"/>
                <a:gd name="connsiteX46" fmla="*/ 13383819 w 18171859"/>
                <a:gd name="connsiteY46" fmla="*/ 2963756 h 15946069"/>
                <a:gd name="connsiteX47" fmla="*/ 12493981 w 18171859"/>
                <a:gd name="connsiteY47" fmla="*/ 2927587 h 15946069"/>
                <a:gd name="connsiteX48" fmla="*/ 11976717 w 18171859"/>
                <a:gd name="connsiteY48" fmla="*/ 2139025 h 15946069"/>
                <a:gd name="connsiteX49" fmla="*/ 11484768 w 18171859"/>
                <a:gd name="connsiteY49" fmla="*/ 1495155 h 15946069"/>
                <a:gd name="connsiteX50" fmla="*/ 10830043 w 18171859"/>
                <a:gd name="connsiteY50" fmla="*/ 1256418 h 15946069"/>
                <a:gd name="connsiteX51" fmla="*/ 10323633 w 18171859"/>
                <a:gd name="connsiteY51" fmla="*/ 1220249 h 15946069"/>
                <a:gd name="connsiteX52" fmla="*/ 9802745 w 18171859"/>
                <a:gd name="connsiteY52" fmla="*/ 1603676 h 15946069"/>
                <a:gd name="connsiteX53" fmla="*/ 9223982 w 18171859"/>
                <a:gd name="connsiteY53" fmla="*/ 1621761 h 15946069"/>
                <a:gd name="connsiteX54" fmla="*/ 8782678 w 18171859"/>
                <a:gd name="connsiteY54" fmla="*/ 2171586 h 15946069"/>
                <a:gd name="connsiteX55" fmla="*/ 8272645 w 18171859"/>
                <a:gd name="connsiteY55" fmla="*/ 2102856 h 15946069"/>
                <a:gd name="connsiteX56" fmla="*/ 7853048 w 18171859"/>
                <a:gd name="connsiteY56" fmla="*/ 2526075 h 15946069"/>
                <a:gd name="connsiteX57" fmla="*/ 7323799 w 18171859"/>
                <a:gd name="connsiteY57" fmla="*/ 2632907 h 15946069"/>
                <a:gd name="connsiteX58" fmla="*/ 6977672 w 18171859"/>
                <a:gd name="connsiteY58" fmla="*/ 2178817 h 15946069"/>
                <a:gd name="connsiteX59" fmla="*/ 6594245 w 18171859"/>
                <a:gd name="connsiteY59" fmla="*/ 2055834 h 15946069"/>
                <a:gd name="connsiteX60" fmla="*/ 6431470 w 18171859"/>
                <a:gd name="connsiteY60" fmla="*/ 1314295 h 15946069"/>
                <a:gd name="connsiteX61" fmla="*/ 5642908 w 18171859"/>
                <a:gd name="connsiteY61" fmla="*/ 1343233 h 15946069"/>
                <a:gd name="connsiteX62" fmla="*/ 5150959 w 18171859"/>
                <a:gd name="connsiteY62" fmla="*/ 1610907 h 15946069"/>
                <a:gd name="connsiteX63" fmla="*/ 5480133 w 18171859"/>
                <a:gd name="connsiteY63" fmla="*/ 2167963 h 15946069"/>
                <a:gd name="connsiteX64" fmla="*/ 4742216 w 18171859"/>
                <a:gd name="connsiteY64" fmla="*/ 2862495 h 15946069"/>
                <a:gd name="connsiteX65" fmla="*/ 2658667 w 18171859"/>
                <a:gd name="connsiteY65" fmla="*/ 0 h 15946069"/>
                <a:gd name="connsiteX66" fmla="*/ 2658682 w 18171859"/>
                <a:gd name="connsiteY66" fmla="*/ 1018890 h 15946069"/>
                <a:gd name="connsiteX67" fmla="*/ 1850829 w 18171859"/>
                <a:gd name="connsiteY67" fmla="*/ 1730283 h 15946069"/>
                <a:gd name="connsiteX68" fmla="*/ 1404694 w 18171859"/>
                <a:gd name="connsiteY68" fmla="*/ 2272862 h 15946069"/>
                <a:gd name="connsiteX69" fmla="*/ 2351216 w 18171859"/>
                <a:gd name="connsiteY69" fmla="*/ 3388182 h 15946069"/>
                <a:gd name="connsiteX70" fmla="*/ 2658682 w 18171859"/>
                <a:gd name="connsiteY70" fmla="*/ 4286458 h 15946069"/>
                <a:gd name="connsiteX71" fmla="*/ 1935228 w 18171859"/>
                <a:gd name="connsiteY71" fmla="*/ 5220918 h 15946069"/>
                <a:gd name="connsiteX72" fmla="*/ 875281 w 18171859"/>
                <a:gd name="connsiteY72" fmla="*/ 5166646 h 15946069"/>
                <a:gd name="connsiteX73" fmla="*/ 0 w 18171859"/>
                <a:gd name="connsiteY73" fmla="*/ 5890112 h 15946069"/>
                <a:gd name="connsiteX74" fmla="*/ 72345 w 18171859"/>
                <a:gd name="connsiteY74" fmla="*/ 6921032 h 15946069"/>
                <a:gd name="connsiteX75" fmla="*/ 477776 w 18171859"/>
                <a:gd name="connsiteY75"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428336 w 18171859"/>
                <a:gd name="connsiteY37" fmla="*/ 9374732 h 15946069"/>
                <a:gd name="connsiteX38" fmla="*/ 16024409 w 18171859"/>
                <a:gd name="connsiteY38" fmla="*/ 7433474 h 15946069"/>
                <a:gd name="connsiteX39" fmla="*/ 17911414 w 18171859"/>
                <a:gd name="connsiteY39" fmla="*/ 6083041 h 15946069"/>
                <a:gd name="connsiteX40" fmla="*/ 17385711 w 18171859"/>
                <a:gd name="connsiteY40" fmla="*/ 5219213 h 15946069"/>
                <a:gd name="connsiteX41" fmla="*/ 18171858 w 18171859"/>
                <a:gd name="connsiteY41" fmla="*/ 4701949 h 15946069"/>
                <a:gd name="connsiteX42" fmla="*/ 17814953 w 18171859"/>
                <a:gd name="connsiteY42" fmla="*/ 4117660 h 15946069"/>
                <a:gd name="connsiteX43" fmla="*/ 16852763 w 18171859"/>
                <a:gd name="connsiteY43" fmla="*/ 3282076 h 15946069"/>
                <a:gd name="connsiteX44" fmla="*/ 14429201 w 18171859"/>
                <a:gd name="connsiteY44" fmla="*/ 4027238 h 15946069"/>
                <a:gd name="connsiteX45" fmla="*/ 13383819 w 18171859"/>
                <a:gd name="connsiteY45" fmla="*/ 2963756 h 15946069"/>
                <a:gd name="connsiteX46" fmla="*/ 12493981 w 18171859"/>
                <a:gd name="connsiteY46" fmla="*/ 2927587 h 15946069"/>
                <a:gd name="connsiteX47" fmla="*/ 11976717 w 18171859"/>
                <a:gd name="connsiteY47" fmla="*/ 2139025 h 15946069"/>
                <a:gd name="connsiteX48" fmla="*/ 11484768 w 18171859"/>
                <a:gd name="connsiteY48" fmla="*/ 1495155 h 15946069"/>
                <a:gd name="connsiteX49" fmla="*/ 10830043 w 18171859"/>
                <a:gd name="connsiteY49" fmla="*/ 1256418 h 15946069"/>
                <a:gd name="connsiteX50" fmla="*/ 10323633 w 18171859"/>
                <a:gd name="connsiteY50" fmla="*/ 1220249 h 15946069"/>
                <a:gd name="connsiteX51" fmla="*/ 9802745 w 18171859"/>
                <a:gd name="connsiteY51" fmla="*/ 1603676 h 15946069"/>
                <a:gd name="connsiteX52" fmla="*/ 9223982 w 18171859"/>
                <a:gd name="connsiteY52" fmla="*/ 1621761 h 15946069"/>
                <a:gd name="connsiteX53" fmla="*/ 8782678 w 18171859"/>
                <a:gd name="connsiteY53" fmla="*/ 2171586 h 15946069"/>
                <a:gd name="connsiteX54" fmla="*/ 8272645 w 18171859"/>
                <a:gd name="connsiteY54" fmla="*/ 2102856 h 15946069"/>
                <a:gd name="connsiteX55" fmla="*/ 7853048 w 18171859"/>
                <a:gd name="connsiteY55" fmla="*/ 2526075 h 15946069"/>
                <a:gd name="connsiteX56" fmla="*/ 7323799 w 18171859"/>
                <a:gd name="connsiteY56" fmla="*/ 2632907 h 15946069"/>
                <a:gd name="connsiteX57" fmla="*/ 6977672 w 18171859"/>
                <a:gd name="connsiteY57" fmla="*/ 2178817 h 15946069"/>
                <a:gd name="connsiteX58" fmla="*/ 6594245 w 18171859"/>
                <a:gd name="connsiteY58" fmla="*/ 2055834 h 15946069"/>
                <a:gd name="connsiteX59" fmla="*/ 6431470 w 18171859"/>
                <a:gd name="connsiteY59" fmla="*/ 1314295 h 15946069"/>
                <a:gd name="connsiteX60" fmla="*/ 5642908 w 18171859"/>
                <a:gd name="connsiteY60" fmla="*/ 1343233 h 15946069"/>
                <a:gd name="connsiteX61" fmla="*/ 5150959 w 18171859"/>
                <a:gd name="connsiteY61" fmla="*/ 1610907 h 15946069"/>
                <a:gd name="connsiteX62" fmla="*/ 5480133 w 18171859"/>
                <a:gd name="connsiteY62" fmla="*/ 2167963 h 15946069"/>
                <a:gd name="connsiteX63" fmla="*/ 4742216 w 18171859"/>
                <a:gd name="connsiteY63" fmla="*/ 2862495 h 15946069"/>
                <a:gd name="connsiteX64" fmla="*/ 2658667 w 18171859"/>
                <a:gd name="connsiteY64" fmla="*/ 0 h 15946069"/>
                <a:gd name="connsiteX65" fmla="*/ 2658682 w 18171859"/>
                <a:gd name="connsiteY65" fmla="*/ 1018890 h 15946069"/>
                <a:gd name="connsiteX66" fmla="*/ 1850829 w 18171859"/>
                <a:gd name="connsiteY66" fmla="*/ 1730283 h 15946069"/>
                <a:gd name="connsiteX67" fmla="*/ 1404694 w 18171859"/>
                <a:gd name="connsiteY67" fmla="*/ 2272862 h 15946069"/>
                <a:gd name="connsiteX68" fmla="*/ 2351216 w 18171859"/>
                <a:gd name="connsiteY68" fmla="*/ 3388182 h 15946069"/>
                <a:gd name="connsiteX69" fmla="*/ 2658682 w 18171859"/>
                <a:gd name="connsiteY69" fmla="*/ 4286458 h 15946069"/>
                <a:gd name="connsiteX70" fmla="*/ 1935228 w 18171859"/>
                <a:gd name="connsiteY70" fmla="*/ 5220918 h 15946069"/>
                <a:gd name="connsiteX71" fmla="*/ 875281 w 18171859"/>
                <a:gd name="connsiteY71" fmla="*/ 5166646 h 15946069"/>
                <a:gd name="connsiteX72" fmla="*/ 0 w 18171859"/>
                <a:gd name="connsiteY72" fmla="*/ 5890112 h 15946069"/>
                <a:gd name="connsiteX73" fmla="*/ 72345 w 18171859"/>
                <a:gd name="connsiteY73" fmla="*/ 6921032 h 15946069"/>
                <a:gd name="connsiteX74" fmla="*/ 477776 w 18171859"/>
                <a:gd name="connsiteY74"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6413199 w 18171859"/>
                <a:gd name="connsiteY35" fmla="*/ 10920339 h 15946069"/>
                <a:gd name="connsiteX36" fmla="*/ 16428336 w 18171859"/>
                <a:gd name="connsiteY36" fmla="*/ 9374732 h 15946069"/>
                <a:gd name="connsiteX37" fmla="*/ 16024409 w 18171859"/>
                <a:gd name="connsiteY37" fmla="*/ 7433474 h 15946069"/>
                <a:gd name="connsiteX38" fmla="*/ 17911414 w 18171859"/>
                <a:gd name="connsiteY38" fmla="*/ 6083041 h 15946069"/>
                <a:gd name="connsiteX39" fmla="*/ 17385711 w 18171859"/>
                <a:gd name="connsiteY39" fmla="*/ 5219213 h 15946069"/>
                <a:gd name="connsiteX40" fmla="*/ 18171858 w 18171859"/>
                <a:gd name="connsiteY40" fmla="*/ 4701949 h 15946069"/>
                <a:gd name="connsiteX41" fmla="*/ 17814953 w 18171859"/>
                <a:gd name="connsiteY41" fmla="*/ 4117660 h 15946069"/>
                <a:gd name="connsiteX42" fmla="*/ 16852763 w 18171859"/>
                <a:gd name="connsiteY42" fmla="*/ 3282076 h 15946069"/>
                <a:gd name="connsiteX43" fmla="*/ 14429201 w 18171859"/>
                <a:gd name="connsiteY43" fmla="*/ 4027238 h 15946069"/>
                <a:gd name="connsiteX44" fmla="*/ 13383819 w 18171859"/>
                <a:gd name="connsiteY44" fmla="*/ 2963756 h 15946069"/>
                <a:gd name="connsiteX45" fmla="*/ 12493981 w 18171859"/>
                <a:gd name="connsiteY45" fmla="*/ 2927587 h 15946069"/>
                <a:gd name="connsiteX46" fmla="*/ 11976717 w 18171859"/>
                <a:gd name="connsiteY46" fmla="*/ 2139025 h 15946069"/>
                <a:gd name="connsiteX47" fmla="*/ 11484768 w 18171859"/>
                <a:gd name="connsiteY47" fmla="*/ 1495155 h 15946069"/>
                <a:gd name="connsiteX48" fmla="*/ 10830043 w 18171859"/>
                <a:gd name="connsiteY48" fmla="*/ 1256418 h 15946069"/>
                <a:gd name="connsiteX49" fmla="*/ 10323633 w 18171859"/>
                <a:gd name="connsiteY49" fmla="*/ 1220249 h 15946069"/>
                <a:gd name="connsiteX50" fmla="*/ 9802745 w 18171859"/>
                <a:gd name="connsiteY50" fmla="*/ 1603676 h 15946069"/>
                <a:gd name="connsiteX51" fmla="*/ 9223982 w 18171859"/>
                <a:gd name="connsiteY51" fmla="*/ 1621761 h 15946069"/>
                <a:gd name="connsiteX52" fmla="*/ 8782678 w 18171859"/>
                <a:gd name="connsiteY52" fmla="*/ 2171586 h 15946069"/>
                <a:gd name="connsiteX53" fmla="*/ 8272645 w 18171859"/>
                <a:gd name="connsiteY53" fmla="*/ 2102856 h 15946069"/>
                <a:gd name="connsiteX54" fmla="*/ 7853048 w 18171859"/>
                <a:gd name="connsiteY54" fmla="*/ 2526075 h 15946069"/>
                <a:gd name="connsiteX55" fmla="*/ 7323799 w 18171859"/>
                <a:gd name="connsiteY55" fmla="*/ 2632907 h 15946069"/>
                <a:gd name="connsiteX56" fmla="*/ 6977672 w 18171859"/>
                <a:gd name="connsiteY56" fmla="*/ 2178817 h 15946069"/>
                <a:gd name="connsiteX57" fmla="*/ 6594245 w 18171859"/>
                <a:gd name="connsiteY57" fmla="*/ 2055834 h 15946069"/>
                <a:gd name="connsiteX58" fmla="*/ 6431470 w 18171859"/>
                <a:gd name="connsiteY58" fmla="*/ 1314295 h 15946069"/>
                <a:gd name="connsiteX59" fmla="*/ 5642908 w 18171859"/>
                <a:gd name="connsiteY59" fmla="*/ 1343233 h 15946069"/>
                <a:gd name="connsiteX60" fmla="*/ 5150959 w 18171859"/>
                <a:gd name="connsiteY60" fmla="*/ 1610907 h 15946069"/>
                <a:gd name="connsiteX61" fmla="*/ 5480133 w 18171859"/>
                <a:gd name="connsiteY61" fmla="*/ 2167963 h 15946069"/>
                <a:gd name="connsiteX62" fmla="*/ 4742216 w 18171859"/>
                <a:gd name="connsiteY62" fmla="*/ 2862495 h 15946069"/>
                <a:gd name="connsiteX63" fmla="*/ 2658667 w 18171859"/>
                <a:gd name="connsiteY63" fmla="*/ 0 h 15946069"/>
                <a:gd name="connsiteX64" fmla="*/ 2658682 w 18171859"/>
                <a:gd name="connsiteY64" fmla="*/ 1018890 h 15946069"/>
                <a:gd name="connsiteX65" fmla="*/ 1850829 w 18171859"/>
                <a:gd name="connsiteY65" fmla="*/ 1730283 h 15946069"/>
                <a:gd name="connsiteX66" fmla="*/ 1404694 w 18171859"/>
                <a:gd name="connsiteY66" fmla="*/ 2272862 h 15946069"/>
                <a:gd name="connsiteX67" fmla="*/ 2351216 w 18171859"/>
                <a:gd name="connsiteY67" fmla="*/ 3388182 h 15946069"/>
                <a:gd name="connsiteX68" fmla="*/ 2658682 w 18171859"/>
                <a:gd name="connsiteY68" fmla="*/ 4286458 h 15946069"/>
                <a:gd name="connsiteX69" fmla="*/ 1935228 w 18171859"/>
                <a:gd name="connsiteY69" fmla="*/ 5220918 h 15946069"/>
                <a:gd name="connsiteX70" fmla="*/ 875281 w 18171859"/>
                <a:gd name="connsiteY70" fmla="*/ 5166646 h 15946069"/>
                <a:gd name="connsiteX71" fmla="*/ 0 w 18171859"/>
                <a:gd name="connsiteY71" fmla="*/ 5890112 h 15946069"/>
                <a:gd name="connsiteX72" fmla="*/ 72345 w 18171859"/>
                <a:gd name="connsiteY72" fmla="*/ 6921032 h 15946069"/>
                <a:gd name="connsiteX73" fmla="*/ 477776 w 18171859"/>
                <a:gd name="connsiteY73"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5409477 w 18171859"/>
                <a:gd name="connsiteY33" fmla="*/ 11882693 h 15946069"/>
                <a:gd name="connsiteX34" fmla="*/ 16413199 w 18171859"/>
                <a:gd name="connsiteY34" fmla="*/ 10920339 h 15946069"/>
                <a:gd name="connsiteX35" fmla="*/ 16428336 w 18171859"/>
                <a:gd name="connsiteY35" fmla="*/ 9374732 h 15946069"/>
                <a:gd name="connsiteX36" fmla="*/ 16024409 w 18171859"/>
                <a:gd name="connsiteY36" fmla="*/ 7433474 h 15946069"/>
                <a:gd name="connsiteX37" fmla="*/ 17911414 w 18171859"/>
                <a:gd name="connsiteY37" fmla="*/ 6083041 h 15946069"/>
                <a:gd name="connsiteX38" fmla="*/ 17385711 w 18171859"/>
                <a:gd name="connsiteY38" fmla="*/ 5219213 h 15946069"/>
                <a:gd name="connsiteX39" fmla="*/ 18171858 w 18171859"/>
                <a:gd name="connsiteY39" fmla="*/ 4701949 h 15946069"/>
                <a:gd name="connsiteX40" fmla="*/ 17814953 w 18171859"/>
                <a:gd name="connsiteY40" fmla="*/ 4117660 h 15946069"/>
                <a:gd name="connsiteX41" fmla="*/ 16852763 w 18171859"/>
                <a:gd name="connsiteY41" fmla="*/ 3282076 h 15946069"/>
                <a:gd name="connsiteX42" fmla="*/ 14429201 w 18171859"/>
                <a:gd name="connsiteY42" fmla="*/ 4027238 h 15946069"/>
                <a:gd name="connsiteX43" fmla="*/ 13383819 w 18171859"/>
                <a:gd name="connsiteY43" fmla="*/ 2963756 h 15946069"/>
                <a:gd name="connsiteX44" fmla="*/ 12493981 w 18171859"/>
                <a:gd name="connsiteY44" fmla="*/ 2927587 h 15946069"/>
                <a:gd name="connsiteX45" fmla="*/ 11976717 w 18171859"/>
                <a:gd name="connsiteY45" fmla="*/ 2139025 h 15946069"/>
                <a:gd name="connsiteX46" fmla="*/ 11484768 w 18171859"/>
                <a:gd name="connsiteY46" fmla="*/ 1495155 h 15946069"/>
                <a:gd name="connsiteX47" fmla="*/ 10830043 w 18171859"/>
                <a:gd name="connsiteY47" fmla="*/ 1256418 h 15946069"/>
                <a:gd name="connsiteX48" fmla="*/ 10323633 w 18171859"/>
                <a:gd name="connsiteY48" fmla="*/ 1220249 h 15946069"/>
                <a:gd name="connsiteX49" fmla="*/ 9802745 w 18171859"/>
                <a:gd name="connsiteY49" fmla="*/ 1603676 h 15946069"/>
                <a:gd name="connsiteX50" fmla="*/ 9223982 w 18171859"/>
                <a:gd name="connsiteY50" fmla="*/ 1621761 h 15946069"/>
                <a:gd name="connsiteX51" fmla="*/ 8782678 w 18171859"/>
                <a:gd name="connsiteY51" fmla="*/ 2171586 h 15946069"/>
                <a:gd name="connsiteX52" fmla="*/ 8272645 w 18171859"/>
                <a:gd name="connsiteY52" fmla="*/ 2102856 h 15946069"/>
                <a:gd name="connsiteX53" fmla="*/ 7853048 w 18171859"/>
                <a:gd name="connsiteY53" fmla="*/ 2526075 h 15946069"/>
                <a:gd name="connsiteX54" fmla="*/ 7323799 w 18171859"/>
                <a:gd name="connsiteY54" fmla="*/ 2632907 h 15946069"/>
                <a:gd name="connsiteX55" fmla="*/ 6977672 w 18171859"/>
                <a:gd name="connsiteY55" fmla="*/ 2178817 h 15946069"/>
                <a:gd name="connsiteX56" fmla="*/ 6594245 w 18171859"/>
                <a:gd name="connsiteY56" fmla="*/ 2055834 h 15946069"/>
                <a:gd name="connsiteX57" fmla="*/ 6431470 w 18171859"/>
                <a:gd name="connsiteY57" fmla="*/ 1314295 h 15946069"/>
                <a:gd name="connsiteX58" fmla="*/ 5642908 w 18171859"/>
                <a:gd name="connsiteY58" fmla="*/ 1343233 h 15946069"/>
                <a:gd name="connsiteX59" fmla="*/ 5150959 w 18171859"/>
                <a:gd name="connsiteY59" fmla="*/ 1610907 h 15946069"/>
                <a:gd name="connsiteX60" fmla="*/ 5480133 w 18171859"/>
                <a:gd name="connsiteY60" fmla="*/ 2167963 h 15946069"/>
                <a:gd name="connsiteX61" fmla="*/ 4742216 w 18171859"/>
                <a:gd name="connsiteY61" fmla="*/ 2862495 h 15946069"/>
                <a:gd name="connsiteX62" fmla="*/ 2658667 w 18171859"/>
                <a:gd name="connsiteY62" fmla="*/ 0 h 15946069"/>
                <a:gd name="connsiteX63" fmla="*/ 2658682 w 18171859"/>
                <a:gd name="connsiteY63" fmla="*/ 1018890 h 15946069"/>
                <a:gd name="connsiteX64" fmla="*/ 1850829 w 18171859"/>
                <a:gd name="connsiteY64" fmla="*/ 1730283 h 15946069"/>
                <a:gd name="connsiteX65" fmla="*/ 1404694 w 18171859"/>
                <a:gd name="connsiteY65" fmla="*/ 2272862 h 15946069"/>
                <a:gd name="connsiteX66" fmla="*/ 2351216 w 18171859"/>
                <a:gd name="connsiteY66" fmla="*/ 3388182 h 15946069"/>
                <a:gd name="connsiteX67" fmla="*/ 2658682 w 18171859"/>
                <a:gd name="connsiteY67" fmla="*/ 4286458 h 15946069"/>
                <a:gd name="connsiteX68" fmla="*/ 1935228 w 18171859"/>
                <a:gd name="connsiteY68" fmla="*/ 5220918 h 15946069"/>
                <a:gd name="connsiteX69" fmla="*/ 875281 w 18171859"/>
                <a:gd name="connsiteY69" fmla="*/ 5166646 h 15946069"/>
                <a:gd name="connsiteX70" fmla="*/ 0 w 18171859"/>
                <a:gd name="connsiteY70" fmla="*/ 5890112 h 15946069"/>
                <a:gd name="connsiteX71" fmla="*/ 72345 w 18171859"/>
                <a:gd name="connsiteY71" fmla="*/ 6921032 h 15946069"/>
                <a:gd name="connsiteX72" fmla="*/ 477776 w 18171859"/>
                <a:gd name="connsiteY72"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4004775 w 18171859"/>
                <a:gd name="connsiteY31" fmla="*/ 11611395 h 15946069"/>
                <a:gd name="connsiteX32" fmla="*/ 15409477 w 18171859"/>
                <a:gd name="connsiteY32" fmla="*/ 11882693 h 15946069"/>
                <a:gd name="connsiteX33" fmla="*/ 16413199 w 18171859"/>
                <a:gd name="connsiteY33" fmla="*/ 10920339 h 15946069"/>
                <a:gd name="connsiteX34" fmla="*/ 16428336 w 18171859"/>
                <a:gd name="connsiteY34" fmla="*/ 9374732 h 15946069"/>
                <a:gd name="connsiteX35" fmla="*/ 16024409 w 18171859"/>
                <a:gd name="connsiteY35" fmla="*/ 7433474 h 15946069"/>
                <a:gd name="connsiteX36" fmla="*/ 17911414 w 18171859"/>
                <a:gd name="connsiteY36" fmla="*/ 6083041 h 15946069"/>
                <a:gd name="connsiteX37" fmla="*/ 17385711 w 18171859"/>
                <a:gd name="connsiteY37" fmla="*/ 5219213 h 15946069"/>
                <a:gd name="connsiteX38" fmla="*/ 18171858 w 18171859"/>
                <a:gd name="connsiteY38" fmla="*/ 4701949 h 15946069"/>
                <a:gd name="connsiteX39" fmla="*/ 17814953 w 18171859"/>
                <a:gd name="connsiteY39" fmla="*/ 4117660 h 15946069"/>
                <a:gd name="connsiteX40" fmla="*/ 16852763 w 18171859"/>
                <a:gd name="connsiteY40" fmla="*/ 3282076 h 15946069"/>
                <a:gd name="connsiteX41" fmla="*/ 14429201 w 18171859"/>
                <a:gd name="connsiteY41" fmla="*/ 4027238 h 15946069"/>
                <a:gd name="connsiteX42" fmla="*/ 13383819 w 18171859"/>
                <a:gd name="connsiteY42" fmla="*/ 2963756 h 15946069"/>
                <a:gd name="connsiteX43" fmla="*/ 12493981 w 18171859"/>
                <a:gd name="connsiteY43" fmla="*/ 2927587 h 15946069"/>
                <a:gd name="connsiteX44" fmla="*/ 11976717 w 18171859"/>
                <a:gd name="connsiteY44" fmla="*/ 2139025 h 15946069"/>
                <a:gd name="connsiteX45" fmla="*/ 11484768 w 18171859"/>
                <a:gd name="connsiteY45" fmla="*/ 1495155 h 15946069"/>
                <a:gd name="connsiteX46" fmla="*/ 10830043 w 18171859"/>
                <a:gd name="connsiteY46" fmla="*/ 1256418 h 15946069"/>
                <a:gd name="connsiteX47" fmla="*/ 10323633 w 18171859"/>
                <a:gd name="connsiteY47" fmla="*/ 1220249 h 15946069"/>
                <a:gd name="connsiteX48" fmla="*/ 9802745 w 18171859"/>
                <a:gd name="connsiteY48" fmla="*/ 1603676 h 15946069"/>
                <a:gd name="connsiteX49" fmla="*/ 9223982 w 18171859"/>
                <a:gd name="connsiteY49" fmla="*/ 1621761 h 15946069"/>
                <a:gd name="connsiteX50" fmla="*/ 8782678 w 18171859"/>
                <a:gd name="connsiteY50" fmla="*/ 2171586 h 15946069"/>
                <a:gd name="connsiteX51" fmla="*/ 8272645 w 18171859"/>
                <a:gd name="connsiteY51" fmla="*/ 2102856 h 15946069"/>
                <a:gd name="connsiteX52" fmla="*/ 7853048 w 18171859"/>
                <a:gd name="connsiteY52" fmla="*/ 2526075 h 15946069"/>
                <a:gd name="connsiteX53" fmla="*/ 7323799 w 18171859"/>
                <a:gd name="connsiteY53" fmla="*/ 2632907 h 15946069"/>
                <a:gd name="connsiteX54" fmla="*/ 6977672 w 18171859"/>
                <a:gd name="connsiteY54" fmla="*/ 2178817 h 15946069"/>
                <a:gd name="connsiteX55" fmla="*/ 6594245 w 18171859"/>
                <a:gd name="connsiteY55" fmla="*/ 2055834 h 15946069"/>
                <a:gd name="connsiteX56" fmla="*/ 6431470 w 18171859"/>
                <a:gd name="connsiteY56" fmla="*/ 1314295 h 15946069"/>
                <a:gd name="connsiteX57" fmla="*/ 5642908 w 18171859"/>
                <a:gd name="connsiteY57" fmla="*/ 1343233 h 15946069"/>
                <a:gd name="connsiteX58" fmla="*/ 5150959 w 18171859"/>
                <a:gd name="connsiteY58" fmla="*/ 1610907 h 15946069"/>
                <a:gd name="connsiteX59" fmla="*/ 5480133 w 18171859"/>
                <a:gd name="connsiteY59" fmla="*/ 2167963 h 15946069"/>
                <a:gd name="connsiteX60" fmla="*/ 4742216 w 18171859"/>
                <a:gd name="connsiteY60" fmla="*/ 2862495 h 15946069"/>
                <a:gd name="connsiteX61" fmla="*/ 2658667 w 18171859"/>
                <a:gd name="connsiteY61" fmla="*/ 0 h 15946069"/>
                <a:gd name="connsiteX62" fmla="*/ 2658682 w 18171859"/>
                <a:gd name="connsiteY62" fmla="*/ 1018890 h 15946069"/>
                <a:gd name="connsiteX63" fmla="*/ 1850829 w 18171859"/>
                <a:gd name="connsiteY63" fmla="*/ 1730283 h 15946069"/>
                <a:gd name="connsiteX64" fmla="*/ 1404694 w 18171859"/>
                <a:gd name="connsiteY64" fmla="*/ 2272862 h 15946069"/>
                <a:gd name="connsiteX65" fmla="*/ 2351216 w 18171859"/>
                <a:gd name="connsiteY65" fmla="*/ 3388182 h 15946069"/>
                <a:gd name="connsiteX66" fmla="*/ 2658682 w 18171859"/>
                <a:gd name="connsiteY66" fmla="*/ 4286458 h 15946069"/>
                <a:gd name="connsiteX67" fmla="*/ 1935228 w 18171859"/>
                <a:gd name="connsiteY67" fmla="*/ 5220918 h 15946069"/>
                <a:gd name="connsiteX68" fmla="*/ 875281 w 18171859"/>
                <a:gd name="connsiteY68" fmla="*/ 5166646 h 15946069"/>
                <a:gd name="connsiteX69" fmla="*/ 0 w 18171859"/>
                <a:gd name="connsiteY69" fmla="*/ 5890112 h 15946069"/>
                <a:gd name="connsiteX70" fmla="*/ 72345 w 18171859"/>
                <a:gd name="connsiteY70" fmla="*/ 6921032 h 15946069"/>
                <a:gd name="connsiteX71" fmla="*/ 477776 w 18171859"/>
                <a:gd name="connsiteY7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2196146 w 18171859"/>
                <a:gd name="connsiteY29" fmla="*/ 11388328 h 15946069"/>
                <a:gd name="connsiteX30" fmla="*/ 14004775 w 18171859"/>
                <a:gd name="connsiteY30" fmla="*/ 11611395 h 15946069"/>
                <a:gd name="connsiteX31" fmla="*/ 15409477 w 18171859"/>
                <a:gd name="connsiteY31" fmla="*/ 11882693 h 15946069"/>
                <a:gd name="connsiteX32" fmla="*/ 16413199 w 18171859"/>
                <a:gd name="connsiteY32" fmla="*/ 10920339 h 15946069"/>
                <a:gd name="connsiteX33" fmla="*/ 16428336 w 18171859"/>
                <a:gd name="connsiteY33" fmla="*/ 9374732 h 15946069"/>
                <a:gd name="connsiteX34" fmla="*/ 16024409 w 18171859"/>
                <a:gd name="connsiteY34" fmla="*/ 7433474 h 15946069"/>
                <a:gd name="connsiteX35" fmla="*/ 17911414 w 18171859"/>
                <a:gd name="connsiteY35" fmla="*/ 6083041 h 15946069"/>
                <a:gd name="connsiteX36" fmla="*/ 17385711 w 18171859"/>
                <a:gd name="connsiteY36" fmla="*/ 5219213 h 15946069"/>
                <a:gd name="connsiteX37" fmla="*/ 18171858 w 18171859"/>
                <a:gd name="connsiteY37" fmla="*/ 4701949 h 15946069"/>
                <a:gd name="connsiteX38" fmla="*/ 17814953 w 18171859"/>
                <a:gd name="connsiteY38" fmla="*/ 4117660 h 15946069"/>
                <a:gd name="connsiteX39" fmla="*/ 16852763 w 18171859"/>
                <a:gd name="connsiteY39" fmla="*/ 3282076 h 15946069"/>
                <a:gd name="connsiteX40" fmla="*/ 14429201 w 18171859"/>
                <a:gd name="connsiteY40" fmla="*/ 4027238 h 15946069"/>
                <a:gd name="connsiteX41" fmla="*/ 13383819 w 18171859"/>
                <a:gd name="connsiteY41" fmla="*/ 2963756 h 15946069"/>
                <a:gd name="connsiteX42" fmla="*/ 12493981 w 18171859"/>
                <a:gd name="connsiteY42" fmla="*/ 2927587 h 15946069"/>
                <a:gd name="connsiteX43" fmla="*/ 11976717 w 18171859"/>
                <a:gd name="connsiteY43" fmla="*/ 2139025 h 15946069"/>
                <a:gd name="connsiteX44" fmla="*/ 11484768 w 18171859"/>
                <a:gd name="connsiteY44" fmla="*/ 1495155 h 15946069"/>
                <a:gd name="connsiteX45" fmla="*/ 10830043 w 18171859"/>
                <a:gd name="connsiteY45" fmla="*/ 1256418 h 15946069"/>
                <a:gd name="connsiteX46" fmla="*/ 10323633 w 18171859"/>
                <a:gd name="connsiteY46" fmla="*/ 1220249 h 15946069"/>
                <a:gd name="connsiteX47" fmla="*/ 9802745 w 18171859"/>
                <a:gd name="connsiteY47" fmla="*/ 1603676 h 15946069"/>
                <a:gd name="connsiteX48" fmla="*/ 9223982 w 18171859"/>
                <a:gd name="connsiteY48" fmla="*/ 1621761 h 15946069"/>
                <a:gd name="connsiteX49" fmla="*/ 8782678 w 18171859"/>
                <a:gd name="connsiteY49" fmla="*/ 2171586 h 15946069"/>
                <a:gd name="connsiteX50" fmla="*/ 8272645 w 18171859"/>
                <a:gd name="connsiteY50" fmla="*/ 2102856 h 15946069"/>
                <a:gd name="connsiteX51" fmla="*/ 7853048 w 18171859"/>
                <a:gd name="connsiteY51" fmla="*/ 2526075 h 15946069"/>
                <a:gd name="connsiteX52" fmla="*/ 7323799 w 18171859"/>
                <a:gd name="connsiteY52" fmla="*/ 2632907 h 15946069"/>
                <a:gd name="connsiteX53" fmla="*/ 6977672 w 18171859"/>
                <a:gd name="connsiteY53" fmla="*/ 2178817 h 15946069"/>
                <a:gd name="connsiteX54" fmla="*/ 6594245 w 18171859"/>
                <a:gd name="connsiteY54" fmla="*/ 2055834 h 15946069"/>
                <a:gd name="connsiteX55" fmla="*/ 6431470 w 18171859"/>
                <a:gd name="connsiteY55" fmla="*/ 1314295 h 15946069"/>
                <a:gd name="connsiteX56" fmla="*/ 5642908 w 18171859"/>
                <a:gd name="connsiteY56" fmla="*/ 1343233 h 15946069"/>
                <a:gd name="connsiteX57" fmla="*/ 5150959 w 18171859"/>
                <a:gd name="connsiteY57" fmla="*/ 1610907 h 15946069"/>
                <a:gd name="connsiteX58" fmla="*/ 5480133 w 18171859"/>
                <a:gd name="connsiteY58" fmla="*/ 2167963 h 15946069"/>
                <a:gd name="connsiteX59" fmla="*/ 4742216 w 18171859"/>
                <a:gd name="connsiteY59" fmla="*/ 2862495 h 15946069"/>
                <a:gd name="connsiteX60" fmla="*/ 2658667 w 18171859"/>
                <a:gd name="connsiteY60" fmla="*/ 0 h 15946069"/>
                <a:gd name="connsiteX61" fmla="*/ 2658682 w 18171859"/>
                <a:gd name="connsiteY61" fmla="*/ 1018890 h 15946069"/>
                <a:gd name="connsiteX62" fmla="*/ 1850829 w 18171859"/>
                <a:gd name="connsiteY62" fmla="*/ 1730283 h 15946069"/>
                <a:gd name="connsiteX63" fmla="*/ 1404694 w 18171859"/>
                <a:gd name="connsiteY63" fmla="*/ 2272862 h 15946069"/>
                <a:gd name="connsiteX64" fmla="*/ 2351216 w 18171859"/>
                <a:gd name="connsiteY64" fmla="*/ 3388182 h 15946069"/>
                <a:gd name="connsiteX65" fmla="*/ 2658682 w 18171859"/>
                <a:gd name="connsiteY65" fmla="*/ 4286458 h 15946069"/>
                <a:gd name="connsiteX66" fmla="*/ 1935228 w 18171859"/>
                <a:gd name="connsiteY66" fmla="*/ 5220918 h 15946069"/>
                <a:gd name="connsiteX67" fmla="*/ 875281 w 18171859"/>
                <a:gd name="connsiteY67" fmla="*/ 5166646 h 15946069"/>
                <a:gd name="connsiteX68" fmla="*/ 0 w 18171859"/>
                <a:gd name="connsiteY68" fmla="*/ 5890112 h 15946069"/>
                <a:gd name="connsiteX69" fmla="*/ 72345 w 18171859"/>
                <a:gd name="connsiteY69" fmla="*/ 6921032 h 15946069"/>
                <a:gd name="connsiteX70" fmla="*/ 477776 w 18171859"/>
                <a:gd name="connsiteY7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780218 w 18171859"/>
                <a:gd name="connsiteY27" fmla="*/ 13579811 h 15946069"/>
                <a:gd name="connsiteX28" fmla="*/ 12196146 w 18171859"/>
                <a:gd name="connsiteY28" fmla="*/ 11388328 h 15946069"/>
                <a:gd name="connsiteX29" fmla="*/ 14004775 w 18171859"/>
                <a:gd name="connsiteY29" fmla="*/ 11611395 h 15946069"/>
                <a:gd name="connsiteX30" fmla="*/ 15409477 w 18171859"/>
                <a:gd name="connsiteY30" fmla="*/ 11882693 h 15946069"/>
                <a:gd name="connsiteX31" fmla="*/ 16413199 w 18171859"/>
                <a:gd name="connsiteY31" fmla="*/ 10920339 h 15946069"/>
                <a:gd name="connsiteX32" fmla="*/ 16428336 w 18171859"/>
                <a:gd name="connsiteY32" fmla="*/ 9374732 h 15946069"/>
                <a:gd name="connsiteX33" fmla="*/ 16024409 w 18171859"/>
                <a:gd name="connsiteY33" fmla="*/ 7433474 h 15946069"/>
                <a:gd name="connsiteX34" fmla="*/ 17911414 w 18171859"/>
                <a:gd name="connsiteY34" fmla="*/ 6083041 h 15946069"/>
                <a:gd name="connsiteX35" fmla="*/ 17385711 w 18171859"/>
                <a:gd name="connsiteY35" fmla="*/ 5219213 h 15946069"/>
                <a:gd name="connsiteX36" fmla="*/ 18171858 w 18171859"/>
                <a:gd name="connsiteY36" fmla="*/ 4701949 h 15946069"/>
                <a:gd name="connsiteX37" fmla="*/ 17814953 w 18171859"/>
                <a:gd name="connsiteY37" fmla="*/ 4117660 h 15946069"/>
                <a:gd name="connsiteX38" fmla="*/ 16852763 w 18171859"/>
                <a:gd name="connsiteY38" fmla="*/ 3282076 h 15946069"/>
                <a:gd name="connsiteX39" fmla="*/ 14429201 w 18171859"/>
                <a:gd name="connsiteY39" fmla="*/ 4027238 h 15946069"/>
                <a:gd name="connsiteX40" fmla="*/ 13383819 w 18171859"/>
                <a:gd name="connsiteY40" fmla="*/ 2963756 h 15946069"/>
                <a:gd name="connsiteX41" fmla="*/ 12493981 w 18171859"/>
                <a:gd name="connsiteY41" fmla="*/ 2927587 h 15946069"/>
                <a:gd name="connsiteX42" fmla="*/ 11976717 w 18171859"/>
                <a:gd name="connsiteY42" fmla="*/ 2139025 h 15946069"/>
                <a:gd name="connsiteX43" fmla="*/ 11484768 w 18171859"/>
                <a:gd name="connsiteY43" fmla="*/ 1495155 h 15946069"/>
                <a:gd name="connsiteX44" fmla="*/ 10830043 w 18171859"/>
                <a:gd name="connsiteY44" fmla="*/ 1256418 h 15946069"/>
                <a:gd name="connsiteX45" fmla="*/ 10323633 w 18171859"/>
                <a:gd name="connsiteY45" fmla="*/ 1220249 h 15946069"/>
                <a:gd name="connsiteX46" fmla="*/ 9802745 w 18171859"/>
                <a:gd name="connsiteY46" fmla="*/ 1603676 h 15946069"/>
                <a:gd name="connsiteX47" fmla="*/ 9223982 w 18171859"/>
                <a:gd name="connsiteY47" fmla="*/ 1621761 h 15946069"/>
                <a:gd name="connsiteX48" fmla="*/ 8782678 w 18171859"/>
                <a:gd name="connsiteY48" fmla="*/ 2171586 h 15946069"/>
                <a:gd name="connsiteX49" fmla="*/ 8272645 w 18171859"/>
                <a:gd name="connsiteY49" fmla="*/ 2102856 h 15946069"/>
                <a:gd name="connsiteX50" fmla="*/ 7853048 w 18171859"/>
                <a:gd name="connsiteY50" fmla="*/ 2526075 h 15946069"/>
                <a:gd name="connsiteX51" fmla="*/ 7323799 w 18171859"/>
                <a:gd name="connsiteY51" fmla="*/ 2632907 h 15946069"/>
                <a:gd name="connsiteX52" fmla="*/ 6977672 w 18171859"/>
                <a:gd name="connsiteY52" fmla="*/ 2178817 h 15946069"/>
                <a:gd name="connsiteX53" fmla="*/ 6594245 w 18171859"/>
                <a:gd name="connsiteY53" fmla="*/ 2055834 h 15946069"/>
                <a:gd name="connsiteX54" fmla="*/ 6431470 w 18171859"/>
                <a:gd name="connsiteY54" fmla="*/ 1314295 h 15946069"/>
                <a:gd name="connsiteX55" fmla="*/ 5642908 w 18171859"/>
                <a:gd name="connsiteY55" fmla="*/ 1343233 h 15946069"/>
                <a:gd name="connsiteX56" fmla="*/ 5150959 w 18171859"/>
                <a:gd name="connsiteY56" fmla="*/ 1610907 h 15946069"/>
                <a:gd name="connsiteX57" fmla="*/ 5480133 w 18171859"/>
                <a:gd name="connsiteY57" fmla="*/ 2167963 h 15946069"/>
                <a:gd name="connsiteX58" fmla="*/ 4742216 w 18171859"/>
                <a:gd name="connsiteY58" fmla="*/ 2862495 h 15946069"/>
                <a:gd name="connsiteX59" fmla="*/ 2658667 w 18171859"/>
                <a:gd name="connsiteY59" fmla="*/ 0 h 15946069"/>
                <a:gd name="connsiteX60" fmla="*/ 2658682 w 18171859"/>
                <a:gd name="connsiteY60" fmla="*/ 1018890 h 15946069"/>
                <a:gd name="connsiteX61" fmla="*/ 1850829 w 18171859"/>
                <a:gd name="connsiteY61" fmla="*/ 1730283 h 15946069"/>
                <a:gd name="connsiteX62" fmla="*/ 1404694 w 18171859"/>
                <a:gd name="connsiteY62" fmla="*/ 2272862 h 15946069"/>
                <a:gd name="connsiteX63" fmla="*/ 2351216 w 18171859"/>
                <a:gd name="connsiteY63" fmla="*/ 3388182 h 15946069"/>
                <a:gd name="connsiteX64" fmla="*/ 2658682 w 18171859"/>
                <a:gd name="connsiteY64" fmla="*/ 4286458 h 15946069"/>
                <a:gd name="connsiteX65" fmla="*/ 1935228 w 18171859"/>
                <a:gd name="connsiteY65" fmla="*/ 5220918 h 15946069"/>
                <a:gd name="connsiteX66" fmla="*/ 875281 w 18171859"/>
                <a:gd name="connsiteY66" fmla="*/ 5166646 h 15946069"/>
                <a:gd name="connsiteX67" fmla="*/ 0 w 18171859"/>
                <a:gd name="connsiteY67" fmla="*/ 5890112 h 15946069"/>
                <a:gd name="connsiteX68" fmla="*/ 72345 w 18171859"/>
                <a:gd name="connsiteY68" fmla="*/ 6921032 h 15946069"/>
                <a:gd name="connsiteX69" fmla="*/ 477776 w 18171859"/>
                <a:gd name="connsiteY69"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616683 w 18171859"/>
                <a:gd name="connsiteY24" fmla="*/ 15358294 h 15946069"/>
                <a:gd name="connsiteX25" fmla="*/ 11117010 w 18171859"/>
                <a:gd name="connsiteY25" fmla="*/ 15946069 h 15946069"/>
                <a:gd name="connsiteX26" fmla="*/ 11780218 w 18171859"/>
                <a:gd name="connsiteY26" fmla="*/ 13579811 h 15946069"/>
                <a:gd name="connsiteX27" fmla="*/ 12196146 w 18171859"/>
                <a:gd name="connsiteY27" fmla="*/ 11388328 h 15946069"/>
                <a:gd name="connsiteX28" fmla="*/ 14004775 w 18171859"/>
                <a:gd name="connsiteY28" fmla="*/ 11611395 h 15946069"/>
                <a:gd name="connsiteX29" fmla="*/ 15409477 w 18171859"/>
                <a:gd name="connsiteY29" fmla="*/ 11882693 h 15946069"/>
                <a:gd name="connsiteX30" fmla="*/ 16413199 w 18171859"/>
                <a:gd name="connsiteY30" fmla="*/ 10920339 h 15946069"/>
                <a:gd name="connsiteX31" fmla="*/ 16428336 w 18171859"/>
                <a:gd name="connsiteY31" fmla="*/ 9374732 h 15946069"/>
                <a:gd name="connsiteX32" fmla="*/ 16024409 w 18171859"/>
                <a:gd name="connsiteY32" fmla="*/ 7433474 h 15946069"/>
                <a:gd name="connsiteX33" fmla="*/ 17911414 w 18171859"/>
                <a:gd name="connsiteY33" fmla="*/ 6083041 h 15946069"/>
                <a:gd name="connsiteX34" fmla="*/ 17385711 w 18171859"/>
                <a:gd name="connsiteY34" fmla="*/ 5219213 h 15946069"/>
                <a:gd name="connsiteX35" fmla="*/ 18171858 w 18171859"/>
                <a:gd name="connsiteY35" fmla="*/ 4701949 h 15946069"/>
                <a:gd name="connsiteX36" fmla="*/ 17814953 w 18171859"/>
                <a:gd name="connsiteY36" fmla="*/ 4117660 h 15946069"/>
                <a:gd name="connsiteX37" fmla="*/ 16852763 w 18171859"/>
                <a:gd name="connsiteY37" fmla="*/ 3282076 h 15946069"/>
                <a:gd name="connsiteX38" fmla="*/ 14429201 w 18171859"/>
                <a:gd name="connsiteY38" fmla="*/ 4027238 h 15946069"/>
                <a:gd name="connsiteX39" fmla="*/ 13383819 w 18171859"/>
                <a:gd name="connsiteY39" fmla="*/ 2963756 h 15946069"/>
                <a:gd name="connsiteX40" fmla="*/ 12493981 w 18171859"/>
                <a:gd name="connsiteY40" fmla="*/ 2927587 h 15946069"/>
                <a:gd name="connsiteX41" fmla="*/ 11976717 w 18171859"/>
                <a:gd name="connsiteY41" fmla="*/ 2139025 h 15946069"/>
                <a:gd name="connsiteX42" fmla="*/ 11484768 w 18171859"/>
                <a:gd name="connsiteY42" fmla="*/ 1495155 h 15946069"/>
                <a:gd name="connsiteX43" fmla="*/ 10830043 w 18171859"/>
                <a:gd name="connsiteY43" fmla="*/ 1256418 h 15946069"/>
                <a:gd name="connsiteX44" fmla="*/ 10323633 w 18171859"/>
                <a:gd name="connsiteY44" fmla="*/ 1220249 h 15946069"/>
                <a:gd name="connsiteX45" fmla="*/ 9802745 w 18171859"/>
                <a:gd name="connsiteY45" fmla="*/ 1603676 h 15946069"/>
                <a:gd name="connsiteX46" fmla="*/ 9223982 w 18171859"/>
                <a:gd name="connsiteY46" fmla="*/ 1621761 h 15946069"/>
                <a:gd name="connsiteX47" fmla="*/ 8782678 w 18171859"/>
                <a:gd name="connsiteY47" fmla="*/ 2171586 h 15946069"/>
                <a:gd name="connsiteX48" fmla="*/ 8272645 w 18171859"/>
                <a:gd name="connsiteY48" fmla="*/ 2102856 h 15946069"/>
                <a:gd name="connsiteX49" fmla="*/ 7853048 w 18171859"/>
                <a:gd name="connsiteY49" fmla="*/ 2526075 h 15946069"/>
                <a:gd name="connsiteX50" fmla="*/ 7323799 w 18171859"/>
                <a:gd name="connsiteY50" fmla="*/ 2632907 h 15946069"/>
                <a:gd name="connsiteX51" fmla="*/ 6977672 w 18171859"/>
                <a:gd name="connsiteY51" fmla="*/ 2178817 h 15946069"/>
                <a:gd name="connsiteX52" fmla="*/ 6594245 w 18171859"/>
                <a:gd name="connsiteY52" fmla="*/ 2055834 h 15946069"/>
                <a:gd name="connsiteX53" fmla="*/ 6431470 w 18171859"/>
                <a:gd name="connsiteY53" fmla="*/ 1314295 h 15946069"/>
                <a:gd name="connsiteX54" fmla="*/ 5642908 w 18171859"/>
                <a:gd name="connsiteY54" fmla="*/ 1343233 h 15946069"/>
                <a:gd name="connsiteX55" fmla="*/ 5150959 w 18171859"/>
                <a:gd name="connsiteY55" fmla="*/ 1610907 h 15946069"/>
                <a:gd name="connsiteX56" fmla="*/ 5480133 w 18171859"/>
                <a:gd name="connsiteY56" fmla="*/ 2167963 h 15946069"/>
                <a:gd name="connsiteX57" fmla="*/ 4742216 w 18171859"/>
                <a:gd name="connsiteY57" fmla="*/ 2862495 h 15946069"/>
                <a:gd name="connsiteX58" fmla="*/ 2658667 w 18171859"/>
                <a:gd name="connsiteY58" fmla="*/ 0 h 15946069"/>
                <a:gd name="connsiteX59" fmla="*/ 2658682 w 18171859"/>
                <a:gd name="connsiteY59" fmla="*/ 1018890 h 15946069"/>
                <a:gd name="connsiteX60" fmla="*/ 1850829 w 18171859"/>
                <a:gd name="connsiteY60" fmla="*/ 1730283 h 15946069"/>
                <a:gd name="connsiteX61" fmla="*/ 1404694 w 18171859"/>
                <a:gd name="connsiteY61" fmla="*/ 2272862 h 15946069"/>
                <a:gd name="connsiteX62" fmla="*/ 2351216 w 18171859"/>
                <a:gd name="connsiteY62" fmla="*/ 3388182 h 15946069"/>
                <a:gd name="connsiteX63" fmla="*/ 2658682 w 18171859"/>
                <a:gd name="connsiteY63" fmla="*/ 4286458 h 15946069"/>
                <a:gd name="connsiteX64" fmla="*/ 1935228 w 18171859"/>
                <a:gd name="connsiteY64" fmla="*/ 5220918 h 15946069"/>
                <a:gd name="connsiteX65" fmla="*/ 875281 w 18171859"/>
                <a:gd name="connsiteY65" fmla="*/ 5166646 h 15946069"/>
                <a:gd name="connsiteX66" fmla="*/ 0 w 18171859"/>
                <a:gd name="connsiteY66" fmla="*/ 5890112 h 15946069"/>
                <a:gd name="connsiteX67" fmla="*/ 72345 w 18171859"/>
                <a:gd name="connsiteY67" fmla="*/ 6921032 h 15946069"/>
                <a:gd name="connsiteX68" fmla="*/ 477776 w 18171859"/>
                <a:gd name="connsiteY68"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2493981 w 18171859"/>
                <a:gd name="connsiteY39" fmla="*/ 2927587 h 15946069"/>
                <a:gd name="connsiteX40" fmla="*/ 11976717 w 18171859"/>
                <a:gd name="connsiteY40" fmla="*/ 2139025 h 15946069"/>
                <a:gd name="connsiteX41" fmla="*/ 11484768 w 18171859"/>
                <a:gd name="connsiteY41" fmla="*/ 1495155 h 15946069"/>
                <a:gd name="connsiteX42" fmla="*/ 10830043 w 18171859"/>
                <a:gd name="connsiteY42" fmla="*/ 1256418 h 15946069"/>
                <a:gd name="connsiteX43" fmla="*/ 10323633 w 18171859"/>
                <a:gd name="connsiteY43" fmla="*/ 1220249 h 15946069"/>
                <a:gd name="connsiteX44" fmla="*/ 9802745 w 18171859"/>
                <a:gd name="connsiteY44" fmla="*/ 1603676 h 15946069"/>
                <a:gd name="connsiteX45" fmla="*/ 9223982 w 18171859"/>
                <a:gd name="connsiteY45" fmla="*/ 1621761 h 15946069"/>
                <a:gd name="connsiteX46" fmla="*/ 8782678 w 18171859"/>
                <a:gd name="connsiteY46" fmla="*/ 2171586 h 15946069"/>
                <a:gd name="connsiteX47" fmla="*/ 8272645 w 18171859"/>
                <a:gd name="connsiteY47" fmla="*/ 2102856 h 15946069"/>
                <a:gd name="connsiteX48" fmla="*/ 7853048 w 18171859"/>
                <a:gd name="connsiteY48" fmla="*/ 2526075 h 15946069"/>
                <a:gd name="connsiteX49" fmla="*/ 7323799 w 18171859"/>
                <a:gd name="connsiteY49" fmla="*/ 2632907 h 15946069"/>
                <a:gd name="connsiteX50" fmla="*/ 6977672 w 18171859"/>
                <a:gd name="connsiteY50" fmla="*/ 2178817 h 15946069"/>
                <a:gd name="connsiteX51" fmla="*/ 6594245 w 18171859"/>
                <a:gd name="connsiteY51" fmla="*/ 2055834 h 15946069"/>
                <a:gd name="connsiteX52" fmla="*/ 6431470 w 18171859"/>
                <a:gd name="connsiteY52" fmla="*/ 1314295 h 15946069"/>
                <a:gd name="connsiteX53" fmla="*/ 5642908 w 18171859"/>
                <a:gd name="connsiteY53" fmla="*/ 1343233 h 15946069"/>
                <a:gd name="connsiteX54" fmla="*/ 5150959 w 18171859"/>
                <a:gd name="connsiteY54" fmla="*/ 1610907 h 15946069"/>
                <a:gd name="connsiteX55" fmla="*/ 5480133 w 18171859"/>
                <a:gd name="connsiteY55" fmla="*/ 2167963 h 15946069"/>
                <a:gd name="connsiteX56" fmla="*/ 4742216 w 18171859"/>
                <a:gd name="connsiteY56" fmla="*/ 2862495 h 15946069"/>
                <a:gd name="connsiteX57" fmla="*/ 2658667 w 18171859"/>
                <a:gd name="connsiteY57" fmla="*/ 0 h 15946069"/>
                <a:gd name="connsiteX58" fmla="*/ 2658682 w 18171859"/>
                <a:gd name="connsiteY58" fmla="*/ 1018890 h 15946069"/>
                <a:gd name="connsiteX59" fmla="*/ 1850829 w 18171859"/>
                <a:gd name="connsiteY59" fmla="*/ 1730283 h 15946069"/>
                <a:gd name="connsiteX60" fmla="*/ 1404694 w 18171859"/>
                <a:gd name="connsiteY60" fmla="*/ 2272862 h 15946069"/>
                <a:gd name="connsiteX61" fmla="*/ 2351216 w 18171859"/>
                <a:gd name="connsiteY61" fmla="*/ 3388182 h 15946069"/>
                <a:gd name="connsiteX62" fmla="*/ 2658682 w 18171859"/>
                <a:gd name="connsiteY62" fmla="*/ 4286458 h 15946069"/>
                <a:gd name="connsiteX63" fmla="*/ 1935228 w 18171859"/>
                <a:gd name="connsiteY63" fmla="*/ 5220918 h 15946069"/>
                <a:gd name="connsiteX64" fmla="*/ 875281 w 18171859"/>
                <a:gd name="connsiteY64" fmla="*/ 5166646 h 15946069"/>
                <a:gd name="connsiteX65" fmla="*/ 0 w 18171859"/>
                <a:gd name="connsiteY65" fmla="*/ 5890112 h 15946069"/>
                <a:gd name="connsiteX66" fmla="*/ 72345 w 18171859"/>
                <a:gd name="connsiteY66" fmla="*/ 6921032 h 15946069"/>
                <a:gd name="connsiteX67" fmla="*/ 477776 w 18171859"/>
                <a:gd name="connsiteY67"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1484768 w 18171859"/>
                <a:gd name="connsiteY40" fmla="*/ 1495155 h 15946069"/>
                <a:gd name="connsiteX41" fmla="*/ 10830043 w 18171859"/>
                <a:gd name="connsiteY41" fmla="*/ 1256418 h 15946069"/>
                <a:gd name="connsiteX42" fmla="*/ 10323633 w 18171859"/>
                <a:gd name="connsiteY42" fmla="*/ 1220249 h 15946069"/>
                <a:gd name="connsiteX43" fmla="*/ 9802745 w 18171859"/>
                <a:gd name="connsiteY43" fmla="*/ 1603676 h 15946069"/>
                <a:gd name="connsiteX44" fmla="*/ 9223982 w 18171859"/>
                <a:gd name="connsiteY44" fmla="*/ 1621761 h 15946069"/>
                <a:gd name="connsiteX45" fmla="*/ 8782678 w 18171859"/>
                <a:gd name="connsiteY45" fmla="*/ 2171586 h 15946069"/>
                <a:gd name="connsiteX46" fmla="*/ 8272645 w 18171859"/>
                <a:gd name="connsiteY46" fmla="*/ 2102856 h 15946069"/>
                <a:gd name="connsiteX47" fmla="*/ 7853048 w 18171859"/>
                <a:gd name="connsiteY47" fmla="*/ 2526075 h 15946069"/>
                <a:gd name="connsiteX48" fmla="*/ 7323799 w 18171859"/>
                <a:gd name="connsiteY48" fmla="*/ 2632907 h 15946069"/>
                <a:gd name="connsiteX49" fmla="*/ 6977672 w 18171859"/>
                <a:gd name="connsiteY49" fmla="*/ 2178817 h 15946069"/>
                <a:gd name="connsiteX50" fmla="*/ 6594245 w 18171859"/>
                <a:gd name="connsiteY50" fmla="*/ 2055834 h 15946069"/>
                <a:gd name="connsiteX51" fmla="*/ 6431470 w 18171859"/>
                <a:gd name="connsiteY51" fmla="*/ 1314295 h 15946069"/>
                <a:gd name="connsiteX52" fmla="*/ 5642908 w 18171859"/>
                <a:gd name="connsiteY52" fmla="*/ 1343233 h 15946069"/>
                <a:gd name="connsiteX53" fmla="*/ 5150959 w 18171859"/>
                <a:gd name="connsiteY53" fmla="*/ 1610907 h 15946069"/>
                <a:gd name="connsiteX54" fmla="*/ 5480133 w 18171859"/>
                <a:gd name="connsiteY54" fmla="*/ 2167963 h 15946069"/>
                <a:gd name="connsiteX55" fmla="*/ 4742216 w 18171859"/>
                <a:gd name="connsiteY55" fmla="*/ 2862495 h 15946069"/>
                <a:gd name="connsiteX56" fmla="*/ 2658667 w 18171859"/>
                <a:gd name="connsiteY56" fmla="*/ 0 h 15946069"/>
                <a:gd name="connsiteX57" fmla="*/ 2658682 w 18171859"/>
                <a:gd name="connsiteY57" fmla="*/ 1018890 h 15946069"/>
                <a:gd name="connsiteX58" fmla="*/ 1850829 w 18171859"/>
                <a:gd name="connsiteY58" fmla="*/ 1730283 h 15946069"/>
                <a:gd name="connsiteX59" fmla="*/ 1404694 w 18171859"/>
                <a:gd name="connsiteY59" fmla="*/ 2272862 h 15946069"/>
                <a:gd name="connsiteX60" fmla="*/ 2351216 w 18171859"/>
                <a:gd name="connsiteY60" fmla="*/ 3388182 h 15946069"/>
                <a:gd name="connsiteX61" fmla="*/ 2658682 w 18171859"/>
                <a:gd name="connsiteY61" fmla="*/ 4286458 h 15946069"/>
                <a:gd name="connsiteX62" fmla="*/ 1935228 w 18171859"/>
                <a:gd name="connsiteY62" fmla="*/ 5220918 h 15946069"/>
                <a:gd name="connsiteX63" fmla="*/ 875281 w 18171859"/>
                <a:gd name="connsiteY63" fmla="*/ 5166646 h 15946069"/>
                <a:gd name="connsiteX64" fmla="*/ 0 w 18171859"/>
                <a:gd name="connsiteY64" fmla="*/ 5890112 h 15946069"/>
                <a:gd name="connsiteX65" fmla="*/ 72345 w 18171859"/>
                <a:gd name="connsiteY65" fmla="*/ 6921032 h 15946069"/>
                <a:gd name="connsiteX66" fmla="*/ 477776 w 18171859"/>
                <a:gd name="connsiteY66"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10323633 w 18171859"/>
                <a:gd name="connsiteY41" fmla="*/ 1220249 h 15946069"/>
                <a:gd name="connsiteX42" fmla="*/ 9802745 w 18171859"/>
                <a:gd name="connsiteY42" fmla="*/ 1603676 h 15946069"/>
                <a:gd name="connsiteX43" fmla="*/ 9223982 w 18171859"/>
                <a:gd name="connsiteY43" fmla="*/ 1621761 h 15946069"/>
                <a:gd name="connsiteX44" fmla="*/ 8782678 w 18171859"/>
                <a:gd name="connsiteY44" fmla="*/ 2171586 h 15946069"/>
                <a:gd name="connsiteX45" fmla="*/ 8272645 w 18171859"/>
                <a:gd name="connsiteY45" fmla="*/ 2102856 h 15946069"/>
                <a:gd name="connsiteX46" fmla="*/ 7853048 w 18171859"/>
                <a:gd name="connsiteY46" fmla="*/ 2526075 h 15946069"/>
                <a:gd name="connsiteX47" fmla="*/ 7323799 w 18171859"/>
                <a:gd name="connsiteY47" fmla="*/ 2632907 h 15946069"/>
                <a:gd name="connsiteX48" fmla="*/ 6977672 w 18171859"/>
                <a:gd name="connsiteY48" fmla="*/ 2178817 h 15946069"/>
                <a:gd name="connsiteX49" fmla="*/ 6594245 w 18171859"/>
                <a:gd name="connsiteY49" fmla="*/ 2055834 h 15946069"/>
                <a:gd name="connsiteX50" fmla="*/ 6431470 w 18171859"/>
                <a:gd name="connsiteY50" fmla="*/ 1314295 h 15946069"/>
                <a:gd name="connsiteX51" fmla="*/ 5642908 w 18171859"/>
                <a:gd name="connsiteY51" fmla="*/ 1343233 h 15946069"/>
                <a:gd name="connsiteX52" fmla="*/ 5150959 w 18171859"/>
                <a:gd name="connsiteY52" fmla="*/ 1610907 h 15946069"/>
                <a:gd name="connsiteX53" fmla="*/ 5480133 w 18171859"/>
                <a:gd name="connsiteY53" fmla="*/ 2167963 h 15946069"/>
                <a:gd name="connsiteX54" fmla="*/ 4742216 w 18171859"/>
                <a:gd name="connsiteY54" fmla="*/ 2862495 h 15946069"/>
                <a:gd name="connsiteX55" fmla="*/ 2658667 w 18171859"/>
                <a:gd name="connsiteY55" fmla="*/ 0 h 15946069"/>
                <a:gd name="connsiteX56" fmla="*/ 2658682 w 18171859"/>
                <a:gd name="connsiteY56" fmla="*/ 1018890 h 15946069"/>
                <a:gd name="connsiteX57" fmla="*/ 1850829 w 18171859"/>
                <a:gd name="connsiteY57" fmla="*/ 1730283 h 15946069"/>
                <a:gd name="connsiteX58" fmla="*/ 1404694 w 18171859"/>
                <a:gd name="connsiteY58" fmla="*/ 2272862 h 15946069"/>
                <a:gd name="connsiteX59" fmla="*/ 2351216 w 18171859"/>
                <a:gd name="connsiteY59" fmla="*/ 3388182 h 15946069"/>
                <a:gd name="connsiteX60" fmla="*/ 2658682 w 18171859"/>
                <a:gd name="connsiteY60" fmla="*/ 4286458 h 15946069"/>
                <a:gd name="connsiteX61" fmla="*/ 1935228 w 18171859"/>
                <a:gd name="connsiteY61" fmla="*/ 5220918 h 15946069"/>
                <a:gd name="connsiteX62" fmla="*/ 875281 w 18171859"/>
                <a:gd name="connsiteY62" fmla="*/ 5166646 h 15946069"/>
                <a:gd name="connsiteX63" fmla="*/ 0 w 18171859"/>
                <a:gd name="connsiteY63" fmla="*/ 5890112 h 15946069"/>
                <a:gd name="connsiteX64" fmla="*/ 72345 w 18171859"/>
                <a:gd name="connsiteY64" fmla="*/ 6921032 h 15946069"/>
                <a:gd name="connsiteX65" fmla="*/ 477776 w 18171859"/>
                <a:gd name="connsiteY65"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9223982 w 18171859"/>
                <a:gd name="connsiteY42" fmla="*/ 1621761 h 15946069"/>
                <a:gd name="connsiteX43" fmla="*/ 8782678 w 18171859"/>
                <a:gd name="connsiteY43" fmla="*/ 2171586 h 15946069"/>
                <a:gd name="connsiteX44" fmla="*/ 8272645 w 18171859"/>
                <a:gd name="connsiteY44" fmla="*/ 2102856 h 15946069"/>
                <a:gd name="connsiteX45" fmla="*/ 7853048 w 18171859"/>
                <a:gd name="connsiteY45" fmla="*/ 2526075 h 15946069"/>
                <a:gd name="connsiteX46" fmla="*/ 7323799 w 18171859"/>
                <a:gd name="connsiteY46" fmla="*/ 2632907 h 15946069"/>
                <a:gd name="connsiteX47" fmla="*/ 6977672 w 18171859"/>
                <a:gd name="connsiteY47" fmla="*/ 2178817 h 15946069"/>
                <a:gd name="connsiteX48" fmla="*/ 6594245 w 18171859"/>
                <a:gd name="connsiteY48" fmla="*/ 2055834 h 15946069"/>
                <a:gd name="connsiteX49" fmla="*/ 6431470 w 18171859"/>
                <a:gd name="connsiteY49" fmla="*/ 1314295 h 15946069"/>
                <a:gd name="connsiteX50" fmla="*/ 5642908 w 18171859"/>
                <a:gd name="connsiteY50" fmla="*/ 1343233 h 15946069"/>
                <a:gd name="connsiteX51" fmla="*/ 5150959 w 18171859"/>
                <a:gd name="connsiteY51" fmla="*/ 1610907 h 15946069"/>
                <a:gd name="connsiteX52" fmla="*/ 5480133 w 18171859"/>
                <a:gd name="connsiteY52" fmla="*/ 2167963 h 15946069"/>
                <a:gd name="connsiteX53" fmla="*/ 4742216 w 18171859"/>
                <a:gd name="connsiteY53" fmla="*/ 2862495 h 15946069"/>
                <a:gd name="connsiteX54" fmla="*/ 2658667 w 18171859"/>
                <a:gd name="connsiteY54" fmla="*/ 0 h 15946069"/>
                <a:gd name="connsiteX55" fmla="*/ 2658682 w 18171859"/>
                <a:gd name="connsiteY55" fmla="*/ 1018890 h 15946069"/>
                <a:gd name="connsiteX56" fmla="*/ 1850829 w 18171859"/>
                <a:gd name="connsiteY56" fmla="*/ 1730283 h 15946069"/>
                <a:gd name="connsiteX57" fmla="*/ 1404694 w 18171859"/>
                <a:gd name="connsiteY57" fmla="*/ 2272862 h 15946069"/>
                <a:gd name="connsiteX58" fmla="*/ 2351216 w 18171859"/>
                <a:gd name="connsiteY58" fmla="*/ 3388182 h 15946069"/>
                <a:gd name="connsiteX59" fmla="*/ 2658682 w 18171859"/>
                <a:gd name="connsiteY59" fmla="*/ 4286458 h 15946069"/>
                <a:gd name="connsiteX60" fmla="*/ 1935228 w 18171859"/>
                <a:gd name="connsiteY60" fmla="*/ 5220918 h 15946069"/>
                <a:gd name="connsiteX61" fmla="*/ 875281 w 18171859"/>
                <a:gd name="connsiteY61" fmla="*/ 5166646 h 15946069"/>
                <a:gd name="connsiteX62" fmla="*/ 0 w 18171859"/>
                <a:gd name="connsiteY62" fmla="*/ 5890112 h 15946069"/>
                <a:gd name="connsiteX63" fmla="*/ 72345 w 18171859"/>
                <a:gd name="connsiteY63" fmla="*/ 6921032 h 15946069"/>
                <a:gd name="connsiteX64" fmla="*/ 477776 w 18171859"/>
                <a:gd name="connsiteY64"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782678 w 18171859"/>
                <a:gd name="connsiteY42" fmla="*/ 2171586 h 15946069"/>
                <a:gd name="connsiteX43" fmla="*/ 8272645 w 18171859"/>
                <a:gd name="connsiteY43" fmla="*/ 2102856 h 15946069"/>
                <a:gd name="connsiteX44" fmla="*/ 7853048 w 18171859"/>
                <a:gd name="connsiteY44" fmla="*/ 2526075 h 15946069"/>
                <a:gd name="connsiteX45" fmla="*/ 7323799 w 18171859"/>
                <a:gd name="connsiteY45" fmla="*/ 2632907 h 15946069"/>
                <a:gd name="connsiteX46" fmla="*/ 6977672 w 18171859"/>
                <a:gd name="connsiteY46" fmla="*/ 2178817 h 15946069"/>
                <a:gd name="connsiteX47" fmla="*/ 6594245 w 18171859"/>
                <a:gd name="connsiteY47" fmla="*/ 2055834 h 15946069"/>
                <a:gd name="connsiteX48" fmla="*/ 6431470 w 18171859"/>
                <a:gd name="connsiteY48" fmla="*/ 1314295 h 15946069"/>
                <a:gd name="connsiteX49" fmla="*/ 5642908 w 18171859"/>
                <a:gd name="connsiteY49" fmla="*/ 1343233 h 15946069"/>
                <a:gd name="connsiteX50" fmla="*/ 5150959 w 18171859"/>
                <a:gd name="connsiteY50" fmla="*/ 1610907 h 15946069"/>
                <a:gd name="connsiteX51" fmla="*/ 5480133 w 18171859"/>
                <a:gd name="connsiteY51" fmla="*/ 2167963 h 15946069"/>
                <a:gd name="connsiteX52" fmla="*/ 4742216 w 18171859"/>
                <a:gd name="connsiteY52" fmla="*/ 2862495 h 15946069"/>
                <a:gd name="connsiteX53" fmla="*/ 2658667 w 18171859"/>
                <a:gd name="connsiteY53" fmla="*/ 0 h 15946069"/>
                <a:gd name="connsiteX54" fmla="*/ 2658682 w 18171859"/>
                <a:gd name="connsiteY54" fmla="*/ 1018890 h 15946069"/>
                <a:gd name="connsiteX55" fmla="*/ 1850829 w 18171859"/>
                <a:gd name="connsiteY55" fmla="*/ 1730283 h 15946069"/>
                <a:gd name="connsiteX56" fmla="*/ 1404694 w 18171859"/>
                <a:gd name="connsiteY56" fmla="*/ 2272862 h 15946069"/>
                <a:gd name="connsiteX57" fmla="*/ 2351216 w 18171859"/>
                <a:gd name="connsiteY57" fmla="*/ 3388182 h 15946069"/>
                <a:gd name="connsiteX58" fmla="*/ 2658682 w 18171859"/>
                <a:gd name="connsiteY58" fmla="*/ 4286458 h 15946069"/>
                <a:gd name="connsiteX59" fmla="*/ 1935228 w 18171859"/>
                <a:gd name="connsiteY59" fmla="*/ 5220918 h 15946069"/>
                <a:gd name="connsiteX60" fmla="*/ 875281 w 18171859"/>
                <a:gd name="connsiteY60" fmla="*/ 5166646 h 15946069"/>
                <a:gd name="connsiteX61" fmla="*/ 0 w 18171859"/>
                <a:gd name="connsiteY61" fmla="*/ 5890112 h 15946069"/>
                <a:gd name="connsiteX62" fmla="*/ 72345 w 18171859"/>
                <a:gd name="connsiteY62" fmla="*/ 6921032 h 15946069"/>
                <a:gd name="connsiteX63" fmla="*/ 477776 w 18171859"/>
                <a:gd name="connsiteY63"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782678 w 18171859"/>
                <a:gd name="connsiteY42" fmla="*/ 2171586 h 15946069"/>
                <a:gd name="connsiteX43" fmla="*/ 7853048 w 18171859"/>
                <a:gd name="connsiteY43" fmla="*/ 2526075 h 15946069"/>
                <a:gd name="connsiteX44" fmla="*/ 7323799 w 18171859"/>
                <a:gd name="connsiteY44" fmla="*/ 2632907 h 15946069"/>
                <a:gd name="connsiteX45" fmla="*/ 6977672 w 18171859"/>
                <a:gd name="connsiteY45" fmla="*/ 2178817 h 15946069"/>
                <a:gd name="connsiteX46" fmla="*/ 6594245 w 18171859"/>
                <a:gd name="connsiteY46" fmla="*/ 2055834 h 15946069"/>
                <a:gd name="connsiteX47" fmla="*/ 6431470 w 18171859"/>
                <a:gd name="connsiteY47" fmla="*/ 1314295 h 15946069"/>
                <a:gd name="connsiteX48" fmla="*/ 5642908 w 18171859"/>
                <a:gd name="connsiteY48" fmla="*/ 1343233 h 15946069"/>
                <a:gd name="connsiteX49" fmla="*/ 5150959 w 18171859"/>
                <a:gd name="connsiteY49" fmla="*/ 1610907 h 15946069"/>
                <a:gd name="connsiteX50" fmla="*/ 5480133 w 18171859"/>
                <a:gd name="connsiteY50" fmla="*/ 2167963 h 15946069"/>
                <a:gd name="connsiteX51" fmla="*/ 4742216 w 18171859"/>
                <a:gd name="connsiteY51" fmla="*/ 2862495 h 15946069"/>
                <a:gd name="connsiteX52" fmla="*/ 2658667 w 18171859"/>
                <a:gd name="connsiteY52" fmla="*/ 0 h 15946069"/>
                <a:gd name="connsiteX53" fmla="*/ 2658682 w 18171859"/>
                <a:gd name="connsiteY53" fmla="*/ 1018890 h 15946069"/>
                <a:gd name="connsiteX54" fmla="*/ 1850829 w 18171859"/>
                <a:gd name="connsiteY54" fmla="*/ 1730283 h 15946069"/>
                <a:gd name="connsiteX55" fmla="*/ 1404694 w 18171859"/>
                <a:gd name="connsiteY55" fmla="*/ 2272862 h 15946069"/>
                <a:gd name="connsiteX56" fmla="*/ 2351216 w 18171859"/>
                <a:gd name="connsiteY56" fmla="*/ 3388182 h 15946069"/>
                <a:gd name="connsiteX57" fmla="*/ 2658682 w 18171859"/>
                <a:gd name="connsiteY57" fmla="*/ 4286458 h 15946069"/>
                <a:gd name="connsiteX58" fmla="*/ 1935228 w 18171859"/>
                <a:gd name="connsiteY58" fmla="*/ 5220918 h 15946069"/>
                <a:gd name="connsiteX59" fmla="*/ 875281 w 18171859"/>
                <a:gd name="connsiteY59" fmla="*/ 5166646 h 15946069"/>
                <a:gd name="connsiteX60" fmla="*/ 0 w 18171859"/>
                <a:gd name="connsiteY60" fmla="*/ 5890112 h 15946069"/>
                <a:gd name="connsiteX61" fmla="*/ 72345 w 18171859"/>
                <a:gd name="connsiteY61" fmla="*/ 6921032 h 15946069"/>
                <a:gd name="connsiteX62" fmla="*/ 477776 w 18171859"/>
                <a:gd name="connsiteY62"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782678 w 18171859"/>
                <a:gd name="connsiteY42" fmla="*/ 2171586 h 15946069"/>
                <a:gd name="connsiteX43" fmla="*/ 7853048 w 18171859"/>
                <a:gd name="connsiteY43" fmla="*/ 2526075 h 15946069"/>
                <a:gd name="connsiteX44" fmla="*/ 6977672 w 18171859"/>
                <a:gd name="connsiteY44" fmla="*/ 2178817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878357 w 18171859"/>
                <a:gd name="connsiteY42" fmla="*/ 3865809 h 15946069"/>
                <a:gd name="connsiteX43" fmla="*/ 7853048 w 18171859"/>
                <a:gd name="connsiteY43" fmla="*/ 2526075 h 15946069"/>
                <a:gd name="connsiteX44" fmla="*/ 6977672 w 18171859"/>
                <a:gd name="connsiteY44" fmla="*/ 2178817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878357 w 18171859"/>
                <a:gd name="connsiteY42" fmla="*/ 3865809 h 15946069"/>
                <a:gd name="connsiteX43" fmla="*/ 7446446 w 18171859"/>
                <a:gd name="connsiteY43" fmla="*/ 3504429 h 15946069"/>
                <a:gd name="connsiteX44" fmla="*/ 6977672 w 18171859"/>
                <a:gd name="connsiteY44" fmla="*/ 2178817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878357 w 18171859"/>
                <a:gd name="connsiteY42" fmla="*/ 3865809 h 15946069"/>
                <a:gd name="connsiteX43" fmla="*/ 7446446 w 18171859"/>
                <a:gd name="connsiteY43" fmla="*/ 3504429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878357 w 18171859"/>
                <a:gd name="connsiteY42" fmla="*/ 3865809 h 15946069"/>
                <a:gd name="connsiteX43" fmla="*/ 7637793 w 18171859"/>
                <a:gd name="connsiteY43" fmla="*/ 2526072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7706376 w 18171859"/>
                <a:gd name="connsiteY42" fmla="*/ 4987336 h 15946069"/>
                <a:gd name="connsiteX43" fmla="*/ 7637793 w 18171859"/>
                <a:gd name="connsiteY43" fmla="*/ 2526072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112983 w 18171859"/>
                <a:gd name="connsiteY42" fmla="*/ 3770361 h 15946069"/>
                <a:gd name="connsiteX43" fmla="*/ 7637793 w 18171859"/>
                <a:gd name="connsiteY43" fmla="*/ 2526072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10161509 w 18171859"/>
                <a:gd name="connsiteY41" fmla="*/ 5230746 h 15946069"/>
                <a:gd name="connsiteX42" fmla="*/ 8112983 w 18171859"/>
                <a:gd name="connsiteY42" fmla="*/ 3770361 h 15946069"/>
                <a:gd name="connsiteX43" fmla="*/ 7637793 w 18171859"/>
                <a:gd name="connsiteY43" fmla="*/ 2526072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9801570 w 18171859"/>
                <a:gd name="connsiteY40" fmla="*/ 6243641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6859659 w 18171859"/>
                <a:gd name="connsiteY40" fmla="*/ 6315230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6285626 w 18171859"/>
                <a:gd name="connsiteY40" fmla="*/ 5551639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5998609 w 18171859"/>
                <a:gd name="connsiteY40" fmla="*/ 5074389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6309547 w 18171859"/>
                <a:gd name="connsiteY40" fmla="*/ 5647086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6166035 w 18171859"/>
                <a:gd name="connsiteY40" fmla="*/ 540846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9704505 w 18171859"/>
                <a:gd name="connsiteY39" fmla="*/ 7102384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7982404 w 18171859"/>
                <a:gd name="connsiteY39" fmla="*/ 7508044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6017067 w 18171859"/>
                <a:gd name="connsiteY38" fmla="*/ 9931550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0076123 w 18171859"/>
                <a:gd name="connsiteY37" fmla="*/ 8513358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9844788 w 18171859"/>
                <a:gd name="connsiteY36" fmla="*/ 9748760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9366431 w 18171859"/>
                <a:gd name="connsiteY36" fmla="*/ 5930786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8218364 w 18171859"/>
                <a:gd name="connsiteY36" fmla="*/ 7219350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9318595 w 18171859"/>
                <a:gd name="connsiteY36" fmla="*/ 5859197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0639545 w 18171859"/>
                <a:gd name="connsiteY35" fmla="*/ 7482246 h 15946069"/>
                <a:gd name="connsiteX36" fmla="*/ 9318595 w 18171859"/>
                <a:gd name="connsiteY36" fmla="*/ 5859197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0017677 w 18171859"/>
                <a:gd name="connsiteY35" fmla="*/ 5883475 h 15946069"/>
                <a:gd name="connsiteX36" fmla="*/ 9318595 w 18171859"/>
                <a:gd name="connsiteY36" fmla="*/ 5859197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17385711 w 17911411"/>
                <a:gd name="connsiteY33" fmla="*/ 5219213 h 15946069"/>
                <a:gd name="connsiteX34" fmla="*/ 11259549 w 17911411"/>
                <a:gd name="connsiteY34" fmla="*/ 7947227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17385711 w 17911411"/>
                <a:gd name="connsiteY33" fmla="*/ 5219213 h 15946069"/>
                <a:gd name="connsiteX34" fmla="*/ 8628570 w 17911411"/>
                <a:gd name="connsiteY34" fmla="*/ 7994950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17385711 w 17911411"/>
                <a:gd name="connsiteY33" fmla="*/ 5219213 h 15946069"/>
                <a:gd name="connsiteX34" fmla="*/ 10709437 w 17911411"/>
                <a:gd name="connsiteY34" fmla="*/ 6730245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9779785 w 17911411"/>
                <a:gd name="connsiteY33" fmla="*/ 9514428 h 15946069"/>
                <a:gd name="connsiteX34" fmla="*/ 10709437 w 17911411"/>
                <a:gd name="connsiteY34" fmla="*/ 6730245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9301422 w 17911411"/>
                <a:gd name="connsiteY33" fmla="*/ 7486132 h 15946069"/>
                <a:gd name="connsiteX34" fmla="*/ 10709437 w 17911411"/>
                <a:gd name="connsiteY34" fmla="*/ 6730245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10425568 w 17911411"/>
                <a:gd name="connsiteY33" fmla="*/ 7223642 h 15946069"/>
                <a:gd name="connsiteX34" fmla="*/ 10709437 w 17911411"/>
                <a:gd name="connsiteY34" fmla="*/ 6730245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6024409 w 16428338"/>
                <a:gd name="connsiteY31" fmla="*/ 7433474 h 15946069"/>
                <a:gd name="connsiteX32" fmla="*/ 10161984 w 16428338"/>
                <a:gd name="connsiteY32" fmla="*/ 8636304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6024409 w 16428338"/>
                <a:gd name="connsiteY31" fmla="*/ 7433474 h 15946069"/>
                <a:gd name="connsiteX32" fmla="*/ 11118705 w 16428338"/>
                <a:gd name="connsiteY32" fmla="*/ 7156845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1886591 w 16428338"/>
                <a:gd name="connsiteY31" fmla="*/ 8912940 h 15946069"/>
                <a:gd name="connsiteX32" fmla="*/ 11118705 w 16428338"/>
                <a:gd name="connsiteY32" fmla="*/ 7156845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0451507 w 16428338"/>
                <a:gd name="connsiteY31" fmla="*/ 8889075 h 15946069"/>
                <a:gd name="connsiteX32" fmla="*/ 11118705 w 16428338"/>
                <a:gd name="connsiteY32" fmla="*/ 7156845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2149687 w 16428338"/>
                <a:gd name="connsiteY31" fmla="*/ 8101619 h 15946069"/>
                <a:gd name="connsiteX32" fmla="*/ 11118705 w 16428338"/>
                <a:gd name="connsiteY32" fmla="*/ 7156845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13202"/>
                <a:gd name="connsiteY0" fmla="*/ 7436569 h 15946069"/>
                <a:gd name="connsiteX1" fmla="*/ 271294 w 16413202"/>
                <a:gd name="connsiteY1" fmla="*/ 8060457 h 15946069"/>
                <a:gd name="connsiteX2" fmla="*/ 379812 w 16413202"/>
                <a:gd name="connsiteY2" fmla="*/ 8675382 h 15946069"/>
                <a:gd name="connsiteX3" fmla="*/ 759624 w 16413202"/>
                <a:gd name="connsiteY3" fmla="*/ 9217969 h 15946069"/>
                <a:gd name="connsiteX4" fmla="*/ 687278 w 16413202"/>
                <a:gd name="connsiteY4" fmla="*/ 9670126 h 15946069"/>
                <a:gd name="connsiteX5" fmla="*/ 144687 w 16413202"/>
                <a:gd name="connsiteY5" fmla="*/ 9941420 h 15946069"/>
                <a:gd name="connsiteX6" fmla="*/ 343643 w 16413202"/>
                <a:gd name="connsiteY6" fmla="*/ 10592536 h 15946069"/>
                <a:gd name="connsiteX7" fmla="*/ 940487 w 16413202"/>
                <a:gd name="connsiteY7" fmla="*/ 10954252 h 15946069"/>
                <a:gd name="connsiteX8" fmla="*/ 596844 w 16413202"/>
                <a:gd name="connsiteY8" fmla="*/ 11786221 h 15946069"/>
                <a:gd name="connsiteX9" fmla="*/ 633017 w 16413202"/>
                <a:gd name="connsiteY9" fmla="*/ 12780969 h 15946069"/>
                <a:gd name="connsiteX10" fmla="*/ 198944 w 16413202"/>
                <a:gd name="connsiteY10" fmla="*/ 13341645 h 15946069"/>
                <a:gd name="connsiteX11" fmla="*/ 723451 w 16413202"/>
                <a:gd name="connsiteY11" fmla="*/ 13757629 h 15946069"/>
                <a:gd name="connsiteX12" fmla="*/ 1640036 w 16413202"/>
                <a:gd name="connsiteY12" fmla="*/ 13197151 h 15946069"/>
                <a:gd name="connsiteX13" fmla="*/ 1880971 w 16413202"/>
                <a:gd name="connsiteY13" fmla="*/ 13395906 h 15946069"/>
                <a:gd name="connsiteX14" fmla="*/ 2930086 w 16413202"/>
                <a:gd name="connsiteY14" fmla="*/ 12952832 h 15946069"/>
                <a:gd name="connsiteX15" fmla="*/ 3828256 w 16413202"/>
                <a:gd name="connsiteY15" fmla="*/ 13245188 h 15946069"/>
                <a:gd name="connsiteX16" fmla="*/ 4768739 w 16413202"/>
                <a:gd name="connsiteY16" fmla="*/ 13040205 h 15946069"/>
                <a:gd name="connsiteX17" fmla="*/ 5190751 w 16413202"/>
                <a:gd name="connsiteY17" fmla="*/ 13649115 h 15946069"/>
                <a:gd name="connsiteX18" fmla="*/ 5932290 w 16413202"/>
                <a:gd name="connsiteY18" fmla="*/ 13444132 h 15946069"/>
                <a:gd name="connsiteX19" fmla="*/ 6498992 w 16413202"/>
                <a:gd name="connsiteY19" fmla="*/ 12991975 h 15946069"/>
                <a:gd name="connsiteX20" fmla="*/ 7373161 w 16413202"/>
                <a:gd name="connsiteY20" fmla="*/ 13582800 h 15946069"/>
                <a:gd name="connsiteX21" fmla="*/ 8512588 w 16413202"/>
                <a:gd name="connsiteY21" fmla="*/ 13570738 h 15946069"/>
                <a:gd name="connsiteX22" fmla="*/ 9742454 w 16413202"/>
                <a:gd name="connsiteY22" fmla="*/ 14004811 h 15946069"/>
                <a:gd name="connsiteX23" fmla="*/ 10616683 w 16413202"/>
                <a:gd name="connsiteY23" fmla="*/ 15358294 h 15946069"/>
                <a:gd name="connsiteX24" fmla="*/ 11117010 w 16413202"/>
                <a:gd name="connsiteY24" fmla="*/ 15946069 h 15946069"/>
                <a:gd name="connsiteX25" fmla="*/ 11780218 w 16413202"/>
                <a:gd name="connsiteY25" fmla="*/ 13579811 h 15946069"/>
                <a:gd name="connsiteX26" fmla="*/ 12196146 w 16413202"/>
                <a:gd name="connsiteY26" fmla="*/ 11388328 h 15946069"/>
                <a:gd name="connsiteX27" fmla="*/ 14004775 w 16413202"/>
                <a:gd name="connsiteY27" fmla="*/ 11611395 h 15946069"/>
                <a:gd name="connsiteX28" fmla="*/ 15409477 w 16413202"/>
                <a:gd name="connsiteY28" fmla="*/ 11882693 h 15946069"/>
                <a:gd name="connsiteX29" fmla="*/ 16413199 w 16413202"/>
                <a:gd name="connsiteY29" fmla="*/ 10920339 h 15946069"/>
                <a:gd name="connsiteX30" fmla="*/ 10305329 w 16413202"/>
                <a:gd name="connsiteY30" fmla="*/ 10066739 h 15946069"/>
                <a:gd name="connsiteX31" fmla="*/ 12149687 w 16413202"/>
                <a:gd name="connsiteY31" fmla="*/ 8101619 h 15946069"/>
                <a:gd name="connsiteX32" fmla="*/ 11118705 w 16413202"/>
                <a:gd name="connsiteY32" fmla="*/ 7156845 h 15946069"/>
                <a:gd name="connsiteX33" fmla="*/ 10425568 w 16413202"/>
                <a:gd name="connsiteY33" fmla="*/ 7223642 h 15946069"/>
                <a:gd name="connsiteX34" fmla="*/ 10709437 w 16413202"/>
                <a:gd name="connsiteY34" fmla="*/ 6730245 h 15946069"/>
                <a:gd name="connsiteX35" fmla="*/ 10017677 w 16413202"/>
                <a:gd name="connsiteY35" fmla="*/ 5883475 h 15946069"/>
                <a:gd name="connsiteX36" fmla="*/ 9318595 w 16413202"/>
                <a:gd name="connsiteY36" fmla="*/ 5859197 h 15946069"/>
                <a:gd name="connsiteX37" fmla="*/ 9215073 w 16413202"/>
                <a:gd name="connsiteY37" fmla="*/ 5387392 h 15946069"/>
                <a:gd name="connsiteX38" fmla="*/ 8600211 w 16413202"/>
                <a:gd name="connsiteY38" fmla="*/ 5564744 h 15946069"/>
                <a:gd name="connsiteX39" fmla="*/ 8412926 w 16413202"/>
                <a:gd name="connsiteY39" fmla="*/ 4835463 h 15946069"/>
                <a:gd name="connsiteX40" fmla="*/ 7744624 w 16413202"/>
                <a:gd name="connsiteY40" fmla="*/ 4382387 h 15946069"/>
                <a:gd name="connsiteX41" fmla="*/ 8112983 w 16413202"/>
                <a:gd name="connsiteY41" fmla="*/ 3770361 h 15946069"/>
                <a:gd name="connsiteX42" fmla="*/ 7637793 w 16413202"/>
                <a:gd name="connsiteY42" fmla="*/ 2526072 h 15946069"/>
                <a:gd name="connsiteX43" fmla="*/ 7264687 w 16413202"/>
                <a:gd name="connsiteY43" fmla="*/ 2131091 h 15946069"/>
                <a:gd name="connsiteX44" fmla="*/ 6594245 w 16413202"/>
                <a:gd name="connsiteY44" fmla="*/ 2055834 h 15946069"/>
                <a:gd name="connsiteX45" fmla="*/ 6431470 w 16413202"/>
                <a:gd name="connsiteY45" fmla="*/ 1314295 h 15946069"/>
                <a:gd name="connsiteX46" fmla="*/ 5642908 w 16413202"/>
                <a:gd name="connsiteY46" fmla="*/ 1343233 h 15946069"/>
                <a:gd name="connsiteX47" fmla="*/ 5150959 w 16413202"/>
                <a:gd name="connsiteY47" fmla="*/ 1610907 h 15946069"/>
                <a:gd name="connsiteX48" fmla="*/ 5480133 w 16413202"/>
                <a:gd name="connsiteY48" fmla="*/ 2167963 h 15946069"/>
                <a:gd name="connsiteX49" fmla="*/ 4742216 w 16413202"/>
                <a:gd name="connsiteY49" fmla="*/ 2862495 h 15946069"/>
                <a:gd name="connsiteX50" fmla="*/ 2658667 w 16413202"/>
                <a:gd name="connsiteY50" fmla="*/ 0 h 15946069"/>
                <a:gd name="connsiteX51" fmla="*/ 2658682 w 16413202"/>
                <a:gd name="connsiteY51" fmla="*/ 1018890 h 15946069"/>
                <a:gd name="connsiteX52" fmla="*/ 1850829 w 16413202"/>
                <a:gd name="connsiteY52" fmla="*/ 1730283 h 15946069"/>
                <a:gd name="connsiteX53" fmla="*/ 1404694 w 16413202"/>
                <a:gd name="connsiteY53" fmla="*/ 2272862 h 15946069"/>
                <a:gd name="connsiteX54" fmla="*/ 2351216 w 16413202"/>
                <a:gd name="connsiteY54" fmla="*/ 3388182 h 15946069"/>
                <a:gd name="connsiteX55" fmla="*/ 2658682 w 16413202"/>
                <a:gd name="connsiteY55" fmla="*/ 4286458 h 15946069"/>
                <a:gd name="connsiteX56" fmla="*/ 1935228 w 16413202"/>
                <a:gd name="connsiteY56" fmla="*/ 5220918 h 15946069"/>
                <a:gd name="connsiteX57" fmla="*/ 875281 w 16413202"/>
                <a:gd name="connsiteY57" fmla="*/ 5166646 h 15946069"/>
                <a:gd name="connsiteX58" fmla="*/ 0 w 16413202"/>
                <a:gd name="connsiteY58" fmla="*/ 5890112 h 15946069"/>
                <a:gd name="connsiteX59" fmla="*/ 72345 w 16413202"/>
                <a:gd name="connsiteY59" fmla="*/ 6921032 h 15946069"/>
                <a:gd name="connsiteX60" fmla="*/ 477776 w 16413202"/>
                <a:gd name="connsiteY60" fmla="*/ 7436569 h 15946069"/>
                <a:gd name="connsiteX0" fmla="*/ 477776 w 16413202"/>
                <a:gd name="connsiteY0" fmla="*/ 7436569 h 15946069"/>
                <a:gd name="connsiteX1" fmla="*/ 271294 w 16413202"/>
                <a:gd name="connsiteY1" fmla="*/ 8060457 h 15946069"/>
                <a:gd name="connsiteX2" fmla="*/ 379812 w 16413202"/>
                <a:gd name="connsiteY2" fmla="*/ 8675382 h 15946069"/>
                <a:gd name="connsiteX3" fmla="*/ 759624 w 16413202"/>
                <a:gd name="connsiteY3" fmla="*/ 9217969 h 15946069"/>
                <a:gd name="connsiteX4" fmla="*/ 687278 w 16413202"/>
                <a:gd name="connsiteY4" fmla="*/ 9670126 h 15946069"/>
                <a:gd name="connsiteX5" fmla="*/ 144687 w 16413202"/>
                <a:gd name="connsiteY5" fmla="*/ 9941420 h 15946069"/>
                <a:gd name="connsiteX6" fmla="*/ 343643 w 16413202"/>
                <a:gd name="connsiteY6" fmla="*/ 10592536 h 15946069"/>
                <a:gd name="connsiteX7" fmla="*/ 940487 w 16413202"/>
                <a:gd name="connsiteY7" fmla="*/ 10954252 h 15946069"/>
                <a:gd name="connsiteX8" fmla="*/ 596844 w 16413202"/>
                <a:gd name="connsiteY8" fmla="*/ 11786221 h 15946069"/>
                <a:gd name="connsiteX9" fmla="*/ 633017 w 16413202"/>
                <a:gd name="connsiteY9" fmla="*/ 12780969 h 15946069"/>
                <a:gd name="connsiteX10" fmla="*/ 198944 w 16413202"/>
                <a:gd name="connsiteY10" fmla="*/ 13341645 h 15946069"/>
                <a:gd name="connsiteX11" fmla="*/ 723451 w 16413202"/>
                <a:gd name="connsiteY11" fmla="*/ 13757629 h 15946069"/>
                <a:gd name="connsiteX12" fmla="*/ 1640036 w 16413202"/>
                <a:gd name="connsiteY12" fmla="*/ 13197151 h 15946069"/>
                <a:gd name="connsiteX13" fmla="*/ 1880971 w 16413202"/>
                <a:gd name="connsiteY13" fmla="*/ 13395906 h 15946069"/>
                <a:gd name="connsiteX14" fmla="*/ 2930086 w 16413202"/>
                <a:gd name="connsiteY14" fmla="*/ 12952832 h 15946069"/>
                <a:gd name="connsiteX15" fmla="*/ 3828256 w 16413202"/>
                <a:gd name="connsiteY15" fmla="*/ 13245188 h 15946069"/>
                <a:gd name="connsiteX16" fmla="*/ 4768739 w 16413202"/>
                <a:gd name="connsiteY16" fmla="*/ 13040205 h 15946069"/>
                <a:gd name="connsiteX17" fmla="*/ 5190751 w 16413202"/>
                <a:gd name="connsiteY17" fmla="*/ 13649115 h 15946069"/>
                <a:gd name="connsiteX18" fmla="*/ 5932290 w 16413202"/>
                <a:gd name="connsiteY18" fmla="*/ 13444132 h 15946069"/>
                <a:gd name="connsiteX19" fmla="*/ 6498992 w 16413202"/>
                <a:gd name="connsiteY19" fmla="*/ 12991975 h 15946069"/>
                <a:gd name="connsiteX20" fmla="*/ 7373161 w 16413202"/>
                <a:gd name="connsiteY20" fmla="*/ 13582800 h 15946069"/>
                <a:gd name="connsiteX21" fmla="*/ 8512588 w 16413202"/>
                <a:gd name="connsiteY21" fmla="*/ 13570738 h 15946069"/>
                <a:gd name="connsiteX22" fmla="*/ 9742454 w 16413202"/>
                <a:gd name="connsiteY22" fmla="*/ 14004811 h 15946069"/>
                <a:gd name="connsiteX23" fmla="*/ 10616683 w 16413202"/>
                <a:gd name="connsiteY23" fmla="*/ 15358294 h 15946069"/>
                <a:gd name="connsiteX24" fmla="*/ 11117010 w 16413202"/>
                <a:gd name="connsiteY24" fmla="*/ 15946069 h 15946069"/>
                <a:gd name="connsiteX25" fmla="*/ 11780218 w 16413202"/>
                <a:gd name="connsiteY25" fmla="*/ 13579811 h 15946069"/>
                <a:gd name="connsiteX26" fmla="*/ 12196146 w 16413202"/>
                <a:gd name="connsiteY26" fmla="*/ 11388328 h 15946069"/>
                <a:gd name="connsiteX27" fmla="*/ 14004775 w 16413202"/>
                <a:gd name="connsiteY27" fmla="*/ 11611395 h 15946069"/>
                <a:gd name="connsiteX28" fmla="*/ 15409477 w 16413202"/>
                <a:gd name="connsiteY28" fmla="*/ 11882693 h 15946069"/>
                <a:gd name="connsiteX29" fmla="*/ 16413199 w 16413202"/>
                <a:gd name="connsiteY29" fmla="*/ 10920339 h 15946069"/>
                <a:gd name="connsiteX30" fmla="*/ 9276853 w 16413202"/>
                <a:gd name="connsiteY30" fmla="*/ 9446319 h 15946069"/>
                <a:gd name="connsiteX31" fmla="*/ 12149687 w 16413202"/>
                <a:gd name="connsiteY31" fmla="*/ 8101619 h 15946069"/>
                <a:gd name="connsiteX32" fmla="*/ 11118705 w 16413202"/>
                <a:gd name="connsiteY32" fmla="*/ 7156845 h 15946069"/>
                <a:gd name="connsiteX33" fmla="*/ 10425568 w 16413202"/>
                <a:gd name="connsiteY33" fmla="*/ 7223642 h 15946069"/>
                <a:gd name="connsiteX34" fmla="*/ 10709437 w 16413202"/>
                <a:gd name="connsiteY34" fmla="*/ 6730245 h 15946069"/>
                <a:gd name="connsiteX35" fmla="*/ 10017677 w 16413202"/>
                <a:gd name="connsiteY35" fmla="*/ 5883475 h 15946069"/>
                <a:gd name="connsiteX36" fmla="*/ 9318595 w 16413202"/>
                <a:gd name="connsiteY36" fmla="*/ 5859197 h 15946069"/>
                <a:gd name="connsiteX37" fmla="*/ 9215073 w 16413202"/>
                <a:gd name="connsiteY37" fmla="*/ 5387392 h 15946069"/>
                <a:gd name="connsiteX38" fmla="*/ 8600211 w 16413202"/>
                <a:gd name="connsiteY38" fmla="*/ 5564744 h 15946069"/>
                <a:gd name="connsiteX39" fmla="*/ 8412926 w 16413202"/>
                <a:gd name="connsiteY39" fmla="*/ 4835463 h 15946069"/>
                <a:gd name="connsiteX40" fmla="*/ 7744624 w 16413202"/>
                <a:gd name="connsiteY40" fmla="*/ 4382387 h 15946069"/>
                <a:gd name="connsiteX41" fmla="*/ 8112983 w 16413202"/>
                <a:gd name="connsiteY41" fmla="*/ 3770361 h 15946069"/>
                <a:gd name="connsiteX42" fmla="*/ 7637793 w 16413202"/>
                <a:gd name="connsiteY42" fmla="*/ 2526072 h 15946069"/>
                <a:gd name="connsiteX43" fmla="*/ 7264687 w 16413202"/>
                <a:gd name="connsiteY43" fmla="*/ 2131091 h 15946069"/>
                <a:gd name="connsiteX44" fmla="*/ 6594245 w 16413202"/>
                <a:gd name="connsiteY44" fmla="*/ 2055834 h 15946069"/>
                <a:gd name="connsiteX45" fmla="*/ 6431470 w 16413202"/>
                <a:gd name="connsiteY45" fmla="*/ 1314295 h 15946069"/>
                <a:gd name="connsiteX46" fmla="*/ 5642908 w 16413202"/>
                <a:gd name="connsiteY46" fmla="*/ 1343233 h 15946069"/>
                <a:gd name="connsiteX47" fmla="*/ 5150959 w 16413202"/>
                <a:gd name="connsiteY47" fmla="*/ 1610907 h 15946069"/>
                <a:gd name="connsiteX48" fmla="*/ 5480133 w 16413202"/>
                <a:gd name="connsiteY48" fmla="*/ 2167963 h 15946069"/>
                <a:gd name="connsiteX49" fmla="*/ 4742216 w 16413202"/>
                <a:gd name="connsiteY49" fmla="*/ 2862495 h 15946069"/>
                <a:gd name="connsiteX50" fmla="*/ 2658667 w 16413202"/>
                <a:gd name="connsiteY50" fmla="*/ 0 h 15946069"/>
                <a:gd name="connsiteX51" fmla="*/ 2658682 w 16413202"/>
                <a:gd name="connsiteY51" fmla="*/ 1018890 h 15946069"/>
                <a:gd name="connsiteX52" fmla="*/ 1850829 w 16413202"/>
                <a:gd name="connsiteY52" fmla="*/ 1730283 h 15946069"/>
                <a:gd name="connsiteX53" fmla="*/ 1404694 w 16413202"/>
                <a:gd name="connsiteY53" fmla="*/ 2272862 h 15946069"/>
                <a:gd name="connsiteX54" fmla="*/ 2351216 w 16413202"/>
                <a:gd name="connsiteY54" fmla="*/ 3388182 h 15946069"/>
                <a:gd name="connsiteX55" fmla="*/ 2658682 w 16413202"/>
                <a:gd name="connsiteY55" fmla="*/ 4286458 h 15946069"/>
                <a:gd name="connsiteX56" fmla="*/ 1935228 w 16413202"/>
                <a:gd name="connsiteY56" fmla="*/ 5220918 h 15946069"/>
                <a:gd name="connsiteX57" fmla="*/ 875281 w 16413202"/>
                <a:gd name="connsiteY57" fmla="*/ 5166646 h 15946069"/>
                <a:gd name="connsiteX58" fmla="*/ 0 w 16413202"/>
                <a:gd name="connsiteY58" fmla="*/ 5890112 h 15946069"/>
                <a:gd name="connsiteX59" fmla="*/ 72345 w 16413202"/>
                <a:gd name="connsiteY59" fmla="*/ 6921032 h 15946069"/>
                <a:gd name="connsiteX60" fmla="*/ 477776 w 16413202"/>
                <a:gd name="connsiteY60" fmla="*/ 7436569 h 15946069"/>
                <a:gd name="connsiteX0" fmla="*/ 477776 w 16413202"/>
                <a:gd name="connsiteY0" fmla="*/ 7436569 h 15946069"/>
                <a:gd name="connsiteX1" fmla="*/ 271294 w 16413202"/>
                <a:gd name="connsiteY1" fmla="*/ 8060457 h 15946069"/>
                <a:gd name="connsiteX2" fmla="*/ 379812 w 16413202"/>
                <a:gd name="connsiteY2" fmla="*/ 8675382 h 15946069"/>
                <a:gd name="connsiteX3" fmla="*/ 759624 w 16413202"/>
                <a:gd name="connsiteY3" fmla="*/ 9217969 h 15946069"/>
                <a:gd name="connsiteX4" fmla="*/ 687278 w 16413202"/>
                <a:gd name="connsiteY4" fmla="*/ 9670126 h 15946069"/>
                <a:gd name="connsiteX5" fmla="*/ 144687 w 16413202"/>
                <a:gd name="connsiteY5" fmla="*/ 9941420 h 15946069"/>
                <a:gd name="connsiteX6" fmla="*/ 343643 w 16413202"/>
                <a:gd name="connsiteY6" fmla="*/ 10592536 h 15946069"/>
                <a:gd name="connsiteX7" fmla="*/ 940487 w 16413202"/>
                <a:gd name="connsiteY7" fmla="*/ 10954252 h 15946069"/>
                <a:gd name="connsiteX8" fmla="*/ 596844 w 16413202"/>
                <a:gd name="connsiteY8" fmla="*/ 11786221 h 15946069"/>
                <a:gd name="connsiteX9" fmla="*/ 633017 w 16413202"/>
                <a:gd name="connsiteY9" fmla="*/ 12780969 h 15946069"/>
                <a:gd name="connsiteX10" fmla="*/ 198944 w 16413202"/>
                <a:gd name="connsiteY10" fmla="*/ 13341645 h 15946069"/>
                <a:gd name="connsiteX11" fmla="*/ 723451 w 16413202"/>
                <a:gd name="connsiteY11" fmla="*/ 13757629 h 15946069"/>
                <a:gd name="connsiteX12" fmla="*/ 1640036 w 16413202"/>
                <a:gd name="connsiteY12" fmla="*/ 13197151 h 15946069"/>
                <a:gd name="connsiteX13" fmla="*/ 1880971 w 16413202"/>
                <a:gd name="connsiteY13" fmla="*/ 13395906 h 15946069"/>
                <a:gd name="connsiteX14" fmla="*/ 2930086 w 16413202"/>
                <a:gd name="connsiteY14" fmla="*/ 12952832 h 15946069"/>
                <a:gd name="connsiteX15" fmla="*/ 3828256 w 16413202"/>
                <a:gd name="connsiteY15" fmla="*/ 13245188 h 15946069"/>
                <a:gd name="connsiteX16" fmla="*/ 4768739 w 16413202"/>
                <a:gd name="connsiteY16" fmla="*/ 13040205 h 15946069"/>
                <a:gd name="connsiteX17" fmla="*/ 5190751 w 16413202"/>
                <a:gd name="connsiteY17" fmla="*/ 13649115 h 15946069"/>
                <a:gd name="connsiteX18" fmla="*/ 5932290 w 16413202"/>
                <a:gd name="connsiteY18" fmla="*/ 13444132 h 15946069"/>
                <a:gd name="connsiteX19" fmla="*/ 6498992 w 16413202"/>
                <a:gd name="connsiteY19" fmla="*/ 12991975 h 15946069"/>
                <a:gd name="connsiteX20" fmla="*/ 7373161 w 16413202"/>
                <a:gd name="connsiteY20" fmla="*/ 13582800 h 15946069"/>
                <a:gd name="connsiteX21" fmla="*/ 8512588 w 16413202"/>
                <a:gd name="connsiteY21" fmla="*/ 13570738 h 15946069"/>
                <a:gd name="connsiteX22" fmla="*/ 9742454 w 16413202"/>
                <a:gd name="connsiteY22" fmla="*/ 14004811 h 15946069"/>
                <a:gd name="connsiteX23" fmla="*/ 10616683 w 16413202"/>
                <a:gd name="connsiteY23" fmla="*/ 15358294 h 15946069"/>
                <a:gd name="connsiteX24" fmla="*/ 11117010 w 16413202"/>
                <a:gd name="connsiteY24" fmla="*/ 15946069 h 15946069"/>
                <a:gd name="connsiteX25" fmla="*/ 11780218 w 16413202"/>
                <a:gd name="connsiteY25" fmla="*/ 13579811 h 15946069"/>
                <a:gd name="connsiteX26" fmla="*/ 12196146 w 16413202"/>
                <a:gd name="connsiteY26" fmla="*/ 11388328 h 15946069"/>
                <a:gd name="connsiteX27" fmla="*/ 14004775 w 16413202"/>
                <a:gd name="connsiteY27" fmla="*/ 11611395 h 15946069"/>
                <a:gd name="connsiteX28" fmla="*/ 15409477 w 16413202"/>
                <a:gd name="connsiteY28" fmla="*/ 11882693 h 15946069"/>
                <a:gd name="connsiteX29" fmla="*/ 16413199 w 16413202"/>
                <a:gd name="connsiteY29" fmla="*/ 10920339 h 15946069"/>
                <a:gd name="connsiteX30" fmla="*/ 11668657 w 16413202"/>
                <a:gd name="connsiteY30" fmla="*/ 8754316 h 15946069"/>
                <a:gd name="connsiteX31" fmla="*/ 12149687 w 16413202"/>
                <a:gd name="connsiteY31" fmla="*/ 8101619 h 15946069"/>
                <a:gd name="connsiteX32" fmla="*/ 11118705 w 16413202"/>
                <a:gd name="connsiteY32" fmla="*/ 7156845 h 15946069"/>
                <a:gd name="connsiteX33" fmla="*/ 10425568 w 16413202"/>
                <a:gd name="connsiteY33" fmla="*/ 7223642 h 15946069"/>
                <a:gd name="connsiteX34" fmla="*/ 10709437 w 16413202"/>
                <a:gd name="connsiteY34" fmla="*/ 6730245 h 15946069"/>
                <a:gd name="connsiteX35" fmla="*/ 10017677 w 16413202"/>
                <a:gd name="connsiteY35" fmla="*/ 5883475 h 15946069"/>
                <a:gd name="connsiteX36" fmla="*/ 9318595 w 16413202"/>
                <a:gd name="connsiteY36" fmla="*/ 5859197 h 15946069"/>
                <a:gd name="connsiteX37" fmla="*/ 9215073 w 16413202"/>
                <a:gd name="connsiteY37" fmla="*/ 5387392 h 15946069"/>
                <a:gd name="connsiteX38" fmla="*/ 8600211 w 16413202"/>
                <a:gd name="connsiteY38" fmla="*/ 5564744 h 15946069"/>
                <a:gd name="connsiteX39" fmla="*/ 8412926 w 16413202"/>
                <a:gd name="connsiteY39" fmla="*/ 4835463 h 15946069"/>
                <a:gd name="connsiteX40" fmla="*/ 7744624 w 16413202"/>
                <a:gd name="connsiteY40" fmla="*/ 4382387 h 15946069"/>
                <a:gd name="connsiteX41" fmla="*/ 8112983 w 16413202"/>
                <a:gd name="connsiteY41" fmla="*/ 3770361 h 15946069"/>
                <a:gd name="connsiteX42" fmla="*/ 7637793 w 16413202"/>
                <a:gd name="connsiteY42" fmla="*/ 2526072 h 15946069"/>
                <a:gd name="connsiteX43" fmla="*/ 7264687 w 16413202"/>
                <a:gd name="connsiteY43" fmla="*/ 2131091 h 15946069"/>
                <a:gd name="connsiteX44" fmla="*/ 6594245 w 16413202"/>
                <a:gd name="connsiteY44" fmla="*/ 2055834 h 15946069"/>
                <a:gd name="connsiteX45" fmla="*/ 6431470 w 16413202"/>
                <a:gd name="connsiteY45" fmla="*/ 1314295 h 15946069"/>
                <a:gd name="connsiteX46" fmla="*/ 5642908 w 16413202"/>
                <a:gd name="connsiteY46" fmla="*/ 1343233 h 15946069"/>
                <a:gd name="connsiteX47" fmla="*/ 5150959 w 16413202"/>
                <a:gd name="connsiteY47" fmla="*/ 1610907 h 15946069"/>
                <a:gd name="connsiteX48" fmla="*/ 5480133 w 16413202"/>
                <a:gd name="connsiteY48" fmla="*/ 2167963 h 15946069"/>
                <a:gd name="connsiteX49" fmla="*/ 4742216 w 16413202"/>
                <a:gd name="connsiteY49" fmla="*/ 2862495 h 15946069"/>
                <a:gd name="connsiteX50" fmla="*/ 2658667 w 16413202"/>
                <a:gd name="connsiteY50" fmla="*/ 0 h 15946069"/>
                <a:gd name="connsiteX51" fmla="*/ 2658682 w 16413202"/>
                <a:gd name="connsiteY51" fmla="*/ 1018890 h 15946069"/>
                <a:gd name="connsiteX52" fmla="*/ 1850829 w 16413202"/>
                <a:gd name="connsiteY52" fmla="*/ 1730283 h 15946069"/>
                <a:gd name="connsiteX53" fmla="*/ 1404694 w 16413202"/>
                <a:gd name="connsiteY53" fmla="*/ 2272862 h 15946069"/>
                <a:gd name="connsiteX54" fmla="*/ 2351216 w 16413202"/>
                <a:gd name="connsiteY54" fmla="*/ 3388182 h 15946069"/>
                <a:gd name="connsiteX55" fmla="*/ 2658682 w 16413202"/>
                <a:gd name="connsiteY55" fmla="*/ 4286458 h 15946069"/>
                <a:gd name="connsiteX56" fmla="*/ 1935228 w 16413202"/>
                <a:gd name="connsiteY56" fmla="*/ 5220918 h 15946069"/>
                <a:gd name="connsiteX57" fmla="*/ 875281 w 16413202"/>
                <a:gd name="connsiteY57" fmla="*/ 5166646 h 15946069"/>
                <a:gd name="connsiteX58" fmla="*/ 0 w 16413202"/>
                <a:gd name="connsiteY58" fmla="*/ 5890112 h 15946069"/>
                <a:gd name="connsiteX59" fmla="*/ 72345 w 16413202"/>
                <a:gd name="connsiteY59" fmla="*/ 6921032 h 15946069"/>
                <a:gd name="connsiteX60" fmla="*/ 477776 w 16413202"/>
                <a:gd name="connsiteY60" fmla="*/ 7436569 h 15946069"/>
                <a:gd name="connsiteX0" fmla="*/ 477776 w 15409480"/>
                <a:gd name="connsiteY0" fmla="*/ 7436569 h 15946069"/>
                <a:gd name="connsiteX1" fmla="*/ 271294 w 15409480"/>
                <a:gd name="connsiteY1" fmla="*/ 8060457 h 15946069"/>
                <a:gd name="connsiteX2" fmla="*/ 379812 w 15409480"/>
                <a:gd name="connsiteY2" fmla="*/ 8675382 h 15946069"/>
                <a:gd name="connsiteX3" fmla="*/ 759624 w 15409480"/>
                <a:gd name="connsiteY3" fmla="*/ 9217969 h 15946069"/>
                <a:gd name="connsiteX4" fmla="*/ 687278 w 15409480"/>
                <a:gd name="connsiteY4" fmla="*/ 9670126 h 15946069"/>
                <a:gd name="connsiteX5" fmla="*/ 144687 w 15409480"/>
                <a:gd name="connsiteY5" fmla="*/ 9941420 h 15946069"/>
                <a:gd name="connsiteX6" fmla="*/ 343643 w 15409480"/>
                <a:gd name="connsiteY6" fmla="*/ 10592536 h 15946069"/>
                <a:gd name="connsiteX7" fmla="*/ 940487 w 15409480"/>
                <a:gd name="connsiteY7" fmla="*/ 10954252 h 15946069"/>
                <a:gd name="connsiteX8" fmla="*/ 596844 w 15409480"/>
                <a:gd name="connsiteY8" fmla="*/ 11786221 h 15946069"/>
                <a:gd name="connsiteX9" fmla="*/ 633017 w 15409480"/>
                <a:gd name="connsiteY9" fmla="*/ 12780969 h 15946069"/>
                <a:gd name="connsiteX10" fmla="*/ 198944 w 15409480"/>
                <a:gd name="connsiteY10" fmla="*/ 13341645 h 15946069"/>
                <a:gd name="connsiteX11" fmla="*/ 723451 w 15409480"/>
                <a:gd name="connsiteY11" fmla="*/ 13757629 h 15946069"/>
                <a:gd name="connsiteX12" fmla="*/ 1640036 w 15409480"/>
                <a:gd name="connsiteY12" fmla="*/ 13197151 h 15946069"/>
                <a:gd name="connsiteX13" fmla="*/ 1880971 w 15409480"/>
                <a:gd name="connsiteY13" fmla="*/ 13395906 h 15946069"/>
                <a:gd name="connsiteX14" fmla="*/ 2930086 w 15409480"/>
                <a:gd name="connsiteY14" fmla="*/ 12952832 h 15946069"/>
                <a:gd name="connsiteX15" fmla="*/ 3828256 w 15409480"/>
                <a:gd name="connsiteY15" fmla="*/ 13245188 h 15946069"/>
                <a:gd name="connsiteX16" fmla="*/ 4768739 w 15409480"/>
                <a:gd name="connsiteY16" fmla="*/ 13040205 h 15946069"/>
                <a:gd name="connsiteX17" fmla="*/ 5190751 w 15409480"/>
                <a:gd name="connsiteY17" fmla="*/ 13649115 h 15946069"/>
                <a:gd name="connsiteX18" fmla="*/ 5932290 w 15409480"/>
                <a:gd name="connsiteY18" fmla="*/ 13444132 h 15946069"/>
                <a:gd name="connsiteX19" fmla="*/ 6498992 w 15409480"/>
                <a:gd name="connsiteY19" fmla="*/ 12991975 h 15946069"/>
                <a:gd name="connsiteX20" fmla="*/ 7373161 w 15409480"/>
                <a:gd name="connsiteY20" fmla="*/ 13582800 h 15946069"/>
                <a:gd name="connsiteX21" fmla="*/ 8512588 w 15409480"/>
                <a:gd name="connsiteY21" fmla="*/ 13570738 h 15946069"/>
                <a:gd name="connsiteX22" fmla="*/ 9742454 w 15409480"/>
                <a:gd name="connsiteY22" fmla="*/ 14004811 h 15946069"/>
                <a:gd name="connsiteX23" fmla="*/ 10616683 w 15409480"/>
                <a:gd name="connsiteY23" fmla="*/ 15358294 h 15946069"/>
                <a:gd name="connsiteX24" fmla="*/ 11117010 w 15409480"/>
                <a:gd name="connsiteY24" fmla="*/ 15946069 h 15946069"/>
                <a:gd name="connsiteX25" fmla="*/ 11780218 w 15409480"/>
                <a:gd name="connsiteY25" fmla="*/ 13579811 h 15946069"/>
                <a:gd name="connsiteX26" fmla="*/ 12196146 w 15409480"/>
                <a:gd name="connsiteY26" fmla="*/ 11388328 h 15946069"/>
                <a:gd name="connsiteX27" fmla="*/ 14004775 w 15409480"/>
                <a:gd name="connsiteY27" fmla="*/ 11611395 h 15946069"/>
                <a:gd name="connsiteX28" fmla="*/ 15409477 w 15409480"/>
                <a:gd name="connsiteY28" fmla="*/ 11882693 h 15946069"/>
                <a:gd name="connsiteX29" fmla="*/ 10457619 w 15409480"/>
                <a:gd name="connsiteY29" fmla="*/ 10753303 h 15946069"/>
                <a:gd name="connsiteX30" fmla="*/ 11668657 w 15409480"/>
                <a:gd name="connsiteY30" fmla="*/ 8754316 h 15946069"/>
                <a:gd name="connsiteX31" fmla="*/ 12149687 w 15409480"/>
                <a:gd name="connsiteY31" fmla="*/ 8101619 h 15946069"/>
                <a:gd name="connsiteX32" fmla="*/ 11118705 w 15409480"/>
                <a:gd name="connsiteY32" fmla="*/ 7156845 h 15946069"/>
                <a:gd name="connsiteX33" fmla="*/ 10425568 w 15409480"/>
                <a:gd name="connsiteY33" fmla="*/ 7223642 h 15946069"/>
                <a:gd name="connsiteX34" fmla="*/ 10709437 w 15409480"/>
                <a:gd name="connsiteY34" fmla="*/ 6730245 h 15946069"/>
                <a:gd name="connsiteX35" fmla="*/ 10017677 w 15409480"/>
                <a:gd name="connsiteY35" fmla="*/ 5883475 h 15946069"/>
                <a:gd name="connsiteX36" fmla="*/ 9318595 w 15409480"/>
                <a:gd name="connsiteY36" fmla="*/ 5859197 h 15946069"/>
                <a:gd name="connsiteX37" fmla="*/ 9215073 w 15409480"/>
                <a:gd name="connsiteY37" fmla="*/ 5387392 h 15946069"/>
                <a:gd name="connsiteX38" fmla="*/ 8600211 w 15409480"/>
                <a:gd name="connsiteY38" fmla="*/ 5564744 h 15946069"/>
                <a:gd name="connsiteX39" fmla="*/ 8412926 w 15409480"/>
                <a:gd name="connsiteY39" fmla="*/ 4835463 h 15946069"/>
                <a:gd name="connsiteX40" fmla="*/ 7744624 w 15409480"/>
                <a:gd name="connsiteY40" fmla="*/ 4382387 h 15946069"/>
                <a:gd name="connsiteX41" fmla="*/ 8112983 w 15409480"/>
                <a:gd name="connsiteY41" fmla="*/ 3770361 h 15946069"/>
                <a:gd name="connsiteX42" fmla="*/ 7637793 w 15409480"/>
                <a:gd name="connsiteY42" fmla="*/ 2526072 h 15946069"/>
                <a:gd name="connsiteX43" fmla="*/ 7264687 w 15409480"/>
                <a:gd name="connsiteY43" fmla="*/ 2131091 h 15946069"/>
                <a:gd name="connsiteX44" fmla="*/ 6594245 w 15409480"/>
                <a:gd name="connsiteY44" fmla="*/ 2055834 h 15946069"/>
                <a:gd name="connsiteX45" fmla="*/ 6431470 w 15409480"/>
                <a:gd name="connsiteY45" fmla="*/ 1314295 h 15946069"/>
                <a:gd name="connsiteX46" fmla="*/ 5642908 w 15409480"/>
                <a:gd name="connsiteY46" fmla="*/ 1343233 h 15946069"/>
                <a:gd name="connsiteX47" fmla="*/ 5150959 w 15409480"/>
                <a:gd name="connsiteY47" fmla="*/ 1610907 h 15946069"/>
                <a:gd name="connsiteX48" fmla="*/ 5480133 w 15409480"/>
                <a:gd name="connsiteY48" fmla="*/ 2167963 h 15946069"/>
                <a:gd name="connsiteX49" fmla="*/ 4742216 w 15409480"/>
                <a:gd name="connsiteY49" fmla="*/ 2862495 h 15946069"/>
                <a:gd name="connsiteX50" fmla="*/ 2658667 w 15409480"/>
                <a:gd name="connsiteY50" fmla="*/ 0 h 15946069"/>
                <a:gd name="connsiteX51" fmla="*/ 2658682 w 15409480"/>
                <a:gd name="connsiteY51" fmla="*/ 1018890 h 15946069"/>
                <a:gd name="connsiteX52" fmla="*/ 1850829 w 15409480"/>
                <a:gd name="connsiteY52" fmla="*/ 1730283 h 15946069"/>
                <a:gd name="connsiteX53" fmla="*/ 1404694 w 15409480"/>
                <a:gd name="connsiteY53" fmla="*/ 2272862 h 15946069"/>
                <a:gd name="connsiteX54" fmla="*/ 2351216 w 15409480"/>
                <a:gd name="connsiteY54" fmla="*/ 3388182 h 15946069"/>
                <a:gd name="connsiteX55" fmla="*/ 2658682 w 15409480"/>
                <a:gd name="connsiteY55" fmla="*/ 4286458 h 15946069"/>
                <a:gd name="connsiteX56" fmla="*/ 1935228 w 15409480"/>
                <a:gd name="connsiteY56" fmla="*/ 5220918 h 15946069"/>
                <a:gd name="connsiteX57" fmla="*/ 875281 w 15409480"/>
                <a:gd name="connsiteY57" fmla="*/ 5166646 h 15946069"/>
                <a:gd name="connsiteX58" fmla="*/ 0 w 15409480"/>
                <a:gd name="connsiteY58" fmla="*/ 5890112 h 15946069"/>
                <a:gd name="connsiteX59" fmla="*/ 72345 w 15409480"/>
                <a:gd name="connsiteY59" fmla="*/ 6921032 h 15946069"/>
                <a:gd name="connsiteX60" fmla="*/ 477776 w 15409480"/>
                <a:gd name="connsiteY60" fmla="*/ 7436569 h 15946069"/>
                <a:gd name="connsiteX0" fmla="*/ 477776 w 15409480"/>
                <a:gd name="connsiteY0" fmla="*/ 7436569 h 15946069"/>
                <a:gd name="connsiteX1" fmla="*/ 271294 w 15409480"/>
                <a:gd name="connsiteY1" fmla="*/ 8060457 h 15946069"/>
                <a:gd name="connsiteX2" fmla="*/ 379812 w 15409480"/>
                <a:gd name="connsiteY2" fmla="*/ 8675382 h 15946069"/>
                <a:gd name="connsiteX3" fmla="*/ 759624 w 15409480"/>
                <a:gd name="connsiteY3" fmla="*/ 9217969 h 15946069"/>
                <a:gd name="connsiteX4" fmla="*/ 687278 w 15409480"/>
                <a:gd name="connsiteY4" fmla="*/ 9670126 h 15946069"/>
                <a:gd name="connsiteX5" fmla="*/ 144687 w 15409480"/>
                <a:gd name="connsiteY5" fmla="*/ 9941420 h 15946069"/>
                <a:gd name="connsiteX6" fmla="*/ 343643 w 15409480"/>
                <a:gd name="connsiteY6" fmla="*/ 10592536 h 15946069"/>
                <a:gd name="connsiteX7" fmla="*/ 940487 w 15409480"/>
                <a:gd name="connsiteY7" fmla="*/ 10954252 h 15946069"/>
                <a:gd name="connsiteX8" fmla="*/ 596844 w 15409480"/>
                <a:gd name="connsiteY8" fmla="*/ 11786221 h 15946069"/>
                <a:gd name="connsiteX9" fmla="*/ 633017 w 15409480"/>
                <a:gd name="connsiteY9" fmla="*/ 12780969 h 15946069"/>
                <a:gd name="connsiteX10" fmla="*/ 198944 w 15409480"/>
                <a:gd name="connsiteY10" fmla="*/ 13341645 h 15946069"/>
                <a:gd name="connsiteX11" fmla="*/ 723451 w 15409480"/>
                <a:gd name="connsiteY11" fmla="*/ 13757629 h 15946069"/>
                <a:gd name="connsiteX12" fmla="*/ 1640036 w 15409480"/>
                <a:gd name="connsiteY12" fmla="*/ 13197151 h 15946069"/>
                <a:gd name="connsiteX13" fmla="*/ 1880971 w 15409480"/>
                <a:gd name="connsiteY13" fmla="*/ 13395906 h 15946069"/>
                <a:gd name="connsiteX14" fmla="*/ 2930086 w 15409480"/>
                <a:gd name="connsiteY14" fmla="*/ 12952832 h 15946069"/>
                <a:gd name="connsiteX15" fmla="*/ 3828256 w 15409480"/>
                <a:gd name="connsiteY15" fmla="*/ 13245188 h 15946069"/>
                <a:gd name="connsiteX16" fmla="*/ 4768739 w 15409480"/>
                <a:gd name="connsiteY16" fmla="*/ 13040205 h 15946069"/>
                <a:gd name="connsiteX17" fmla="*/ 5190751 w 15409480"/>
                <a:gd name="connsiteY17" fmla="*/ 13649115 h 15946069"/>
                <a:gd name="connsiteX18" fmla="*/ 5932290 w 15409480"/>
                <a:gd name="connsiteY18" fmla="*/ 13444132 h 15946069"/>
                <a:gd name="connsiteX19" fmla="*/ 6498992 w 15409480"/>
                <a:gd name="connsiteY19" fmla="*/ 12991975 h 15946069"/>
                <a:gd name="connsiteX20" fmla="*/ 7373161 w 15409480"/>
                <a:gd name="connsiteY20" fmla="*/ 13582800 h 15946069"/>
                <a:gd name="connsiteX21" fmla="*/ 8512588 w 15409480"/>
                <a:gd name="connsiteY21" fmla="*/ 13570738 h 15946069"/>
                <a:gd name="connsiteX22" fmla="*/ 9742454 w 15409480"/>
                <a:gd name="connsiteY22" fmla="*/ 14004811 h 15946069"/>
                <a:gd name="connsiteX23" fmla="*/ 10616683 w 15409480"/>
                <a:gd name="connsiteY23" fmla="*/ 15358294 h 15946069"/>
                <a:gd name="connsiteX24" fmla="*/ 11117010 w 15409480"/>
                <a:gd name="connsiteY24" fmla="*/ 15946069 h 15946069"/>
                <a:gd name="connsiteX25" fmla="*/ 11780218 w 15409480"/>
                <a:gd name="connsiteY25" fmla="*/ 13579811 h 15946069"/>
                <a:gd name="connsiteX26" fmla="*/ 12196146 w 15409480"/>
                <a:gd name="connsiteY26" fmla="*/ 11388328 h 15946069"/>
                <a:gd name="connsiteX27" fmla="*/ 14004775 w 15409480"/>
                <a:gd name="connsiteY27" fmla="*/ 11611395 h 15946069"/>
                <a:gd name="connsiteX28" fmla="*/ 15409477 w 15409480"/>
                <a:gd name="connsiteY28" fmla="*/ 11882693 h 15946069"/>
                <a:gd name="connsiteX29" fmla="*/ 10146682 w 15409480"/>
                <a:gd name="connsiteY29" fmla="*/ 10061295 h 15946069"/>
                <a:gd name="connsiteX30" fmla="*/ 11668657 w 15409480"/>
                <a:gd name="connsiteY30" fmla="*/ 8754316 h 15946069"/>
                <a:gd name="connsiteX31" fmla="*/ 12149687 w 15409480"/>
                <a:gd name="connsiteY31" fmla="*/ 8101619 h 15946069"/>
                <a:gd name="connsiteX32" fmla="*/ 11118705 w 15409480"/>
                <a:gd name="connsiteY32" fmla="*/ 7156845 h 15946069"/>
                <a:gd name="connsiteX33" fmla="*/ 10425568 w 15409480"/>
                <a:gd name="connsiteY33" fmla="*/ 7223642 h 15946069"/>
                <a:gd name="connsiteX34" fmla="*/ 10709437 w 15409480"/>
                <a:gd name="connsiteY34" fmla="*/ 6730245 h 15946069"/>
                <a:gd name="connsiteX35" fmla="*/ 10017677 w 15409480"/>
                <a:gd name="connsiteY35" fmla="*/ 5883475 h 15946069"/>
                <a:gd name="connsiteX36" fmla="*/ 9318595 w 15409480"/>
                <a:gd name="connsiteY36" fmla="*/ 5859197 h 15946069"/>
                <a:gd name="connsiteX37" fmla="*/ 9215073 w 15409480"/>
                <a:gd name="connsiteY37" fmla="*/ 5387392 h 15946069"/>
                <a:gd name="connsiteX38" fmla="*/ 8600211 w 15409480"/>
                <a:gd name="connsiteY38" fmla="*/ 5564744 h 15946069"/>
                <a:gd name="connsiteX39" fmla="*/ 8412926 w 15409480"/>
                <a:gd name="connsiteY39" fmla="*/ 4835463 h 15946069"/>
                <a:gd name="connsiteX40" fmla="*/ 7744624 w 15409480"/>
                <a:gd name="connsiteY40" fmla="*/ 4382387 h 15946069"/>
                <a:gd name="connsiteX41" fmla="*/ 8112983 w 15409480"/>
                <a:gd name="connsiteY41" fmla="*/ 3770361 h 15946069"/>
                <a:gd name="connsiteX42" fmla="*/ 7637793 w 15409480"/>
                <a:gd name="connsiteY42" fmla="*/ 2526072 h 15946069"/>
                <a:gd name="connsiteX43" fmla="*/ 7264687 w 15409480"/>
                <a:gd name="connsiteY43" fmla="*/ 2131091 h 15946069"/>
                <a:gd name="connsiteX44" fmla="*/ 6594245 w 15409480"/>
                <a:gd name="connsiteY44" fmla="*/ 2055834 h 15946069"/>
                <a:gd name="connsiteX45" fmla="*/ 6431470 w 15409480"/>
                <a:gd name="connsiteY45" fmla="*/ 1314295 h 15946069"/>
                <a:gd name="connsiteX46" fmla="*/ 5642908 w 15409480"/>
                <a:gd name="connsiteY46" fmla="*/ 1343233 h 15946069"/>
                <a:gd name="connsiteX47" fmla="*/ 5150959 w 15409480"/>
                <a:gd name="connsiteY47" fmla="*/ 1610907 h 15946069"/>
                <a:gd name="connsiteX48" fmla="*/ 5480133 w 15409480"/>
                <a:gd name="connsiteY48" fmla="*/ 2167963 h 15946069"/>
                <a:gd name="connsiteX49" fmla="*/ 4742216 w 15409480"/>
                <a:gd name="connsiteY49" fmla="*/ 2862495 h 15946069"/>
                <a:gd name="connsiteX50" fmla="*/ 2658667 w 15409480"/>
                <a:gd name="connsiteY50" fmla="*/ 0 h 15946069"/>
                <a:gd name="connsiteX51" fmla="*/ 2658682 w 15409480"/>
                <a:gd name="connsiteY51" fmla="*/ 1018890 h 15946069"/>
                <a:gd name="connsiteX52" fmla="*/ 1850829 w 15409480"/>
                <a:gd name="connsiteY52" fmla="*/ 1730283 h 15946069"/>
                <a:gd name="connsiteX53" fmla="*/ 1404694 w 15409480"/>
                <a:gd name="connsiteY53" fmla="*/ 2272862 h 15946069"/>
                <a:gd name="connsiteX54" fmla="*/ 2351216 w 15409480"/>
                <a:gd name="connsiteY54" fmla="*/ 3388182 h 15946069"/>
                <a:gd name="connsiteX55" fmla="*/ 2658682 w 15409480"/>
                <a:gd name="connsiteY55" fmla="*/ 4286458 h 15946069"/>
                <a:gd name="connsiteX56" fmla="*/ 1935228 w 15409480"/>
                <a:gd name="connsiteY56" fmla="*/ 5220918 h 15946069"/>
                <a:gd name="connsiteX57" fmla="*/ 875281 w 15409480"/>
                <a:gd name="connsiteY57" fmla="*/ 5166646 h 15946069"/>
                <a:gd name="connsiteX58" fmla="*/ 0 w 15409480"/>
                <a:gd name="connsiteY58" fmla="*/ 5890112 h 15946069"/>
                <a:gd name="connsiteX59" fmla="*/ 72345 w 15409480"/>
                <a:gd name="connsiteY59" fmla="*/ 6921032 h 15946069"/>
                <a:gd name="connsiteX60" fmla="*/ 477776 w 15409480"/>
                <a:gd name="connsiteY60" fmla="*/ 7436569 h 15946069"/>
                <a:gd name="connsiteX0" fmla="*/ 477776 w 15409480"/>
                <a:gd name="connsiteY0" fmla="*/ 7436569 h 15946069"/>
                <a:gd name="connsiteX1" fmla="*/ 271294 w 15409480"/>
                <a:gd name="connsiteY1" fmla="*/ 8060457 h 15946069"/>
                <a:gd name="connsiteX2" fmla="*/ 379812 w 15409480"/>
                <a:gd name="connsiteY2" fmla="*/ 8675382 h 15946069"/>
                <a:gd name="connsiteX3" fmla="*/ 759624 w 15409480"/>
                <a:gd name="connsiteY3" fmla="*/ 9217969 h 15946069"/>
                <a:gd name="connsiteX4" fmla="*/ 687278 w 15409480"/>
                <a:gd name="connsiteY4" fmla="*/ 9670126 h 15946069"/>
                <a:gd name="connsiteX5" fmla="*/ 144687 w 15409480"/>
                <a:gd name="connsiteY5" fmla="*/ 9941420 h 15946069"/>
                <a:gd name="connsiteX6" fmla="*/ 343643 w 15409480"/>
                <a:gd name="connsiteY6" fmla="*/ 10592536 h 15946069"/>
                <a:gd name="connsiteX7" fmla="*/ 940487 w 15409480"/>
                <a:gd name="connsiteY7" fmla="*/ 10954252 h 15946069"/>
                <a:gd name="connsiteX8" fmla="*/ 596844 w 15409480"/>
                <a:gd name="connsiteY8" fmla="*/ 11786221 h 15946069"/>
                <a:gd name="connsiteX9" fmla="*/ 633017 w 15409480"/>
                <a:gd name="connsiteY9" fmla="*/ 12780969 h 15946069"/>
                <a:gd name="connsiteX10" fmla="*/ 198944 w 15409480"/>
                <a:gd name="connsiteY10" fmla="*/ 13341645 h 15946069"/>
                <a:gd name="connsiteX11" fmla="*/ 723451 w 15409480"/>
                <a:gd name="connsiteY11" fmla="*/ 13757629 h 15946069"/>
                <a:gd name="connsiteX12" fmla="*/ 1640036 w 15409480"/>
                <a:gd name="connsiteY12" fmla="*/ 13197151 h 15946069"/>
                <a:gd name="connsiteX13" fmla="*/ 1880971 w 15409480"/>
                <a:gd name="connsiteY13" fmla="*/ 13395906 h 15946069"/>
                <a:gd name="connsiteX14" fmla="*/ 2930086 w 15409480"/>
                <a:gd name="connsiteY14" fmla="*/ 12952832 h 15946069"/>
                <a:gd name="connsiteX15" fmla="*/ 3828256 w 15409480"/>
                <a:gd name="connsiteY15" fmla="*/ 13245188 h 15946069"/>
                <a:gd name="connsiteX16" fmla="*/ 4768739 w 15409480"/>
                <a:gd name="connsiteY16" fmla="*/ 13040205 h 15946069"/>
                <a:gd name="connsiteX17" fmla="*/ 5190751 w 15409480"/>
                <a:gd name="connsiteY17" fmla="*/ 13649115 h 15946069"/>
                <a:gd name="connsiteX18" fmla="*/ 5932290 w 15409480"/>
                <a:gd name="connsiteY18" fmla="*/ 13444132 h 15946069"/>
                <a:gd name="connsiteX19" fmla="*/ 6498992 w 15409480"/>
                <a:gd name="connsiteY19" fmla="*/ 12991975 h 15946069"/>
                <a:gd name="connsiteX20" fmla="*/ 7373161 w 15409480"/>
                <a:gd name="connsiteY20" fmla="*/ 13582800 h 15946069"/>
                <a:gd name="connsiteX21" fmla="*/ 8512588 w 15409480"/>
                <a:gd name="connsiteY21" fmla="*/ 13570738 h 15946069"/>
                <a:gd name="connsiteX22" fmla="*/ 9742454 w 15409480"/>
                <a:gd name="connsiteY22" fmla="*/ 14004811 h 15946069"/>
                <a:gd name="connsiteX23" fmla="*/ 10616683 w 15409480"/>
                <a:gd name="connsiteY23" fmla="*/ 15358294 h 15946069"/>
                <a:gd name="connsiteX24" fmla="*/ 11117010 w 15409480"/>
                <a:gd name="connsiteY24" fmla="*/ 15946069 h 15946069"/>
                <a:gd name="connsiteX25" fmla="*/ 11780218 w 15409480"/>
                <a:gd name="connsiteY25" fmla="*/ 13579811 h 15946069"/>
                <a:gd name="connsiteX26" fmla="*/ 12196146 w 15409480"/>
                <a:gd name="connsiteY26" fmla="*/ 11388328 h 15946069"/>
                <a:gd name="connsiteX27" fmla="*/ 14004775 w 15409480"/>
                <a:gd name="connsiteY27" fmla="*/ 11611395 h 15946069"/>
                <a:gd name="connsiteX28" fmla="*/ 15409477 w 15409480"/>
                <a:gd name="connsiteY28" fmla="*/ 11882693 h 15946069"/>
                <a:gd name="connsiteX29" fmla="*/ 11533930 w 15409480"/>
                <a:gd name="connsiteY29" fmla="*/ 9393151 h 15946069"/>
                <a:gd name="connsiteX30" fmla="*/ 11668657 w 15409480"/>
                <a:gd name="connsiteY30" fmla="*/ 8754316 h 15946069"/>
                <a:gd name="connsiteX31" fmla="*/ 12149687 w 15409480"/>
                <a:gd name="connsiteY31" fmla="*/ 8101619 h 15946069"/>
                <a:gd name="connsiteX32" fmla="*/ 11118705 w 15409480"/>
                <a:gd name="connsiteY32" fmla="*/ 7156845 h 15946069"/>
                <a:gd name="connsiteX33" fmla="*/ 10425568 w 15409480"/>
                <a:gd name="connsiteY33" fmla="*/ 7223642 h 15946069"/>
                <a:gd name="connsiteX34" fmla="*/ 10709437 w 15409480"/>
                <a:gd name="connsiteY34" fmla="*/ 6730245 h 15946069"/>
                <a:gd name="connsiteX35" fmla="*/ 10017677 w 15409480"/>
                <a:gd name="connsiteY35" fmla="*/ 5883475 h 15946069"/>
                <a:gd name="connsiteX36" fmla="*/ 9318595 w 15409480"/>
                <a:gd name="connsiteY36" fmla="*/ 5859197 h 15946069"/>
                <a:gd name="connsiteX37" fmla="*/ 9215073 w 15409480"/>
                <a:gd name="connsiteY37" fmla="*/ 5387392 h 15946069"/>
                <a:gd name="connsiteX38" fmla="*/ 8600211 w 15409480"/>
                <a:gd name="connsiteY38" fmla="*/ 5564744 h 15946069"/>
                <a:gd name="connsiteX39" fmla="*/ 8412926 w 15409480"/>
                <a:gd name="connsiteY39" fmla="*/ 4835463 h 15946069"/>
                <a:gd name="connsiteX40" fmla="*/ 7744624 w 15409480"/>
                <a:gd name="connsiteY40" fmla="*/ 4382387 h 15946069"/>
                <a:gd name="connsiteX41" fmla="*/ 8112983 w 15409480"/>
                <a:gd name="connsiteY41" fmla="*/ 3770361 h 15946069"/>
                <a:gd name="connsiteX42" fmla="*/ 7637793 w 15409480"/>
                <a:gd name="connsiteY42" fmla="*/ 2526072 h 15946069"/>
                <a:gd name="connsiteX43" fmla="*/ 7264687 w 15409480"/>
                <a:gd name="connsiteY43" fmla="*/ 2131091 h 15946069"/>
                <a:gd name="connsiteX44" fmla="*/ 6594245 w 15409480"/>
                <a:gd name="connsiteY44" fmla="*/ 2055834 h 15946069"/>
                <a:gd name="connsiteX45" fmla="*/ 6431470 w 15409480"/>
                <a:gd name="connsiteY45" fmla="*/ 1314295 h 15946069"/>
                <a:gd name="connsiteX46" fmla="*/ 5642908 w 15409480"/>
                <a:gd name="connsiteY46" fmla="*/ 1343233 h 15946069"/>
                <a:gd name="connsiteX47" fmla="*/ 5150959 w 15409480"/>
                <a:gd name="connsiteY47" fmla="*/ 1610907 h 15946069"/>
                <a:gd name="connsiteX48" fmla="*/ 5480133 w 15409480"/>
                <a:gd name="connsiteY48" fmla="*/ 2167963 h 15946069"/>
                <a:gd name="connsiteX49" fmla="*/ 4742216 w 15409480"/>
                <a:gd name="connsiteY49" fmla="*/ 2862495 h 15946069"/>
                <a:gd name="connsiteX50" fmla="*/ 2658667 w 15409480"/>
                <a:gd name="connsiteY50" fmla="*/ 0 h 15946069"/>
                <a:gd name="connsiteX51" fmla="*/ 2658682 w 15409480"/>
                <a:gd name="connsiteY51" fmla="*/ 1018890 h 15946069"/>
                <a:gd name="connsiteX52" fmla="*/ 1850829 w 15409480"/>
                <a:gd name="connsiteY52" fmla="*/ 1730283 h 15946069"/>
                <a:gd name="connsiteX53" fmla="*/ 1404694 w 15409480"/>
                <a:gd name="connsiteY53" fmla="*/ 2272862 h 15946069"/>
                <a:gd name="connsiteX54" fmla="*/ 2351216 w 15409480"/>
                <a:gd name="connsiteY54" fmla="*/ 3388182 h 15946069"/>
                <a:gd name="connsiteX55" fmla="*/ 2658682 w 15409480"/>
                <a:gd name="connsiteY55" fmla="*/ 4286458 h 15946069"/>
                <a:gd name="connsiteX56" fmla="*/ 1935228 w 15409480"/>
                <a:gd name="connsiteY56" fmla="*/ 5220918 h 15946069"/>
                <a:gd name="connsiteX57" fmla="*/ 875281 w 15409480"/>
                <a:gd name="connsiteY57" fmla="*/ 5166646 h 15946069"/>
                <a:gd name="connsiteX58" fmla="*/ 0 w 15409480"/>
                <a:gd name="connsiteY58" fmla="*/ 5890112 h 15946069"/>
                <a:gd name="connsiteX59" fmla="*/ 72345 w 15409480"/>
                <a:gd name="connsiteY59" fmla="*/ 6921032 h 15946069"/>
                <a:gd name="connsiteX60" fmla="*/ 477776 w 15409480"/>
                <a:gd name="connsiteY60" fmla="*/ 7436569 h 15946069"/>
                <a:gd name="connsiteX0" fmla="*/ 477776 w 14004774"/>
                <a:gd name="connsiteY0" fmla="*/ 7436569 h 15946069"/>
                <a:gd name="connsiteX1" fmla="*/ 271294 w 14004774"/>
                <a:gd name="connsiteY1" fmla="*/ 8060457 h 15946069"/>
                <a:gd name="connsiteX2" fmla="*/ 379812 w 14004774"/>
                <a:gd name="connsiteY2" fmla="*/ 8675382 h 15946069"/>
                <a:gd name="connsiteX3" fmla="*/ 759624 w 14004774"/>
                <a:gd name="connsiteY3" fmla="*/ 9217969 h 15946069"/>
                <a:gd name="connsiteX4" fmla="*/ 687278 w 14004774"/>
                <a:gd name="connsiteY4" fmla="*/ 9670126 h 15946069"/>
                <a:gd name="connsiteX5" fmla="*/ 144687 w 14004774"/>
                <a:gd name="connsiteY5" fmla="*/ 9941420 h 15946069"/>
                <a:gd name="connsiteX6" fmla="*/ 343643 w 14004774"/>
                <a:gd name="connsiteY6" fmla="*/ 10592536 h 15946069"/>
                <a:gd name="connsiteX7" fmla="*/ 940487 w 14004774"/>
                <a:gd name="connsiteY7" fmla="*/ 10954252 h 15946069"/>
                <a:gd name="connsiteX8" fmla="*/ 596844 w 14004774"/>
                <a:gd name="connsiteY8" fmla="*/ 11786221 h 15946069"/>
                <a:gd name="connsiteX9" fmla="*/ 633017 w 14004774"/>
                <a:gd name="connsiteY9" fmla="*/ 12780969 h 15946069"/>
                <a:gd name="connsiteX10" fmla="*/ 198944 w 14004774"/>
                <a:gd name="connsiteY10" fmla="*/ 13341645 h 15946069"/>
                <a:gd name="connsiteX11" fmla="*/ 723451 w 14004774"/>
                <a:gd name="connsiteY11" fmla="*/ 13757629 h 15946069"/>
                <a:gd name="connsiteX12" fmla="*/ 1640036 w 14004774"/>
                <a:gd name="connsiteY12" fmla="*/ 13197151 h 15946069"/>
                <a:gd name="connsiteX13" fmla="*/ 1880971 w 14004774"/>
                <a:gd name="connsiteY13" fmla="*/ 13395906 h 15946069"/>
                <a:gd name="connsiteX14" fmla="*/ 2930086 w 14004774"/>
                <a:gd name="connsiteY14" fmla="*/ 12952832 h 15946069"/>
                <a:gd name="connsiteX15" fmla="*/ 3828256 w 14004774"/>
                <a:gd name="connsiteY15" fmla="*/ 13245188 h 15946069"/>
                <a:gd name="connsiteX16" fmla="*/ 4768739 w 14004774"/>
                <a:gd name="connsiteY16" fmla="*/ 13040205 h 15946069"/>
                <a:gd name="connsiteX17" fmla="*/ 5190751 w 14004774"/>
                <a:gd name="connsiteY17" fmla="*/ 13649115 h 15946069"/>
                <a:gd name="connsiteX18" fmla="*/ 5932290 w 14004774"/>
                <a:gd name="connsiteY18" fmla="*/ 13444132 h 15946069"/>
                <a:gd name="connsiteX19" fmla="*/ 6498992 w 14004774"/>
                <a:gd name="connsiteY19" fmla="*/ 12991975 h 15946069"/>
                <a:gd name="connsiteX20" fmla="*/ 7373161 w 14004774"/>
                <a:gd name="connsiteY20" fmla="*/ 13582800 h 15946069"/>
                <a:gd name="connsiteX21" fmla="*/ 8512588 w 14004774"/>
                <a:gd name="connsiteY21" fmla="*/ 13570738 h 15946069"/>
                <a:gd name="connsiteX22" fmla="*/ 9742454 w 14004774"/>
                <a:gd name="connsiteY22" fmla="*/ 14004811 h 15946069"/>
                <a:gd name="connsiteX23" fmla="*/ 10616683 w 14004774"/>
                <a:gd name="connsiteY23" fmla="*/ 15358294 h 15946069"/>
                <a:gd name="connsiteX24" fmla="*/ 11117010 w 14004774"/>
                <a:gd name="connsiteY24" fmla="*/ 15946069 h 15946069"/>
                <a:gd name="connsiteX25" fmla="*/ 11780218 w 14004774"/>
                <a:gd name="connsiteY25" fmla="*/ 13579811 h 15946069"/>
                <a:gd name="connsiteX26" fmla="*/ 12196146 w 14004774"/>
                <a:gd name="connsiteY26" fmla="*/ 11388328 h 15946069"/>
                <a:gd name="connsiteX27" fmla="*/ 14004775 w 14004774"/>
                <a:gd name="connsiteY27" fmla="*/ 11611395 h 15946069"/>
                <a:gd name="connsiteX28" fmla="*/ 10195350 w 14004774"/>
                <a:gd name="connsiteY28" fmla="*/ 10617991 h 15946069"/>
                <a:gd name="connsiteX29" fmla="*/ 11533930 w 14004774"/>
                <a:gd name="connsiteY29" fmla="*/ 9393151 h 15946069"/>
                <a:gd name="connsiteX30" fmla="*/ 11668657 w 14004774"/>
                <a:gd name="connsiteY30" fmla="*/ 8754316 h 15946069"/>
                <a:gd name="connsiteX31" fmla="*/ 12149687 w 14004774"/>
                <a:gd name="connsiteY31" fmla="*/ 8101619 h 15946069"/>
                <a:gd name="connsiteX32" fmla="*/ 11118705 w 14004774"/>
                <a:gd name="connsiteY32" fmla="*/ 7156845 h 15946069"/>
                <a:gd name="connsiteX33" fmla="*/ 10425568 w 14004774"/>
                <a:gd name="connsiteY33" fmla="*/ 7223642 h 15946069"/>
                <a:gd name="connsiteX34" fmla="*/ 10709437 w 14004774"/>
                <a:gd name="connsiteY34" fmla="*/ 6730245 h 15946069"/>
                <a:gd name="connsiteX35" fmla="*/ 10017677 w 14004774"/>
                <a:gd name="connsiteY35" fmla="*/ 5883475 h 15946069"/>
                <a:gd name="connsiteX36" fmla="*/ 9318595 w 14004774"/>
                <a:gd name="connsiteY36" fmla="*/ 5859197 h 15946069"/>
                <a:gd name="connsiteX37" fmla="*/ 9215073 w 14004774"/>
                <a:gd name="connsiteY37" fmla="*/ 5387392 h 15946069"/>
                <a:gd name="connsiteX38" fmla="*/ 8600211 w 14004774"/>
                <a:gd name="connsiteY38" fmla="*/ 5564744 h 15946069"/>
                <a:gd name="connsiteX39" fmla="*/ 8412926 w 14004774"/>
                <a:gd name="connsiteY39" fmla="*/ 4835463 h 15946069"/>
                <a:gd name="connsiteX40" fmla="*/ 7744624 w 14004774"/>
                <a:gd name="connsiteY40" fmla="*/ 4382387 h 15946069"/>
                <a:gd name="connsiteX41" fmla="*/ 8112983 w 14004774"/>
                <a:gd name="connsiteY41" fmla="*/ 3770361 h 15946069"/>
                <a:gd name="connsiteX42" fmla="*/ 7637793 w 14004774"/>
                <a:gd name="connsiteY42" fmla="*/ 2526072 h 15946069"/>
                <a:gd name="connsiteX43" fmla="*/ 7264687 w 14004774"/>
                <a:gd name="connsiteY43" fmla="*/ 2131091 h 15946069"/>
                <a:gd name="connsiteX44" fmla="*/ 6594245 w 14004774"/>
                <a:gd name="connsiteY44" fmla="*/ 2055834 h 15946069"/>
                <a:gd name="connsiteX45" fmla="*/ 6431470 w 14004774"/>
                <a:gd name="connsiteY45" fmla="*/ 1314295 h 15946069"/>
                <a:gd name="connsiteX46" fmla="*/ 5642908 w 14004774"/>
                <a:gd name="connsiteY46" fmla="*/ 1343233 h 15946069"/>
                <a:gd name="connsiteX47" fmla="*/ 5150959 w 14004774"/>
                <a:gd name="connsiteY47" fmla="*/ 1610907 h 15946069"/>
                <a:gd name="connsiteX48" fmla="*/ 5480133 w 14004774"/>
                <a:gd name="connsiteY48" fmla="*/ 2167963 h 15946069"/>
                <a:gd name="connsiteX49" fmla="*/ 4742216 w 14004774"/>
                <a:gd name="connsiteY49" fmla="*/ 2862495 h 15946069"/>
                <a:gd name="connsiteX50" fmla="*/ 2658667 w 14004774"/>
                <a:gd name="connsiteY50" fmla="*/ 0 h 15946069"/>
                <a:gd name="connsiteX51" fmla="*/ 2658682 w 14004774"/>
                <a:gd name="connsiteY51" fmla="*/ 1018890 h 15946069"/>
                <a:gd name="connsiteX52" fmla="*/ 1850829 w 14004774"/>
                <a:gd name="connsiteY52" fmla="*/ 1730283 h 15946069"/>
                <a:gd name="connsiteX53" fmla="*/ 1404694 w 14004774"/>
                <a:gd name="connsiteY53" fmla="*/ 2272862 h 15946069"/>
                <a:gd name="connsiteX54" fmla="*/ 2351216 w 14004774"/>
                <a:gd name="connsiteY54" fmla="*/ 3388182 h 15946069"/>
                <a:gd name="connsiteX55" fmla="*/ 2658682 w 14004774"/>
                <a:gd name="connsiteY55" fmla="*/ 4286458 h 15946069"/>
                <a:gd name="connsiteX56" fmla="*/ 1935228 w 14004774"/>
                <a:gd name="connsiteY56" fmla="*/ 5220918 h 15946069"/>
                <a:gd name="connsiteX57" fmla="*/ 875281 w 14004774"/>
                <a:gd name="connsiteY57" fmla="*/ 5166646 h 15946069"/>
                <a:gd name="connsiteX58" fmla="*/ 0 w 14004774"/>
                <a:gd name="connsiteY58" fmla="*/ 5890112 h 15946069"/>
                <a:gd name="connsiteX59" fmla="*/ 72345 w 14004774"/>
                <a:gd name="connsiteY59" fmla="*/ 6921032 h 15946069"/>
                <a:gd name="connsiteX60" fmla="*/ 477776 w 14004774"/>
                <a:gd name="connsiteY60" fmla="*/ 7436569 h 15946069"/>
                <a:gd name="connsiteX0" fmla="*/ 477776 w 14004774"/>
                <a:gd name="connsiteY0" fmla="*/ 7436569 h 15946069"/>
                <a:gd name="connsiteX1" fmla="*/ 271294 w 14004774"/>
                <a:gd name="connsiteY1" fmla="*/ 8060457 h 15946069"/>
                <a:gd name="connsiteX2" fmla="*/ 379812 w 14004774"/>
                <a:gd name="connsiteY2" fmla="*/ 8675382 h 15946069"/>
                <a:gd name="connsiteX3" fmla="*/ 759624 w 14004774"/>
                <a:gd name="connsiteY3" fmla="*/ 9217969 h 15946069"/>
                <a:gd name="connsiteX4" fmla="*/ 687278 w 14004774"/>
                <a:gd name="connsiteY4" fmla="*/ 9670126 h 15946069"/>
                <a:gd name="connsiteX5" fmla="*/ 144687 w 14004774"/>
                <a:gd name="connsiteY5" fmla="*/ 9941420 h 15946069"/>
                <a:gd name="connsiteX6" fmla="*/ 343643 w 14004774"/>
                <a:gd name="connsiteY6" fmla="*/ 10592536 h 15946069"/>
                <a:gd name="connsiteX7" fmla="*/ 940487 w 14004774"/>
                <a:gd name="connsiteY7" fmla="*/ 10954252 h 15946069"/>
                <a:gd name="connsiteX8" fmla="*/ 596844 w 14004774"/>
                <a:gd name="connsiteY8" fmla="*/ 11786221 h 15946069"/>
                <a:gd name="connsiteX9" fmla="*/ 633017 w 14004774"/>
                <a:gd name="connsiteY9" fmla="*/ 12780969 h 15946069"/>
                <a:gd name="connsiteX10" fmla="*/ 198944 w 14004774"/>
                <a:gd name="connsiteY10" fmla="*/ 13341645 h 15946069"/>
                <a:gd name="connsiteX11" fmla="*/ 723451 w 14004774"/>
                <a:gd name="connsiteY11" fmla="*/ 13757629 h 15946069"/>
                <a:gd name="connsiteX12" fmla="*/ 1640036 w 14004774"/>
                <a:gd name="connsiteY12" fmla="*/ 13197151 h 15946069"/>
                <a:gd name="connsiteX13" fmla="*/ 1880971 w 14004774"/>
                <a:gd name="connsiteY13" fmla="*/ 13395906 h 15946069"/>
                <a:gd name="connsiteX14" fmla="*/ 2930086 w 14004774"/>
                <a:gd name="connsiteY14" fmla="*/ 12952832 h 15946069"/>
                <a:gd name="connsiteX15" fmla="*/ 3828256 w 14004774"/>
                <a:gd name="connsiteY15" fmla="*/ 13245188 h 15946069"/>
                <a:gd name="connsiteX16" fmla="*/ 4768739 w 14004774"/>
                <a:gd name="connsiteY16" fmla="*/ 13040205 h 15946069"/>
                <a:gd name="connsiteX17" fmla="*/ 5190751 w 14004774"/>
                <a:gd name="connsiteY17" fmla="*/ 13649115 h 15946069"/>
                <a:gd name="connsiteX18" fmla="*/ 5932290 w 14004774"/>
                <a:gd name="connsiteY18" fmla="*/ 13444132 h 15946069"/>
                <a:gd name="connsiteX19" fmla="*/ 6498992 w 14004774"/>
                <a:gd name="connsiteY19" fmla="*/ 12991975 h 15946069"/>
                <a:gd name="connsiteX20" fmla="*/ 7373161 w 14004774"/>
                <a:gd name="connsiteY20" fmla="*/ 13582800 h 15946069"/>
                <a:gd name="connsiteX21" fmla="*/ 8512588 w 14004774"/>
                <a:gd name="connsiteY21" fmla="*/ 13570738 h 15946069"/>
                <a:gd name="connsiteX22" fmla="*/ 9742454 w 14004774"/>
                <a:gd name="connsiteY22" fmla="*/ 14004811 h 15946069"/>
                <a:gd name="connsiteX23" fmla="*/ 10616683 w 14004774"/>
                <a:gd name="connsiteY23" fmla="*/ 15358294 h 15946069"/>
                <a:gd name="connsiteX24" fmla="*/ 11117010 w 14004774"/>
                <a:gd name="connsiteY24" fmla="*/ 15946069 h 15946069"/>
                <a:gd name="connsiteX25" fmla="*/ 11780218 w 14004774"/>
                <a:gd name="connsiteY25" fmla="*/ 13579811 h 15946069"/>
                <a:gd name="connsiteX26" fmla="*/ 12196146 w 14004774"/>
                <a:gd name="connsiteY26" fmla="*/ 11388328 h 15946069"/>
                <a:gd name="connsiteX27" fmla="*/ 14004775 w 14004774"/>
                <a:gd name="connsiteY27" fmla="*/ 11611395 h 15946069"/>
                <a:gd name="connsiteX28" fmla="*/ 11893530 w 14004774"/>
                <a:gd name="connsiteY28" fmla="*/ 10283919 h 15946069"/>
                <a:gd name="connsiteX29" fmla="*/ 11533930 w 14004774"/>
                <a:gd name="connsiteY29" fmla="*/ 9393151 h 15946069"/>
                <a:gd name="connsiteX30" fmla="*/ 11668657 w 14004774"/>
                <a:gd name="connsiteY30" fmla="*/ 8754316 h 15946069"/>
                <a:gd name="connsiteX31" fmla="*/ 12149687 w 14004774"/>
                <a:gd name="connsiteY31" fmla="*/ 8101619 h 15946069"/>
                <a:gd name="connsiteX32" fmla="*/ 11118705 w 14004774"/>
                <a:gd name="connsiteY32" fmla="*/ 7156845 h 15946069"/>
                <a:gd name="connsiteX33" fmla="*/ 10425568 w 14004774"/>
                <a:gd name="connsiteY33" fmla="*/ 7223642 h 15946069"/>
                <a:gd name="connsiteX34" fmla="*/ 10709437 w 14004774"/>
                <a:gd name="connsiteY34" fmla="*/ 6730245 h 15946069"/>
                <a:gd name="connsiteX35" fmla="*/ 10017677 w 14004774"/>
                <a:gd name="connsiteY35" fmla="*/ 5883475 h 15946069"/>
                <a:gd name="connsiteX36" fmla="*/ 9318595 w 14004774"/>
                <a:gd name="connsiteY36" fmla="*/ 5859197 h 15946069"/>
                <a:gd name="connsiteX37" fmla="*/ 9215073 w 14004774"/>
                <a:gd name="connsiteY37" fmla="*/ 5387392 h 15946069"/>
                <a:gd name="connsiteX38" fmla="*/ 8600211 w 14004774"/>
                <a:gd name="connsiteY38" fmla="*/ 5564744 h 15946069"/>
                <a:gd name="connsiteX39" fmla="*/ 8412926 w 14004774"/>
                <a:gd name="connsiteY39" fmla="*/ 4835463 h 15946069"/>
                <a:gd name="connsiteX40" fmla="*/ 7744624 w 14004774"/>
                <a:gd name="connsiteY40" fmla="*/ 4382387 h 15946069"/>
                <a:gd name="connsiteX41" fmla="*/ 8112983 w 14004774"/>
                <a:gd name="connsiteY41" fmla="*/ 3770361 h 15946069"/>
                <a:gd name="connsiteX42" fmla="*/ 7637793 w 14004774"/>
                <a:gd name="connsiteY42" fmla="*/ 2526072 h 15946069"/>
                <a:gd name="connsiteX43" fmla="*/ 7264687 w 14004774"/>
                <a:gd name="connsiteY43" fmla="*/ 2131091 h 15946069"/>
                <a:gd name="connsiteX44" fmla="*/ 6594245 w 14004774"/>
                <a:gd name="connsiteY44" fmla="*/ 2055834 h 15946069"/>
                <a:gd name="connsiteX45" fmla="*/ 6431470 w 14004774"/>
                <a:gd name="connsiteY45" fmla="*/ 1314295 h 15946069"/>
                <a:gd name="connsiteX46" fmla="*/ 5642908 w 14004774"/>
                <a:gd name="connsiteY46" fmla="*/ 1343233 h 15946069"/>
                <a:gd name="connsiteX47" fmla="*/ 5150959 w 14004774"/>
                <a:gd name="connsiteY47" fmla="*/ 1610907 h 15946069"/>
                <a:gd name="connsiteX48" fmla="*/ 5480133 w 14004774"/>
                <a:gd name="connsiteY48" fmla="*/ 2167963 h 15946069"/>
                <a:gd name="connsiteX49" fmla="*/ 4742216 w 14004774"/>
                <a:gd name="connsiteY49" fmla="*/ 2862495 h 15946069"/>
                <a:gd name="connsiteX50" fmla="*/ 2658667 w 14004774"/>
                <a:gd name="connsiteY50" fmla="*/ 0 h 15946069"/>
                <a:gd name="connsiteX51" fmla="*/ 2658682 w 14004774"/>
                <a:gd name="connsiteY51" fmla="*/ 1018890 h 15946069"/>
                <a:gd name="connsiteX52" fmla="*/ 1850829 w 14004774"/>
                <a:gd name="connsiteY52" fmla="*/ 1730283 h 15946069"/>
                <a:gd name="connsiteX53" fmla="*/ 1404694 w 14004774"/>
                <a:gd name="connsiteY53" fmla="*/ 2272862 h 15946069"/>
                <a:gd name="connsiteX54" fmla="*/ 2351216 w 14004774"/>
                <a:gd name="connsiteY54" fmla="*/ 3388182 h 15946069"/>
                <a:gd name="connsiteX55" fmla="*/ 2658682 w 14004774"/>
                <a:gd name="connsiteY55" fmla="*/ 4286458 h 15946069"/>
                <a:gd name="connsiteX56" fmla="*/ 1935228 w 14004774"/>
                <a:gd name="connsiteY56" fmla="*/ 5220918 h 15946069"/>
                <a:gd name="connsiteX57" fmla="*/ 875281 w 14004774"/>
                <a:gd name="connsiteY57" fmla="*/ 5166646 h 15946069"/>
                <a:gd name="connsiteX58" fmla="*/ 0 w 14004774"/>
                <a:gd name="connsiteY58" fmla="*/ 5890112 h 15946069"/>
                <a:gd name="connsiteX59" fmla="*/ 72345 w 14004774"/>
                <a:gd name="connsiteY59" fmla="*/ 6921032 h 15946069"/>
                <a:gd name="connsiteX60" fmla="*/ 477776 w 14004774"/>
                <a:gd name="connsiteY60" fmla="*/ 7436569 h 15946069"/>
                <a:gd name="connsiteX0" fmla="*/ 477776 w 12196146"/>
                <a:gd name="connsiteY0" fmla="*/ 7436569 h 15946069"/>
                <a:gd name="connsiteX1" fmla="*/ 271294 w 12196146"/>
                <a:gd name="connsiteY1" fmla="*/ 8060457 h 15946069"/>
                <a:gd name="connsiteX2" fmla="*/ 379812 w 12196146"/>
                <a:gd name="connsiteY2" fmla="*/ 8675382 h 15946069"/>
                <a:gd name="connsiteX3" fmla="*/ 759624 w 12196146"/>
                <a:gd name="connsiteY3" fmla="*/ 9217969 h 15946069"/>
                <a:gd name="connsiteX4" fmla="*/ 687278 w 12196146"/>
                <a:gd name="connsiteY4" fmla="*/ 9670126 h 15946069"/>
                <a:gd name="connsiteX5" fmla="*/ 144687 w 12196146"/>
                <a:gd name="connsiteY5" fmla="*/ 9941420 h 15946069"/>
                <a:gd name="connsiteX6" fmla="*/ 343643 w 12196146"/>
                <a:gd name="connsiteY6" fmla="*/ 10592536 h 15946069"/>
                <a:gd name="connsiteX7" fmla="*/ 940487 w 12196146"/>
                <a:gd name="connsiteY7" fmla="*/ 10954252 h 15946069"/>
                <a:gd name="connsiteX8" fmla="*/ 596844 w 12196146"/>
                <a:gd name="connsiteY8" fmla="*/ 11786221 h 15946069"/>
                <a:gd name="connsiteX9" fmla="*/ 633017 w 12196146"/>
                <a:gd name="connsiteY9" fmla="*/ 12780969 h 15946069"/>
                <a:gd name="connsiteX10" fmla="*/ 198944 w 12196146"/>
                <a:gd name="connsiteY10" fmla="*/ 13341645 h 15946069"/>
                <a:gd name="connsiteX11" fmla="*/ 723451 w 12196146"/>
                <a:gd name="connsiteY11" fmla="*/ 13757629 h 15946069"/>
                <a:gd name="connsiteX12" fmla="*/ 1640036 w 12196146"/>
                <a:gd name="connsiteY12" fmla="*/ 13197151 h 15946069"/>
                <a:gd name="connsiteX13" fmla="*/ 1880971 w 12196146"/>
                <a:gd name="connsiteY13" fmla="*/ 13395906 h 15946069"/>
                <a:gd name="connsiteX14" fmla="*/ 2930086 w 12196146"/>
                <a:gd name="connsiteY14" fmla="*/ 12952832 h 15946069"/>
                <a:gd name="connsiteX15" fmla="*/ 3828256 w 12196146"/>
                <a:gd name="connsiteY15" fmla="*/ 13245188 h 15946069"/>
                <a:gd name="connsiteX16" fmla="*/ 4768739 w 12196146"/>
                <a:gd name="connsiteY16" fmla="*/ 13040205 h 15946069"/>
                <a:gd name="connsiteX17" fmla="*/ 5190751 w 12196146"/>
                <a:gd name="connsiteY17" fmla="*/ 13649115 h 15946069"/>
                <a:gd name="connsiteX18" fmla="*/ 5932290 w 12196146"/>
                <a:gd name="connsiteY18" fmla="*/ 13444132 h 15946069"/>
                <a:gd name="connsiteX19" fmla="*/ 6498992 w 12196146"/>
                <a:gd name="connsiteY19" fmla="*/ 12991975 h 15946069"/>
                <a:gd name="connsiteX20" fmla="*/ 7373161 w 12196146"/>
                <a:gd name="connsiteY20" fmla="*/ 13582800 h 15946069"/>
                <a:gd name="connsiteX21" fmla="*/ 8512588 w 12196146"/>
                <a:gd name="connsiteY21" fmla="*/ 13570738 h 15946069"/>
                <a:gd name="connsiteX22" fmla="*/ 9742454 w 12196146"/>
                <a:gd name="connsiteY22" fmla="*/ 14004811 h 15946069"/>
                <a:gd name="connsiteX23" fmla="*/ 10616683 w 12196146"/>
                <a:gd name="connsiteY23" fmla="*/ 15358294 h 15946069"/>
                <a:gd name="connsiteX24" fmla="*/ 11117010 w 12196146"/>
                <a:gd name="connsiteY24" fmla="*/ 15946069 h 15946069"/>
                <a:gd name="connsiteX25" fmla="*/ 11780218 w 12196146"/>
                <a:gd name="connsiteY25" fmla="*/ 13579811 h 15946069"/>
                <a:gd name="connsiteX26" fmla="*/ 12196146 w 12196146"/>
                <a:gd name="connsiteY26" fmla="*/ 11388328 h 15946069"/>
                <a:gd name="connsiteX27" fmla="*/ 9651694 w 12196146"/>
                <a:gd name="connsiteY27" fmla="*/ 10609178 h 15946069"/>
                <a:gd name="connsiteX28" fmla="*/ 11893530 w 12196146"/>
                <a:gd name="connsiteY28" fmla="*/ 10283919 h 15946069"/>
                <a:gd name="connsiteX29" fmla="*/ 11533930 w 12196146"/>
                <a:gd name="connsiteY29" fmla="*/ 9393151 h 15946069"/>
                <a:gd name="connsiteX30" fmla="*/ 11668657 w 12196146"/>
                <a:gd name="connsiteY30" fmla="*/ 8754316 h 15946069"/>
                <a:gd name="connsiteX31" fmla="*/ 12149687 w 12196146"/>
                <a:gd name="connsiteY31" fmla="*/ 8101619 h 15946069"/>
                <a:gd name="connsiteX32" fmla="*/ 11118705 w 12196146"/>
                <a:gd name="connsiteY32" fmla="*/ 7156845 h 15946069"/>
                <a:gd name="connsiteX33" fmla="*/ 10425568 w 12196146"/>
                <a:gd name="connsiteY33" fmla="*/ 7223642 h 15946069"/>
                <a:gd name="connsiteX34" fmla="*/ 10709437 w 12196146"/>
                <a:gd name="connsiteY34" fmla="*/ 6730245 h 15946069"/>
                <a:gd name="connsiteX35" fmla="*/ 10017677 w 12196146"/>
                <a:gd name="connsiteY35" fmla="*/ 5883475 h 15946069"/>
                <a:gd name="connsiteX36" fmla="*/ 9318595 w 12196146"/>
                <a:gd name="connsiteY36" fmla="*/ 5859197 h 15946069"/>
                <a:gd name="connsiteX37" fmla="*/ 9215073 w 12196146"/>
                <a:gd name="connsiteY37" fmla="*/ 5387392 h 15946069"/>
                <a:gd name="connsiteX38" fmla="*/ 8600211 w 12196146"/>
                <a:gd name="connsiteY38" fmla="*/ 5564744 h 15946069"/>
                <a:gd name="connsiteX39" fmla="*/ 8412926 w 12196146"/>
                <a:gd name="connsiteY39" fmla="*/ 4835463 h 15946069"/>
                <a:gd name="connsiteX40" fmla="*/ 7744624 w 12196146"/>
                <a:gd name="connsiteY40" fmla="*/ 4382387 h 15946069"/>
                <a:gd name="connsiteX41" fmla="*/ 8112983 w 12196146"/>
                <a:gd name="connsiteY41" fmla="*/ 3770361 h 15946069"/>
                <a:gd name="connsiteX42" fmla="*/ 7637793 w 12196146"/>
                <a:gd name="connsiteY42" fmla="*/ 2526072 h 15946069"/>
                <a:gd name="connsiteX43" fmla="*/ 7264687 w 12196146"/>
                <a:gd name="connsiteY43" fmla="*/ 2131091 h 15946069"/>
                <a:gd name="connsiteX44" fmla="*/ 6594245 w 12196146"/>
                <a:gd name="connsiteY44" fmla="*/ 2055834 h 15946069"/>
                <a:gd name="connsiteX45" fmla="*/ 6431470 w 12196146"/>
                <a:gd name="connsiteY45" fmla="*/ 1314295 h 15946069"/>
                <a:gd name="connsiteX46" fmla="*/ 5642908 w 12196146"/>
                <a:gd name="connsiteY46" fmla="*/ 1343233 h 15946069"/>
                <a:gd name="connsiteX47" fmla="*/ 5150959 w 12196146"/>
                <a:gd name="connsiteY47" fmla="*/ 1610907 h 15946069"/>
                <a:gd name="connsiteX48" fmla="*/ 5480133 w 12196146"/>
                <a:gd name="connsiteY48" fmla="*/ 2167963 h 15946069"/>
                <a:gd name="connsiteX49" fmla="*/ 4742216 w 12196146"/>
                <a:gd name="connsiteY49" fmla="*/ 2862495 h 15946069"/>
                <a:gd name="connsiteX50" fmla="*/ 2658667 w 12196146"/>
                <a:gd name="connsiteY50" fmla="*/ 0 h 15946069"/>
                <a:gd name="connsiteX51" fmla="*/ 2658682 w 12196146"/>
                <a:gd name="connsiteY51" fmla="*/ 1018890 h 15946069"/>
                <a:gd name="connsiteX52" fmla="*/ 1850829 w 12196146"/>
                <a:gd name="connsiteY52" fmla="*/ 1730283 h 15946069"/>
                <a:gd name="connsiteX53" fmla="*/ 1404694 w 12196146"/>
                <a:gd name="connsiteY53" fmla="*/ 2272862 h 15946069"/>
                <a:gd name="connsiteX54" fmla="*/ 2351216 w 12196146"/>
                <a:gd name="connsiteY54" fmla="*/ 3388182 h 15946069"/>
                <a:gd name="connsiteX55" fmla="*/ 2658682 w 12196146"/>
                <a:gd name="connsiteY55" fmla="*/ 4286458 h 15946069"/>
                <a:gd name="connsiteX56" fmla="*/ 1935228 w 12196146"/>
                <a:gd name="connsiteY56" fmla="*/ 5220918 h 15946069"/>
                <a:gd name="connsiteX57" fmla="*/ 875281 w 12196146"/>
                <a:gd name="connsiteY57" fmla="*/ 5166646 h 15946069"/>
                <a:gd name="connsiteX58" fmla="*/ 0 w 12196146"/>
                <a:gd name="connsiteY58" fmla="*/ 5890112 h 15946069"/>
                <a:gd name="connsiteX59" fmla="*/ 72345 w 12196146"/>
                <a:gd name="connsiteY59" fmla="*/ 6921032 h 15946069"/>
                <a:gd name="connsiteX60" fmla="*/ 477776 w 12196146"/>
                <a:gd name="connsiteY60" fmla="*/ 7436569 h 15946069"/>
                <a:gd name="connsiteX0" fmla="*/ 477776 w 12196146"/>
                <a:gd name="connsiteY0" fmla="*/ 7436569 h 15946069"/>
                <a:gd name="connsiteX1" fmla="*/ 271294 w 12196146"/>
                <a:gd name="connsiteY1" fmla="*/ 8060457 h 15946069"/>
                <a:gd name="connsiteX2" fmla="*/ 379812 w 12196146"/>
                <a:gd name="connsiteY2" fmla="*/ 8675382 h 15946069"/>
                <a:gd name="connsiteX3" fmla="*/ 759624 w 12196146"/>
                <a:gd name="connsiteY3" fmla="*/ 9217969 h 15946069"/>
                <a:gd name="connsiteX4" fmla="*/ 687278 w 12196146"/>
                <a:gd name="connsiteY4" fmla="*/ 9670126 h 15946069"/>
                <a:gd name="connsiteX5" fmla="*/ 144687 w 12196146"/>
                <a:gd name="connsiteY5" fmla="*/ 9941420 h 15946069"/>
                <a:gd name="connsiteX6" fmla="*/ 343643 w 12196146"/>
                <a:gd name="connsiteY6" fmla="*/ 10592536 h 15946069"/>
                <a:gd name="connsiteX7" fmla="*/ 940487 w 12196146"/>
                <a:gd name="connsiteY7" fmla="*/ 10954252 h 15946069"/>
                <a:gd name="connsiteX8" fmla="*/ 596844 w 12196146"/>
                <a:gd name="connsiteY8" fmla="*/ 11786221 h 15946069"/>
                <a:gd name="connsiteX9" fmla="*/ 633017 w 12196146"/>
                <a:gd name="connsiteY9" fmla="*/ 12780969 h 15946069"/>
                <a:gd name="connsiteX10" fmla="*/ 198944 w 12196146"/>
                <a:gd name="connsiteY10" fmla="*/ 13341645 h 15946069"/>
                <a:gd name="connsiteX11" fmla="*/ 723451 w 12196146"/>
                <a:gd name="connsiteY11" fmla="*/ 13757629 h 15946069"/>
                <a:gd name="connsiteX12" fmla="*/ 1640036 w 12196146"/>
                <a:gd name="connsiteY12" fmla="*/ 13197151 h 15946069"/>
                <a:gd name="connsiteX13" fmla="*/ 1880971 w 12196146"/>
                <a:gd name="connsiteY13" fmla="*/ 13395906 h 15946069"/>
                <a:gd name="connsiteX14" fmla="*/ 2930086 w 12196146"/>
                <a:gd name="connsiteY14" fmla="*/ 12952832 h 15946069"/>
                <a:gd name="connsiteX15" fmla="*/ 3828256 w 12196146"/>
                <a:gd name="connsiteY15" fmla="*/ 13245188 h 15946069"/>
                <a:gd name="connsiteX16" fmla="*/ 4768739 w 12196146"/>
                <a:gd name="connsiteY16" fmla="*/ 13040205 h 15946069"/>
                <a:gd name="connsiteX17" fmla="*/ 5190751 w 12196146"/>
                <a:gd name="connsiteY17" fmla="*/ 13649115 h 15946069"/>
                <a:gd name="connsiteX18" fmla="*/ 5932290 w 12196146"/>
                <a:gd name="connsiteY18" fmla="*/ 13444132 h 15946069"/>
                <a:gd name="connsiteX19" fmla="*/ 6498992 w 12196146"/>
                <a:gd name="connsiteY19" fmla="*/ 12991975 h 15946069"/>
                <a:gd name="connsiteX20" fmla="*/ 7373161 w 12196146"/>
                <a:gd name="connsiteY20" fmla="*/ 13582800 h 15946069"/>
                <a:gd name="connsiteX21" fmla="*/ 8512588 w 12196146"/>
                <a:gd name="connsiteY21" fmla="*/ 13570738 h 15946069"/>
                <a:gd name="connsiteX22" fmla="*/ 9742454 w 12196146"/>
                <a:gd name="connsiteY22" fmla="*/ 14004811 h 15946069"/>
                <a:gd name="connsiteX23" fmla="*/ 10616683 w 12196146"/>
                <a:gd name="connsiteY23" fmla="*/ 15358294 h 15946069"/>
                <a:gd name="connsiteX24" fmla="*/ 11117010 w 12196146"/>
                <a:gd name="connsiteY24" fmla="*/ 15946069 h 15946069"/>
                <a:gd name="connsiteX25" fmla="*/ 11780218 w 12196146"/>
                <a:gd name="connsiteY25" fmla="*/ 13579811 h 15946069"/>
                <a:gd name="connsiteX26" fmla="*/ 12196146 w 12196146"/>
                <a:gd name="connsiteY26" fmla="*/ 11388328 h 15946069"/>
                <a:gd name="connsiteX27" fmla="*/ 11899987 w 12196146"/>
                <a:gd name="connsiteY27" fmla="*/ 10752355 h 15946069"/>
                <a:gd name="connsiteX28" fmla="*/ 11893530 w 12196146"/>
                <a:gd name="connsiteY28" fmla="*/ 10283919 h 15946069"/>
                <a:gd name="connsiteX29" fmla="*/ 11533930 w 12196146"/>
                <a:gd name="connsiteY29" fmla="*/ 9393151 h 15946069"/>
                <a:gd name="connsiteX30" fmla="*/ 11668657 w 12196146"/>
                <a:gd name="connsiteY30" fmla="*/ 8754316 h 15946069"/>
                <a:gd name="connsiteX31" fmla="*/ 12149687 w 12196146"/>
                <a:gd name="connsiteY31" fmla="*/ 8101619 h 15946069"/>
                <a:gd name="connsiteX32" fmla="*/ 11118705 w 12196146"/>
                <a:gd name="connsiteY32" fmla="*/ 7156845 h 15946069"/>
                <a:gd name="connsiteX33" fmla="*/ 10425568 w 12196146"/>
                <a:gd name="connsiteY33" fmla="*/ 7223642 h 15946069"/>
                <a:gd name="connsiteX34" fmla="*/ 10709437 w 12196146"/>
                <a:gd name="connsiteY34" fmla="*/ 6730245 h 15946069"/>
                <a:gd name="connsiteX35" fmla="*/ 10017677 w 12196146"/>
                <a:gd name="connsiteY35" fmla="*/ 5883475 h 15946069"/>
                <a:gd name="connsiteX36" fmla="*/ 9318595 w 12196146"/>
                <a:gd name="connsiteY36" fmla="*/ 5859197 h 15946069"/>
                <a:gd name="connsiteX37" fmla="*/ 9215073 w 12196146"/>
                <a:gd name="connsiteY37" fmla="*/ 5387392 h 15946069"/>
                <a:gd name="connsiteX38" fmla="*/ 8600211 w 12196146"/>
                <a:gd name="connsiteY38" fmla="*/ 5564744 h 15946069"/>
                <a:gd name="connsiteX39" fmla="*/ 8412926 w 12196146"/>
                <a:gd name="connsiteY39" fmla="*/ 4835463 h 15946069"/>
                <a:gd name="connsiteX40" fmla="*/ 7744624 w 12196146"/>
                <a:gd name="connsiteY40" fmla="*/ 4382387 h 15946069"/>
                <a:gd name="connsiteX41" fmla="*/ 8112983 w 12196146"/>
                <a:gd name="connsiteY41" fmla="*/ 3770361 h 15946069"/>
                <a:gd name="connsiteX42" fmla="*/ 7637793 w 12196146"/>
                <a:gd name="connsiteY42" fmla="*/ 2526072 h 15946069"/>
                <a:gd name="connsiteX43" fmla="*/ 7264687 w 12196146"/>
                <a:gd name="connsiteY43" fmla="*/ 2131091 h 15946069"/>
                <a:gd name="connsiteX44" fmla="*/ 6594245 w 12196146"/>
                <a:gd name="connsiteY44" fmla="*/ 2055834 h 15946069"/>
                <a:gd name="connsiteX45" fmla="*/ 6431470 w 12196146"/>
                <a:gd name="connsiteY45" fmla="*/ 1314295 h 15946069"/>
                <a:gd name="connsiteX46" fmla="*/ 5642908 w 12196146"/>
                <a:gd name="connsiteY46" fmla="*/ 1343233 h 15946069"/>
                <a:gd name="connsiteX47" fmla="*/ 5150959 w 12196146"/>
                <a:gd name="connsiteY47" fmla="*/ 1610907 h 15946069"/>
                <a:gd name="connsiteX48" fmla="*/ 5480133 w 12196146"/>
                <a:gd name="connsiteY48" fmla="*/ 2167963 h 15946069"/>
                <a:gd name="connsiteX49" fmla="*/ 4742216 w 12196146"/>
                <a:gd name="connsiteY49" fmla="*/ 2862495 h 15946069"/>
                <a:gd name="connsiteX50" fmla="*/ 2658667 w 12196146"/>
                <a:gd name="connsiteY50" fmla="*/ 0 h 15946069"/>
                <a:gd name="connsiteX51" fmla="*/ 2658682 w 12196146"/>
                <a:gd name="connsiteY51" fmla="*/ 1018890 h 15946069"/>
                <a:gd name="connsiteX52" fmla="*/ 1850829 w 12196146"/>
                <a:gd name="connsiteY52" fmla="*/ 1730283 h 15946069"/>
                <a:gd name="connsiteX53" fmla="*/ 1404694 w 12196146"/>
                <a:gd name="connsiteY53" fmla="*/ 2272862 h 15946069"/>
                <a:gd name="connsiteX54" fmla="*/ 2351216 w 12196146"/>
                <a:gd name="connsiteY54" fmla="*/ 3388182 h 15946069"/>
                <a:gd name="connsiteX55" fmla="*/ 2658682 w 12196146"/>
                <a:gd name="connsiteY55" fmla="*/ 4286458 h 15946069"/>
                <a:gd name="connsiteX56" fmla="*/ 1935228 w 12196146"/>
                <a:gd name="connsiteY56" fmla="*/ 5220918 h 15946069"/>
                <a:gd name="connsiteX57" fmla="*/ 875281 w 12196146"/>
                <a:gd name="connsiteY57" fmla="*/ 5166646 h 15946069"/>
                <a:gd name="connsiteX58" fmla="*/ 0 w 12196146"/>
                <a:gd name="connsiteY58" fmla="*/ 5890112 h 15946069"/>
                <a:gd name="connsiteX59" fmla="*/ 72345 w 12196146"/>
                <a:gd name="connsiteY59" fmla="*/ 6921032 h 15946069"/>
                <a:gd name="connsiteX60" fmla="*/ 477776 w 12196146"/>
                <a:gd name="connsiteY60" fmla="*/ 7436569 h 15946069"/>
                <a:gd name="connsiteX0" fmla="*/ 477776 w 12149688"/>
                <a:gd name="connsiteY0" fmla="*/ 7436569 h 15946069"/>
                <a:gd name="connsiteX1" fmla="*/ 271294 w 12149688"/>
                <a:gd name="connsiteY1" fmla="*/ 8060457 h 15946069"/>
                <a:gd name="connsiteX2" fmla="*/ 379812 w 12149688"/>
                <a:gd name="connsiteY2" fmla="*/ 8675382 h 15946069"/>
                <a:gd name="connsiteX3" fmla="*/ 759624 w 12149688"/>
                <a:gd name="connsiteY3" fmla="*/ 9217969 h 15946069"/>
                <a:gd name="connsiteX4" fmla="*/ 687278 w 12149688"/>
                <a:gd name="connsiteY4" fmla="*/ 9670126 h 15946069"/>
                <a:gd name="connsiteX5" fmla="*/ 144687 w 12149688"/>
                <a:gd name="connsiteY5" fmla="*/ 9941420 h 15946069"/>
                <a:gd name="connsiteX6" fmla="*/ 343643 w 12149688"/>
                <a:gd name="connsiteY6" fmla="*/ 10592536 h 15946069"/>
                <a:gd name="connsiteX7" fmla="*/ 940487 w 12149688"/>
                <a:gd name="connsiteY7" fmla="*/ 10954252 h 15946069"/>
                <a:gd name="connsiteX8" fmla="*/ 596844 w 12149688"/>
                <a:gd name="connsiteY8" fmla="*/ 11786221 h 15946069"/>
                <a:gd name="connsiteX9" fmla="*/ 633017 w 12149688"/>
                <a:gd name="connsiteY9" fmla="*/ 12780969 h 15946069"/>
                <a:gd name="connsiteX10" fmla="*/ 198944 w 12149688"/>
                <a:gd name="connsiteY10" fmla="*/ 13341645 h 15946069"/>
                <a:gd name="connsiteX11" fmla="*/ 723451 w 12149688"/>
                <a:gd name="connsiteY11" fmla="*/ 13757629 h 15946069"/>
                <a:gd name="connsiteX12" fmla="*/ 1640036 w 12149688"/>
                <a:gd name="connsiteY12" fmla="*/ 13197151 h 15946069"/>
                <a:gd name="connsiteX13" fmla="*/ 1880971 w 12149688"/>
                <a:gd name="connsiteY13" fmla="*/ 13395906 h 15946069"/>
                <a:gd name="connsiteX14" fmla="*/ 2930086 w 12149688"/>
                <a:gd name="connsiteY14" fmla="*/ 12952832 h 15946069"/>
                <a:gd name="connsiteX15" fmla="*/ 3828256 w 12149688"/>
                <a:gd name="connsiteY15" fmla="*/ 13245188 h 15946069"/>
                <a:gd name="connsiteX16" fmla="*/ 4768739 w 12149688"/>
                <a:gd name="connsiteY16" fmla="*/ 13040205 h 15946069"/>
                <a:gd name="connsiteX17" fmla="*/ 5190751 w 12149688"/>
                <a:gd name="connsiteY17" fmla="*/ 13649115 h 15946069"/>
                <a:gd name="connsiteX18" fmla="*/ 5932290 w 12149688"/>
                <a:gd name="connsiteY18" fmla="*/ 13444132 h 15946069"/>
                <a:gd name="connsiteX19" fmla="*/ 6498992 w 12149688"/>
                <a:gd name="connsiteY19" fmla="*/ 12991975 h 15946069"/>
                <a:gd name="connsiteX20" fmla="*/ 7373161 w 12149688"/>
                <a:gd name="connsiteY20" fmla="*/ 13582800 h 15946069"/>
                <a:gd name="connsiteX21" fmla="*/ 8512588 w 12149688"/>
                <a:gd name="connsiteY21" fmla="*/ 13570738 h 15946069"/>
                <a:gd name="connsiteX22" fmla="*/ 9742454 w 12149688"/>
                <a:gd name="connsiteY22" fmla="*/ 14004811 h 15946069"/>
                <a:gd name="connsiteX23" fmla="*/ 10616683 w 12149688"/>
                <a:gd name="connsiteY23" fmla="*/ 15358294 h 15946069"/>
                <a:gd name="connsiteX24" fmla="*/ 11117010 w 12149688"/>
                <a:gd name="connsiteY24" fmla="*/ 15946069 h 15946069"/>
                <a:gd name="connsiteX25" fmla="*/ 11780218 w 12149688"/>
                <a:gd name="connsiteY25" fmla="*/ 13579811 h 15946069"/>
                <a:gd name="connsiteX26" fmla="*/ 8823707 w 12149688"/>
                <a:gd name="connsiteY26" fmla="*/ 11436049 h 15946069"/>
                <a:gd name="connsiteX27" fmla="*/ 11899987 w 12149688"/>
                <a:gd name="connsiteY27" fmla="*/ 10752355 h 15946069"/>
                <a:gd name="connsiteX28" fmla="*/ 11893530 w 12149688"/>
                <a:gd name="connsiteY28" fmla="*/ 10283919 h 15946069"/>
                <a:gd name="connsiteX29" fmla="*/ 11533930 w 12149688"/>
                <a:gd name="connsiteY29" fmla="*/ 9393151 h 15946069"/>
                <a:gd name="connsiteX30" fmla="*/ 11668657 w 12149688"/>
                <a:gd name="connsiteY30" fmla="*/ 8754316 h 15946069"/>
                <a:gd name="connsiteX31" fmla="*/ 12149687 w 12149688"/>
                <a:gd name="connsiteY31" fmla="*/ 8101619 h 15946069"/>
                <a:gd name="connsiteX32" fmla="*/ 11118705 w 12149688"/>
                <a:gd name="connsiteY32" fmla="*/ 7156845 h 15946069"/>
                <a:gd name="connsiteX33" fmla="*/ 10425568 w 12149688"/>
                <a:gd name="connsiteY33" fmla="*/ 7223642 h 15946069"/>
                <a:gd name="connsiteX34" fmla="*/ 10709437 w 12149688"/>
                <a:gd name="connsiteY34" fmla="*/ 6730245 h 15946069"/>
                <a:gd name="connsiteX35" fmla="*/ 10017677 w 12149688"/>
                <a:gd name="connsiteY35" fmla="*/ 5883475 h 15946069"/>
                <a:gd name="connsiteX36" fmla="*/ 9318595 w 12149688"/>
                <a:gd name="connsiteY36" fmla="*/ 5859197 h 15946069"/>
                <a:gd name="connsiteX37" fmla="*/ 9215073 w 12149688"/>
                <a:gd name="connsiteY37" fmla="*/ 5387392 h 15946069"/>
                <a:gd name="connsiteX38" fmla="*/ 8600211 w 12149688"/>
                <a:gd name="connsiteY38" fmla="*/ 5564744 h 15946069"/>
                <a:gd name="connsiteX39" fmla="*/ 8412926 w 12149688"/>
                <a:gd name="connsiteY39" fmla="*/ 4835463 h 15946069"/>
                <a:gd name="connsiteX40" fmla="*/ 7744624 w 12149688"/>
                <a:gd name="connsiteY40" fmla="*/ 4382387 h 15946069"/>
                <a:gd name="connsiteX41" fmla="*/ 8112983 w 12149688"/>
                <a:gd name="connsiteY41" fmla="*/ 3770361 h 15946069"/>
                <a:gd name="connsiteX42" fmla="*/ 7637793 w 12149688"/>
                <a:gd name="connsiteY42" fmla="*/ 2526072 h 15946069"/>
                <a:gd name="connsiteX43" fmla="*/ 7264687 w 12149688"/>
                <a:gd name="connsiteY43" fmla="*/ 2131091 h 15946069"/>
                <a:gd name="connsiteX44" fmla="*/ 6594245 w 12149688"/>
                <a:gd name="connsiteY44" fmla="*/ 2055834 h 15946069"/>
                <a:gd name="connsiteX45" fmla="*/ 6431470 w 12149688"/>
                <a:gd name="connsiteY45" fmla="*/ 1314295 h 15946069"/>
                <a:gd name="connsiteX46" fmla="*/ 5642908 w 12149688"/>
                <a:gd name="connsiteY46" fmla="*/ 1343233 h 15946069"/>
                <a:gd name="connsiteX47" fmla="*/ 5150959 w 12149688"/>
                <a:gd name="connsiteY47" fmla="*/ 1610907 h 15946069"/>
                <a:gd name="connsiteX48" fmla="*/ 5480133 w 12149688"/>
                <a:gd name="connsiteY48" fmla="*/ 2167963 h 15946069"/>
                <a:gd name="connsiteX49" fmla="*/ 4742216 w 12149688"/>
                <a:gd name="connsiteY49" fmla="*/ 2862495 h 15946069"/>
                <a:gd name="connsiteX50" fmla="*/ 2658667 w 12149688"/>
                <a:gd name="connsiteY50" fmla="*/ 0 h 15946069"/>
                <a:gd name="connsiteX51" fmla="*/ 2658682 w 12149688"/>
                <a:gd name="connsiteY51" fmla="*/ 1018890 h 15946069"/>
                <a:gd name="connsiteX52" fmla="*/ 1850829 w 12149688"/>
                <a:gd name="connsiteY52" fmla="*/ 1730283 h 15946069"/>
                <a:gd name="connsiteX53" fmla="*/ 1404694 w 12149688"/>
                <a:gd name="connsiteY53" fmla="*/ 2272862 h 15946069"/>
                <a:gd name="connsiteX54" fmla="*/ 2351216 w 12149688"/>
                <a:gd name="connsiteY54" fmla="*/ 3388182 h 15946069"/>
                <a:gd name="connsiteX55" fmla="*/ 2658682 w 12149688"/>
                <a:gd name="connsiteY55" fmla="*/ 4286458 h 15946069"/>
                <a:gd name="connsiteX56" fmla="*/ 1935228 w 12149688"/>
                <a:gd name="connsiteY56" fmla="*/ 5220918 h 15946069"/>
                <a:gd name="connsiteX57" fmla="*/ 875281 w 12149688"/>
                <a:gd name="connsiteY57" fmla="*/ 5166646 h 15946069"/>
                <a:gd name="connsiteX58" fmla="*/ 0 w 12149688"/>
                <a:gd name="connsiteY58" fmla="*/ 5890112 h 15946069"/>
                <a:gd name="connsiteX59" fmla="*/ 72345 w 12149688"/>
                <a:gd name="connsiteY59" fmla="*/ 6921032 h 15946069"/>
                <a:gd name="connsiteX60" fmla="*/ 477776 w 12149688"/>
                <a:gd name="connsiteY60" fmla="*/ 7436569 h 15946069"/>
                <a:gd name="connsiteX0" fmla="*/ 477776 w 12149688"/>
                <a:gd name="connsiteY0" fmla="*/ 7436569 h 15946069"/>
                <a:gd name="connsiteX1" fmla="*/ 271294 w 12149688"/>
                <a:gd name="connsiteY1" fmla="*/ 8060457 h 15946069"/>
                <a:gd name="connsiteX2" fmla="*/ 379812 w 12149688"/>
                <a:gd name="connsiteY2" fmla="*/ 8675382 h 15946069"/>
                <a:gd name="connsiteX3" fmla="*/ 759624 w 12149688"/>
                <a:gd name="connsiteY3" fmla="*/ 9217969 h 15946069"/>
                <a:gd name="connsiteX4" fmla="*/ 687278 w 12149688"/>
                <a:gd name="connsiteY4" fmla="*/ 9670126 h 15946069"/>
                <a:gd name="connsiteX5" fmla="*/ 144687 w 12149688"/>
                <a:gd name="connsiteY5" fmla="*/ 9941420 h 15946069"/>
                <a:gd name="connsiteX6" fmla="*/ 343643 w 12149688"/>
                <a:gd name="connsiteY6" fmla="*/ 10592536 h 15946069"/>
                <a:gd name="connsiteX7" fmla="*/ 940487 w 12149688"/>
                <a:gd name="connsiteY7" fmla="*/ 10954252 h 15946069"/>
                <a:gd name="connsiteX8" fmla="*/ 596844 w 12149688"/>
                <a:gd name="connsiteY8" fmla="*/ 11786221 h 15946069"/>
                <a:gd name="connsiteX9" fmla="*/ 633017 w 12149688"/>
                <a:gd name="connsiteY9" fmla="*/ 12780969 h 15946069"/>
                <a:gd name="connsiteX10" fmla="*/ 198944 w 12149688"/>
                <a:gd name="connsiteY10" fmla="*/ 13341645 h 15946069"/>
                <a:gd name="connsiteX11" fmla="*/ 723451 w 12149688"/>
                <a:gd name="connsiteY11" fmla="*/ 13757629 h 15946069"/>
                <a:gd name="connsiteX12" fmla="*/ 1640036 w 12149688"/>
                <a:gd name="connsiteY12" fmla="*/ 13197151 h 15946069"/>
                <a:gd name="connsiteX13" fmla="*/ 1880971 w 12149688"/>
                <a:gd name="connsiteY13" fmla="*/ 13395906 h 15946069"/>
                <a:gd name="connsiteX14" fmla="*/ 2930086 w 12149688"/>
                <a:gd name="connsiteY14" fmla="*/ 12952832 h 15946069"/>
                <a:gd name="connsiteX15" fmla="*/ 3828256 w 12149688"/>
                <a:gd name="connsiteY15" fmla="*/ 13245188 h 15946069"/>
                <a:gd name="connsiteX16" fmla="*/ 4768739 w 12149688"/>
                <a:gd name="connsiteY16" fmla="*/ 13040205 h 15946069"/>
                <a:gd name="connsiteX17" fmla="*/ 5190751 w 12149688"/>
                <a:gd name="connsiteY17" fmla="*/ 13649115 h 15946069"/>
                <a:gd name="connsiteX18" fmla="*/ 5932290 w 12149688"/>
                <a:gd name="connsiteY18" fmla="*/ 13444132 h 15946069"/>
                <a:gd name="connsiteX19" fmla="*/ 6498992 w 12149688"/>
                <a:gd name="connsiteY19" fmla="*/ 12991975 h 15946069"/>
                <a:gd name="connsiteX20" fmla="*/ 7373161 w 12149688"/>
                <a:gd name="connsiteY20" fmla="*/ 13582800 h 15946069"/>
                <a:gd name="connsiteX21" fmla="*/ 8512588 w 12149688"/>
                <a:gd name="connsiteY21" fmla="*/ 13570738 h 15946069"/>
                <a:gd name="connsiteX22" fmla="*/ 9742454 w 12149688"/>
                <a:gd name="connsiteY22" fmla="*/ 14004811 h 15946069"/>
                <a:gd name="connsiteX23" fmla="*/ 10616683 w 12149688"/>
                <a:gd name="connsiteY23" fmla="*/ 15358294 h 15946069"/>
                <a:gd name="connsiteX24" fmla="*/ 11117010 w 12149688"/>
                <a:gd name="connsiteY24" fmla="*/ 15946069 h 15946069"/>
                <a:gd name="connsiteX25" fmla="*/ 11780218 w 12149688"/>
                <a:gd name="connsiteY25" fmla="*/ 13579811 h 15946069"/>
                <a:gd name="connsiteX26" fmla="*/ 11980885 w 12149688"/>
                <a:gd name="connsiteY26" fmla="*/ 11483773 h 15946069"/>
                <a:gd name="connsiteX27" fmla="*/ 11899987 w 12149688"/>
                <a:gd name="connsiteY27" fmla="*/ 10752355 h 15946069"/>
                <a:gd name="connsiteX28" fmla="*/ 11893530 w 12149688"/>
                <a:gd name="connsiteY28" fmla="*/ 10283919 h 15946069"/>
                <a:gd name="connsiteX29" fmla="*/ 11533930 w 12149688"/>
                <a:gd name="connsiteY29" fmla="*/ 9393151 h 15946069"/>
                <a:gd name="connsiteX30" fmla="*/ 11668657 w 12149688"/>
                <a:gd name="connsiteY30" fmla="*/ 8754316 h 15946069"/>
                <a:gd name="connsiteX31" fmla="*/ 12149687 w 12149688"/>
                <a:gd name="connsiteY31" fmla="*/ 8101619 h 15946069"/>
                <a:gd name="connsiteX32" fmla="*/ 11118705 w 12149688"/>
                <a:gd name="connsiteY32" fmla="*/ 7156845 h 15946069"/>
                <a:gd name="connsiteX33" fmla="*/ 10425568 w 12149688"/>
                <a:gd name="connsiteY33" fmla="*/ 7223642 h 15946069"/>
                <a:gd name="connsiteX34" fmla="*/ 10709437 w 12149688"/>
                <a:gd name="connsiteY34" fmla="*/ 6730245 h 15946069"/>
                <a:gd name="connsiteX35" fmla="*/ 10017677 w 12149688"/>
                <a:gd name="connsiteY35" fmla="*/ 5883475 h 15946069"/>
                <a:gd name="connsiteX36" fmla="*/ 9318595 w 12149688"/>
                <a:gd name="connsiteY36" fmla="*/ 5859197 h 15946069"/>
                <a:gd name="connsiteX37" fmla="*/ 9215073 w 12149688"/>
                <a:gd name="connsiteY37" fmla="*/ 5387392 h 15946069"/>
                <a:gd name="connsiteX38" fmla="*/ 8600211 w 12149688"/>
                <a:gd name="connsiteY38" fmla="*/ 5564744 h 15946069"/>
                <a:gd name="connsiteX39" fmla="*/ 8412926 w 12149688"/>
                <a:gd name="connsiteY39" fmla="*/ 4835463 h 15946069"/>
                <a:gd name="connsiteX40" fmla="*/ 7744624 w 12149688"/>
                <a:gd name="connsiteY40" fmla="*/ 4382387 h 15946069"/>
                <a:gd name="connsiteX41" fmla="*/ 8112983 w 12149688"/>
                <a:gd name="connsiteY41" fmla="*/ 3770361 h 15946069"/>
                <a:gd name="connsiteX42" fmla="*/ 7637793 w 12149688"/>
                <a:gd name="connsiteY42" fmla="*/ 2526072 h 15946069"/>
                <a:gd name="connsiteX43" fmla="*/ 7264687 w 12149688"/>
                <a:gd name="connsiteY43" fmla="*/ 2131091 h 15946069"/>
                <a:gd name="connsiteX44" fmla="*/ 6594245 w 12149688"/>
                <a:gd name="connsiteY44" fmla="*/ 2055834 h 15946069"/>
                <a:gd name="connsiteX45" fmla="*/ 6431470 w 12149688"/>
                <a:gd name="connsiteY45" fmla="*/ 1314295 h 15946069"/>
                <a:gd name="connsiteX46" fmla="*/ 5642908 w 12149688"/>
                <a:gd name="connsiteY46" fmla="*/ 1343233 h 15946069"/>
                <a:gd name="connsiteX47" fmla="*/ 5150959 w 12149688"/>
                <a:gd name="connsiteY47" fmla="*/ 1610907 h 15946069"/>
                <a:gd name="connsiteX48" fmla="*/ 5480133 w 12149688"/>
                <a:gd name="connsiteY48" fmla="*/ 2167963 h 15946069"/>
                <a:gd name="connsiteX49" fmla="*/ 4742216 w 12149688"/>
                <a:gd name="connsiteY49" fmla="*/ 2862495 h 15946069"/>
                <a:gd name="connsiteX50" fmla="*/ 2658667 w 12149688"/>
                <a:gd name="connsiteY50" fmla="*/ 0 h 15946069"/>
                <a:gd name="connsiteX51" fmla="*/ 2658682 w 12149688"/>
                <a:gd name="connsiteY51" fmla="*/ 1018890 h 15946069"/>
                <a:gd name="connsiteX52" fmla="*/ 1850829 w 12149688"/>
                <a:gd name="connsiteY52" fmla="*/ 1730283 h 15946069"/>
                <a:gd name="connsiteX53" fmla="*/ 1404694 w 12149688"/>
                <a:gd name="connsiteY53" fmla="*/ 2272862 h 15946069"/>
                <a:gd name="connsiteX54" fmla="*/ 2351216 w 12149688"/>
                <a:gd name="connsiteY54" fmla="*/ 3388182 h 15946069"/>
                <a:gd name="connsiteX55" fmla="*/ 2658682 w 12149688"/>
                <a:gd name="connsiteY55" fmla="*/ 4286458 h 15946069"/>
                <a:gd name="connsiteX56" fmla="*/ 1935228 w 12149688"/>
                <a:gd name="connsiteY56" fmla="*/ 5220918 h 15946069"/>
                <a:gd name="connsiteX57" fmla="*/ 875281 w 12149688"/>
                <a:gd name="connsiteY57" fmla="*/ 5166646 h 15946069"/>
                <a:gd name="connsiteX58" fmla="*/ 0 w 12149688"/>
                <a:gd name="connsiteY58" fmla="*/ 5890112 h 15946069"/>
                <a:gd name="connsiteX59" fmla="*/ 72345 w 12149688"/>
                <a:gd name="connsiteY59" fmla="*/ 6921032 h 15946069"/>
                <a:gd name="connsiteX60" fmla="*/ 477776 w 12149688"/>
                <a:gd name="connsiteY60" fmla="*/ 7436569 h 15946069"/>
                <a:gd name="connsiteX0" fmla="*/ 477776 w 12149688"/>
                <a:gd name="connsiteY0" fmla="*/ 7436569 h 15946069"/>
                <a:gd name="connsiteX1" fmla="*/ 271294 w 12149688"/>
                <a:gd name="connsiteY1" fmla="*/ 8060457 h 15946069"/>
                <a:gd name="connsiteX2" fmla="*/ 379812 w 12149688"/>
                <a:gd name="connsiteY2" fmla="*/ 8675382 h 15946069"/>
                <a:gd name="connsiteX3" fmla="*/ 759624 w 12149688"/>
                <a:gd name="connsiteY3" fmla="*/ 9217969 h 15946069"/>
                <a:gd name="connsiteX4" fmla="*/ 687278 w 12149688"/>
                <a:gd name="connsiteY4" fmla="*/ 9670126 h 15946069"/>
                <a:gd name="connsiteX5" fmla="*/ 144687 w 12149688"/>
                <a:gd name="connsiteY5" fmla="*/ 9941420 h 15946069"/>
                <a:gd name="connsiteX6" fmla="*/ 343643 w 12149688"/>
                <a:gd name="connsiteY6" fmla="*/ 10592536 h 15946069"/>
                <a:gd name="connsiteX7" fmla="*/ 940487 w 12149688"/>
                <a:gd name="connsiteY7" fmla="*/ 10954252 h 15946069"/>
                <a:gd name="connsiteX8" fmla="*/ 596844 w 12149688"/>
                <a:gd name="connsiteY8" fmla="*/ 11786221 h 15946069"/>
                <a:gd name="connsiteX9" fmla="*/ 633017 w 12149688"/>
                <a:gd name="connsiteY9" fmla="*/ 12780969 h 15946069"/>
                <a:gd name="connsiteX10" fmla="*/ 198944 w 12149688"/>
                <a:gd name="connsiteY10" fmla="*/ 13341645 h 15946069"/>
                <a:gd name="connsiteX11" fmla="*/ 723451 w 12149688"/>
                <a:gd name="connsiteY11" fmla="*/ 13757629 h 15946069"/>
                <a:gd name="connsiteX12" fmla="*/ 1640036 w 12149688"/>
                <a:gd name="connsiteY12" fmla="*/ 13197151 h 15946069"/>
                <a:gd name="connsiteX13" fmla="*/ 1880971 w 12149688"/>
                <a:gd name="connsiteY13" fmla="*/ 13395906 h 15946069"/>
                <a:gd name="connsiteX14" fmla="*/ 2930086 w 12149688"/>
                <a:gd name="connsiteY14" fmla="*/ 12952832 h 15946069"/>
                <a:gd name="connsiteX15" fmla="*/ 3828256 w 12149688"/>
                <a:gd name="connsiteY15" fmla="*/ 13245188 h 15946069"/>
                <a:gd name="connsiteX16" fmla="*/ 4768739 w 12149688"/>
                <a:gd name="connsiteY16" fmla="*/ 13040205 h 15946069"/>
                <a:gd name="connsiteX17" fmla="*/ 5190751 w 12149688"/>
                <a:gd name="connsiteY17" fmla="*/ 13649115 h 15946069"/>
                <a:gd name="connsiteX18" fmla="*/ 5932290 w 12149688"/>
                <a:gd name="connsiteY18" fmla="*/ 13444132 h 15946069"/>
                <a:gd name="connsiteX19" fmla="*/ 6498992 w 12149688"/>
                <a:gd name="connsiteY19" fmla="*/ 12991975 h 15946069"/>
                <a:gd name="connsiteX20" fmla="*/ 7373161 w 12149688"/>
                <a:gd name="connsiteY20" fmla="*/ 13582800 h 15946069"/>
                <a:gd name="connsiteX21" fmla="*/ 8512588 w 12149688"/>
                <a:gd name="connsiteY21" fmla="*/ 13570738 h 15946069"/>
                <a:gd name="connsiteX22" fmla="*/ 9742454 w 12149688"/>
                <a:gd name="connsiteY22" fmla="*/ 14004811 h 15946069"/>
                <a:gd name="connsiteX23" fmla="*/ 10616683 w 12149688"/>
                <a:gd name="connsiteY23" fmla="*/ 15358294 h 15946069"/>
                <a:gd name="connsiteX24" fmla="*/ 11117010 w 12149688"/>
                <a:gd name="connsiteY24" fmla="*/ 15946069 h 15946069"/>
                <a:gd name="connsiteX25" fmla="*/ 11589945 w 12149688"/>
                <a:gd name="connsiteY25" fmla="*/ 15762811 h 15946069"/>
                <a:gd name="connsiteX26" fmla="*/ 11980885 w 12149688"/>
                <a:gd name="connsiteY26" fmla="*/ 11483773 h 15946069"/>
                <a:gd name="connsiteX27" fmla="*/ 11899987 w 12149688"/>
                <a:gd name="connsiteY27" fmla="*/ 10752355 h 15946069"/>
                <a:gd name="connsiteX28" fmla="*/ 11893530 w 12149688"/>
                <a:gd name="connsiteY28" fmla="*/ 10283919 h 15946069"/>
                <a:gd name="connsiteX29" fmla="*/ 11533930 w 12149688"/>
                <a:gd name="connsiteY29" fmla="*/ 9393151 h 15946069"/>
                <a:gd name="connsiteX30" fmla="*/ 11668657 w 12149688"/>
                <a:gd name="connsiteY30" fmla="*/ 8754316 h 15946069"/>
                <a:gd name="connsiteX31" fmla="*/ 12149687 w 12149688"/>
                <a:gd name="connsiteY31" fmla="*/ 8101619 h 15946069"/>
                <a:gd name="connsiteX32" fmla="*/ 11118705 w 12149688"/>
                <a:gd name="connsiteY32" fmla="*/ 7156845 h 15946069"/>
                <a:gd name="connsiteX33" fmla="*/ 10425568 w 12149688"/>
                <a:gd name="connsiteY33" fmla="*/ 7223642 h 15946069"/>
                <a:gd name="connsiteX34" fmla="*/ 10709437 w 12149688"/>
                <a:gd name="connsiteY34" fmla="*/ 6730245 h 15946069"/>
                <a:gd name="connsiteX35" fmla="*/ 10017677 w 12149688"/>
                <a:gd name="connsiteY35" fmla="*/ 5883475 h 15946069"/>
                <a:gd name="connsiteX36" fmla="*/ 9318595 w 12149688"/>
                <a:gd name="connsiteY36" fmla="*/ 5859197 h 15946069"/>
                <a:gd name="connsiteX37" fmla="*/ 9215073 w 12149688"/>
                <a:gd name="connsiteY37" fmla="*/ 5387392 h 15946069"/>
                <a:gd name="connsiteX38" fmla="*/ 8600211 w 12149688"/>
                <a:gd name="connsiteY38" fmla="*/ 5564744 h 15946069"/>
                <a:gd name="connsiteX39" fmla="*/ 8412926 w 12149688"/>
                <a:gd name="connsiteY39" fmla="*/ 4835463 h 15946069"/>
                <a:gd name="connsiteX40" fmla="*/ 7744624 w 12149688"/>
                <a:gd name="connsiteY40" fmla="*/ 4382387 h 15946069"/>
                <a:gd name="connsiteX41" fmla="*/ 8112983 w 12149688"/>
                <a:gd name="connsiteY41" fmla="*/ 3770361 h 15946069"/>
                <a:gd name="connsiteX42" fmla="*/ 7637793 w 12149688"/>
                <a:gd name="connsiteY42" fmla="*/ 2526072 h 15946069"/>
                <a:gd name="connsiteX43" fmla="*/ 7264687 w 12149688"/>
                <a:gd name="connsiteY43" fmla="*/ 2131091 h 15946069"/>
                <a:gd name="connsiteX44" fmla="*/ 6594245 w 12149688"/>
                <a:gd name="connsiteY44" fmla="*/ 2055834 h 15946069"/>
                <a:gd name="connsiteX45" fmla="*/ 6431470 w 12149688"/>
                <a:gd name="connsiteY45" fmla="*/ 1314295 h 15946069"/>
                <a:gd name="connsiteX46" fmla="*/ 5642908 w 12149688"/>
                <a:gd name="connsiteY46" fmla="*/ 1343233 h 15946069"/>
                <a:gd name="connsiteX47" fmla="*/ 5150959 w 12149688"/>
                <a:gd name="connsiteY47" fmla="*/ 1610907 h 15946069"/>
                <a:gd name="connsiteX48" fmla="*/ 5480133 w 12149688"/>
                <a:gd name="connsiteY48" fmla="*/ 2167963 h 15946069"/>
                <a:gd name="connsiteX49" fmla="*/ 4742216 w 12149688"/>
                <a:gd name="connsiteY49" fmla="*/ 2862495 h 15946069"/>
                <a:gd name="connsiteX50" fmla="*/ 2658667 w 12149688"/>
                <a:gd name="connsiteY50" fmla="*/ 0 h 15946069"/>
                <a:gd name="connsiteX51" fmla="*/ 2658682 w 12149688"/>
                <a:gd name="connsiteY51" fmla="*/ 1018890 h 15946069"/>
                <a:gd name="connsiteX52" fmla="*/ 1850829 w 12149688"/>
                <a:gd name="connsiteY52" fmla="*/ 1730283 h 15946069"/>
                <a:gd name="connsiteX53" fmla="*/ 1404694 w 12149688"/>
                <a:gd name="connsiteY53" fmla="*/ 2272862 h 15946069"/>
                <a:gd name="connsiteX54" fmla="*/ 2351216 w 12149688"/>
                <a:gd name="connsiteY54" fmla="*/ 3388182 h 15946069"/>
                <a:gd name="connsiteX55" fmla="*/ 2658682 w 12149688"/>
                <a:gd name="connsiteY55" fmla="*/ 4286458 h 15946069"/>
                <a:gd name="connsiteX56" fmla="*/ 1935228 w 12149688"/>
                <a:gd name="connsiteY56" fmla="*/ 5220918 h 15946069"/>
                <a:gd name="connsiteX57" fmla="*/ 875281 w 12149688"/>
                <a:gd name="connsiteY57" fmla="*/ 5166646 h 15946069"/>
                <a:gd name="connsiteX58" fmla="*/ 0 w 12149688"/>
                <a:gd name="connsiteY58" fmla="*/ 5890112 h 15946069"/>
                <a:gd name="connsiteX59" fmla="*/ 72345 w 12149688"/>
                <a:gd name="connsiteY59" fmla="*/ 6921032 h 15946069"/>
                <a:gd name="connsiteX60" fmla="*/ 477776 w 12149688"/>
                <a:gd name="connsiteY60" fmla="*/ 7436569 h 15946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2149688" h="15946069">
                  <a:moveTo>
                    <a:pt x="477776" y="7436569"/>
                  </a:moveTo>
                  <a:lnTo>
                    <a:pt x="271294" y="8060457"/>
                  </a:lnTo>
                  <a:lnTo>
                    <a:pt x="379812" y="8675382"/>
                  </a:lnTo>
                  <a:lnTo>
                    <a:pt x="759624" y="9217969"/>
                  </a:lnTo>
                  <a:lnTo>
                    <a:pt x="687278" y="9670126"/>
                  </a:lnTo>
                  <a:lnTo>
                    <a:pt x="144687" y="9941420"/>
                  </a:lnTo>
                  <a:lnTo>
                    <a:pt x="343643" y="10592536"/>
                  </a:lnTo>
                  <a:lnTo>
                    <a:pt x="940487" y="10954252"/>
                  </a:lnTo>
                  <a:lnTo>
                    <a:pt x="596844" y="11786221"/>
                  </a:lnTo>
                  <a:lnTo>
                    <a:pt x="633017" y="12780969"/>
                  </a:lnTo>
                  <a:lnTo>
                    <a:pt x="198944" y="13341645"/>
                  </a:lnTo>
                  <a:lnTo>
                    <a:pt x="723451" y="13757629"/>
                  </a:lnTo>
                  <a:lnTo>
                    <a:pt x="1640036" y="13197151"/>
                  </a:lnTo>
                  <a:lnTo>
                    <a:pt x="1880971" y="13395906"/>
                  </a:lnTo>
                  <a:lnTo>
                    <a:pt x="2930086" y="12952832"/>
                  </a:lnTo>
                  <a:lnTo>
                    <a:pt x="3828256" y="13245188"/>
                  </a:lnTo>
                  <a:lnTo>
                    <a:pt x="4768739" y="13040205"/>
                  </a:lnTo>
                  <a:lnTo>
                    <a:pt x="5190751" y="13649115"/>
                  </a:lnTo>
                  <a:lnTo>
                    <a:pt x="5932290" y="13444132"/>
                  </a:lnTo>
                  <a:lnTo>
                    <a:pt x="6498992" y="12991975"/>
                  </a:lnTo>
                  <a:lnTo>
                    <a:pt x="7373161" y="13582800"/>
                  </a:lnTo>
                  <a:lnTo>
                    <a:pt x="8512588" y="13570738"/>
                  </a:lnTo>
                  <a:lnTo>
                    <a:pt x="9742454" y="14004811"/>
                  </a:lnTo>
                  <a:lnTo>
                    <a:pt x="10616683" y="15358294"/>
                  </a:lnTo>
                  <a:lnTo>
                    <a:pt x="11117010" y="15946069"/>
                  </a:lnTo>
                  <a:lnTo>
                    <a:pt x="11589945" y="15762811"/>
                  </a:lnTo>
                  <a:lnTo>
                    <a:pt x="11980885" y="11483773"/>
                  </a:lnTo>
                  <a:lnTo>
                    <a:pt x="11899987" y="10752355"/>
                  </a:lnTo>
                  <a:cubicBezTo>
                    <a:pt x="11897835" y="10596210"/>
                    <a:pt x="11895682" y="10440064"/>
                    <a:pt x="11893530" y="10283919"/>
                  </a:cubicBezTo>
                  <a:lnTo>
                    <a:pt x="11533930" y="9393151"/>
                  </a:lnTo>
                  <a:lnTo>
                    <a:pt x="11668657" y="8754316"/>
                  </a:lnTo>
                  <a:lnTo>
                    <a:pt x="12149687" y="8101619"/>
                  </a:lnTo>
                  <a:lnTo>
                    <a:pt x="11118705" y="7156845"/>
                  </a:lnTo>
                  <a:lnTo>
                    <a:pt x="10425568" y="7223642"/>
                  </a:lnTo>
                  <a:lnTo>
                    <a:pt x="10709437" y="6730245"/>
                  </a:lnTo>
                  <a:lnTo>
                    <a:pt x="10017677" y="5883475"/>
                  </a:lnTo>
                  <a:lnTo>
                    <a:pt x="9318595" y="5859197"/>
                  </a:lnTo>
                  <a:lnTo>
                    <a:pt x="9215073" y="5387392"/>
                  </a:lnTo>
                  <a:lnTo>
                    <a:pt x="8600211" y="5564744"/>
                  </a:lnTo>
                  <a:lnTo>
                    <a:pt x="8412926" y="4835463"/>
                  </a:lnTo>
                  <a:lnTo>
                    <a:pt x="7744624" y="4382387"/>
                  </a:lnTo>
                  <a:lnTo>
                    <a:pt x="8112983" y="3770361"/>
                  </a:lnTo>
                  <a:lnTo>
                    <a:pt x="7637793" y="2526072"/>
                  </a:lnTo>
                  <a:lnTo>
                    <a:pt x="7264687" y="2131091"/>
                  </a:lnTo>
                  <a:lnTo>
                    <a:pt x="6594245" y="2055834"/>
                  </a:lnTo>
                  <a:lnTo>
                    <a:pt x="6431470" y="1314295"/>
                  </a:lnTo>
                  <a:lnTo>
                    <a:pt x="5642908" y="1343233"/>
                  </a:lnTo>
                  <a:lnTo>
                    <a:pt x="5150959" y="1610907"/>
                  </a:lnTo>
                  <a:lnTo>
                    <a:pt x="5480133" y="2167963"/>
                  </a:lnTo>
                  <a:lnTo>
                    <a:pt x="4742216" y="2862495"/>
                  </a:lnTo>
                  <a:lnTo>
                    <a:pt x="2658667" y="0"/>
                  </a:lnTo>
                  <a:lnTo>
                    <a:pt x="2658682" y="1018890"/>
                  </a:lnTo>
                  <a:lnTo>
                    <a:pt x="1850829" y="1730283"/>
                  </a:lnTo>
                  <a:lnTo>
                    <a:pt x="1404694" y="2272862"/>
                  </a:lnTo>
                  <a:lnTo>
                    <a:pt x="2351216" y="3388182"/>
                  </a:lnTo>
                  <a:lnTo>
                    <a:pt x="2658682" y="4286458"/>
                  </a:lnTo>
                  <a:lnTo>
                    <a:pt x="1935228" y="5220918"/>
                  </a:lnTo>
                  <a:lnTo>
                    <a:pt x="875281" y="5166646"/>
                  </a:lnTo>
                  <a:lnTo>
                    <a:pt x="0" y="5890112"/>
                  </a:lnTo>
                  <a:lnTo>
                    <a:pt x="72345" y="6921032"/>
                  </a:lnTo>
                  <a:lnTo>
                    <a:pt x="477776" y="7436569"/>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10" name="任意多边形 114">
              <a:extLst>
                <a:ext uri="{FF2B5EF4-FFF2-40B4-BE49-F238E27FC236}">
                  <a16:creationId xmlns:a16="http://schemas.microsoft.com/office/drawing/2014/main" id="{73228763-2DC3-F847-C165-70125F39B0B0}"/>
                </a:ext>
              </a:extLst>
            </p:cNvPr>
            <p:cNvSpPr>
              <a:spLocks/>
            </p:cNvSpPr>
            <p:nvPr/>
          </p:nvSpPr>
          <p:spPr bwMode="auto">
            <a:xfrm>
              <a:off x="8255970" y="3854122"/>
              <a:ext cx="2381346" cy="1737972"/>
            </a:xfrm>
            <a:custGeom>
              <a:avLst/>
              <a:gdLst>
                <a:gd name="connsiteX0" fmla="*/ 0 w 17157070"/>
                <a:gd name="connsiteY0" fmla="*/ 4521645 h 12886678"/>
                <a:gd name="connsiteX1" fmla="*/ 613837 w 17157070"/>
                <a:gd name="connsiteY1" fmla="*/ 6900003 h 12886678"/>
                <a:gd name="connsiteX2" fmla="*/ 1518338 w 17157070"/>
                <a:gd name="connsiteY2" fmla="*/ 7768153 h 12886678"/>
                <a:gd name="connsiteX3" fmla="*/ 1735898 w 17157070"/>
                <a:gd name="connsiteY3" fmla="*/ 8600077 h 12886678"/>
                <a:gd name="connsiteX4" fmla="*/ 3137400 w 17157070"/>
                <a:gd name="connsiteY4" fmla="*/ 9124637 h 12886678"/>
                <a:gd name="connsiteX5" fmla="*/ 3453963 w 17157070"/>
                <a:gd name="connsiteY5" fmla="*/ 10481128 h 12886678"/>
                <a:gd name="connsiteX6" fmla="*/ 4168520 w 17157070"/>
                <a:gd name="connsiteY6" fmla="*/ 11855697 h 12886678"/>
                <a:gd name="connsiteX7" fmla="*/ 4162343 w 17157070"/>
                <a:gd name="connsiteY7" fmla="*/ 12886678 h 12886678"/>
                <a:gd name="connsiteX8" fmla="*/ 4605215 w 17157070"/>
                <a:gd name="connsiteY8" fmla="*/ 12802514 h 12886678"/>
                <a:gd name="connsiteX9" fmla="*/ 4840336 w 17157070"/>
                <a:gd name="connsiteY9" fmla="*/ 12513132 h 12886678"/>
                <a:gd name="connsiteX10" fmla="*/ 6070201 w 17157070"/>
                <a:gd name="connsiteY10" fmla="*/ 12531224 h 12886678"/>
                <a:gd name="connsiteX11" fmla="*/ 6884082 w 17157070"/>
                <a:gd name="connsiteY11" fmla="*/ 11934372 h 12886678"/>
                <a:gd name="connsiteX12" fmla="*/ 7716051 w 17157070"/>
                <a:gd name="connsiteY12" fmla="*/ 12259931 h 12886678"/>
                <a:gd name="connsiteX13" fmla="*/ 8584189 w 17157070"/>
                <a:gd name="connsiteY13" fmla="*/ 12060979 h 12886678"/>
                <a:gd name="connsiteX14" fmla="*/ 9289552 w 17157070"/>
                <a:gd name="connsiteY14" fmla="*/ 12259931 h 12886678"/>
                <a:gd name="connsiteX15" fmla="*/ 10139605 w 17157070"/>
                <a:gd name="connsiteY15" fmla="*/ 11862031 h 12886678"/>
                <a:gd name="connsiteX16" fmla="*/ 10664108 w 17157070"/>
                <a:gd name="connsiteY16" fmla="*/ 12079067 h 12886678"/>
                <a:gd name="connsiteX17" fmla="*/ 11387555 w 17157070"/>
                <a:gd name="connsiteY17" fmla="*/ 11988637 h 12886678"/>
                <a:gd name="connsiteX18" fmla="*/ 11966315 w 17157070"/>
                <a:gd name="connsiteY18" fmla="*/ 12712092 h 12886678"/>
                <a:gd name="connsiteX19" fmla="*/ 12942975 w 17157070"/>
                <a:gd name="connsiteY19" fmla="*/ 12476963 h 12886678"/>
                <a:gd name="connsiteX20" fmla="*/ 13575992 w 17157070"/>
                <a:gd name="connsiteY20" fmla="*/ 12874863 h 12886678"/>
                <a:gd name="connsiteX21" fmla="*/ 13973888 w 17157070"/>
                <a:gd name="connsiteY21" fmla="*/ 12784430 h 12886678"/>
                <a:gd name="connsiteX22" fmla="*/ 14028146 w 17157070"/>
                <a:gd name="connsiteY22" fmla="*/ 12241839 h 12886678"/>
                <a:gd name="connsiteX23" fmla="*/ 13594073 w 17157070"/>
                <a:gd name="connsiteY23" fmla="*/ 12187582 h 12886678"/>
                <a:gd name="connsiteX24" fmla="*/ 13612161 w 17157070"/>
                <a:gd name="connsiteY24" fmla="*/ 11500303 h 12886678"/>
                <a:gd name="connsiteX25" fmla="*/ 14190925 w 17157070"/>
                <a:gd name="connsiteY25" fmla="*/ 11355616 h 12886678"/>
                <a:gd name="connsiteX26" fmla="*/ 13865366 w 17157070"/>
                <a:gd name="connsiteY26" fmla="*/ 10885371 h 12886678"/>
                <a:gd name="connsiteX27" fmla="*/ 14136664 w 17157070"/>
                <a:gd name="connsiteY27" fmla="*/ 10487475 h 12886678"/>
                <a:gd name="connsiteX28" fmla="*/ 14703435 w 17157070"/>
                <a:gd name="connsiteY28" fmla="*/ 10514571 h 12886678"/>
                <a:gd name="connsiteX29" fmla="*/ 14661163 w 17157070"/>
                <a:gd name="connsiteY29" fmla="*/ 10342787 h 12886678"/>
                <a:gd name="connsiteX30" fmla="*/ 14335608 w 17157070"/>
                <a:gd name="connsiteY30" fmla="*/ 10180012 h 12886678"/>
                <a:gd name="connsiteX31" fmla="*/ 14498387 w 17157070"/>
                <a:gd name="connsiteY31" fmla="*/ 9601248 h 12886678"/>
                <a:gd name="connsiteX32" fmla="*/ 13847278 w 17157070"/>
                <a:gd name="connsiteY32" fmla="*/ 8696934 h 12886678"/>
                <a:gd name="connsiteX33" fmla="*/ 13340864 w 17157070"/>
                <a:gd name="connsiteY33" fmla="*/ 7991571 h 12886678"/>
                <a:gd name="connsiteX34" fmla="*/ 13123831 w 17157070"/>
                <a:gd name="connsiteY34" fmla="*/ 6906393 h 12886678"/>
                <a:gd name="connsiteX35" fmla="*/ 13232349 w 17157070"/>
                <a:gd name="connsiteY35" fmla="*/ 6219119 h 12886678"/>
                <a:gd name="connsiteX36" fmla="*/ 12273778 w 17157070"/>
                <a:gd name="connsiteY36" fmla="*/ 6252280 h 12886678"/>
                <a:gd name="connsiteX37" fmla="*/ 12201432 w 17157070"/>
                <a:gd name="connsiteY37" fmla="*/ 5854380 h 12886678"/>
                <a:gd name="connsiteX38" fmla="*/ 12508887 w 17157070"/>
                <a:gd name="connsiteY38" fmla="*/ 5350985 h 12886678"/>
                <a:gd name="connsiteX39" fmla="*/ 13774933 w 17157070"/>
                <a:gd name="connsiteY39" fmla="*/ 4573269 h 12886678"/>
                <a:gd name="connsiteX40" fmla="*/ 15294184 w 17157070"/>
                <a:gd name="connsiteY40" fmla="*/ 4066854 h 12886678"/>
                <a:gd name="connsiteX41" fmla="*/ 15746333 w 17157070"/>
                <a:gd name="connsiteY41" fmla="*/ 4392409 h 12886678"/>
                <a:gd name="connsiteX42" fmla="*/ 16578306 w 17157070"/>
                <a:gd name="connsiteY42" fmla="*/ 4103027 h 12886678"/>
                <a:gd name="connsiteX43" fmla="*/ 17084732 w 17157070"/>
                <a:gd name="connsiteY43" fmla="*/ 4500935 h 12886678"/>
                <a:gd name="connsiteX44" fmla="*/ 17157070 w 17157070"/>
                <a:gd name="connsiteY44" fmla="*/ 3560444 h 12886678"/>
                <a:gd name="connsiteX45" fmla="*/ 16433615 w 17157070"/>
                <a:gd name="connsiteY45" fmla="*/ 3470014 h 12886678"/>
                <a:gd name="connsiteX46" fmla="*/ 16415865 w 17157070"/>
                <a:gd name="connsiteY46" fmla="*/ 2853862 h 12886678"/>
                <a:gd name="connsiteX47" fmla="*/ 15963191 w 17157070"/>
                <a:gd name="connsiteY47" fmla="*/ 2993318 h 12886678"/>
                <a:gd name="connsiteX48" fmla="*/ 14923009 w 17157070"/>
                <a:gd name="connsiteY48" fmla="*/ 1763435 h 12886678"/>
                <a:gd name="connsiteX49" fmla="*/ 14244644 w 17157070"/>
                <a:gd name="connsiteY49" fmla="*/ 325540 h 12886678"/>
                <a:gd name="connsiteX50" fmla="*/ 13367278 w 17157070"/>
                <a:gd name="connsiteY50" fmla="*/ 614945 h 12886678"/>
                <a:gd name="connsiteX51" fmla="*/ 12218563 w 17157070"/>
                <a:gd name="connsiteY51" fmla="*/ 623988 h 12886678"/>
                <a:gd name="connsiteX52" fmla="*/ 11323109 w 17157070"/>
                <a:gd name="connsiteY52" fmla="*/ 36169 h 12886678"/>
                <a:gd name="connsiteX53" fmla="*/ 10780410 w 17157070"/>
                <a:gd name="connsiteY53" fmla="*/ 488337 h 12886678"/>
                <a:gd name="connsiteX54" fmla="*/ 10038717 w 17157070"/>
                <a:gd name="connsiteY54" fmla="*/ 687288 h 12886678"/>
                <a:gd name="connsiteX55" fmla="*/ 9622651 w 17157070"/>
                <a:gd name="connsiteY55" fmla="*/ 81389 h 12886678"/>
                <a:gd name="connsiteX56" fmla="*/ 8672925 w 17157070"/>
                <a:gd name="connsiteY56" fmla="*/ 280344 h 12886678"/>
                <a:gd name="connsiteX57" fmla="*/ 7759379 w 17157070"/>
                <a:gd name="connsiteY57" fmla="*/ 0 h 12886678"/>
                <a:gd name="connsiteX58" fmla="*/ 6729494 w 17157070"/>
                <a:gd name="connsiteY58" fmla="*/ 443189 h 12886678"/>
                <a:gd name="connsiteX59" fmla="*/ 6493079 w 17157070"/>
                <a:gd name="connsiteY59" fmla="*/ 1012843 h 12886678"/>
                <a:gd name="connsiteX60" fmla="*/ 6710175 w 17157070"/>
                <a:gd name="connsiteY60" fmla="*/ 2161345 h 12886678"/>
                <a:gd name="connsiteX61" fmla="*/ 4141784 w 17157070"/>
                <a:gd name="connsiteY61" fmla="*/ 2086470 h 12886678"/>
                <a:gd name="connsiteX62" fmla="*/ 2314296 w 17157070"/>
                <a:gd name="connsiteY62" fmla="*/ 2369327 h 12886678"/>
                <a:gd name="connsiteX63" fmla="*/ 1334589 w 17157070"/>
                <a:gd name="connsiteY63" fmla="*/ 3174199 h 12886678"/>
                <a:gd name="connsiteX64" fmla="*/ 0 w 17157070"/>
                <a:gd name="connsiteY64" fmla="*/ 4521645 h 12886678"/>
                <a:gd name="connsiteX0" fmla="*/ 0 w 17157070"/>
                <a:gd name="connsiteY0" fmla="*/ 4521645 h 12886678"/>
                <a:gd name="connsiteX1" fmla="*/ 613837 w 17157070"/>
                <a:gd name="connsiteY1" fmla="*/ 6900003 h 12886678"/>
                <a:gd name="connsiteX2" fmla="*/ 1518338 w 17157070"/>
                <a:gd name="connsiteY2" fmla="*/ 7768153 h 12886678"/>
                <a:gd name="connsiteX3" fmla="*/ 1735898 w 17157070"/>
                <a:gd name="connsiteY3" fmla="*/ 8600077 h 12886678"/>
                <a:gd name="connsiteX4" fmla="*/ 3137400 w 17157070"/>
                <a:gd name="connsiteY4" fmla="*/ 9124637 h 12886678"/>
                <a:gd name="connsiteX5" fmla="*/ 3453963 w 17157070"/>
                <a:gd name="connsiteY5" fmla="*/ 10481128 h 12886678"/>
                <a:gd name="connsiteX6" fmla="*/ 4168520 w 17157070"/>
                <a:gd name="connsiteY6" fmla="*/ 11855697 h 12886678"/>
                <a:gd name="connsiteX7" fmla="*/ 4162343 w 17157070"/>
                <a:gd name="connsiteY7" fmla="*/ 12886678 h 12886678"/>
                <a:gd name="connsiteX8" fmla="*/ 4605215 w 17157070"/>
                <a:gd name="connsiteY8" fmla="*/ 12802514 h 12886678"/>
                <a:gd name="connsiteX9" fmla="*/ 4840336 w 17157070"/>
                <a:gd name="connsiteY9" fmla="*/ 12513132 h 12886678"/>
                <a:gd name="connsiteX10" fmla="*/ 6070201 w 17157070"/>
                <a:gd name="connsiteY10" fmla="*/ 12531224 h 12886678"/>
                <a:gd name="connsiteX11" fmla="*/ 6884082 w 17157070"/>
                <a:gd name="connsiteY11" fmla="*/ 11934372 h 12886678"/>
                <a:gd name="connsiteX12" fmla="*/ 7716051 w 17157070"/>
                <a:gd name="connsiteY12" fmla="*/ 12259931 h 12886678"/>
                <a:gd name="connsiteX13" fmla="*/ 8584189 w 17157070"/>
                <a:gd name="connsiteY13" fmla="*/ 12060979 h 12886678"/>
                <a:gd name="connsiteX14" fmla="*/ 9289552 w 17157070"/>
                <a:gd name="connsiteY14" fmla="*/ 12259931 h 12886678"/>
                <a:gd name="connsiteX15" fmla="*/ 10139605 w 17157070"/>
                <a:gd name="connsiteY15" fmla="*/ 11862031 h 12886678"/>
                <a:gd name="connsiteX16" fmla="*/ 10664108 w 17157070"/>
                <a:gd name="connsiteY16" fmla="*/ 12079067 h 12886678"/>
                <a:gd name="connsiteX17" fmla="*/ 11387555 w 17157070"/>
                <a:gd name="connsiteY17" fmla="*/ 11988637 h 12886678"/>
                <a:gd name="connsiteX18" fmla="*/ 11966315 w 17157070"/>
                <a:gd name="connsiteY18" fmla="*/ 12712092 h 12886678"/>
                <a:gd name="connsiteX19" fmla="*/ 12942975 w 17157070"/>
                <a:gd name="connsiteY19" fmla="*/ 12476963 h 12886678"/>
                <a:gd name="connsiteX20" fmla="*/ 13575992 w 17157070"/>
                <a:gd name="connsiteY20" fmla="*/ 12874863 h 12886678"/>
                <a:gd name="connsiteX21" fmla="*/ 13973888 w 17157070"/>
                <a:gd name="connsiteY21" fmla="*/ 12784430 h 12886678"/>
                <a:gd name="connsiteX22" fmla="*/ 14028146 w 17157070"/>
                <a:gd name="connsiteY22" fmla="*/ 12241839 h 12886678"/>
                <a:gd name="connsiteX23" fmla="*/ 13594073 w 17157070"/>
                <a:gd name="connsiteY23" fmla="*/ 12187582 h 12886678"/>
                <a:gd name="connsiteX24" fmla="*/ 13612161 w 17157070"/>
                <a:gd name="connsiteY24" fmla="*/ 11500303 h 12886678"/>
                <a:gd name="connsiteX25" fmla="*/ 14190925 w 17157070"/>
                <a:gd name="connsiteY25" fmla="*/ 11355616 h 12886678"/>
                <a:gd name="connsiteX26" fmla="*/ 13865366 w 17157070"/>
                <a:gd name="connsiteY26" fmla="*/ 10885371 h 12886678"/>
                <a:gd name="connsiteX27" fmla="*/ 14136664 w 17157070"/>
                <a:gd name="connsiteY27" fmla="*/ 10487475 h 12886678"/>
                <a:gd name="connsiteX28" fmla="*/ 14703435 w 17157070"/>
                <a:gd name="connsiteY28" fmla="*/ 10514571 h 12886678"/>
                <a:gd name="connsiteX29" fmla="*/ 14661163 w 17157070"/>
                <a:gd name="connsiteY29" fmla="*/ 10342787 h 12886678"/>
                <a:gd name="connsiteX30" fmla="*/ 14335608 w 17157070"/>
                <a:gd name="connsiteY30" fmla="*/ 10180012 h 12886678"/>
                <a:gd name="connsiteX31" fmla="*/ 14498387 w 17157070"/>
                <a:gd name="connsiteY31" fmla="*/ 9601248 h 12886678"/>
                <a:gd name="connsiteX32" fmla="*/ 13847278 w 17157070"/>
                <a:gd name="connsiteY32" fmla="*/ 8696934 h 12886678"/>
                <a:gd name="connsiteX33" fmla="*/ 13340864 w 17157070"/>
                <a:gd name="connsiteY33" fmla="*/ 7991571 h 12886678"/>
                <a:gd name="connsiteX34" fmla="*/ 13123831 w 17157070"/>
                <a:gd name="connsiteY34" fmla="*/ 6906393 h 12886678"/>
                <a:gd name="connsiteX35" fmla="*/ 13232349 w 17157070"/>
                <a:gd name="connsiteY35" fmla="*/ 6219119 h 12886678"/>
                <a:gd name="connsiteX36" fmla="*/ 12273778 w 17157070"/>
                <a:gd name="connsiteY36" fmla="*/ 6252280 h 12886678"/>
                <a:gd name="connsiteX37" fmla="*/ 12201432 w 17157070"/>
                <a:gd name="connsiteY37" fmla="*/ 5854380 h 12886678"/>
                <a:gd name="connsiteX38" fmla="*/ 12508887 w 17157070"/>
                <a:gd name="connsiteY38" fmla="*/ 5350985 h 12886678"/>
                <a:gd name="connsiteX39" fmla="*/ 13774933 w 17157070"/>
                <a:gd name="connsiteY39" fmla="*/ 4573269 h 12886678"/>
                <a:gd name="connsiteX40" fmla="*/ 15294184 w 17157070"/>
                <a:gd name="connsiteY40" fmla="*/ 4066854 h 12886678"/>
                <a:gd name="connsiteX41" fmla="*/ 15746333 w 17157070"/>
                <a:gd name="connsiteY41" fmla="*/ 4392409 h 12886678"/>
                <a:gd name="connsiteX42" fmla="*/ 16578306 w 17157070"/>
                <a:gd name="connsiteY42" fmla="*/ 4103027 h 12886678"/>
                <a:gd name="connsiteX43" fmla="*/ 17084732 w 17157070"/>
                <a:gd name="connsiteY43" fmla="*/ 4500935 h 12886678"/>
                <a:gd name="connsiteX44" fmla="*/ 17157070 w 17157070"/>
                <a:gd name="connsiteY44" fmla="*/ 3560444 h 12886678"/>
                <a:gd name="connsiteX45" fmla="*/ 16433615 w 17157070"/>
                <a:gd name="connsiteY45" fmla="*/ 3470014 h 12886678"/>
                <a:gd name="connsiteX46" fmla="*/ 16415865 w 17157070"/>
                <a:gd name="connsiteY46" fmla="*/ 2853862 h 12886678"/>
                <a:gd name="connsiteX47" fmla="*/ 15963191 w 17157070"/>
                <a:gd name="connsiteY47" fmla="*/ 2993318 h 12886678"/>
                <a:gd name="connsiteX48" fmla="*/ 14923009 w 17157070"/>
                <a:gd name="connsiteY48" fmla="*/ 1763435 h 12886678"/>
                <a:gd name="connsiteX49" fmla="*/ 14244644 w 17157070"/>
                <a:gd name="connsiteY49" fmla="*/ 325540 h 12886678"/>
                <a:gd name="connsiteX50" fmla="*/ 13367278 w 17157070"/>
                <a:gd name="connsiteY50" fmla="*/ 614945 h 12886678"/>
                <a:gd name="connsiteX51" fmla="*/ 12218563 w 17157070"/>
                <a:gd name="connsiteY51" fmla="*/ 623988 h 12886678"/>
                <a:gd name="connsiteX52" fmla="*/ 11323109 w 17157070"/>
                <a:gd name="connsiteY52" fmla="*/ 36169 h 12886678"/>
                <a:gd name="connsiteX53" fmla="*/ 10780410 w 17157070"/>
                <a:gd name="connsiteY53" fmla="*/ 488337 h 12886678"/>
                <a:gd name="connsiteX54" fmla="*/ 10038717 w 17157070"/>
                <a:gd name="connsiteY54" fmla="*/ 687288 h 12886678"/>
                <a:gd name="connsiteX55" fmla="*/ 9622651 w 17157070"/>
                <a:gd name="connsiteY55" fmla="*/ 81389 h 12886678"/>
                <a:gd name="connsiteX56" fmla="*/ 8672925 w 17157070"/>
                <a:gd name="connsiteY56" fmla="*/ 280344 h 12886678"/>
                <a:gd name="connsiteX57" fmla="*/ 7759379 w 17157070"/>
                <a:gd name="connsiteY57" fmla="*/ 0 h 12886678"/>
                <a:gd name="connsiteX58" fmla="*/ 6729494 w 17157070"/>
                <a:gd name="connsiteY58" fmla="*/ 443189 h 12886678"/>
                <a:gd name="connsiteX59" fmla="*/ 6493079 w 17157070"/>
                <a:gd name="connsiteY59" fmla="*/ 1012843 h 12886678"/>
                <a:gd name="connsiteX60" fmla="*/ 4437471 w 17157070"/>
                <a:gd name="connsiteY60" fmla="*/ 2805824 h 12886678"/>
                <a:gd name="connsiteX61" fmla="*/ 4141784 w 17157070"/>
                <a:gd name="connsiteY61" fmla="*/ 2086470 h 12886678"/>
                <a:gd name="connsiteX62" fmla="*/ 2314296 w 17157070"/>
                <a:gd name="connsiteY62" fmla="*/ 2369327 h 12886678"/>
                <a:gd name="connsiteX63" fmla="*/ 1334589 w 17157070"/>
                <a:gd name="connsiteY63" fmla="*/ 3174199 h 12886678"/>
                <a:gd name="connsiteX64" fmla="*/ 0 w 17157070"/>
                <a:gd name="connsiteY64" fmla="*/ 4521645 h 12886678"/>
                <a:gd name="connsiteX0" fmla="*/ 0 w 17157070"/>
                <a:gd name="connsiteY0" fmla="*/ 4521645 h 12886678"/>
                <a:gd name="connsiteX1" fmla="*/ 613837 w 17157070"/>
                <a:gd name="connsiteY1" fmla="*/ 6900003 h 12886678"/>
                <a:gd name="connsiteX2" fmla="*/ 1518338 w 17157070"/>
                <a:gd name="connsiteY2" fmla="*/ 7768153 h 12886678"/>
                <a:gd name="connsiteX3" fmla="*/ 1735898 w 17157070"/>
                <a:gd name="connsiteY3" fmla="*/ 8600077 h 12886678"/>
                <a:gd name="connsiteX4" fmla="*/ 3137400 w 17157070"/>
                <a:gd name="connsiteY4" fmla="*/ 9124637 h 12886678"/>
                <a:gd name="connsiteX5" fmla="*/ 3453963 w 17157070"/>
                <a:gd name="connsiteY5" fmla="*/ 10481128 h 12886678"/>
                <a:gd name="connsiteX6" fmla="*/ 4168520 w 17157070"/>
                <a:gd name="connsiteY6" fmla="*/ 11855697 h 12886678"/>
                <a:gd name="connsiteX7" fmla="*/ 4162343 w 17157070"/>
                <a:gd name="connsiteY7" fmla="*/ 12886678 h 12886678"/>
                <a:gd name="connsiteX8" fmla="*/ 4605215 w 17157070"/>
                <a:gd name="connsiteY8" fmla="*/ 12802514 h 12886678"/>
                <a:gd name="connsiteX9" fmla="*/ 4840336 w 17157070"/>
                <a:gd name="connsiteY9" fmla="*/ 12513132 h 12886678"/>
                <a:gd name="connsiteX10" fmla="*/ 6070201 w 17157070"/>
                <a:gd name="connsiteY10" fmla="*/ 12531224 h 12886678"/>
                <a:gd name="connsiteX11" fmla="*/ 6884082 w 17157070"/>
                <a:gd name="connsiteY11" fmla="*/ 11934372 h 12886678"/>
                <a:gd name="connsiteX12" fmla="*/ 7716051 w 17157070"/>
                <a:gd name="connsiteY12" fmla="*/ 12259931 h 12886678"/>
                <a:gd name="connsiteX13" fmla="*/ 8584189 w 17157070"/>
                <a:gd name="connsiteY13" fmla="*/ 12060979 h 12886678"/>
                <a:gd name="connsiteX14" fmla="*/ 9289552 w 17157070"/>
                <a:gd name="connsiteY14" fmla="*/ 12259931 h 12886678"/>
                <a:gd name="connsiteX15" fmla="*/ 10139605 w 17157070"/>
                <a:gd name="connsiteY15" fmla="*/ 11862031 h 12886678"/>
                <a:gd name="connsiteX16" fmla="*/ 10664108 w 17157070"/>
                <a:gd name="connsiteY16" fmla="*/ 12079067 h 12886678"/>
                <a:gd name="connsiteX17" fmla="*/ 11387555 w 17157070"/>
                <a:gd name="connsiteY17" fmla="*/ 11988637 h 12886678"/>
                <a:gd name="connsiteX18" fmla="*/ 11966315 w 17157070"/>
                <a:gd name="connsiteY18" fmla="*/ 12712092 h 12886678"/>
                <a:gd name="connsiteX19" fmla="*/ 12942975 w 17157070"/>
                <a:gd name="connsiteY19" fmla="*/ 12476963 h 12886678"/>
                <a:gd name="connsiteX20" fmla="*/ 13575992 w 17157070"/>
                <a:gd name="connsiteY20" fmla="*/ 12874863 h 12886678"/>
                <a:gd name="connsiteX21" fmla="*/ 13973888 w 17157070"/>
                <a:gd name="connsiteY21" fmla="*/ 12784430 h 12886678"/>
                <a:gd name="connsiteX22" fmla="*/ 14028146 w 17157070"/>
                <a:gd name="connsiteY22" fmla="*/ 12241839 h 12886678"/>
                <a:gd name="connsiteX23" fmla="*/ 13594073 w 17157070"/>
                <a:gd name="connsiteY23" fmla="*/ 12187582 h 12886678"/>
                <a:gd name="connsiteX24" fmla="*/ 13612161 w 17157070"/>
                <a:gd name="connsiteY24" fmla="*/ 11500303 h 12886678"/>
                <a:gd name="connsiteX25" fmla="*/ 14190925 w 17157070"/>
                <a:gd name="connsiteY25" fmla="*/ 11355616 h 12886678"/>
                <a:gd name="connsiteX26" fmla="*/ 13865366 w 17157070"/>
                <a:gd name="connsiteY26" fmla="*/ 10885371 h 12886678"/>
                <a:gd name="connsiteX27" fmla="*/ 14136664 w 17157070"/>
                <a:gd name="connsiteY27" fmla="*/ 10487475 h 12886678"/>
                <a:gd name="connsiteX28" fmla="*/ 14703435 w 17157070"/>
                <a:gd name="connsiteY28" fmla="*/ 10514571 h 12886678"/>
                <a:gd name="connsiteX29" fmla="*/ 14661163 w 17157070"/>
                <a:gd name="connsiteY29" fmla="*/ 10342787 h 12886678"/>
                <a:gd name="connsiteX30" fmla="*/ 14335608 w 17157070"/>
                <a:gd name="connsiteY30" fmla="*/ 10180012 h 12886678"/>
                <a:gd name="connsiteX31" fmla="*/ 14498387 w 17157070"/>
                <a:gd name="connsiteY31" fmla="*/ 9601248 h 12886678"/>
                <a:gd name="connsiteX32" fmla="*/ 13847278 w 17157070"/>
                <a:gd name="connsiteY32" fmla="*/ 8696934 h 12886678"/>
                <a:gd name="connsiteX33" fmla="*/ 13340864 w 17157070"/>
                <a:gd name="connsiteY33" fmla="*/ 7991571 h 12886678"/>
                <a:gd name="connsiteX34" fmla="*/ 13123831 w 17157070"/>
                <a:gd name="connsiteY34" fmla="*/ 6906393 h 12886678"/>
                <a:gd name="connsiteX35" fmla="*/ 13232349 w 17157070"/>
                <a:gd name="connsiteY35" fmla="*/ 6219119 h 12886678"/>
                <a:gd name="connsiteX36" fmla="*/ 12273778 w 17157070"/>
                <a:gd name="connsiteY36" fmla="*/ 6252280 h 12886678"/>
                <a:gd name="connsiteX37" fmla="*/ 12201432 w 17157070"/>
                <a:gd name="connsiteY37" fmla="*/ 5854380 h 12886678"/>
                <a:gd name="connsiteX38" fmla="*/ 12508887 w 17157070"/>
                <a:gd name="connsiteY38" fmla="*/ 5350985 h 12886678"/>
                <a:gd name="connsiteX39" fmla="*/ 13774933 w 17157070"/>
                <a:gd name="connsiteY39" fmla="*/ 4573269 h 12886678"/>
                <a:gd name="connsiteX40" fmla="*/ 15294184 w 17157070"/>
                <a:gd name="connsiteY40" fmla="*/ 4066854 h 12886678"/>
                <a:gd name="connsiteX41" fmla="*/ 15746333 w 17157070"/>
                <a:gd name="connsiteY41" fmla="*/ 4392409 h 12886678"/>
                <a:gd name="connsiteX42" fmla="*/ 16578306 w 17157070"/>
                <a:gd name="connsiteY42" fmla="*/ 4103027 h 12886678"/>
                <a:gd name="connsiteX43" fmla="*/ 17084732 w 17157070"/>
                <a:gd name="connsiteY43" fmla="*/ 4500935 h 12886678"/>
                <a:gd name="connsiteX44" fmla="*/ 17157070 w 17157070"/>
                <a:gd name="connsiteY44" fmla="*/ 3560444 h 12886678"/>
                <a:gd name="connsiteX45" fmla="*/ 16433615 w 17157070"/>
                <a:gd name="connsiteY45" fmla="*/ 3470014 h 12886678"/>
                <a:gd name="connsiteX46" fmla="*/ 16415865 w 17157070"/>
                <a:gd name="connsiteY46" fmla="*/ 2853862 h 12886678"/>
                <a:gd name="connsiteX47" fmla="*/ 15963191 w 17157070"/>
                <a:gd name="connsiteY47" fmla="*/ 2993318 h 12886678"/>
                <a:gd name="connsiteX48" fmla="*/ 14923009 w 17157070"/>
                <a:gd name="connsiteY48" fmla="*/ 1763435 h 12886678"/>
                <a:gd name="connsiteX49" fmla="*/ 14244644 w 17157070"/>
                <a:gd name="connsiteY49" fmla="*/ 325540 h 12886678"/>
                <a:gd name="connsiteX50" fmla="*/ 13367278 w 17157070"/>
                <a:gd name="connsiteY50" fmla="*/ 614945 h 12886678"/>
                <a:gd name="connsiteX51" fmla="*/ 12218563 w 17157070"/>
                <a:gd name="connsiteY51" fmla="*/ 623988 h 12886678"/>
                <a:gd name="connsiteX52" fmla="*/ 11323109 w 17157070"/>
                <a:gd name="connsiteY52" fmla="*/ 36169 h 12886678"/>
                <a:gd name="connsiteX53" fmla="*/ 10780410 w 17157070"/>
                <a:gd name="connsiteY53" fmla="*/ 488337 h 12886678"/>
                <a:gd name="connsiteX54" fmla="*/ 10038717 w 17157070"/>
                <a:gd name="connsiteY54" fmla="*/ 687288 h 12886678"/>
                <a:gd name="connsiteX55" fmla="*/ 9622651 w 17157070"/>
                <a:gd name="connsiteY55" fmla="*/ 81389 h 12886678"/>
                <a:gd name="connsiteX56" fmla="*/ 8672925 w 17157070"/>
                <a:gd name="connsiteY56" fmla="*/ 280344 h 12886678"/>
                <a:gd name="connsiteX57" fmla="*/ 7759379 w 17157070"/>
                <a:gd name="connsiteY57" fmla="*/ 0 h 12886678"/>
                <a:gd name="connsiteX58" fmla="*/ 6729494 w 17157070"/>
                <a:gd name="connsiteY58" fmla="*/ 443189 h 12886678"/>
                <a:gd name="connsiteX59" fmla="*/ 4437471 w 17157070"/>
                <a:gd name="connsiteY59" fmla="*/ 2805824 h 12886678"/>
                <a:gd name="connsiteX60" fmla="*/ 4141784 w 17157070"/>
                <a:gd name="connsiteY60" fmla="*/ 2086470 h 12886678"/>
                <a:gd name="connsiteX61" fmla="*/ 2314296 w 17157070"/>
                <a:gd name="connsiteY61" fmla="*/ 2369327 h 12886678"/>
                <a:gd name="connsiteX62" fmla="*/ 1334589 w 17157070"/>
                <a:gd name="connsiteY62" fmla="*/ 3174199 h 12886678"/>
                <a:gd name="connsiteX63" fmla="*/ 0 w 17157070"/>
                <a:gd name="connsiteY63" fmla="*/ 4521645 h 12886678"/>
                <a:gd name="connsiteX0" fmla="*/ 0 w 17157070"/>
                <a:gd name="connsiteY0" fmla="*/ 4521645 h 12886678"/>
                <a:gd name="connsiteX1" fmla="*/ 613837 w 17157070"/>
                <a:gd name="connsiteY1" fmla="*/ 6900003 h 12886678"/>
                <a:gd name="connsiteX2" fmla="*/ 1518338 w 17157070"/>
                <a:gd name="connsiteY2" fmla="*/ 7768153 h 12886678"/>
                <a:gd name="connsiteX3" fmla="*/ 1735898 w 17157070"/>
                <a:gd name="connsiteY3" fmla="*/ 8600077 h 12886678"/>
                <a:gd name="connsiteX4" fmla="*/ 3137400 w 17157070"/>
                <a:gd name="connsiteY4" fmla="*/ 9124637 h 12886678"/>
                <a:gd name="connsiteX5" fmla="*/ 3453963 w 17157070"/>
                <a:gd name="connsiteY5" fmla="*/ 10481128 h 12886678"/>
                <a:gd name="connsiteX6" fmla="*/ 4168520 w 17157070"/>
                <a:gd name="connsiteY6" fmla="*/ 11855697 h 12886678"/>
                <a:gd name="connsiteX7" fmla="*/ 4162343 w 17157070"/>
                <a:gd name="connsiteY7" fmla="*/ 12886678 h 12886678"/>
                <a:gd name="connsiteX8" fmla="*/ 4605215 w 17157070"/>
                <a:gd name="connsiteY8" fmla="*/ 12802514 h 12886678"/>
                <a:gd name="connsiteX9" fmla="*/ 4840336 w 17157070"/>
                <a:gd name="connsiteY9" fmla="*/ 12513132 h 12886678"/>
                <a:gd name="connsiteX10" fmla="*/ 6070201 w 17157070"/>
                <a:gd name="connsiteY10" fmla="*/ 12531224 h 12886678"/>
                <a:gd name="connsiteX11" fmla="*/ 6884082 w 17157070"/>
                <a:gd name="connsiteY11" fmla="*/ 11934372 h 12886678"/>
                <a:gd name="connsiteX12" fmla="*/ 7716051 w 17157070"/>
                <a:gd name="connsiteY12" fmla="*/ 12259931 h 12886678"/>
                <a:gd name="connsiteX13" fmla="*/ 8584189 w 17157070"/>
                <a:gd name="connsiteY13" fmla="*/ 12060979 h 12886678"/>
                <a:gd name="connsiteX14" fmla="*/ 9289552 w 17157070"/>
                <a:gd name="connsiteY14" fmla="*/ 12259931 h 12886678"/>
                <a:gd name="connsiteX15" fmla="*/ 10139605 w 17157070"/>
                <a:gd name="connsiteY15" fmla="*/ 11862031 h 12886678"/>
                <a:gd name="connsiteX16" fmla="*/ 10664108 w 17157070"/>
                <a:gd name="connsiteY16" fmla="*/ 12079067 h 12886678"/>
                <a:gd name="connsiteX17" fmla="*/ 11387555 w 17157070"/>
                <a:gd name="connsiteY17" fmla="*/ 11988637 h 12886678"/>
                <a:gd name="connsiteX18" fmla="*/ 11966315 w 17157070"/>
                <a:gd name="connsiteY18" fmla="*/ 12712092 h 12886678"/>
                <a:gd name="connsiteX19" fmla="*/ 12942975 w 17157070"/>
                <a:gd name="connsiteY19" fmla="*/ 12476963 h 12886678"/>
                <a:gd name="connsiteX20" fmla="*/ 13575992 w 17157070"/>
                <a:gd name="connsiteY20" fmla="*/ 12874863 h 12886678"/>
                <a:gd name="connsiteX21" fmla="*/ 13973888 w 17157070"/>
                <a:gd name="connsiteY21" fmla="*/ 12784430 h 12886678"/>
                <a:gd name="connsiteX22" fmla="*/ 14028146 w 17157070"/>
                <a:gd name="connsiteY22" fmla="*/ 12241839 h 12886678"/>
                <a:gd name="connsiteX23" fmla="*/ 13594073 w 17157070"/>
                <a:gd name="connsiteY23" fmla="*/ 12187582 h 12886678"/>
                <a:gd name="connsiteX24" fmla="*/ 13612161 w 17157070"/>
                <a:gd name="connsiteY24" fmla="*/ 11500303 h 12886678"/>
                <a:gd name="connsiteX25" fmla="*/ 14190925 w 17157070"/>
                <a:gd name="connsiteY25" fmla="*/ 11355616 h 12886678"/>
                <a:gd name="connsiteX26" fmla="*/ 13865366 w 17157070"/>
                <a:gd name="connsiteY26" fmla="*/ 10885371 h 12886678"/>
                <a:gd name="connsiteX27" fmla="*/ 14136664 w 17157070"/>
                <a:gd name="connsiteY27" fmla="*/ 10487475 h 12886678"/>
                <a:gd name="connsiteX28" fmla="*/ 14703435 w 17157070"/>
                <a:gd name="connsiteY28" fmla="*/ 10514571 h 12886678"/>
                <a:gd name="connsiteX29" fmla="*/ 14661163 w 17157070"/>
                <a:gd name="connsiteY29" fmla="*/ 10342787 h 12886678"/>
                <a:gd name="connsiteX30" fmla="*/ 14335608 w 17157070"/>
                <a:gd name="connsiteY30" fmla="*/ 10180012 h 12886678"/>
                <a:gd name="connsiteX31" fmla="*/ 14498387 w 17157070"/>
                <a:gd name="connsiteY31" fmla="*/ 9601248 h 12886678"/>
                <a:gd name="connsiteX32" fmla="*/ 13847278 w 17157070"/>
                <a:gd name="connsiteY32" fmla="*/ 8696934 h 12886678"/>
                <a:gd name="connsiteX33" fmla="*/ 13340864 w 17157070"/>
                <a:gd name="connsiteY33" fmla="*/ 7991571 h 12886678"/>
                <a:gd name="connsiteX34" fmla="*/ 13123831 w 17157070"/>
                <a:gd name="connsiteY34" fmla="*/ 6906393 h 12886678"/>
                <a:gd name="connsiteX35" fmla="*/ 13232349 w 17157070"/>
                <a:gd name="connsiteY35" fmla="*/ 6219119 h 12886678"/>
                <a:gd name="connsiteX36" fmla="*/ 12273778 w 17157070"/>
                <a:gd name="connsiteY36" fmla="*/ 6252280 h 12886678"/>
                <a:gd name="connsiteX37" fmla="*/ 12201432 w 17157070"/>
                <a:gd name="connsiteY37" fmla="*/ 5854380 h 12886678"/>
                <a:gd name="connsiteX38" fmla="*/ 12508887 w 17157070"/>
                <a:gd name="connsiteY38" fmla="*/ 5350985 h 12886678"/>
                <a:gd name="connsiteX39" fmla="*/ 13774933 w 17157070"/>
                <a:gd name="connsiteY39" fmla="*/ 4573269 h 12886678"/>
                <a:gd name="connsiteX40" fmla="*/ 15294184 w 17157070"/>
                <a:gd name="connsiteY40" fmla="*/ 4066854 h 12886678"/>
                <a:gd name="connsiteX41" fmla="*/ 15746333 w 17157070"/>
                <a:gd name="connsiteY41" fmla="*/ 4392409 h 12886678"/>
                <a:gd name="connsiteX42" fmla="*/ 16578306 w 17157070"/>
                <a:gd name="connsiteY42" fmla="*/ 4103027 h 12886678"/>
                <a:gd name="connsiteX43" fmla="*/ 17084732 w 17157070"/>
                <a:gd name="connsiteY43" fmla="*/ 4500935 h 12886678"/>
                <a:gd name="connsiteX44" fmla="*/ 17157070 w 17157070"/>
                <a:gd name="connsiteY44" fmla="*/ 3560444 h 12886678"/>
                <a:gd name="connsiteX45" fmla="*/ 16433615 w 17157070"/>
                <a:gd name="connsiteY45" fmla="*/ 3470014 h 12886678"/>
                <a:gd name="connsiteX46" fmla="*/ 16415865 w 17157070"/>
                <a:gd name="connsiteY46" fmla="*/ 2853862 h 12886678"/>
                <a:gd name="connsiteX47" fmla="*/ 15963191 w 17157070"/>
                <a:gd name="connsiteY47" fmla="*/ 2993318 h 12886678"/>
                <a:gd name="connsiteX48" fmla="*/ 14923009 w 17157070"/>
                <a:gd name="connsiteY48" fmla="*/ 1763435 h 12886678"/>
                <a:gd name="connsiteX49" fmla="*/ 14244644 w 17157070"/>
                <a:gd name="connsiteY49" fmla="*/ 325540 h 12886678"/>
                <a:gd name="connsiteX50" fmla="*/ 13367278 w 17157070"/>
                <a:gd name="connsiteY50" fmla="*/ 614945 h 12886678"/>
                <a:gd name="connsiteX51" fmla="*/ 12218563 w 17157070"/>
                <a:gd name="connsiteY51" fmla="*/ 623988 h 12886678"/>
                <a:gd name="connsiteX52" fmla="*/ 11323109 w 17157070"/>
                <a:gd name="connsiteY52" fmla="*/ 36169 h 12886678"/>
                <a:gd name="connsiteX53" fmla="*/ 10780410 w 17157070"/>
                <a:gd name="connsiteY53" fmla="*/ 488337 h 12886678"/>
                <a:gd name="connsiteX54" fmla="*/ 10038717 w 17157070"/>
                <a:gd name="connsiteY54" fmla="*/ 687288 h 12886678"/>
                <a:gd name="connsiteX55" fmla="*/ 9622651 w 17157070"/>
                <a:gd name="connsiteY55" fmla="*/ 81389 h 12886678"/>
                <a:gd name="connsiteX56" fmla="*/ 8672925 w 17157070"/>
                <a:gd name="connsiteY56" fmla="*/ 280344 h 12886678"/>
                <a:gd name="connsiteX57" fmla="*/ 7759379 w 17157070"/>
                <a:gd name="connsiteY57" fmla="*/ 0 h 12886678"/>
                <a:gd name="connsiteX58" fmla="*/ 4432864 w 17157070"/>
                <a:gd name="connsiteY58" fmla="*/ 3474612 h 12886678"/>
                <a:gd name="connsiteX59" fmla="*/ 4437471 w 17157070"/>
                <a:gd name="connsiteY59" fmla="*/ 2805824 h 12886678"/>
                <a:gd name="connsiteX60" fmla="*/ 4141784 w 17157070"/>
                <a:gd name="connsiteY60" fmla="*/ 2086470 h 12886678"/>
                <a:gd name="connsiteX61" fmla="*/ 2314296 w 17157070"/>
                <a:gd name="connsiteY61" fmla="*/ 2369327 h 12886678"/>
                <a:gd name="connsiteX62" fmla="*/ 1334589 w 17157070"/>
                <a:gd name="connsiteY62" fmla="*/ 3174199 h 12886678"/>
                <a:gd name="connsiteX63" fmla="*/ 0 w 17157070"/>
                <a:gd name="connsiteY63" fmla="*/ 4521645 h 12886678"/>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10780410 w 17157070"/>
                <a:gd name="connsiteY53" fmla="*/ 452168 h 12850509"/>
                <a:gd name="connsiteX54" fmla="*/ 10038717 w 17157070"/>
                <a:gd name="connsiteY54" fmla="*/ 651119 h 12850509"/>
                <a:gd name="connsiteX55" fmla="*/ 9622651 w 17157070"/>
                <a:gd name="connsiteY55" fmla="*/ 45220 h 12850509"/>
                <a:gd name="connsiteX56" fmla="*/ 8672925 w 17157070"/>
                <a:gd name="connsiteY56" fmla="*/ 244175 h 12850509"/>
                <a:gd name="connsiteX57" fmla="*/ 4432864 w 17157070"/>
                <a:gd name="connsiteY57" fmla="*/ 3438443 h 12850509"/>
                <a:gd name="connsiteX58" fmla="*/ 4437471 w 17157070"/>
                <a:gd name="connsiteY58" fmla="*/ 2769655 h 12850509"/>
                <a:gd name="connsiteX59" fmla="*/ 4141784 w 17157070"/>
                <a:gd name="connsiteY59" fmla="*/ 2050301 h 12850509"/>
                <a:gd name="connsiteX60" fmla="*/ 2314296 w 17157070"/>
                <a:gd name="connsiteY60" fmla="*/ 2333158 h 12850509"/>
                <a:gd name="connsiteX61" fmla="*/ 1334589 w 17157070"/>
                <a:gd name="connsiteY61" fmla="*/ 3138030 h 12850509"/>
                <a:gd name="connsiteX62" fmla="*/ 0 w 17157070"/>
                <a:gd name="connsiteY62" fmla="*/ 4485476 h 12850509"/>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10780410 w 17157070"/>
                <a:gd name="connsiteY53" fmla="*/ 452168 h 12850509"/>
                <a:gd name="connsiteX54" fmla="*/ 10038717 w 17157070"/>
                <a:gd name="connsiteY54" fmla="*/ 651119 h 12850509"/>
                <a:gd name="connsiteX55" fmla="*/ 9622651 w 17157070"/>
                <a:gd name="connsiteY55" fmla="*/ 45220 h 12850509"/>
                <a:gd name="connsiteX56" fmla="*/ 4653822 w 17157070"/>
                <a:gd name="connsiteY56" fmla="*/ 3991678 h 12850509"/>
                <a:gd name="connsiteX57" fmla="*/ 4432864 w 17157070"/>
                <a:gd name="connsiteY57" fmla="*/ 3438443 h 12850509"/>
                <a:gd name="connsiteX58" fmla="*/ 4437471 w 17157070"/>
                <a:gd name="connsiteY58" fmla="*/ 2769655 h 12850509"/>
                <a:gd name="connsiteX59" fmla="*/ 4141784 w 17157070"/>
                <a:gd name="connsiteY59" fmla="*/ 2050301 h 12850509"/>
                <a:gd name="connsiteX60" fmla="*/ 2314296 w 17157070"/>
                <a:gd name="connsiteY60" fmla="*/ 2333158 h 12850509"/>
                <a:gd name="connsiteX61" fmla="*/ 1334589 w 17157070"/>
                <a:gd name="connsiteY61" fmla="*/ 3138030 h 12850509"/>
                <a:gd name="connsiteX62" fmla="*/ 0 w 17157070"/>
                <a:gd name="connsiteY62" fmla="*/ 4485476 h 12850509"/>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10780410 w 17157070"/>
                <a:gd name="connsiteY53" fmla="*/ 452168 h 12850509"/>
                <a:gd name="connsiteX54" fmla="*/ 10038717 w 17157070"/>
                <a:gd name="connsiteY54" fmla="*/ 651119 h 12850509"/>
                <a:gd name="connsiteX55" fmla="*/ 4653822 w 17157070"/>
                <a:gd name="connsiteY55" fmla="*/ 3991678 h 12850509"/>
                <a:gd name="connsiteX56" fmla="*/ 4432864 w 17157070"/>
                <a:gd name="connsiteY56" fmla="*/ 3438443 h 12850509"/>
                <a:gd name="connsiteX57" fmla="*/ 4437471 w 17157070"/>
                <a:gd name="connsiteY57" fmla="*/ 2769655 h 12850509"/>
                <a:gd name="connsiteX58" fmla="*/ 4141784 w 17157070"/>
                <a:gd name="connsiteY58" fmla="*/ 2050301 h 12850509"/>
                <a:gd name="connsiteX59" fmla="*/ 2314296 w 17157070"/>
                <a:gd name="connsiteY59" fmla="*/ 2333158 h 12850509"/>
                <a:gd name="connsiteX60" fmla="*/ 1334589 w 17157070"/>
                <a:gd name="connsiteY60" fmla="*/ 3138030 h 12850509"/>
                <a:gd name="connsiteX61" fmla="*/ 0 w 17157070"/>
                <a:gd name="connsiteY61" fmla="*/ 4485476 h 12850509"/>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10780410 w 17157070"/>
                <a:gd name="connsiteY53" fmla="*/ 452168 h 12850509"/>
                <a:gd name="connsiteX54" fmla="*/ 4416749 w 17157070"/>
                <a:gd name="connsiteY54" fmla="*/ 4541845 h 12850509"/>
                <a:gd name="connsiteX55" fmla="*/ 4653822 w 17157070"/>
                <a:gd name="connsiteY55" fmla="*/ 3991678 h 12850509"/>
                <a:gd name="connsiteX56" fmla="*/ 4432864 w 17157070"/>
                <a:gd name="connsiteY56" fmla="*/ 3438443 h 12850509"/>
                <a:gd name="connsiteX57" fmla="*/ 4437471 w 17157070"/>
                <a:gd name="connsiteY57" fmla="*/ 2769655 h 12850509"/>
                <a:gd name="connsiteX58" fmla="*/ 4141784 w 17157070"/>
                <a:gd name="connsiteY58" fmla="*/ 2050301 h 12850509"/>
                <a:gd name="connsiteX59" fmla="*/ 2314296 w 17157070"/>
                <a:gd name="connsiteY59" fmla="*/ 2333158 h 12850509"/>
                <a:gd name="connsiteX60" fmla="*/ 1334589 w 17157070"/>
                <a:gd name="connsiteY60" fmla="*/ 3138030 h 12850509"/>
                <a:gd name="connsiteX61" fmla="*/ 0 w 17157070"/>
                <a:gd name="connsiteY61" fmla="*/ 4485476 h 12850509"/>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4416749 w 17157070"/>
                <a:gd name="connsiteY53" fmla="*/ 4541845 h 12850509"/>
                <a:gd name="connsiteX54" fmla="*/ 4653822 w 17157070"/>
                <a:gd name="connsiteY54" fmla="*/ 3991678 h 12850509"/>
                <a:gd name="connsiteX55" fmla="*/ 4432864 w 17157070"/>
                <a:gd name="connsiteY55" fmla="*/ 3438443 h 12850509"/>
                <a:gd name="connsiteX56" fmla="*/ 4437471 w 17157070"/>
                <a:gd name="connsiteY56" fmla="*/ 2769655 h 12850509"/>
                <a:gd name="connsiteX57" fmla="*/ 4141784 w 17157070"/>
                <a:gd name="connsiteY57" fmla="*/ 2050301 h 12850509"/>
                <a:gd name="connsiteX58" fmla="*/ 2314296 w 17157070"/>
                <a:gd name="connsiteY58" fmla="*/ 2333158 h 12850509"/>
                <a:gd name="connsiteX59" fmla="*/ 1334589 w 17157070"/>
                <a:gd name="connsiteY59" fmla="*/ 3138030 h 12850509"/>
                <a:gd name="connsiteX60" fmla="*/ 0 w 17157070"/>
                <a:gd name="connsiteY60" fmla="*/ 4485476 h 12850509"/>
                <a:gd name="connsiteX0" fmla="*/ 0 w 17157070"/>
                <a:gd name="connsiteY0" fmla="*/ 4196103 h 12561136"/>
                <a:gd name="connsiteX1" fmla="*/ 613837 w 17157070"/>
                <a:gd name="connsiteY1" fmla="*/ 6574461 h 12561136"/>
                <a:gd name="connsiteX2" fmla="*/ 1518338 w 17157070"/>
                <a:gd name="connsiteY2" fmla="*/ 7442611 h 12561136"/>
                <a:gd name="connsiteX3" fmla="*/ 1735898 w 17157070"/>
                <a:gd name="connsiteY3" fmla="*/ 8274535 h 12561136"/>
                <a:gd name="connsiteX4" fmla="*/ 3137400 w 17157070"/>
                <a:gd name="connsiteY4" fmla="*/ 8799095 h 12561136"/>
                <a:gd name="connsiteX5" fmla="*/ 3453963 w 17157070"/>
                <a:gd name="connsiteY5" fmla="*/ 10155586 h 12561136"/>
                <a:gd name="connsiteX6" fmla="*/ 4168520 w 17157070"/>
                <a:gd name="connsiteY6" fmla="*/ 11530155 h 12561136"/>
                <a:gd name="connsiteX7" fmla="*/ 4162343 w 17157070"/>
                <a:gd name="connsiteY7" fmla="*/ 12561136 h 12561136"/>
                <a:gd name="connsiteX8" fmla="*/ 4605215 w 17157070"/>
                <a:gd name="connsiteY8" fmla="*/ 12476972 h 12561136"/>
                <a:gd name="connsiteX9" fmla="*/ 4840336 w 17157070"/>
                <a:gd name="connsiteY9" fmla="*/ 12187590 h 12561136"/>
                <a:gd name="connsiteX10" fmla="*/ 6070201 w 17157070"/>
                <a:gd name="connsiteY10" fmla="*/ 12205682 h 12561136"/>
                <a:gd name="connsiteX11" fmla="*/ 6884082 w 17157070"/>
                <a:gd name="connsiteY11" fmla="*/ 11608830 h 12561136"/>
                <a:gd name="connsiteX12" fmla="*/ 7716051 w 17157070"/>
                <a:gd name="connsiteY12" fmla="*/ 11934389 h 12561136"/>
                <a:gd name="connsiteX13" fmla="*/ 8584189 w 17157070"/>
                <a:gd name="connsiteY13" fmla="*/ 11735437 h 12561136"/>
                <a:gd name="connsiteX14" fmla="*/ 9289552 w 17157070"/>
                <a:gd name="connsiteY14" fmla="*/ 11934389 h 12561136"/>
                <a:gd name="connsiteX15" fmla="*/ 10139605 w 17157070"/>
                <a:gd name="connsiteY15" fmla="*/ 11536489 h 12561136"/>
                <a:gd name="connsiteX16" fmla="*/ 10664108 w 17157070"/>
                <a:gd name="connsiteY16" fmla="*/ 11753525 h 12561136"/>
                <a:gd name="connsiteX17" fmla="*/ 11387555 w 17157070"/>
                <a:gd name="connsiteY17" fmla="*/ 11663095 h 12561136"/>
                <a:gd name="connsiteX18" fmla="*/ 11966315 w 17157070"/>
                <a:gd name="connsiteY18" fmla="*/ 12386550 h 12561136"/>
                <a:gd name="connsiteX19" fmla="*/ 12942975 w 17157070"/>
                <a:gd name="connsiteY19" fmla="*/ 12151421 h 12561136"/>
                <a:gd name="connsiteX20" fmla="*/ 13575992 w 17157070"/>
                <a:gd name="connsiteY20" fmla="*/ 12549321 h 12561136"/>
                <a:gd name="connsiteX21" fmla="*/ 13973888 w 17157070"/>
                <a:gd name="connsiteY21" fmla="*/ 12458888 h 12561136"/>
                <a:gd name="connsiteX22" fmla="*/ 14028146 w 17157070"/>
                <a:gd name="connsiteY22" fmla="*/ 11916297 h 12561136"/>
                <a:gd name="connsiteX23" fmla="*/ 13594073 w 17157070"/>
                <a:gd name="connsiteY23" fmla="*/ 11862040 h 12561136"/>
                <a:gd name="connsiteX24" fmla="*/ 13612161 w 17157070"/>
                <a:gd name="connsiteY24" fmla="*/ 11174761 h 12561136"/>
                <a:gd name="connsiteX25" fmla="*/ 14190925 w 17157070"/>
                <a:gd name="connsiteY25" fmla="*/ 11030074 h 12561136"/>
                <a:gd name="connsiteX26" fmla="*/ 13865366 w 17157070"/>
                <a:gd name="connsiteY26" fmla="*/ 10559829 h 12561136"/>
                <a:gd name="connsiteX27" fmla="*/ 14136664 w 17157070"/>
                <a:gd name="connsiteY27" fmla="*/ 10161933 h 12561136"/>
                <a:gd name="connsiteX28" fmla="*/ 14703435 w 17157070"/>
                <a:gd name="connsiteY28" fmla="*/ 10189029 h 12561136"/>
                <a:gd name="connsiteX29" fmla="*/ 14661163 w 17157070"/>
                <a:gd name="connsiteY29" fmla="*/ 10017245 h 12561136"/>
                <a:gd name="connsiteX30" fmla="*/ 14335608 w 17157070"/>
                <a:gd name="connsiteY30" fmla="*/ 9854470 h 12561136"/>
                <a:gd name="connsiteX31" fmla="*/ 14498387 w 17157070"/>
                <a:gd name="connsiteY31" fmla="*/ 9275706 h 12561136"/>
                <a:gd name="connsiteX32" fmla="*/ 13847278 w 17157070"/>
                <a:gd name="connsiteY32" fmla="*/ 8371392 h 12561136"/>
                <a:gd name="connsiteX33" fmla="*/ 13340864 w 17157070"/>
                <a:gd name="connsiteY33" fmla="*/ 7666029 h 12561136"/>
                <a:gd name="connsiteX34" fmla="*/ 13123831 w 17157070"/>
                <a:gd name="connsiteY34" fmla="*/ 6580851 h 12561136"/>
                <a:gd name="connsiteX35" fmla="*/ 13232349 w 17157070"/>
                <a:gd name="connsiteY35" fmla="*/ 5893577 h 12561136"/>
                <a:gd name="connsiteX36" fmla="*/ 12273778 w 17157070"/>
                <a:gd name="connsiteY36" fmla="*/ 5926738 h 12561136"/>
                <a:gd name="connsiteX37" fmla="*/ 12201432 w 17157070"/>
                <a:gd name="connsiteY37" fmla="*/ 5528838 h 12561136"/>
                <a:gd name="connsiteX38" fmla="*/ 12508887 w 17157070"/>
                <a:gd name="connsiteY38" fmla="*/ 5025443 h 12561136"/>
                <a:gd name="connsiteX39" fmla="*/ 13774933 w 17157070"/>
                <a:gd name="connsiteY39" fmla="*/ 4247727 h 12561136"/>
                <a:gd name="connsiteX40" fmla="*/ 15294184 w 17157070"/>
                <a:gd name="connsiteY40" fmla="*/ 3741312 h 12561136"/>
                <a:gd name="connsiteX41" fmla="*/ 15746333 w 17157070"/>
                <a:gd name="connsiteY41" fmla="*/ 4066867 h 12561136"/>
                <a:gd name="connsiteX42" fmla="*/ 16578306 w 17157070"/>
                <a:gd name="connsiteY42" fmla="*/ 3777485 h 12561136"/>
                <a:gd name="connsiteX43" fmla="*/ 17084732 w 17157070"/>
                <a:gd name="connsiteY43" fmla="*/ 4175393 h 12561136"/>
                <a:gd name="connsiteX44" fmla="*/ 17157070 w 17157070"/>
                <a:gd name="connsiteY44" fmla="*/ 3234902 h 12561136"/>
                <a:gd name="connsiteX45" fmla="*/ 16433615 w 17157070"/>
                <a:gd name="connsiteY45" fmla="*/ 3144472 h 12561136"/>
                <a:gd name="connsiteX46" fmla="*/ 16415865 w 17157070"/>
                <a:gd name="connsiteY46" fmla="*/ 2528320 h 12561136"/>
                <a:gd name="connsiteX47" fmla="*/ 15963191 w 17157070"/>
                <a:gd name="connsiteY47" fmla="*/ 2667776 h 12561136"/>
                <a:gd name="connsiteX48" fmla="*/ 14923009 w 17157070"/>
                <a:gd name="connsiteY48" fmla="*/ 1437893 h 12561136"/>
                <a:gd name="connsiteX49" fmla="*/ 14244644 w 17157070"/>
                <a:gd name="connsiteY49" fmla="*/ -2 h 12561136"/>
                <a:gd name="connsiteX50" fmla="*/ 13367278 w 17157070"/>
                <a:gd name="connsiteY50" fmla="*/ 289403 h 12561136"/>
                <a:gd name="connsiteX51" fmla="*/ 12218563 w 17157070"/>
                <a:gd name="connsiteY51" fmla="*/ 298446 h 12561136"/>
                <a:gd name="connsiteX52" fmla="*/ 4600673 w 17157070"/>
                <a:gd name="connsiteY52" fmla="*/ 4675479 h 12561136"/>
                <a:gd name="connsiteX53" fmla="*/ 4416749 w 17157070"/>
                <a:gd name="connsiteY53" fmla="*/ 4252472 h 12561136"/>
                <a:gd name="connsiteX54" fmla="*/ 4653822 w 17157070"/>
                <a:gd name="connsiteY54" fmla="*/ 3702305 h 12561136"/>
                <a:gd name="connsiteX55" fmla="*/ 4432864 w 17157070"/>
                <a:gd name="connsiteY55" fmla="*/ 3149070 h 12561136"/>
                <a:gd name="connsiteX56" fmla="*/ 4437471 w 17157070"/>
                <a:gd name="connsiteY56" fmla="*/ 2480282 h 12561136"/>
                <a:gd name="connsiteX57" fmla="*/ 4141784 w 17157070"/>
                <a:gd name="connsiteY57" fmla="*/ 1760928 h 12561136"/>
                <a:gd name="connsiteX58" fmla="*/ 2314296 w 17157070"/>
                <a:gd name="connsiteY58" fmla="*/ 2043785 h 12561136"/>
                <a:gd name="connsiteX59" fmla="*/ 1334589 w 17157070"/>
                <a:gd name="connsiteY59" fmla="*/ 2848657 h 12561136"/>
                <a:gd name="connsiteX60" fmla="*/ 0 w 17157070"/>
                <a:gd name="connsiteY60" fmla="*/ 4196103 h 12561136"/>
                <a:gd name="connsiteX0" fmla="*/ 0 w 17157070"/>
                <a:gd name="connsiteY0" fmla="*/ 4196103 h 12561136"/>
                <a:gd name="connsiteX1" fmla="*/ 613837 w 17157070"/>
                <a:gd name="connsiteY1" fmla="*/ 6574461 h 12561136"/>
                <a:gd name="connsiteX2" fmla="*/ 1518338 w 17157070"/>
                <a:gd name="connsiteY2" fmla="*/ 7442611 h 12561136"/>
                <a:gd name="connsiteX3" fmla="*/ 1735898 w 17157070"/>
                <a:gd name="connsiteY3" fmla="*/ 8274535 h 12561136"/>
                <a:gd name="connsiteX4" fmla="*/ 3137400 w 17157070"/>
                <a:gd name="connsiteY4" fmla="*/ 8799095 h 12561136"/>
                <a:gd name="connsiteX5" fmla="*/ 3453963 w 17157070"/>
                <a:gd name="connsiteY5" fmla="*/ 10155586 h 12561136"/>
                <a:gd name="connsiteX6" fmla="*/ 4168520 w 17157070"/>
                <a:gd name="connsiteY6" fmla="*/ 11530155 h 12561136"/>
                <a:gd name="connsiteX7" fmla="*/ 4162343 w 17157070"/>
                <a:gd name="connsiteY7" fmla="*/ 12561136 h 12561136"/>
                <a:gd name="connsiteX8" fmla="*/ 4605215 w 17157070"/>
                <a:gd name="connsiteY8" fmla="*/ 12476972 h 12561136"/>
                <a:gd name="connsiteX9" fmla="*/ 4840336 w 17157070"/>
                <a:gd name="connsiteY9" fmla="*/ 12187590 h 12561136"/>
                <a:gd name="connsiteX10" fmla="*/ 6070201 w 17157070"/>
                <a:gd name="connsiteY10" fmla="*/ 12205682 h 12561136"/>
                <a:gd name="connsiteX11" fmla="*/ 6884082 w 17157070"/>
                <a:gd name="connsiteY11" fmla="*/ 11608830 h 12561136"/>
                <a:gd name="connsiteX12" fmla="*/ 7716051 w 17157070"/>
                <a:gd name="connsiteY12" fmla="*/ 11934389 h 12561136"/>
                <a:gd name="connsiteX13" fmla="*/ 8584189 w 17157070"/>
                <a:gd name="connsiteY13" fmla="*/ 11735437 h 12561136"/>
                <a:gd name="connsiteX14" fmla="*/ 9289552 w 17157070"/>
                <a:gd name="connsiteY14" fmla="*/ 11934389 h 12561136"/>
                <a:gd name="connsiteX15" fmla="*/ 10139605 w 17157070"/>
                <a:gd name="connsiteY15" fmla="*/ 11536489 h 12561136"/>
                <a:gd name="connsiteX16" fmla="*/ 10664108 w 17157070"/>
                <a:gd name="connsiteY16" fmla="*/ 11753525 h 12561136"/>
                <a:gd name="connsiteX17" fmla="*/ 11387555 w 17157070"/>
                <a:gd name="connsiteY17" fmla="*/ 11663095 h 12561136"/>
                <a:gd name="connsiteX18" fmla="*/ 11966315 w 17157070"/>
                <a:gd name="connsiteY18" fmla="*/ 12386550 h 12561136"/>
                <a:gd name="connsiteX19" fmla="*/ 12942975 w 17157070"/>
                <a:gd name="connsiteY19" fmla="*/ 12151421 h 12561136"/>
                <a:gd name="connsiteX20" fmla="*/ 13575992 w 17157070"/>
                <a:gd name="connsiteY20" fmla="*/ 12549321 h 12561136"/>
                <a:gd name="connsiteX21" fmla="*/ 13973888 w 17157070"/>
                <a:gd name="connsiteY21" fmla="*/ 12458888 h 12561136"/>
                <a:gd name="connsiteX22" fmla="*/ 14028146 w 17157070"/>
                <a:gd name="connsiteY22" fmla="*/ 11916297 h 12561136"/>
                <a:gd name="connsiteX23" fmla="*/ 13594073 w 17157070"/>
                <a:gd name="connsiteY23" fmla="*/ 11862040 h 12561136"/>
                <a:gd name="connsiteX24" fmla="*/ 13612161 w 17157070"/>
                <a:gd name="connsiteY24" fmla="*/ 11174761 h 12561136"/>
                <a:gd name="connsiteX25" fmla="*/ 14190925 w 17157070"/>
                <a:gd name="connsiteY25" fmla="*/ 11030074 h 12561136"/>
                <a:gd name="connsiteX26" fmla="*/ 13865366 w 17157070"/>
                <a:gd name="connsiteY26" fmla="*/ 10559829 h 12561136"/>
                <a:gd name="connsiteX27" fmla="*/ 14136664 w 17157070"/>
                <a:gd name="connsiteY27" fmla="*/ 10161933 h 12561136"/>
                <a:gd name="connsiteX28" fmla="*/ 14703435 w 17157070"/>
                <a:gd name="connsiteY28" fmla="*/ 10189029 h 12561136"/>
                <a:gd name="connsiteX29" fmla="*/ 14661163 w 17157070"/>
                <a:gd name="connsiteY29" fmla="*/ 10017245 h 12561136"/>
                <a:gd name="connsiteX30" fmla="*/ 14335608 w 17157070"/>
                <a:gd name="connsiteY30" fmla="*/ 9854470 h 12561136"/>
                <a:gd name="connsiteX31" fmla="*/ 14498387 w 17157070"/>
                <a:gd name="connsiteY31" fmla="*/ 9275706 h 12561136"/>
                <a:gd name="connsiteX32" fmla="*/ 13847278 w 17157070"/>
                <a:gd name="connsiteY32" fmla="*/ 8371392 h 12561136"/>
                <a:gd name="connsiteX33" fmla="*/ 13340864 w 17157070"/>
                <a:gd name="connsiteY33" fmla="*/ 7666029 h 12561136"/>
                <a:gd name="connsiteX34" fmla="*/ 13123831 w 17157070"/>
                <a:gd name="connsiteY34" fmla="*/ 6580851 h 12561136"/>
                <a:gd name="connsiteX35" fmla="*/ 13232349 w 17157070"/>
                <a:gd name="connsiteY35" fmla="*/ 5893577 h 12561136"/>
                <a:gd name="connsiteX36" fmla="*/ 12273778 w 17157070"/>
                <a:gd name="connsiteY36" fmla="*/ 5926738 h 12561136"/>
                <a:gd name="connsiteX37" fmla="*/ 12201432 w 17157070"/>
                <a:gd name="connsiteY37" fmla="*/ 5528838 h 12561136"/>
                <a:gd name="connsiteX38" fmla="*/ 12508887 w 17157070"/>
                <a:gd name="connsiteY38" fmla="*/ 5025443 h 12561136"/>
                <a:gd name="connsiteX39" fmla="*/ 13774933 w 17157070"/>
                <a:gd name="connsiteY39" fmla="*/ 4247727 h 12561136"/>
                <a:gd name="connsiteX40" fmla="*/ 15294184 w 17157070"/>
                <a:gd name="connsiteY40" fmla="*/ 3741312 h 12561136"/>
                <a:gd name="connsiteX41" fmla="*/ 15746333 w 17157070"/>
                <a:gd name="connsiteY41" fmla="*/ 4066867 h 12561136"/>
                <a:gd name="connsiteX42" fmla="*/ 16578306 w 17157070"/>
                <a:gd name="connsiteY42" fmla="*/ 3777485 h 12561136"/>
                <a:gd name="connsiteX43" fmla="*/ 17084732 w 17157070"/>
                <a:gd name="connsiteY43" fmla="*/ 4175393 h 12561136"/>
                <a:gd name="connsiteX44" fmla="*/ 17157070 w 17157070"/>
                <a:gd name="connsiteY44" fmla="*/ 3234902 h 12561136"/>
                <a:gd name="connsiteX45" fmla="*/ 16433615 w 17157070"/>
                <a:gd name="connsiteY45" fmla="*/ 3144472 h 12561136"/>
                <a:gd name="connsiteX46" fmla="*/ 16415865 w 17157070"/>
                <a:gd name="connsiteY46" fmla="*/ 2528320 h 12561136"/>
                <a:gd name="connsiteX47" fmla="*/ 15963191 w 17157070"/>
                <a:gd name="connsiteY47" fmla="*/ 2667776 h 12561136"/>
                <a:gd name="connsiteX48" fmla="*/ 14923009 w 17157070"/>
                <a:gd name="connsiteY48" fmla="*/ 1437893 h 12561136"/>
                <a:gd name="connsiteX49" fmla="*/ 14244644 w 17157070"/>
                <a:gd name="connsiteY49" fmla="*/ -2 h 12561136"/>
                <a:gd name="connsiteX50" fmla="*/ 13367278 w 17157070"/>
                <a:gd name="connsiteY50" fmla="*/ 289403 h 12561136"/>
                <a:gd name="connsiteX51" fmla="*/ 4600673 w 17157070"/>
                <a:gd name="connsiteY51" fmla="*/ 4675479 h 12561136"/>
                <a:gd name="connsiteX52" fmla="*/ 4416749 w 17157070"/>
                <a:gd name="connsiteY52" fmla="*/ 4252472 h 12561136"/>
                <a:gd name="connsiteX53" fmla="*/ 4653822 w 17157070"/>
                <a:gd name="connsiteY53" fmla="*/ 3702305 h 12561136"/>
                <a:gd name="connsiteX54" fmla="*/ 4432864 w 17157070"/>
                <a:gd name="connsiteY54" fmla="*/ 3149070 h 12561136"/>
                <a:gd name="connsiteX55" fmla="*/ 4437471 w 17157070"/>
                <a:gd name="connsiteY55" fmla="*/ 2480282 h 12561136"/>
                <a:gd name="connsiteX56" fmla="*/ 4141784 w 17157070"/>
                <a:gd name="connsiteY56" fmla="*/ 1760928 h 12561136"/>
                <a:gd name="connsiteX57" fmla="*/ 2314296 w 17157070"/>
                <a:gd name="connsiteY57" fmla="*/ 2043785 h 12561136"/>
                <a:gd name="connsiteX58" fmla="*/ 1334589 w 17157070"/>
                <a:gd name="connsiteY58" fmla="*/ 2848657 h 12561136"/>
                <a:gd name="connsiteX59" fmla="*/ 0 w 17157070"/>
                <a:gd name="connsiteY59" fmla="*/ 4196103 h 12561136"/>
                <a:gd name="connsiteX0" fmla="*/ 0 w 17157070"/>
                <a:gd name="connsiteY0" fmla="*/ 4196103 h 12561136"/>
                <a:gd name="connsiteX1" fmla="*/ 613837 w 17157070"/>
                <a:gd name="connsiteY1" fmla="*/ 6574461 h 12561136"/>
                <a:gd name="connsiteX2" fmla="*/ 1518338 w 17157070"/>
                <a:gd name="connsiteY2" fmla="*/ 7442611 h 12561136"/>
                <a:gd name="connsiteX3" fmla="*/ 1735898 w 17157070"/>
                <a:gd name="connsiteY3" fmla="*/ 8274535 h 12561136"/>
                <a:gd name="connsiteX4" fmla="*/ 3137400 w 17157070"/>
                <a:gd name="connsiteY4" fmla="*/ 8799095 h 12561136"/>
                <a:gd name="connsiteX5" fmla="*/ 3453963 w 17157070"/>
                <a:gd name="connsiteY5" fmla="*/ 10155586 h 12561136"/>
                <a:gd name="connsiteX6" fmla="*/ 4168520 w 17157070"/>
                <a:gd name="connsiteY6" fmla="*/ 11530155 h 12561136"/>
                <a:gd name="connsiteX7" fmla="*/ 4162343 w 17157070"/>
                <a:gd name="connsiteY7" fmla="*/ 12561136 h 12561136"/>
                <a:gd name="connsiteX8" fmla="*/ 4605215 w 17157070"/>
                <a:gd name="connsiteY8" fmla="*/ 12476972 h 12561136"/>
                <a:gd name="connsiteX9" fmla="*/ 4840336 w 17157070"/>
                <a:gd name="connsiteY9" fmla="*/ 12187590 h 12561136"/>
                <a:gd name="connsiteX10" fmla="*/ 6070201 w 17157070"/>
                <a:gd name="connsiteY10" fmla="*/ 12205682 h 12561136"/>
                <a:gd name="connsiteX11" fmla="*/ 6884082 w 17157070"/>
                <a:gd name="connsiteY11" fmla="*/ 11608830 h 12561136"/>
                <a:gd name="connsiteX12" fmla="*/ 7716051 w 17157070"/>
                <a:gd name="connsiteY12" fmla="*/ 11934389 h 12561136"/>
                <a:gd name="connsiteX13" fmla="*/ 8584189 w 17157070"/>
                <a:gd name="connsiteY13" fmla="*/ 11735437 h 12561136"/>
                <a:gd name="connsiteX14" fmla="*/ 9289552 w 17157070"/>
                <a:gd name="connsiteY14" fmla="*/ 11934389 h 12561136"/>
                <a:gd name="connsiteX15" fmla="*/ 10139605 w 17157070"/>
                <a:gd name="connsiteY15" fmla="*/ 11536489 h 12561136"/>
                <a:gd name="connsiteX16" fmla="*/ 10664108 w 17157070"/>
                <a:gd name="connsiteY16" fmla="*/ 11753525 h 12561136"/>
                <a:gd name="connsiteX17" fmla="*/ 11387555 w 17157070"/>
                <a:gd name="connsiteY17" fmla="*/ 11663095 h 12561136"/>
                <a:gd name="connsiteX18" fmla="*/ 11966315 w 17157070"/>
                <a:gd name="connsiteY18" fmla="*/ 12386550 h 12561136"/>
                <a:gd name="connsiteX19" fmla="*/ 12942975 w 17157070"/>
                <a:gd name="connsiteY19" fmla="*/ 12151421 h 12561136"/>
                <a:gd name="connsiteX20" fmla="*/ 13575992 w 17157070"/>
                <a:gd name="connsiteY20" fmla="*/ 12549321 h 12561136"/>
                <a:gd name="connsiteX21" fmla="*/ 13973888 w 17157070"/>
                <a:gd name="connsiteY21" fmla="*/ 12458888 h 12561136"/>
                <a:gd name="connsiteX22" fmla="*/ 14028146 w 17157070"/>
                <a:gd name="connsiteY22" fmla="*/ 11916297 h 12561136"/>
                <a:gd name="connsiteX23" fmla="*/ 13594073 w 17157070"/>
                <a:gd name="connsiteY23" fmla="*/ 11862040 h 12561136"/>
                <a:gd name="connsiteX24" fmla="*/ 13612161 w 17157070"/>
                <a:gd name="connsiteY24" fmla="*/ 11174761 h 12561136"/>
                <a:gd name="connsiteX25" fmla="*/ 14190925 w 17157070"/>
                <a:gd name="connsiteY25" fmla="*/ 11030074 h 12561136"/>
                <a:gd name="connsiteX26" fmla="*/ 13865366 w 17157070"/>
                <a:gd name="connsiteY26" fmla="*/ 10559829 h 12561136"/>
                <a:gd name="connsiteX27" fmla="*/ 14136664 w 17157070"/>
                <a:gd name="connsiteY27" fmla="*/ 10161933 h 12561136"/>
                <a:gd name="connsiteX28" fmla="*/ 14703435 w 17157070"/>
                <a:gd name="connsiteY28" fmla="*/ 10189029 h 12561136"/>
                <a:gd name="connsiteX29" fmla="*/ 14661163 w 17157070"/>
                <a:gd name="connsiteY29" fmla="*/ 10017245 h 12561136"/>
                <a:gd name="connsiteX30" fmla="*/ 14335608 w 17157070"/>
                <a:gd name="connsiteY30" fmla="*/ 9854470 h 12561136"/>
                <a:gd name="connsiteX31" fmla="*/ 14498387 w 17157070"/>
                <a:gd name="connsiteY31" fmla="*/ 9275706 h 12561136"/>
                <a:gd name="connsiteX32" fmla="*/ 13847278 w 17157070"/>
                <a:gd name="connsiteY32" fmla="*/ 8371392 h 12561136"/>
                <a:gd name="connsiteX33" fmla="*/ 13340864 w 17157070"/>
                <a:gd name="connsiteY33" fmla="*/ 7666029 h 12561136"/>
                <a:gd name="connsiteX34" fmla="*/ 13123831 w 17157070"/>
                <a:gd name="connsiteY34" fmla="*/ 6580851 h 12561136"/>
                <a:gd name="connsiteX35" fmla="*/ 13232349 w 17157070"/>
                <a:gd name="connsiteY35" fmla="*/ 5893577 h 12561136"/>
                <a:gd name="connsiteX36" fmla="*/ 12273778 w 17157070"/>
                <a:gd name="connsiteY36" fmla="*/ 5926738 h 12561136"/>
                <a:gd name="connsiteX37" fmla="*/ 12201432 w 17157070"/>
                <a:gd name="connsiteY37" fmla="*/ 5528838 h 12561136"/>
                <a:gd name="connsiteX38" fmla="*/ 12508887 w 17157070"/>
                <a:gd name="connsiteY38" fmla="*/ 5025443 h 12561136"/>
                <a:gd name="connsiteX39" fmla="*/ 13774933 w 17157070"/>
                <a:gd name="connsiteY39" fmla="*/ 4247727 h 12561136"/>
                <a:gd name="connsiteX40" fmla="*/ 15294184 w 17157070"/>
                <a:gd name="connsiteY40" fmla="*/ 3741312 h 12561136"/>
                <a:gd name="connsiteX41" fmla="*/ 15746333 w 17157070"/>
                <a:gd name="connsiteY41" fmla="*/ 4066867 h 12561136"/>
                <a:gd name="connsiteX42" fmla="*/ 16578306 w 17157070"/>
                <a:gd name="connsiteY42" fmla="*/ 3777485 h 12561136"/>
                <a:gd name="connsiteX43" fmla="*/ 17084732 w 17157070"/>
                <a:gd name="connsiteY43" fmla="*/ 4175393 h 12561136"/>
                <a:gd name="connsiteX44" fmla="*/ 17157070 w 17157070"/>
                <a:gd name="connsiteY44" fmla="*/ 3234902 h 12561136"/>
                <a:gd name="connsiteX45" fmla="*/ 16433615 w 17157070"/>
                <a:gd name="connsiteY45" fmla="*/ 3144472 h 12561136"/>
                <a:gd name="connsiteX46" fmla="*/ 16415865 w 17157070"/>
                <a:gd name="connsiteY46" fmla="*/ 2528320 h 12561136"/>
                <a:gd name="connsiteX47" fmla="*/ 15963191 w 17157070"/>
                <a:gd name="connsiteY47" fmla="*/ 2667776 h 12561136"/>
                <a:gd name="connsiteX48" fmla="*/ 14923009 w 17157070"/>
                <a:gd name="connsiteY48" fmla="*/ 1437893 h 12561136"/>
                <a:gd name="connsiteX49" fmla="*/ 14244644 w 17157070"/>
                <a:gd name="connsiteY49" fmla="*/ -2 h 12561136"/>
                <a:gd name="connsiteX50" fmla="*/ 4898441 w 17157070"/>
                <a:gd name="connsiteY50" fmla="*/ 4943950 h 12561136"/>
                <a:gd name="connsiteX51" fmla="*/ 4600673 w 17157070"/>
                <a:gd name="connsiteY51" fmla="*/ 4675479 h 12561136"/>
                <a:gd name="connsiteX52" fmla="*/ 4416749 w 17157070"/>
                <a:gd name="connsiteY52" fmla="*/ 4252472 h 12561136"/>
                <a:gd name="connsiteX53" fmla="*/ 4653822 w 17157070"/>
                <a:gd name="connsiteY53" fmla="*/ 3702305 h 12561136"/>
                <a:gd name="connsiteX54" fmla="*/ 4432864 w 17157070"/>
                <a:gd name="connsiteY54" fmla="*/ 3149070 h 12561136"/>
                <a:gd name="connsiteX55" fmla="*/ 4437471 w 17157070"/>
                <a:gd name="connsiteY55" fmla="*/ 2480282 h 12561136"/>
                <a:gd name="connsiteX56" fmla="*/ 4141784 w 17157070"/>
                <a:gd name="connsiteY56" fmla="*/ 1760928 h 12561136"/>
                <a:gd name="connsiteX57" fmla="*/ 2314296 w 17157070"/>
                <a:gd name="connsiteY57" fmla="*/ 2043785 h 12561136"/>
                <a:gd name="connsiteX58" fmla="*/ 1334589 w 17157070"/>
                <a:gd name="connsiteY58" fmla="*/ 2848657 h 12561136"/>
                <a:gd name="connsiteX59" fmla="*/ 0 w 17157070"/>
                <a:gd name="connsiteY59" fmla="*/ 4196103 h 12561136"/>
                <a:gd name="connsiteX0" fmla="*/ 0 w 17157070"/>
                <a:gd name="connsiteY0" fmla="*/ 2758209 h 11123242"/>
                <a:gd name="connsiteX1" fmla="*/ 613837 w 17157070"/>
                <a:gd name="connsiteY1" fmla="*/ 5136567 h 11123242"/>
                <a:gd name="connsiteX2" fmla="*/ 1518338 w 17157070"/>
                <a:gd name="connsiteY2" fmla="*/ 6004717 h 11123242"/>
                <a:gd name="connsiteX3" fmla="*/ 1735898 w 17157070"/>
                <a:gd name="connsiteY3" fmla="*/ 6836641 h 11123242"/>
                <a:gd name="connsiteX4" fmla="*/ 3137400 w 17157070"/>
                <a:gd name="connsiteY4" fmla="*/ 7361201 h 11123242"/>
                <a:gd name="connsiteX5" fmla="*/ 3453963 w 17157070"/>
                <a:gd name="connsiteY5" fmla="*/ 8717692 h 11123242"/>
                <a:gd name="connsiteX6" fmla="*/ 4168520 w 17157070"/>
                <a:gd name="connsiteY6" fmla="*/ 10092261 h 11123242"/>
                <a:gd name="connsiteX7" fmla="*/ 4162343 w 17157070"/>
                <a:gd name="connsiteY7" fmla="*/ 11123242 h 11123242"/>
                <a:gd name="connsiteX8" fmla="*/ 4605215 w 17157070"/>
                <a:gd name="connsiteY8" fmla="*/ 11039078 h 11123242"/>
                <a:gd name="connsiteX9" fmla="*/ 4840336 w 17157070"/>
                <a:gd name="connsiteY9" fmla="*/ 10749696 h 11123242"/>
                <a:gd name="connsiteX10" fmla="*/ 6070201 w 17157070"/>
                <a:gd name="connsiteY10" fmla="*/ 10767788 h 11123242"/>
                <a:gd name="connsiteX11" fmla="*/ 6884082 w 17157070"/>
                <a:gd name="connsiteY11" fmla="*/ 10170936 h 11123242"/>
                <a:gd name="connsiteX12" fmla="*/ 7716051 w 17157070"/>
                <a:gd name="connsiteY12" fmla="*/ 10496495 h 11123242"/>
                <a:gd name="connsiteX13" fmla="*/ 8584189 w 17157070"/>
                <a:gd name="connsiteY13" fmla="*/ 10297543 h 11123242"/>
                <a:gd name="connsiteX14" fmla="*/ 9289552 w 17157070"/>
                <a:gd name="connsiteY14" fmla="*/ 10496495 h 11123242"/>
                <a:gd name="connsiteX15" fmla="*/ 10139605 w 17157070"/>
                <a:gd name="connsiteY15" fmla="*/ 10098595 h 11123242"/>
                <a:gd name="connsiteX16" fmla="*/ 10664108 w 17157070"/>
                <a:gd name="connsiteY16" fmla="*/ 10315631 h 11123242"/>
                <a:gd name="connsiteX17" fmla="*/ 11387555 w 17157070"/>
                <a:gd name="connsiteY17" fmla="*/ 10225201 h 11123242"/>
                <a:gd name="connsiteX18" fmla="*/ 11966315 w 17157070"/>
                <a:gd name="connsiteY18" fmla="*/ 10948656 h 11123242"/>
                <a:gd name="connsiteX19" fmla="*/ 12942975 w 17157070"/>
                <a:gd name="connsiteY19" fmla="*/ 10713527 h 11123242"/>
                <a:gd name="connsiteX20" fmla="*/ 13575992 w 17157070"/>
                <a:gd name="connsiteY20" fmla="*/ 11111427 h 11123242"/>
                <a:gd name="connsiteX21" fmla="*/ 13973888 w 17157070"/>
                <a:gd name="connsiteY21" fmla="*/ 11020994 h 11123242"/>
                <a:gd name="connsiteX22" fmla="*/ 14028146 w 17157070"/>
                <a:gd name="connsiteY22" fmla="*/ 10478403 h 11123242"/>
                <a:gd name="connsiteX23" fmla="*/ 13594073 w 17157070"/>
                <a:gd name="connsiteY23" fmla="*/ 10424146 h 11123242"/>
                <a:gd name="connsiteX24" fmla="*/ 13612161 w 17157070"/>
                <a:gd name="connsiteY24" fmla="*/ 9736867 h 11123242"/>
                <a:gd name="connsiteX25" fmla="*/ 14190925 w 17157070"/>
                <a:gd name="connsiteY25" fmla="*/ 9592180 h 11123242"/>
                <a:gd name="connsiteX26" fmla="*/ 13865366 w 17157070"/>
                <a:gd name="connsiteY26" fmla="*/ 9121935 h 11123242"/>
                <a:gd name="connsiteX27" fmla="*/ 14136664 w 17157070"/>
                <a:gd name="connsiteY27" fmla="*/ 8724039 h 11123242"/>
                <a:gd name="connsiteX28" fmla="*/ 14703435 w 17157070"/>
                <a:gd name="connsiteY28" fmla="*/ 8751135 h 11123242"/>
                <a:gd name="connsiteX29" fmla="*/ 14661163 w 17157070"/>
                <a:gd name="connsiteY29" fmla="*/ 8579351 h 11123242"/>
                <a:gd name="connsiteX30" fmla="*/ 14335608 w 17157070"/>
                <a:gd name="connsiteY30" fmla="*/ 8416576 h 11123242"/>
                <a:gd name="connsiteX31" fmla="*/ 14498387 w 17157070"/>
                <a:gd name="connsiteY31" fmla="*/ 7837812 h 11123242"/>
                <a:gd name="connsiteX32" fmla="*/ 13847278 w 17157070"/>
                <a:gd name="connsiteY32" fmla="*/ 6933498 h 11123242"/>
                <a:gd name="connsiteX33" fmla="*/ 13340864 w 17157070"/>
                <a:gd name="connsiteY33" fmla="*/ 6228135 h 11123242"/>
                <a:gd name="connsiteX34" fmla="*/ 13123831 w 17157070"/>
                <a:gd name="connsiteY34" fmla="*/ 5142957 h 11123242"/>
                <a:gd name="connsiteX35" fmla="*/ 13232349 w 17157070"/>
                <a:gd name="connsiteY35" fmla="*/ 4455683 h 11123242"/>
                <a:gd name="connsiteX36" fmla="*/ 12273778 w 17157070"/>
                <a:gd name="connsiteY36" fmla="*/ 4488844 h 11123242"/>
                <a:gd name="connsiteX37" fmla="*/ 12201432 w 17157070"/>
                <a:gd name="connsiteY37" fmla="*/ 4090944 h 11123242"/>
                <a:gd name="connsiteX38" fmla="*/ 12508887 w 17157070"/>
                <a:gd name="connsiteY38" fmla="*/ 3587549 h 11123242"/>
                <a:gd name="connsiteX39" fmla="*/ 13774933 w 17157070"/>
                <a:gd name="connsiteY39" fmla="*/ 2809833 h 11123242"/>
                <a:gd name="connsiteX40" fmla="*/ 15294184 w 17157070"/>
                <a:gd name="connsiteY40" fmla="*/ 2303418 h 11123242"/>
                <a:gd name="connsiteX41" fmla="*/ 15746333 w 17157070"/>
                <a:gd name="connsiteY41" fmla="*/ 2628973 h 11123242"/>
                <a:gd name="connsiteX42" fmla="*/ 16578306 w 17157070"/>
                <a:gd name="connsiteY42" fmla="*/ 2339591 h 11123242"/>
                <a:gd name="connsiteX43" fmla="*/ 17084732 w 17157070"/>
                <a:gd name="connsiteY43" fmla="*/ 2737499 h 11123242"/>
                <a:gd name="connsiteX44" fmla="*/ 17157070 w 17157070"/>
                <a:gd name="connsiteY44" fmla="*/ 1797008 h 11123242"/>
                <a:gd name="connsiteX45" fmla="*/ 16433615 w 17157070"/>
                <a:gd name="connsiteY45" fmla="*/ 1706578 h 11123242"/>
                <a:gd name="connsiteX46" fmla="*/ 16415865 w 17157070"/>
                <a:gd name="connsiteY46" fmla="*/ 1090426 h 11123242"/>
                <a:gd name="connsiteX47" fmla="*/ 15963191 w 17157070"/>
                <a:gd name="connsiteY47" fmla="*/ 1229882 h 11123242"/>
                <a:gd name="connsiteX48" fmla="*/ 14923009 w 17157070"/>
                <a:gd name="connsiteY48" fmla="*/ -1 h 11123242"/>
                <a:gd name="connsiteX49" fmla="*/ 5153802 w 17157070"/>
                <a:gd name="connsiteY49" fmla="*/ 3455348 h 11123242"/>
                <a:gd name="connsiteX50" fmla="*/ 4898441 w 17157070"/>
                <a:gd name="connsiteY50" fmla="*/ 3506056 h 11123242"/>
                <a:gd name="connsiteX51" fmla="*/ 4600673 w 17157070"/>
                <a:gd name="connsiteY51" fmla="*/ 3237585 h 11123242"/>
                <a:gd name="connsiteX52" fmla="*/ 4416749 w 17157070"/>
                <a:gd name="connsiteY52" fmla="*/ 2814578 h 11123242"/>
                <a:gd name="connsiteX53" fmla="*/ 4653822 w 17157070"/>
                <a:gd name="connsiteY53" fmla="*/ 2264411 h 11123242"/>
                <a:gd name="connsiteX54" fmla="*/ 4432864 w 17157070"/>
                <a:gd name="connsiteY54" fmla="*/ 1711176 h 11123242"/>
                <a:gd name="connsiteX55" fmla="*/ 4437471 w 17157070"/>
                <a:gd name="connsiteY55" fmla="*/ 1042388 h 11123242"/>
                <a:gd name="connsiteX56" fmla="*/ 4141784 w 17157070"/>
                <a:gd name="connsiteY56" fmla="*/ 323034 h 11123242"/>
                <a:gd name="connsiteX57" fmla="*/ 2314296 w 17157070"/>
                <a:gd name="connsiteY57" fmla="*/ 605891 h 11123242"/>
                <a:gd name="connsiteX58" fmla="*/ 1334589 w 17157070"/>
                <a:gd name="connsiteY58" fmla="*/ 1410763 h 11123242"/>
                <a:gd name="connsiteX59" fmla="*/ 0 w 17157070"/>
                <a:gd name="connsiteY59" fmla="*/ 2758209 h 11123242"/>
                <a:gd name="connsiteX0" fmla="*/ 0 w 17157070"/>
                <a:gd name="connsiteY0" fmla="*/ 2435175 h 10800208"/>
                <a:gd name="connsiteX1" fmla="*/ 613837 w 17157070"/>
                <a:gd name="connsiteY1" fmla="*/ 4813533 h 10800208"/>
                <a:gd name="connsiteX2" fmla="*/ 1518338 w 17157070"/>
                <a:gd name="connsiteY2" fmla="*/ 5681683 h 10800208"/>
                <a:gd name="connsiteX3" fmla="*/ 1735898 w 17157070"/>
                <a:gd name="connsiteY3" fmla="*/ 6513607 h 10800208"/>
                <a:gd name="connsiteX4" fmla="*/ 3137400 w 17157070"/>
                <a:gd name="connsiteY4" fmla="*/ 7038167 h 10800208"/>
                <a:gd name="connsiteX5" fmla="*/ 3453963 w 17157070"/>
                <a:gd name="connsiteY5" fmla="*/ 8394658 h 10800208"/>
                <a:gd name="connsiteX6" fmla="*/ 4168520 w 17157070"/>
                <a:gd name="connsiteY6" fmla="*/ 9769227 h 10800208"/>
                <a:gd name="connsiteX7" fmla="*/ 4162343 w 17157070"/>
                <a:gd name="connsiteY7" fmla="*/ 10800208 h 10800208"/>
                <a:gd name="connsiteX8" fmla="*/ 4605215 w 17157070"/>
                <a:gd name="connsiteY8" fmla="*/ 10716044 h 10800208"/>
                <a:gd name="connsiteX9" fmla="*/ 4840336 w 17157070"/>
                <a:gd name="connsiteY9" fmla="*/ 10426662 h 10800208"/>
                <a:gd name="connsiteX10" fmla="*/ 6070201 w 17157070"/>
                <a:gd name="connsiteY10" fmla="*/ 10444754 h 10800208"/>
                <a:gd name="connsiteX11" fmla="*/ 6884082 w 17157070"/>
                <a:gd name="connsiteY11" fmla="*/ 9847902 h 10800208"/>
                <a:gd name="connsiteX12" fmla="*/ 7716051 w 17157070"/>
                <a:gd name="connsiteY12" fmla="*/ 10173461 h 10800208"/>
                <a:gd name="connsiteX13" fmla="*/ 8584189 w 17157070"/>
                <a:gd name="connsiteY13" fmla="*/ 9974509 h 10800208"/>
                <a:gd name="connsiteX14" fmla="*/ 9289552 w 17157070"/>
                <a:gd name="connsiteY14" fmla="*/ 10173461 h 10800208"/>
                <a:gd name="connsiteX15" fmla="*/ 10139605 w 17157070"/>
                <a:gd name="connsiteY15" fmla="*/ 9775561 h 10800208"/>
                <a:gd name="connsiteX16" fmla="*/ 10664108 w 17157070"/>
                <a:gd name="connsiteY16" fmla="*/ 9992597 h 10800208"/>
                <a:gd name="connsiteX17" fmla="*/ 11387555 w 17157070"/>
                <a:gd name="connsiteY17" fmla="*/ 9902167 h 10800208"/>
                <a:gd name="connsiteX18" fmla="*/ 11966315 w 17157070"/>
                <a:gd name="connsiteY18" fmla="*/ 10625622 h 10800208"/>
                <a:gd name="connsiteX19" fmla="*/ 12942975 w 17157070"/>
                <a:gd name="connsiteY19" fmla="*/ 10390493 h 10800208"/>
                <a:gd name="connsiteX20" fmla="*/ 13575992 w 17157070"/>
                <a:gd name="connsiteY20" fmla="*/ 10788393 h 10800208"/>
                <a:gd name="connsiteX21" fmla="*/ 13973888 w 17157070"/>
                <a:gd name="connsiteY21" fmla="*/ 10697960 h 10800208"/>
                <a:gd name="connsiteX22" fmla="*/ 14028146 w 17157070"/>
                <a:gd name="connsiteY22" fmla="*/ 10155369 h 10800208"/>
                <a:gd name="connsiteX23" fmla="*/ 13594073 w 17157070"/>
                <a:gd name="connsiteY23" fmla="*/ 10101112 h 10800208"/>
                <a:gd name="connsiteX24" fmla="*/ 13612161 w 17157070"/>
                <a:gd name="connsiteY24" fmla="*/ 9413833 h 10800208"/>
                <a:gd name="connsiteX25" fmla="*/ 14190925 w 17157070"/>
                <a:gd name="connsiteY25" fmla="*/ 9269146 h 10800208"/>
                <a:gd name="connsiteX26" fmla="*/ 13865366 w 17157070"/>
                <a:gd name="connsiteY26" fmla="*/ 8798901 h 10800208"/>
                <a:gd name="connsiteX27" fmla="*/ 14136664 w 17157070"/>
                <a:gd name="connsiteY27" fmla="*/ 8401005 h 10800208"/>
                <a:gd name="connsiteX28" fmla="*/ 14703435 w 17157070"/>
                <a:gd name="connsiteY28" fmla="*/ 8428101 h 10800208"/>
                <a:gd name="connsiteX29" fmla="*/ 14661163 w 17157070"/>
                <a:gd name="connsiteY29" fmla="*/ 8256317 h 10800208"/>
                <a:gd name="connsiteX30" fmla="*/ 14335608 w 17157070"/>
                <a:gd name="connsiteY30" fmla="*/ 8093542 h 10800208"/>
                <a:gd name="connsiteX31" fmla="*/ 14498387 w 17157070"/>
                <a:gd name="connsiteY31" fmla="*/ 7514778 h 10800208"/>
                <a:gd name="connsiteX32" fmla="*/ 13847278 w 17157070"/>
                <a:gd name="connsiteY32" fmla="*/ 6610464 h 10800208"/>
                <a:gd name="connsiteX33" fmla="*/ 13340864 w 17157070"/>
                <a:gd name="connsiteY33" fmla="*/ 5905101 h 10800208"/>
                <a:gd name="connsiteX34" fmla="*/ 13123831 w 17157070"/>
                <a:gd name="connsiteY34" fmla="*/ 4819923 h 10800208"/>
                <a:gd name="connsiteX35" fmla="*/ 13232349 w 17157070"/>
                <a:gd name="connsiteY35" fmla="*/ 4132649 h 10800208"/>
                <a:gd name="connsiteX36" fmla="*/ 12273778 w 17157070"/>
                <a:gd name="connsiteY36" fmla="*/ 4165810 h 10800208"/>
                <a:gd name="connsiteX37" fmla="*/ 12201432 w 17157070"/>
                <a:gd name="connsiteY37" fmla="*/ 3767910 h 10800208"/>
                <a:gd name="connsiteX38" fmla="*/ 12508887 w 17157070"/>
                <a:gd name="connsiteY38" fmla="*/ 3264515 h 10800208"/>
                <a:gd name="connsiteX39" fmla="*/ 13774933 w 17157070"/>
                <a:gd name="connsiteY39" fmla="*/ 2486799 h 10800208"/>
                <a:gd name="connsiteX40" fmla="*/ 15294184 w 17157070"/>
                <a:gd name="connsiteY40" fmla="*/ 1980384 h 10800208"/>
                <a:gd name="connsiteX41" fmla="*/ 15746333 w 17157070"/>
                <a:gd name="connsiteY41" fmla="*/ 2305939 h 10800208"/>
                <a:gd name="connsiteX42" fmla="*/ 16578306 w 17157070"/>
                <a:gd name="connsiteY42" fmla="*/ 2016557 h 10800208"/>
                <a:gd name="connsiteX43" fmla="*/ 17084732 w 17157070"/>
                <a:gd name="connsiteY43" fmla="*/ 2414465 h 10800208"/>
                <a:gd name="connsiteX44" fmla="*/ 17157070 w 17157070"/>
                <a:gd name="connsiteY44" fmla="*/ 1473974 h 10800208"/>
                <a:gd name="connsiteX45" fmla="*/ 16433615 w 17157070"/>
                <a:gd name="connsiteY45" fmla="*/ 1383544 h 10800208"/>
                <a:gd name="connsiteX46" fmla="*/ 16415865 w 17157070"/>
                <a:gd name="connsiteY46" fmla="*/ 767392 h 10800208"/>
                <a:gd name="connsiteX47" fmla="*/ 15963191 w 17157070"/>
                <a:gd name="connsiteY47" fmla="*/ 906848 h 10800208"/>
                <a:gd name="connsiteX48" fmla="*/ 5153802 w 17157070"/>
                <a:gd name="connsiteY48" fmla="*/ 3132314 h 10800208"/>
                <a:gd name="connsiteX49" fmla="*/ 4898441 w 17157070"/>
                <a:gd name="connsiteY49" fmla="*/ 3183022 h 10800208"/>
                <a:gd name="connsiteX50" fmla="*/ 4600673 w 17157070"/>
                <a:gd name="connsiteY50" fmla="*/ 2914551 h 10800208"/>
                <a:gd name="connsiteX51" fmla="*/ 4416749 w 17157070"/>
                <a:gd name="connsiteY51" fmla="*/ 2491544 h 10800208"/>
                <a:gd name="connsiteX52" fmla="*/ 4653822 w 17157070"/>
                <a:gd name="connsiteY52" fmla="*/ 1941377 h 10800208"/>
                <a:gd name="connsiteX53" fmla="*/ 4432864 w 17157070"/>
                <a:gd name="connsiteY53" fmla="*/ 1388142 h 10800208"/>
                <a:gd name="connsiteX54" fmla="*/ 4437471 w 17157070"/>
                <a:gd name="connsiteY54" fmla="*/ 719354 h 10800208"/>
                <a:gd name="connsiteX55" fmla="*/ 4141784 w 17157070"/>
                <a:gd name="connsiteY55" fmla="*/ 0 h 10800208"/>
                <a:gd name="connsiteX56" fmla="*/ 2314296 w 17157070"/>
                <a:gd name="connsiteY56" fmla="*/ 282857 h 10800208"/>
                <a:gd name="connsiteX57" fmla="*/ 1334589 w 17157070"/>
                <a:gd name="connsiteY57" fmla="*/ 1087729 h 10800208"/>
                <a:gd name="connsiteX58" fmla="*/ 0 w 17157070"/>
                <a:gd name="connsiteY58" fmla="*/ 2435175 h 10800208"/>
                <a:gd name="connsiteX0" fmla="*/ 0 w 17157070"/>
                <a:gd name="connsiteY0" fmla="*/ 2435175 h 10800208"/>
                <a:gd name="connsiteX1" fmla="*/ 613837 w 17157070"/>
                <a:gd name="connsiteY1" fmla="*/ 4813533 h 10800208"/>
                <a:gd name="connsiteX2" fmla="*/ 1518338 w 17157070"/>
                <a:gd name="connsiteY2" fmla="*/ 5681683 h 10800208"/>
                <a:gd name="connsiteX3" fmla="*/ 1735898 w 17157070"/>
                <a:gd name="connsiteY3" fmla="*/ 6513607 h 10800208"/>
                <a:gd name="connsiteX4" fmla="*/ 3137400 w 17157070"/>
                <a:gd name="connsiteY4" fmla="*/ 7038167 h 10800208"/>
                <a:gd name="connsiteX5" fmla="*/ 3453963 w 17157070"/>
                <a:gd name="connsiteY5" fmla="*/ 8394658 h 10800208"/>
                <a:gd name="connsiteX6" fmla="*/ 4168520 w 17157070"/>
                <a:gd name="connsiteY6" fmla="*/ 9769227 h 10800208"/>
                <a:gd name="connsiteX7" fmla="*/ 4162343 w 17157070"/>
                <a:gd name="connsiteY7" fmla="*/ 10800208 h 10800208"/>
                <a:gd name="connsiteX8" fmla="*/ 4605215 w 17157070"/>
                <a:gd name="connsiteY8" fmla="*/ 10716044 h 10800208"/>
                <a:gd name="connsiteX9" fmla="*/ 4840336 w 17157070"/>
                <a:gd name="connsiteY9" fmla="*/ 10426662 h 10800208"/>
                <a:gd name="connsiteX10" fmla="*/ 6070201 w 17157070"/>
                <a:gd name="connsiteY10" fmla="*/ 10444754 h 10800208"/>
                <a:gd name="connsiteX11" fmla="*/ 6884082 w 17157070"/>
                <a:gd name="connsiteY11" fmla="*/ 9847902 h 10800208"/>
                <a:gd name="connsiteX12" fmla="*/ 7716051 w 17157070"/>
                <a:gd name="connsiteY12" fmla="*/ 10173461 h 10800208"/>
                <a:gd name="connsiteX13" fmla="*/ 8584189 w 17157070"/>
                <a:gd name="connsiteY13" fmla="*/ 9974509 h 10800208"/>
                <a:gd name="connsiteX14" fmla="*/ 9289552 w 17157070"/>
                <a:gd name="connsiteY14" fmla="*/ 10173461 h 10800208"/>
                <a:gd name="connsiteX15" fmla="*/ 10139605 w 17157070"/>
                <a:gd name="connsiteY15" fmla="*/ 9775561 h 10800208"/>
                <a:gd name="connsiteX16" fmla="*/ 10664108 w 17157070"/>
                <a:gd name="connsiteY16" fmla="*/ 9992597 h 10800208"/>
                <a:gd name="connsiteX17" fmla="*/ 11387555 w 17157070"/>
                <a:gd name="connsiteY17" fmla="*/ 9902167 h 10800208"/>
                <a:gd name="connsiteX18" fmla="*/ 11966315 w 17157070"/>
                <a:gd name="connsiteY18" fmla="*/ 10625622 h 10800208"/>
                <a:gd name="connsiteX19" fmla="*/ 12942975 w 17157070"/>
                <a:gd name="connsiteY19" fmla="*/ 10390493 h 10800208"/>
                <a:gd name="connsiteX20" fmla="*/ 13575992 w 17157070"/>
                <a:gd name="connsiteY20" fmla="*/ 10788393 h 10800208"/>
                <a:gd name="connsiteX21" fmla="*/ 13973888 w 17157070"/>
                <a:gd name="connsiteY21" fmla="*/ 10697960 h 10800208"/>
                <a:gd name="connsiteX22" fmla="*/ 14028146 w 17157070"/>
                <a:gd name="connsiteY22" fmla="*/ 10155369 h 10800208"/>
                <a:gd name="connsiteX23" fmla="*/ 13594073 w 17157070"/>
                <a:gd name="connsiteY23" fmla="*/ 10101112 h 10800208"/>
                <a:gd name="connsiteX24" fmla="*/ 13612161 w 17157070"/>
                <a:gd name="connsiteY24" fmla="*/ 9413833 h 10800208"/>
                <a:gd name="connsiteX25" fmla="*/ 14190925 w 17157070"/>
                <a:gd name="connsiteY25" fmla="*/ 9269146 h 10800208"/>
                <a:gd name="connsiteX26" fmla="*/ 13865366 w 17157070"/>
                <a:gd name="connsiteY26" fmla="*/ 8798901 h 10800208"/>
                <a:gd name="connsiteX27" fmla="*/ 14136664 w 17157070"/>
                <a:gd name="connsiteY27" fmla="*/ 8401005 h 10800208"/>
                <a:gd name="connsiteX28" fmla="*/ 14703435 w 17157070"/>
                <a:gd name="connsiteY28" fmla="*/ 8428101 h 10800208"/>
                <a:gd name="connsiteX29" fmla="*/ 14661163 w 17157070"/>
                <a:gd name="connsiteY29" fmla="*/ 8256317 h 10800208"/>
                <a:gd name="connsiteX30" fmla="*/ 14335608 w 17157070"/>
                <a:gd name="connsiteY30" fmla="*/ 8093542 h 10800208"/>
                <a:gd name="connsiteX31" fmla="*/ 14498387 w 17157070"/>
                <a:gd name="connsiteY31" fmla="*/ 7514778 h 10800208"/>
                <a:gd name="connsiteX32" fmla="*/ 13847278 w 17157070"/>
                <a:gd name="connsiteY32" fmla="*/ 6610464 h 10800208"/>
                <a:gd name="connsiteX33" fmla="*/ 13340864 w 17157070"/>
                <a:gd name="connsiteY33" fmla="*/ 5905101 h 10800208"/>
                <a:gd name="connsiteX34" fmla="*/ 13123831 w 17157070"/>
                <a:gd name="connsiteY34" fmla="*/ 4819923 h 10800208"/>
                <a:gd name="connsiteX35" fmla="*/ 13232349 w 17157070"/>
                <a:gd name="connsiteY35" fmla="*/ 4132649 h 10800208"/>
                <a:gd name="connsiteX36" fmla="*/ 12273778 w 17157070"/>
                <a:gd name="connsiteY36" fmla="*/ 4165810 h 10800208"/>
                <a:gd name="connsiteX37" fmla="*/ 12201432 w 17157070"/>
                <a:gd name="connsiteY37" fmla="*/ 3767910 h 10800208"/>
                <a:gd name="connsiteX38" fmla="*/ 12508887 w 17157070"/>
                <a:gd name="connsiteY38" fmla="*/ 3264515 h 10800208"/>
                <a:gd name="connsiteX39" fmla="*/ 13774933 w 17157070"/>
                <a:gd name="connsiteY39" fmla="*/ 2486799 h 10800208"/>
                <a:gd name="connsiteX40" fmla="*/ 15294184 w 17157070"/>
                <a:gd name="connsiteY40" fmla="*/ 1980384 h 10800208"/>
                <a:gd name="connsiteX41" fmla="*/ 15746333 w 17157070"/>
                <a:gd name="connsiteY41" fmla="*/ 2305939 h 10800208"/>
                <a:gd name="connsiteX42" fmla="*/ 16578306 w 17157070"/>
                <a:gd name="connsiteY42" fmla="*/ 2016557 h 10800208"/>
                <a:gd name="connsiteX43" fmla="*/ 17084732 w 17157070"/>
                <a:gd name="connsiteY43" fmla="*/ 2414465 h 10800208"/>
                <a:gd name="connsiteX44" fmla="*/ 17157070 w 17157070"/>
                <a:gd name="connsiteY44" fmla="*/ 1473974 h 10800208"/>
                <a:gd name="connsiteX45" fmla="*/ 16433615 w 17157070"/>
                <a:gd name="connsiteY45" fmla="*/ 1383544 h 10800208"/>
                <a:gd name="connsiteX46" fmla="*/ 16415865 w 17157070"/>
                <a:gd name="connsiteY46" fmla="*/ 767392 h 10800208"/>
                <a:gd name="connsiteX47" fmla="*/ 5365184 w 17157070"/>
                <a:gd name="connsiteY47" fmla="*/ 3460880 h 10800208"/>
                <a:gd name="connsiteX48" fmla="*/ 5153802 w 17157070"/>
                <a:gd name="connsiteY48" fmla="*/ 3132314 h 10800208"/>
                <a:gd name="connsiteX49" fmla="*/ 4898441 w 17157070"/>
                <a:gd name="connsiteY49" fmla="*/ 3183022 h 10800208"/>
                <a:gd name="connsiteX50" fmla="*/ 4600673 w 17157070"/>
                <a:gd name="connsiteY50" fmla="*/ 2914551 h 10800208"/>
                <a:gd name="connsiteX51" fmla="*/ 4416749 w 17157070"/>
                <a:gd name="connsiteY51" fmla="*/ 2491544 h 10800208"/>
                <a:gd name="connsiteX52" fmla="*/ 4653822 w 17157070"/>
                <a:gd name="connsiteY52" fmla="*/ 1941377 h 10800208"/>
                <a:gd name="connsiteX53" fmla="*/ 4432864 w 17157070"/>
                <a:gd name="connsiteY53" fmla="*/ 1388142 h 10800208"/>
                <a:gd name="connsiteX54" fmla="*/ 4437471 w 17157070"/>
                <a:gd name="connsiteY54" fmla="*/ 719354 h 10800208"/>
                <a:gd name="connsiteX55" fmla="*/ 4141784 w 17157070"/>
                <a:gd name="connsiteY55" fmla="*/ 0 h 10800208"/>
                <a:gd name="connsiteX56" fmla="*/ 2314296 w 17157070"/>
                <a:gd name="connsiteY56" fmla="*/ 282857 h 10800208"/>
                <a:gd name="connsiteX57" fmla="*/ 1334589 w 17157070"/>
                <a:gd name="connsiteY57" fmla="*/ 1087729 h 10800208"/>
                <a:gd name="connsiteX58" fmla="*/ 0 w 17157070"/>
                <a:gd name="connsiteY58" fmla="*/ 2435175 h 10800208"/>
                <a:gd name="connsiteX0" fmla="*/ 0 w 17157070"/>
                <a:gd name="connsiteY0" fmla="*/ 2435175 h 10800208"/>
                <a:gd name="connsiteX1" fmla="*/ 613837 w 17157070"/>
                <a:gd name="connsiteY1" fmla="*/ 4813533 h 10800208"/>
                <a:gd name="connsiteX2" fmla="*/ 1518338 w 17157070"/>
                <a:gd name="connsiteY2" fmla="*/ 5681683 h 10800208"/>
                <a:gd name="connsiteX3" fmla="*/ 1735898 w 17157070"/>
                <a:gd name="connsiteY3" fmla="*/ 6513607 h 10800208"/>
                <a:gd name="connsiteX4" fmla="*/ 3137400 w 17157070"/>
                <a:gd name="connsiteY4" fmla="*/ 7038167 h 10800208"/>
                <a:gd name="connsiteX5" fmla="*/ 3453963 w 17157070"/>
                <a:gd name="connsiteY5" fmla="*/ 8394658 h 10800208"/>
                <a:gd name="connsiteX6" fmla="*/ 4168520 w 17157070"/>
                <a:gd name="connsiteY6" fmla="*/ 9769227 h 10800208"/>
                <a:gd name="connsiteX7" fmla="*/ 4162343 w 17157070"/>
                <a:gd name="connsiteY7" fmla="*/ 10800208 h 10800208"/>
                <a:gd name="connsiteX8" fmla="*/ 4605215 w 17157070"/>
                <a:gd name="connsiteY8" fmla="*/ 10716044 h 10800208"/>
                <a:gd name="connsiteX9" fmla="*/ 4840336 w 17157070"/>
                <a:gd name="connsiteY9" fmla="*/ 10426662 h 10800208"/>
                <a:gd name="connsiteX10" fmla="*/ 6070201 w 17157070"/>
                <a:gd name="connsiteY10" fmla="*/ 10444754 h 10800208"/>
                <a:gd name="connsiteX11" fmla="*/ 6884082 w 17157070"/>
                <a:gd name="connsiteY11" fmla="*/ 9847902 h 10800208"/>
                <a:gd name="connsiteX12" fmla="*/ 7716051 w 17157070"/>
                <a:gd name="connsiteY12" fmla="*/ 10173461 h 10800208"/>
                <a:gd name="connsiteX13" fmla="*/ 8584189 w 17157070"/>
                <a:gd name="connsiteY13" fmla="*/ 9974509 h 10800208"/>
                <a:gd name="connsiteX14" fmla="*/ 9289552 w 17157070"/>
                <a:gd name="connsiteY14" fmla="*/ 10173461 h 10800208"/>
                <a:gd name="connsiteX15" fmla="*/ 10139605 w 17157070"/>
                <a:gd name="connsiteY15" fmla="*/ 9775561 h 10800208"/>
                <a:gd name="connsiteX16" fmla="*/ 10664108 w 17157070"/>
                <a:gd name="connsiteY16" fmla="*/ 9992597 h 10800208"/>
                <a:gd name="connsiteX17" fmla="*/ 11387555 w 17157070"/>
                <a:gd name="connsiteY17" fmla="*/ 9902167 h 10800208"/>
                <a:gd name="connsiteX18" fmla="*/ 11966315 w 17157070"/>
                <a:gd name="connsiteY18" fmla="*/ 10625622 h 10800208"/>
                <a:gd name="connsiteX19" fmla="*/ 12942975 w 17157070"/>
                <a:gd name="connsiteY19" fmla="*/ 10390493 h 10800208"/>
                <a:gd name="connsiteX20" fmla="*/ 13575992 w 17157070"/>
                <a:gd name="connsiteY20" fmla="*/ 10788393 h 10800208"/>
                <a:gd name="connsiteX21" fmla="*/ 13973888 w 17157070"/>
                <a:gd name="connsiteY21" fmla="*/ 10697960 h 10800208"/>
                <a:gd name="connsiteX22" fmla="*/ 14028146 w 17157070"/>
                <a:gd name="connsiteY22" fmla="*/ 10155369 h 10800208"/>
                <a:gd name="connsiteX23" fmla="*/ 13594073 w 17157070"/>
                <a:gd name="connsiteY23" fmla="*/ 10101112 h 10800208"/>
                <a:gd name="connsiteX24" fmla="*/ 13612161 w 17157070"/>
                <a:gd name="connsiteY24" fmla="*/ 9413833 h 10800208"/>
                <a:gd name="connsiteX25" fmla="*/ 14190925 w 17157070"/>
                <a:gd name="connsiteY25" fmla="*/ 9269146 h 10800208"/>
                <a:gd name="connsiteX26" fmla="*/ 13865366 w 17157070"/>
                <a:gd name="connsiteY26" fmla="*/ 8798901 h 10800208"/>
                <a:gd name="connsiteX27" fmla="*/ 14136664 w 17157070"/>
                <a:gd name="connsiteY27" fmla="*/ 8401005 h 10800208"/>
                <a:gd name="connsiteX28" fmla="*/ 14703435 w 17157070"/>
                <a:gd name="connsiteY28" fmla="*/ 8428101 h 10800208"/>
                <a:gd name="connsiteX29" fmla="*/ 14661163 w 17157070"/>
                <a:gd name="connsiteY29" fmla="*/ 8256317 h 10800208"/>
                <a:gd name="connsiteX30" fmla="*/ 14335608 w 17157070"/>
                <a:gd name="connsiteY30" fmla="*/ 8093542 h 10800208"/>
                <a:gd name="connsiteX31" fmla="*/ 14498387 w 17157070"/>
                <a:gd name="connsiteY31" fmla="*/ 7514778 h 10800208"/>
                <a:gd name="connsiteX32" fmla="*/ 13847278 w 17157070"/>
                <a:gd name="connsiteY32" fmla="*/ 6610464 h 10800208"/>
                <a:gd name="connsiteX33" fmla="*/ 13340864 w 17157070"/>
                <a:gd name="connsiteY33" fmla="*/ 5905101 h 10800208"/>
                <a:gd name="connsiteX34" fmla="*/ 13123831 w 17157070"/>
                <a:gd name="connsiteY34" fmla="*/ 4819923 h 10800208"/>
                <a:gd name="connsiteX35" fmla="*/ 13232349 w 17157070"/>
                <a:gd name="connsiteY35" fmla="*/ 4132649 h 10800208"/>
                <a:gd name="connsiteX36" fmla="*/ 12273778 w 17157070"/>
                <a:gd name="connsiteY36" fmla="*/ 4165810 h 10800208"/>
                <a:gd name="connsiteX37" fmla="*/ 12201432 w 17157070"/>
                <a:gd name="connsiteY37" fmla="*/ 3767910 h 10800208"/>
                <a:gd name="connsiteX38" fmla="*/ 12508887 w 17157070"/>
                <a:gd name="connsiteY38" fmla="*/ 3264515 h 10800208"/>
                <a:gd name="connsiteX39" fmla="*/ 13774933 w 17157070"/>
                <a:gd name="connsiteY39" fmla="*/ 2486799 h 10800208"/>
                <a:gd name="connsiteX40" fmla="*/ 15294184 w 17157070"/>
                <a:gd name="connsiteY40" fmla="*/ 1980384 h 10800208"/>
                <a:gd name="connsiteX41" fmla="*/ 15746333 w 17157070"/>
                <a:gd name="connsiteY41" fmla="*/ 2305939 h 10800208"/>
                <a:gd name="connsiteX42" fmla="*/ 16578306 w 17157070"/>
                <a:gd name="connsiteY42" fmla="*/ 2016557 h 10800208"/>
                <a:gd name="connsiteX43" fmla="*/ 17084732 w 17157070"/>
                <a:gd name="connsiteY43" fmla="*/ 2414465 h 10800208"/>
                <a:gd name="connsiteX44" fmla="*/ 17157070 w 17157070"/>
                <a:gd name="connsiteY44" fmla="*/ 1473974 h 10800208"/>
                <a:gd name="connsiteX45" fmla="*/ 16433615 w 17157070"/>
                <a:gd name="connsiteY45" fmla="*/ 1383544 h 10800208"/>
                <a:gd name="connsiteX46" fmla="*/ 5365184 w 17157070"/>
                <a:gd name="connsiteY46" fmla="*/ 3460880 h 10800208"/>
                <a:gd name="connsiteX47" fmla="*/ 5153802 w 17157070"/>
                <a:gd name="connsiteY47" fmla="*/ 3132314 h 10800208"/>
                <a:gd name="connsiteX48" fmla="*/ 4898441 w 17157070"/>
                <a:gd name="connsiteY48" fmla="*/ 3183022 h 10800208"/>
                <a:gd name="connsiteX49" fmla="*/ 4600673 w 17157070"/>
                <a:gd name="connsiteY49" fmla="*/ 2914551 h 10800208"/>
                <a:gd name="connsiteX50" fmla="*/ 4416749 w 17157070"/>
                <a:gd name="connsiteY50" fmla="*/ 2491544 h 10800208"/>
                <a:gd name="connsiteX51" fmla="*/ 4653822 w 17157070"/>
                <a:gd name="connsiteY51" fmla="*/ 1941377 h 10800208"/>
                <a:gd name="connsiteX52" fmla="*/ 4432864 w 17157070"/>
                <a:gd name="connsiteY52" fmla="*/ 1388142 h 10800208"/>
                <a:gd name="connsiteX53" fmla="*/ 4437471 w 17157070"/>
                <a:gd name="connsiteY53" fmla="*/ 719354 h 10800208"/>
                <a:gd name="connsiteX54" fmla="*/ 4141784 w 17157070"/>
                <a:gd name="connsiteY54" fmla="*/ 0 h 10800208"/>
                <a:gd name="connsiteX55" fmla="*/ 2314296 w 17157070"/>
                <a:gd name="connsiteY55" fmla="*/ 282857 h 10800208"/>
                <a:gd name="connsiteX56" fmla="*/ 1334589 w 17157070"/>
                <a:gd name="connsiteY56" fmla="*/ 1087729 h 10800208"/>
                <a:gd name="connsiteX57" fmla="*/ 0 w 17157070"/>
                <a:gd name="connsiteY57" fmla="*/ 2435175 h 10800208"/>
                <a:gd name="connsiteX0" fmla="*/ 0 w 17157070"/>
                <a:gd name="connsiteY0" fmla="*/ 2435175 h 10800208"/>
                <a:gd name="connsiteX1" fmla="*/ 613837 w 17157070"/>
                <a:gd name="connsiteY1" fmla="*/ 4813533 h 10800208"/>
                <a:gd name="connsiteX2" fmla="*/ 1518338 w 17157070"/>
                <a:gd name="connsiteY2" fmla="*/ 5681683 h 10800208"/>
                <a:gd name="connsiteX3" fmla="*/ 1735898 w 17157070"/>
                <a:gd name="connsiteY3" fmla="*/ 6513607 h 10800208"/>
                <a:gd name="connsiteX4" fmla="*/ 3137400 w 17157070"/>
                <a:gd name="connsiteY4" fmla="*/ 7038167 h 10800208"/>
                <a:gd name="connsiteX5" fmla="*/ 3453963 w 17157070"/>
                <a:gd name="connsiteY5" fmla="*/ 8394658 h 10800208"/>
                <a:gd name="connsiteX6" fmla="*/ 4168520 w 17157070"/>
                <a:gd name="connsiteY6" fmla="*/ 9769227 h 10800208"/>
                <a:gd name="connsiteX7" fmla="*/ 4162343 w 17157070"/>
                <a:gd name="connsiteY7" fmla="*/ 10800208 h 10800208"/>
                <a:gd name="connsiteX8" fmla="*/ 4605215 w 17157070"/>
                <a:gd name="connsiteY8" fmla="*/ 10716044 h 10800208"/>
                <a:gd name="connsiteX9" fmla="*/ 4840336 w 17157070"/>
                <a:gd name="connsiteY9" fmla="*/ 10426662 h 10800208"/>
                <a:gd name="connsiteX10" fmla="*/ 6070201 w 17157070"/>
                <a:gd name="connsiteY10" fmla="*/ 10444754 h 10800208"/>
                <a:gd name="connsiteX11" fmla="*/ 6884082 w 17157070"/>
                <a:gd name="connsiteY11" fmla="*/ 9847902 h 10800208"/>
                <a:gd name="connsiteX12" fmla="*/ 7716051 w 17157070"/>
                <a:gd name="connsiteY12" fmla="*/ 10173461 h 10800208"/>
                <a:gd name="connsiteX13" fmla="*/ 8584189 w 17157070"/>
                <a:gd name="connsiteY13" fmla="*/ 9974509 h 10800208"/>
                <a:gd name="connsiteX14" fmla="*/ 9289552 w 17157070"/>
                <a:gd name="connsiteY14" fmla="*/ 10173461 h 10800208"/>
                <a:gd name="connsiteX15" fmla="*/ 10139605 w 17157070"/>
                <a:gd name="connsiteY15" fmla="*/ 9775561 h 10800208"/>
                <a:gd name="connsiteX16" fmla="*/ 10664108 w 17157070"/>
                <a:gd name="connsiteY16" fmla="*/ 9992597 h 10800208"/>
                <a:gd name="connsiteX17" fmla="*/ 11387555 w 17157070"/>
                <a:gd name="connsiteY17" fmla="*/ 9902167 h 10800208"/>
                <a:gd name="connsiteX18" fmla="*/ 11966315 w 17157070"/>
                <a:gd name="connsiteY18" fmla="*/ 10625622 h 10800208"/>
                <a:gd name="connsiteX19" fmla="*/ 12942975 w 17157070"/>
                <a:gd name="connsiteY19" fmla="*/ 10390493 h 10800208"/>
                <a:gd name="connsiteX20" fmla="*/ 13575992 w 17157070"/>
                <a:gd name="connsiteY20" fmla="*/ 10788393 h 10800208"/>
                <a:gd name="connsiteX21" fmla="*/ 13973888 w 17157070"/>
                <a:gd name="connsiteY21" fmla="*/ 10697960 h 10800208"/>
                <a:gd name="connsiteX22" fmla="*/ 14028146 w 17157070"/>
                <a:gd name="connsiteY22" fmla="*/ 10155369 h 10800208"/>
                <a:gd name="connsiteX23" fmla="*/ 13594073 w 17157070"/>
                <a:gd name="connsiteY23" fmla="*/ 10101112 h 10800208"/>
                <a:gd name="connsiteX24" fmla="*/ 13612161 w 17157070"/>
                <a:gd name="connsiteY24" fmla="*/ 9413833 h 10800208"/>
                <a:gd name="connsiteX25" fmla="*/ 14190925 w 17157070"/>
                <a:gd name="connsiteY25" fmla="*/ 9269146 h 10800208"/>
                <a:gd name="connsiteX26" fmla="*/ 13865366 w 17157070"/>
                <a:gd name="connsiteY26" fmla="*/ 8798901 h 10800208"/>
                <a:gd name="connsiteX27" fmla="*/ 14136664 w 17157070"/>
                <a:gd name="connsiteY27" fmla="*/ 8401005 h 10800208"/>
                <a:gd name="connsiteX28" fmla="*/ 14703435 w 17157070"/>
                <a:gd name="connsiteY28" fmla="*/ 8428101 h 10800208"/>
                <a:gd name="connsiteX29" fmla="*/ 14661163 w 17157070"/>
                <a:gd name="connsiteY29" fmla="*/ 8256317 h 10800208"/>
                <a:gd name="connsiteX30" fmla="*/ 14335608 w 17157070"/>
                <a:gd name="connsiteY30" fmla="*/ 8093542 h 10800208"/>
                <a:gd name="connsiteX31" fmla="*/ 14498387 w 17157070"/>
                <a:gd name="connsiteY31" fmla="*/ 7514778 h 10800208"/>
                <a:gd name="connsiteX32" fmla="*/ 13847278 w 17157070"/>
                <a:gd name="connsiteY32" fmla="*/ 6610464 h 10800208"/>
                <a:gd name="connsiteX33" fmla="*/ 13340864 w 17157070"/>
                <a:gd name="connsiteY33" fmla="*/ 5905101 h 10800208"/>
                <a:gd name="connsiteX34" fmla="*/ 13123831 w 17157070"/>
                <a:gd name="connsiteY34" fmla="*/ 4819923 h 10800208"/>
                <a:gd name="connsiteX35" fmla="*/ 13232349 w 17157070"/>
                <a:gd name="connsiteY35" fmla="*/ 4132649 h 10800208"/>
                <a:gd name="connsiteX36" fmla="*/ 12273778 w 17157070"/>
                <a:gd name="connsiteY36" fmla="*/ 4165810 h 10800208"/>
                <a:gd name="connsiteX37" fmla="*/ 12201432 w 17157070"/>
                <a:gd name="connsiteY37" fmla="*/ 3767910 h 10800208"/>
                <a:gd name="connsiteX38" fmla="*/ 12508887 w 17157070"/>
                <a:gd name="connsiteY38" fmla="*/ 3264515 h 10800208"/>
                <a:gd name="connsiteX39" fmla="*/ 13774933 w 17157070"/>
                <a:gd name="connsiteY39" fmla="*/ 2486799 h 10800208"/>
                <a:gd name="connsiteX40" fmla="*/ 15294184 w 17157070"/>
                <a:gd name="connsiteY40" fmla="*/ 1980384 h 10800208"/>
                <a:gd name="connsiteX41" fmla="*/ 15746333 w 17157070"/>
                <a:gd name="connsiteY41" fmla="*/ 2305939 h 10800208"/>
                <a:gd name="connsiteX42" fmla="*/ 16578306 w 17157070"/>
                <a:gd name="connsiteY42" fmla="*/ 2016557 h 10800208"/>
                <a:gd name="connsiteX43" fmla="*/ 17084732 w 17157070"/>
                <a:gd name="connsiteY43" fmla="*/ 2414465 h 10800208"/>
                <a:gd name="connsiteX44" fmla="*/ 17157070 w 17157070"/>
                <a:gd name="connsiteY44" fmla="*/ 1473974 h 10800208"/>
                <a:gd name="connsiteX45" fmla="*/ 5596373 w 17157070"/>
                <a:gd name="connsiteY45" fmla="*/ 4033059 h 10800208"/>
                <a:gd name="connsiteX46" fmla="*/ 5365184 w 17157070"/>
                <a:gd name="connsiteY46" fmla="*/ 3460880 h 10800208"/>
                <a:gd name="connsiteX47" fmla="*/ 5153802 w 17157070"/>
                <a:gd name="connsiteY47" fmla="*/ 3132314 h 10800208"/>
                <a:gd name="connsiteX48" fmla="*/ 4898441 w 17157070"/>
                <a:gd name="connsiteY48" fmla="*/ 3183022 h 10800208"/>
                <a:gd name="connsiteX49" fmla="*/ 4600673 w 17157070"/>
                <a:gd name="connsiteY49" fmla="*/ 2914551 h 10800208"/>
                <a:gd name="connsiteX50" fmla="*/ 4416749 w 17157070"/>
                <a:gd name="connsiteY50" fmla="*/ 2491544 h 10800208"/>
                <a:gd name="connsiteX51" fmla="*/ 4653822 w 17157070"/>
                <a:gd name="connsiteY51" fmla="*/ 1941377 h 10800208"/>
                <a:gd name="connsiteX52" fmla="*/ 4432864 w 17157070"/>
                <a:gd name="connsiteY52" fmla="*/ 1388142 h 10800208"/>
                <a:gd name="connsiteX53" fmla="*/ 4437471 w 17157070"/>
                <a:gd name="connsiteY53" fmla="*/ 719354 h 10800208"/>
                <a:gd name="connsiteX54" fmla="*/ 4141784 w 17157070"/>
                <a:gd name="connsiteY54" fmla="*/ 0 h 10800208"/>
                <a:gd name="connsiteX55" fmla="*/ 2314296 w 17157070"/>
                <a:gd name="connsiteY55" fmla="*/ 282857 h 10800208"/>
                <a:gd name="connsiteX56" fmla="*/ 1334589 w 17157070"/>
                <a:gd name="connsiteY56" fmla="*/ 1087729 h 10800208"/>
                <a:gd name="connsiteX57" fmla="*/ 0 w 17157070"/>
                <a:gd name="connsiteY57" fmla="*/ 2435175 h 10800208"/>
                <a:gd name="connsiteX0" fmla="*/ 0 w 17084730"/>
                <a:gd name="connsiteY0" fmla="*/ 2435175 h 10800208"/>
                <a:gd name="connsiteX1" fmla="*/ 613837 w 17084730"/>
                <a:gd name="connsiteY1" fmla="*/ 4813533 h 10800208"/>
                <a:gd name="connsiteX2" fmla="*/ 1518338 w 17084730"/>
                <a:gd name="connsiteY2" fmla="*/ 5681683 h 10800208"/>
                <a:gd name="connsiteX3" fmla="*/ 1735898 w 17084730"/>
                <a:gd name="connsiteY3" fmla="*/ 6513607 h 10800208"/>
                <a:gd name="connsiteX4" fmla="*/ 3137400 w 17084730"/>
                <a:gd name="connsiteY4" fmla="*/ 7038167 h 10800208"/>
                <a:gd name="connsiteX5" fmla="*/ 3453963 w 17084730"/>
                <a:gd name="connsiteY5" fmla="*/ 8394658 h 10800208"/>
                <a:gd name="connsiteX6" fmla="*/ 4168520 w 17084730"/>
                <a:gd name="connsiteY6" fmla="*/ 9769227 h 10800208"/>
                <a:gd name="connsiteX7" fmla="*/ 4162343 w 17084730"/>
                <a:gd name="connsiteY7" fmla="*/ 10800208 h 10800208"/>
                <a:gd name="connsiteX8" fmla="*/ 4605215 w 17084730"/>
                <a:gd name="connsiteY8" fmla="*/ 10716044 h 10800208"/>
                <a:gd name="connsiteX9" fmla="*/ 4840336 w 17084730"/>
                <a:gd name="connsiteY9" fmla="*/ 10426662 h 10800208"/>
                <a:gd name="connsiteX10" fmla="*/ 6070201 w 17084730"/>
                <a:gd name="connsiteY10" fmla="*/ 10444754 h 10800208"/>
                <a:gd name="connsiteX11" fmla="*/ 6884082 w 17084730"/>
                <a:gd name="connsiteY11" fmla="*/ 9847902 h 10800208"/>
                <a:gd name="connsiteX12" fmla="*/ 7716051 w 17084730"/>
                <a:gd name="connsiteY12" fmla="*/ 10173461 h 10800208"/>
                <a:gd name="connsiteX13" fmla="*/ 8584189 w 17084730"/>
                <a:gd name="connsiteY13" fmla="*/ 9974509 h 10800208"/>
                <a:gd name="connsiteX14" fmla="*/ 9289552 w 17084730"/>
                <a:gd name="connsiteY14" fmla="*/ 10173461 h 10800208"/>
                <a:gd name="connsiteX15" fmla="*/ 10139605 w 17084730"/>
                <a:gd name="connsiteY15" fmla="*/ 9775561 h 10800208"/>
                <a:gd name="connsiteX16" fmla="*/ 10664108 w 17084730"/>
                <a:gd name="connsiteY16" fmla="*/ 9992597 h 10800208"/>
                <a:gd name="connsiteX17" fmla="*/ 11387555 w 17084730"/>
                <a:gd name="connsiteY17" fmla="*/ 9902167 h 10800208"/>
                <a:gd name="connsiteX18" fmla="*/ 11966315 w 17084730"/>
                <a:gd name="connsiteY18" fmla="*/ 10625622 h 10800208"/>
                <a:gd name="connsiteX19" fmla="*/ 12942975 w 17084730"/>
                <a:gd name="connsiteY19" fmla="*/ 10390493 h 10800208"/>
                <a:gd name="connsiteX20" fmla="*/ 13575992 w 17084730"/>
                <a:gd name="connsiteY20" fmla="*/ 10788393 h 10800208"/>
                <a:gd name="connsiteX21" fmla="*/ 13973888 w 17084730"/>
                <a:gd name="connsiteY21" fmla="*/ 10697960 h 10800208"/>
                <a:gd name="connsiteX22" fmla="*/ 14028146 w 17084730"/>
                <a:gd name="connsiteY22" fmla="*/ 10155369 h 10800208"/>
                <a:gd name="connsiteX23" fmla="*/ 13594073 w 17084730"/>
                <a:gd name="connsiteY23" fmla="*/ 10101112 h 10800208"/>
                <a:gd name="connsiteX24" fmla="*/ 13612161 w 17084730"/>
                <a:gd name="connsiteY24" fmla="*/ 9413833 h 10800208"/>
                <a:gd name="connsiteX25" fmla="*/ 14190925 w 17084730"/>
                <a:gd name="connsiteY25" fmla="*/ 9269146 h 10800208"/>
                <a:gd name="connsiteX26" fmla="*/ 13865366 w 17084730"/>
                <a:gd name="connsiteY26" fmla="*/ 8798901 h 10800208"/>
                <a:gd name="connsiteX27" fmla="*/ 14136664 w 17084730"/>
                <a:gd name="connsiteY27" fmla="*/ 8401005 h 10800208"/>
                <a:gd name="connsiteX28" fmla="*/ 14703435 w 17084730"/>
                <a:gd name="connsiteY28" fmla="*/ 8428101 h 10800208"/>
                <a:gd name="connsiteX29" fmla="*/ 14661163 w 17084730"/>
                <a:gd name="connsiteY29" fmla="*/ 8256317 h 10800208"/>
                <a:gd name="connsiteX30" fmla="*/ 14335608 w 17084730"/>
                <a:gd name="connsiteY30" fmla="*/ 8093542 h 10800208"/>
                <a:gd name="connsiteX31" fmla="*/ 14498387 w 17084730"/>
                <a:gd name="connsiteY31" fmla="*/ 7514778 h 10800208"/>
                <a:gd name="connsiteX32" fmla="*/ 13847278 w 17084730"/>
                <a:gd name="connsiteY32" fmla="*/ 6610464 h 10800208"/>
                <a:gd name="connsiteX33" fmla="*/ 13340864 w 17084730"/>
                <a:gd name="connsiteY33" fmla="*/ 5905101 h 10800208"/>
                <a:gd name="connsiteX34" fmla="*/ 13123831 w 17084730"/>
                <a:gd name="connsiteY34" fmla="*/ 4819923 h 10800208"/>
                <a:gd name="connsiteX35" fmla="*/ 13232349 w 17084730"/>
                <a:gd name="connsiteY35" fmla="*/ 4132649 h 10800208"/>
                <a:gd name="connsiteX36" fmla="*/ 12273778 w 17084730"/>
                <a:gd name="connsiteY36" fmla="*/ 4165810 h 10800208"/>
                <a:gd name="connsiteX37" fmla="*/ 12201432 w 17084730"/>
                <a:gd name="connsiteY37" fmla="*/ 3767910 h 10800208"/>
                <a:gd name="connsiteX38" fmla="*/ 12508887 w 17084730"/>
                <a:gd name="connsiteY38" fmla="*/ 3264515 h 10800208"/>
                <a:gd name="connsiteX39" fmla="*/ 13774933 w 17084730"/>
                <a:gd name="connsiteY39" fmla="*/ 2486799 h 10800208"/>
                <a:gd name="connsiteX40" fmla="*/ 15294184 w 17084730"/>
                <a:gd name="connsiteY40" fmla="*/ 1980384 h 10800208"/>
                <a:gd name="connsiteX41" fmla="*/ 15746333 w 17084730"/>
                <a:gd name="connsiteY41" fmla="*/ 2305939 h 10800208"/>
                <a:gd name="connsiteX42" fmla="*/ 16578306 w 17084730"/>
                <a:gd name="connsiteY42" fmla="*/ 2016557 h 10800208"/>
                <a:gd name="connsiteX43" fmla="*/ 17084732 w 17084730"/>
                <a:gd name="connsiteY43" fmla="*/ 2414465 h 10800208"/>
                <a:gd name="connsiteX44" fmla="*/ 5596373 w 17084730"/>
                <a:gd name="connsiteY44" fmla="*/ 4033059 h 10800208"/>
                <a:gd name="connsiteX45" fmla="*/ 5365184 w 17084730"/>
                <a:gd name="connsiteY45" fmla="*/ 3460880 h 10800208"/>
                <a:gd name="connsiteX46" fmla="*/ 5153802 w 17084730"/>
                <a:gd name="connsiteY46" fmla="*/ 3132314 h 10800208"/>
                <a:gd name="connsiteX47" fmla="*/ 4898441 w 17084730"/>
                <a:gd name="connsiteY47" fmla="*/ 3183022 h 10800208"/>
                <a:gd name="connsiteX48" fmla="*/ 4600673 w 17084730"/>
                <a:gd name="connsiteY48" fmla="*/ 2914551 h 10800208"/>
                <a:gd name="connsiteX49" fmla="*/ 4416749 w 17084730"/>
                <a:gd name="connsiteY49" fmla="*/ 2491544 h 10800208"/>
                <a:gd name="connsiteX50" fmla="*/ 4653822 w 17084730"/>
                <a:gd name="connsiteY50" fmla="*/ 1941377 h 10800208"/>
                <a:gd name="connsiteX51" fmla="*/ 4432864 w 17084730"/>
                <a:gd name="connsiteY51" fmla="*/ 1388142 h 10800208"/>
                <a:gd name="connsiteX52" fmla="*/ 4437471 w 17084730"/>
                <a:gd name="connsiteY52" fmla="*/ 719354 h 10800208"/>
                <a:gd name="connsiteX53" fmla="*/ 4141784 w 17084730"/>
                <a:gd name="connsiteY53" fmla="*/ 0 h 10800208"/>
                <a:gd name="connsiteX54" fmla="*/ 2314296 w 17084730"/>
                <a:gd name="connsiteY54" fmla="*/ 282857 h 10800208"/>
                <a:gd name="connsiteX55" fmla="*/ 1334589 w 17084730"/>
                <a:gd name="connsiteY55" fmla="*/ 1087729 h 10800208"/>
                <a:gd name="connsiteX56" fmla="*/ 0 w 17084730"/>
                <a:gd name="connsiteY56" fmla="*/ 2435175 h 10800208"/>
                <a:gd name="connsiteX0" fmla="*/ 0 w 16578304"/>
                <a:gd name="connsiteY0" fmla="*/ 2435175 h 10800208"/>
                <a:gd name="connsiteX1" fmla="*/ 613837 w 16578304"/>
                <a:gd name="connsiteY1" fmla="*/ 4813533 h 10800208"/>
                <a:gd name="connsiteX2" fmla="*/ 1518338 w 16578304"/>
                <a:gd name="connsiteY2" fmla="*/ 5681683 h 10800208"/>
                <a:gd name="connsiteX3" fmla="*/ 1735898 w 16578304"/>
                <a:gd name="connsiteY3" fmla="*/ 6513607 h 10800208"/>
                <a:gd name="connsiteX4" fmla="*/ 3137400 w 16578304"/>
                <a:gd name="connsiteY4" fmla="*/ 7038167 h 10800208"/>
                <a:gd name="connsiteX5" fmla="*/ 3453963 w 16578304"/>
                <a:gd name="connsiteY5" fmla="*/ 8394658 h 10800208"/>
                <a:gd name="connsiteX6" fmla="*/ 4168520 w 16578304"/>
                <a:gd name="connsiteY6" fmla="*/ 9769227 h 10800208"/>
                <a:gd name="connsiteX7" fmla="*/ 4162343 w 16578304"/>
                <a:gd name="connsiteY7" fmla="*/ 10800208 h 10800208"/>
                <a:gd name="connsiteX8" fmla="*/ 4605215 w 16578304"/>
                <a:gd name="connsiteY8" fmla="*/ 10716044 h 10800208"/>
                <a:gd name="connsiteX9" fmla="*/ 4840336 w 16578304"/>
                <a:gd name="connsiteY9" fmla="*/ 10426662 h 10800208"/>
                <a:gd name="connsiteX10" fmla="*/ 6070201 w 16578304"/>
                <a:gd name="connsiteY10" fmla="*/ 10444754 h 10800208"/>
                <a:gd name="connsiteX11" fmla="*/ 6884082 w 16578304"/>
                <a:gd name="connsiteY11" fmla="*/ 9847902 h 10800208"/>
                <a:gd name="connsiteX12" fmla="*/ 7716051 w 16578304"/>
                <a:gd name="connsiteY12" fmla="*/ 10173461 h 10800208"/>
                <a:gd name="connsiteX13" fmla="*/ 8584189 w 16578304"/>
                <a:gd name="connsiteY13" fmla="*/ 9974509 h 10800208"/>
                <a:gd name="connsiteX14" fmla="*/ 9289552 w 16578304"/>
                <a:gd name="connsiteY14" fmla="*/ 10173461 h 10800208"/>
                <a:gd name="connsiteX15" fmla="*/ 10139605 w 16578304"/>
                <a:gd name="connsiteY15" fmla="*/ 9775561 h 10800208"/>
                <a:gd name="connsiteX16" fmla="*/ 10664108 w 16578304"/>
                <a:gd name="connsiteY16" fmla="*/ 9992597 h 10800208"/>
                <a:gd name="connsiteX17" fmla="*/ 11387555 w 16578304"/>
                <a:gd name="connsiteY17" fmla="*/ 9902167 h 10800208"/>
                <a:gd name="connsiteX18" fmla="*/ 11966315 w 16578304"/>
                <a:gd name="connsiteY18" fmla="*/ 10625622 h 10800208"/>
                <a:gd name="connsiteX19" fmla="*/ 12942975 w 16578304"/>
                <a:gd name="connsiteY19" fmla="*/ 10390493 h 10800208"/>
                <a:gd name="connsiteX20" fmla="*/ 13575992 w 16578304"/>
                <a:gd name="connsiteY20" fmla="*/ 10788393 h 10800208"/>
                <a:gd name="connsiteX21" fmla="*/ 13973888 w 16578304"/>
                <a:gd name="connsiteY21" fmla="*/ 10697960 h 10800208"/>
                <a:gd name="connsiteX22" fmla="*/ 14028146 w 16578304"/>
                <a:gd name="connsiteY22" fmla="*/ 10155369 h 10800208"/>
                <a:gd name="connsiteX23" fmla="*/ 13594073 w 16578304"/>
                <a:gd name="connsiteY23" fmla="*/ 10101112 h 10800208"/>
                <a:gd name="connsiteX24" fmla="*/ 13612161 w 16578304"/>
                <a:gd name="connsiteY24" fmla="*/ 9413833 h 10800208"/>
                <a:gd name="connsiteX25" fmla="*/ 14190925 w 16578304"/>
                <a:gd name="connsiteY25" fmla="*/ 9269146 h 10800208"/>
                <a:gd name="connsiteX26" fmla="*/ 13865366 w 16578304"/>
                <a:gd name="connsiteY26" fmla="*/ 8798901 h 10800208"/>
                <a:gd name="connsiteX27" fmla="*/ 14136664 w 16578304"/>
                <a:gd name="connsiteY27" fmla="*/ 8401005 h 10800208"/>
                <a:gd name="connsiteX28" fmla="*/ 14703435 w 16578304"/>
                <a:gd name="connsiteY28" fmla="*/ 8428101 h 10800208"/>
                <a:gd name="connsiteX29" fmla="*/ 14661163 w 16578304"/>
                <a:gd name="connsiteY29" fmla="*/ 8256317 h 10800208"/>
                <a:gd name="connsiteX30" fmla="*/ 14335608 w 16578304"/>
                <a:gd name="connsiteY30" fmla="*/ 8093542 h 10800208"/>
                <a:gd name="connsiteX31" fmla="*/ 14498387 w 16578304"/>
                <a:gd name="connsiteY31" fmla="*/ 7514778 h 10800208"/>
                <a:gd name="connsiteX32" fmla="*/ 13847278 w 16578304"/>
                <a:gd name="connsiteY32" fmla="*/ 6610464 h 10800208"/>
                <a:gd name="connsiteX33" fmla="*/ 13340864 w 16578304"/>
                <a:gd name="connsiteY33" fmla="*/ 5905101 h 10800208"/>
                <a:gd name="connsiteX34" fmla="*/ 13123831 w 16578304"/>
                <a:gd name="connsiteY34" fmla="*/ 4819923 h 10800208"/>
                <a:gd name="connsiteX35" fmla="*/ 13232349 w 16578304"/>
                <a:gd name="connsiteY35" fmla="*/ 4132649 h 10800208"/>
                <a:gd name="connsiteX36" fmla="*/ 12273778 w 16578304"/>
                <a:gd name="connsiteY36" fmla="*/ 4165810 h 10800208"/>
                <a:gd name="connsiteX37" fmla="*/ 12201432 w 16578304"/>
                <a:gd name="connsiteY37" fmla="*/ 3767910 h 10800208"/>
                <a:gd name="connsiteX38" fmla="*/ 12508887 w 16578304"/>
                <a:gd name="connsiteY38" fmla="*/ 3264515 h 10800208"/>
                <a:gd name="connsiteX39" fmla="*/ 13774933 w 16578304"/>
                <a:gd name="connsiteY39" fmla="*/ 2486799 h 10800208"/>
                <a:gd name="connsiteX40" fmla="*/ 15294184 w 16578304"/>
                <a:gd name="connsiteY40" fmla="*/ 1980384 h 10800208"/>
                <a:gd name="connsiteX41" fmla="*/ 15746333 w 16578304"/>
                <a:gd name="connsiteY41" fmla="*/ 2305939 h 10800208"/>
                <a:gd name="connsiteX42" fmla="*/ 16578306 w 16578304"/>
                <a:gd name="connsiteY42" fmla="*/ 2016557 h 10800208"/>
                <a:gd name="connsiteX43" fmla="*/ 6319261 w 16578304"/>
                <a:gd name="connsiteY43" fmla="*/ 4419497 h 10800208"/>
                <a:gd name="connsiteX44" fmla="*/ 5596373 w 16578304"/>
                <a:gd name="connsiteY44" fmla="*/ 4033059 h 10800208"/>
                <a:gd name="connsiteX45" fmla="*/ 5365184 w 16578304"/>
                <a:gd name="connsiteY45" fmla="*/ 3460880 h 10800208"/>
                <a:gd name="connsiteX46" fmla="*/ 5153802 w 16578304"/>
                <a:gd name="connsiteY46" fmla="*/ 3132314 h 10800208"/>
                <a:gd name="connsiteX47" fmla="*/ 4898441 w 16578304"/>
                <a:gd name="connsiteY47" fmla="*/ 3183022 h 10800208"/>
                <a:gd name="connsiteX48" fmla="*/ 4600673 w 16578304"/>
                <a:gd name="connsiteY48" fmla="*/ 2914551 h 10800208"/>
                <a:gd name="connsiteX49" fmla="*/ 4416749 w 16578304"/>
                <a:gd name="connsiteY49" fmla="*/ 2491544 h 10800208"/>
                <a:gd name="connsiteX50" fmla="*/ 4653822 w 16578304"/>
                <a:gd name="connsiteY50" fmla="*/ 1941377 h 10800208"/>
                <a:gd name="connsiteX51" fmla="*/ 4432864 w 16578304"/>
                <a:gd name="connsiteY51" fmla="*/ 1388142 h 10800208"/>
                <a:gd name="connsiteX52" fmla="*/ 4437471 w 16578304"/>
                <a:gd name="connsiteY52" fmla="*/ 719354 h 10800208"/>
                <a:gd name="connsiteX53" fmla="*/ 4141784 w 16578304"/>
                <a:gd name="connsiteY53" fmla="*/ 0 h 10800208"/>
                <a:gd name="connsiteX54" fmla="*/ 2314296 w 16578304"/>
                <a:gd name="connsiteY54" fmla="*/ 282857 h 10800208"/>
                <a:gd name="connsiteX55" fmla="*/ 1334589 w 16578304"/>
                <a:gd name="connsiteY55" fmla="*/ 1087729 h 10800208"/>
                <a:gd name="connsiteX56" fmla="*/ 0 w 16578304"/>
                <a:gd name="connsiteY56" fmla="*/ 2435175 h 10800208"/>
                <a:gd name="connsiteX0" fmla="*/ 0 w 15746332"/>
                <a:gd name="connsiteY0" fmla="*/ 2435175 h 10800208"/>
                <a:gd name="connsiteX1" fmla="*/ 613837 w 15746332"/>
                <a:gd name="connsiteY1" fmla="*/ 4813533 h 10800208"/>
                <a:gd name="connsiteX2" fmla="*/ 1518338 w 15746332"/>
                <a:gd name="connsiteY2" fmla="*/ 5681683 h 10800208"/>
                <a:gd name="connsiteX3" fmla="*/ 1735898 w 15746332"/>
                <a:gd name="connsiteY3" fmla="*/ 6513607 h 10800208"/>
                <a:gd name="connsiteX4" fmla="*/ 3137400 w 15746332"/>
                <a:gd name="connsiteY4" fmla="*/ 7038167 h 10800208"/>
                <a:gd name="connsiteX5" fmla="*/ 3453963 w 15746332"/>
                <a:gd name="connsiteY5" fmla="*/ 8394658 h 10800208"/>
                <a:gd name="connsiteX6" fmla="*/ 4168520 w 15746332"/>
                <a:gd name="connsiteY6" fmla="*/ 9769227 h 10800208"/>
                <a:gd name="connsiteX7" fmla="*/ 4162343 w 15746332"/>
                <a:gd name="connsiteY7" fmla="*/ 10800208 h 10800208"/>
                <a:gd name="connsiteX8" fmla="*/ 4605215 w 15746332"/>
                <a:gd name="connsiteY8" fmla="*/ 10716044 h 10800208"/>
                <a:gd name="connsiteX9" fmla="*/ 4840336 w 15746332"/>
                <a:gd name="connsiteY9" fmla="*/ 10426662 h 10800208"/>
                <a:gd name="connsiteX10" fmla="*/ 6070201 w 15746332"/>
                <a:gd name="connsiteY10" fmla="*/ 10444754 h 10800208"/>
                <a:gd name="connsiteX11" fmla="*/ 6884082 w 15746332"/>
                <a:gd name="connsiteY11" fmla="*/ 9847902 h 10800208"/>
                <a:gd name="connsiteX12" fmla="*/ 7716051 w 15746332"/>
                <a:gd name="connsiteY12" fmla="*/ 10173461 h 10800208"/>
                <a:gd name="connsiteX13" fmla="*/ 8584189 w 15746332"/>
                <a:gd name="connsiteY13" fmla="*/ 9974509 h 10800208"/>
                <a:gd name="connsiteX14" fmla="*/ 9289552 w 15746332"/>
                <a:gd name="connsiteY14" fmla="*/ 10173461 h 10800208"/>
                <a:gd name="connsiteX15" fmla="*/ 10139605 w 15746332"/>
                <a:gd name="connsiteY15" fmla="*/ 9775561 h 10800208"/>
                <a:gd name="connsiteX16" fmla="*/ 10664108 w 15746332"/>
                <a:gd name="connsiteY16" fmla="*/ 9992597 h 10800208"/>
                <a:gd name="connsiteX17" fmla="*/ 11387555 w 15746332"/>
                <a:gd name="connsiteY17" fmla="*/ 9902167 h 10800208"/>
                <a:gd name="connsiteX18" fmla="*/ 11966315 w 15746332"/>
                <a:gd name="connsiteY18" fmla="*/ 10625622 h 10800208"/>
                <a:gd name="connsiteX19" fmla="*/ 12942975 w 15746332"/>
                <a:gd name="connsiteY19" fmla="*/ 10390493 h 10800208"/>
                <a:gd name="connsiteX20" fmla="*/ 13575992 w 15746332"/>
                <a:gd name="connsiteY20" fmla="*/ 10788393 h 10800208"/>
                <a:gd name="connsiteX21" fmla="*/ 13973888 w 15746332"/>
                <a:gd name="connsiteY21" fmla="*/ 10697960 h 10800208"/>
                <a:gd name="connsiteX22" fmla="*/ 14028146 w 15746332"/>
                <a:gd name="connsiteY22" fmla="*/ 10155369 h 10800208"/>
                <a:gd name="connsiteX23" fmla="*/ 13594073 w 15746332"/>
                <a:gd name="connsiteY23" fmla="*/ 10101112 h 10800208"/>
                <a:gd name="connsiteX24" fmla="*/ 13612161 w 15746332"/>
                <a:gd name="connsiteY24" fmla="*/ 9413833 h 10800208"/>
                <a:gd name="connsiteX25" fmla="*/ 14190925 w 15746332"/>
                <a:gd name="connsiteY25" fmla="*/ 9269146 h 10800208"/>
                <a:gd name="connsiteX26" fmla="*/ 13865366 w 15746332"/>
                <a:gd name="connsiteY26" fmla="*/ 8798901 h 10800208"/>
                <a:gd name="connsiteX27" fmla="*/ 14136664 w 15746332"/>
                <a:gd name="connsiteY27" fmla="*/ 8401005 h 10800208"/>
                <a:gd name="connsiteX28" fmla="*/ 14703435 w 15746332"/>
                <a:gd name="connsiteY28" fmla="*/ 8428101 h 10800208"/>
                <a:gd name="connsiteX29" fmla="*/ 14661163 w 15746332"/>
                <a:gd name="connsiteY29" fmla="*/ 8256317 h 10800208"/>
                <a:gd name="connsiteX30" fmla="*/ 14335608 w 15746332"/>
                <a:gd name="connsiteY30" fmla="*/ 8093542 h 10800208"/>
                <a:gd name="connsiteX31" fmla="*/ 14498387 w 15746332"/>
                <a:gd name="connsiteY31" fmla="*/ 7514778 h 10800208"/>
                <a:gd name="connsiteX32" fmla="*/ 13847278 w 15746332"/>
                <a:gd name="connsiteY32" fmla="*/ 6610464 h 10800208"/>
                <a:gd name="connsiteX33" fmla="*/ 13340864 w 15746332"/>
                <a:gd name="connsiteY33" fmla="*/ 5905101 h 10800208"/>
                <a:gd name="connsiteX34" fmla="*/ 13123831 w 15746332"/>
                <a:gd name="connsiteY34" fmla="*/ 4819923 h 10800208"/>
                <a:gd name="connsiteX35" fmla="*/ 13232349 w 15746332"/>
                <a:gd name="connsiteY35" fmla="*/ 4132649 h 10800208"/>
                <a:gd name="connsiteX36" fmla="*/ 12273778 w 15746332"/>
                <a:gd name="connsiteY36" fmla="*/ 4165810 h 10800208"/>
                <a:gd name="connsiteX37" fmla="*/ 12201432 w 15746332"/>
                <a:gd name="connsiteY37" fmla="*/ 3767910 h 10800208"/>
                <a:gd name="connsiteX38" fmla="*/ 12508887 w 15746332"/>
                <a:gd name="connsiteY38" fmla="*/ 3264515 h 10800208"/>
                <a:gd name="connsiteX39" fmla="*/ 13774933 w 15746332"/>
                <a:gd name="connsiteY39" fmla="*/ 2486799 h 10800208"/>
                <a:gd name="connsiteX40" fmla="*/ 15294184 w 15746332"/>
                <a:gd name="connsiteY40" fmla="*/ 1980384 h 10800208"/>
                <a:gd name="connsiteX41" fmla="*/ 15746333 w 15746332"/>
                <a:gd name="connsiteY41" fmla="*/ 2305939 h 10800208"/>
                <a:gd name="connsiteX42" fmla="*/ 6319261 w 15746332"/>
                <a:gd name="connsiteY42" fmla="*/ 4419497 h 10800208"/>
                <a:gd name="connsiteX43" fmla="*/ 5596373 w 15746332"/>
                <a:gd name="connsiteY43" fmla="*/ 4033059 h 10800208"/>
                <a:gd name="connsiteX44" fmla="*/ 5365184 w 15746332"/>
                <a:gd name="connsiteY44" fmla="*/ 3460880 h 10800208"/>
                <a:gd name="connsiteX45" fmla="*/ 5153802 w 15746332"/>
                <a:gd name="connsiteY45" fmla="*/ 3132314 h 10800208"/>
                <a:gd name="connsiteX46" fmla="*/ 4898441 w 15746332"/>
                <a:gd name="connsiteY46" fmla="*/ 3183022 h 10800208"/>
                <a:gd name="connsiteX47" fmla="*/ 4600673 w 15746332"/>
                <a:gd name="connsiteY47" fmla="*/ 2914551 h 10800208"/>
                <a:gd name="connsiteX48" fmla="*/ 4416749 w 15746332"/>
                <a:gd name="connsiteY48" fmla="*/ 2491544 h 10800208"/>
                <a:gd name="connsiteX49" fmla="*/ 4653822 w 15746332"/>
                <a:gd name="connsiteY49" fmla="*/ 1941377 h 10800208"/>
                <a:gd name="connsiteX50" fmla="*/ 4432864 w 15746332"/>
                <a:gd name="connsiteY50" fmla="*/ 1388142 h 10800208"/>
                <a:gd name="connsiteX51" fmla="*/ 4437471 w 15746332"/>
                <a:gd name="connsiteY51" fmla="*/ 719354 h 10800208"/>
                <a:gd name="connsiteX52" fmla="*/ 4141784 w 15746332"/>
                <a:gd name="connsiteY52" fmla="*/ 0 h 10800208"/>
                <a:gd name="connsiteX53" fmla="*/ 2314296 w 15746332"/>
                <a:gd name="connsiteY53" fmla="*/ 282857 h 10800208"/>
                <a:gd name="connsiteX54" fmla="*/ 1334589 w 15746332"/>
                <a:gd name="connsiteY54" fmla="*/ 1087729 h 10800208"/>
                <a:gd name="connsiteX55" fmla="*/ 0 w 15746332"/>
                <a:gd name="connsiteY55" fmla="*/ 2435175 h 10800208"/>
                <a:gd name="connsiteX0" fmla="*/ 0 w 15294185"/>
                <a:gd name="connsiteY0" fmla="*/ 2435175 h 10800208"/>
                <a:gd name="connsiteX1" fmla="*/ 613837 w 15294185"/>
                <a:gd name="connsiteY1" fmla="*/ 4813533 h 10800208"/>
                <a:gd name="connsiteX2" fmla="*/ 1518338 w 15294185"/>
                <a:gd name="connsiteY2" fmla="*/ 5681683 h 10800208"/>
                <a:gd name="connsiteX3" fmla="*/ 1735898 w 15294185"/>
                <a:gd name="connsiteY3" fmla="*/ 6513607 h 10800208"/>
                <a:gd name="connsiteX4" fmla="*/ 3137400 w 15294185"/>
                <a:gd name="connsiteY4" fmla="*/ 7038167 h 10800208"/>
                <a:gd name="connsiteX5" fmla="*/ 3453963 w 15294185"/>
                <a:gd name="connsiteY5" fmla="*/ 8394658 h 10800208"/>
                <a:gd name="connsiteX6" fmla="*/ 4168520 w 15294185"/>
                <a:gd name="connsiteY6" fmla="*/ 9769227 h 10800208"/>
                <a:gd name="connsiteX7" fmla="*/ 4162343 w 15294185"/>
                <a:gd name="connsiteY7" fmla="*/ 10800208 h 10800208"/>
                <a:gd name="connsiteX8" fmla="*/ 4605215 w 15294185"/>
                <a:gd name="connsiteY8" fmla="*/ 10716044 h 10800208"/>
                <a:gd name="connsiteX9" fmla="*/ 4840336 w 15294185"/>
                <a:gd name="connsiteY9" fmla="*/ 10426662 h 10800208"/>
                <a:gd name="connsiteX10" fmla="*/ 6070201 w 15294185"/>
                <a:gd name="connsiteY10" fmla="*/ 10444754 h 10800208"/>
                <a:gd name="connsiteX11" fmla="*/ 6884082 w 15294185"/>
                <a:gd name="connsiteY11" fmla="*/ 9847902 h 10800208"/>
                <a:gd name="connsiteX12" fmla="*/ 7716051 w 15294185"/>
                <a:gd name="connsiteY12" fmla="*/ 10173461 h 10800208"/>
                <a:gd name="connsiteX13" fmla="*/ 8584189 w 15294185"/>
                <a:gd name="connsiteY13" fmla="*/ 9974509 h 10800208"/>
                <a:gd name="connsiteX14" fmla="*/ 9289552 w 15294185"/>
                <a:gd name="connsiteY14" fmla="*/ 10173461 h 10800208"/>
                <a:gd name="connsiteX15" fmla="*/ 10139605 w 15294185"/>
                <a:gd name="connsiteY15" fmla="*/ 9775561 h 10800208"/>
                <a:gd name="connsiteX16" fmla="*/ 10664108 w 15294185"/>
                <a:gd name="connsiteY16" fmla="*/ 9992597 h 10800208"/>
                <a:gd name="connsiteX17" fmla="*/ 11387555 w 15294185"/>
                <a:gd name="connsiteY17" fmla="*/ 9902167 h 10800208"/>
                <a:gd name="connsiteX18" fmla="*/ 11966315 w 15294185"/>
                <a:gd name="connsiteY18" fmla="*/ 10625622 h 10800208"/>
                <a:gd name="connsiteX19" fmla="*/ 12942975 w 15294185"/>
                <a:gd name="connsiteY19" fmla="*/ 10390493 h 10800208"/>
                <a:gd name="connsiteX20" fmla="*/ 13575992 w 15294185"/>
                <a:gd name="connsiteY20" fmla="*/ 10788393 h 10800208"/>
                <a:gd name="connsiteX21" fmla="*/ 13973888 w 15294185"/>
                <a:gd name="connsiteY21" fmla="*/ 10697960 h 10800208"/>
                <a:gd name="connsiteX22" fmla="*/ 14028146 w 15294185"/>
                <a:gd name="connsiteY22" fmla="*/ 10155369 h 10800208"/>
                <a:gd name="connsiteX23" fmla="*/ 13594073 w 15294185"/>
                <a:gd name="connsiteY23" fmla="*/ 10101112 h 10800208"/>
                <a:gd name="connsiteX24" fmla="*/ 13612161 w 15294185"/>
                <a:gd name="connsiteY24" fmla="*/ 9413833 h 10800208"/>
                <a:gd name="connsiteX25" fmla="*/ 14190925 w 15294185"/>
                <a:gd name="connsiteY25" fmla="*/ 9269146 h 10800208"/>
                <a:gd name="connsiteX26" fmla="*/ 13865366 w 15294185"/>
                <a:gd name="connsiteY26" fmla="*/ 8798901 h 10800208"/>
                <a:gd name="connsiteX27" fmla="*/ 14136664 w 15294185"/>
                <a:gd name="connsiteY27" fmla="*/ 8401005 h 10800208"/>
                <a:gd name="connsiteX28" fmla="*/ 14703435 w 15294185"/>
                <a:gd name="connsiteY28" fmla="*/ 8428101 h 10800208"/>
                <a:gd name="connsiteX29" fmla="*/ 14661163 w 15294185"/>
                <a:gd name="connsiteY29" fmla="*/ 8256317 h 10800208"/>
                <a:gd name="connsiteX30" fmla="*/ 14335608 w 15294185"/>
                <a:gd name="connsiteY30" fmla="*/ 8093542 h 10800208"/>
                <a:gd name="connsiteX31" fmla="*/ 14498387 w 15294185"/>
                <a:gd name="connsiteY31" fmla="*/ 7514778 h 10800208"/>
                <a:gd name="connsiteX32" fmla="*/ 13847278 w 15294185"/>
                <a:gd name="connsiteY32" fmla="*/ 6610464 h 10800208"/>
                <a:gd name="connsiteX33" fmla="*/ 13340864 w 15294185"/>
                <a:gd name="connsiteY33" fmla="*/ 5905101 h 10800208"/>
                <a:gd name="connsiteX34" fmla="*/ 13123831 w 15294185"/>
                <a:gd name="connsiteY34" fmla="*/ 4819923 h 10800208"/>
                <a:gd name="connsiteX35" fmla="*/ 13232349 w 15294185"/>
                <a:gd name="connsiteY35" fmla="*/ 4132649 h 10800208"/>
                <a:gd name="connsiteX36" fmla="*/ 12273778 w 15294185"/>
                <a:gd name="connsiteY36" fmla="*/ 4165810 h 10800208"/>
                <a:gd name="connsiteX37" fmla="*/ 12201432 w 15294185"/>
                <a:gd name="connsiteY37" fmla="*/ 3767910 h 10800208"/>
                <a:gd name="connsiteX38" fmla="*/ 12508887 w 15294185"/>
                <a:gd name="connsiteY38" fmla="*/ 3264515 h 10800208"/>
                <a:gd name="connsiteX39" fmla="*/ 13774933 w 15294185"/>
                <a:gd name="connsiteY39" fmla="*/ 2486799 h 10800208"/>
                <a:gd name="connsiteX40" fmla="*/ 15294184 w 15294185"/>
                <a:gd name="connsiteY40" fmla="*/ 1980384 h 10800208"/>
                <a:gd name="connsiteX41" fmla="*/ 6319261 w 15294185"/>
                <a:gd name="connsiteY41" fmla="*/ 4419497 h 10800208"/>
                <a:gd name="connsiteX42" fmla="*/ 5596373 w 15294185"/>
                <a:gd name="connsiteY42" fmla="*/ 4033059 h 10800208"/>
                <a:gd name="connsiteX43" fmla="*/ 5365184 w 15294185"/>
                <a:gd name="connsiteY43" fmla="*/ 3460880 h 10800208"/>
                <a:gd name="connsiteX44" fmla="*/ 5153802 w 15294185"/>
                <a:gd name="connsiteY44" fmla="*/ 3132314 h 10800208"/>
                <a:gd name="connsiteX45" fmla="*/ 4898441 w 15294185"/>
                <a:gd name="connsiteY45" fmla="*/ 3183022 h 10800208"/>
                <a:gd name="connsiteX46" fmla="*/ 4600673 w 15294185"/>
                <a:gd name="connsiteY46" fmla="*/ 2914551 h 10800208"/>
                <a:gd name="connsiteX47" fmla="*/ 4416749 w 15294185"/>
                <a:gd name="connsiteY47" fmla="*/ 2491544 h 10800208"/>
                <a:gd name="connsiteX48" fmla="*/ 4653822 w 15294185"/>
                <a:gd name="connsiteY48" fmla="*/ 1941377 h 10800208"/>
                <a:gd name="connsiteX49" fmla="*/ 4432864 w 15294185"/>
                <a:gd name="connsiteY49" fmla="*/ 1388142 h 10800208"/>
                <a:gd name="connsiteX50" fmla="*/ 4437471 w 15294185"/>
                <a:gd name="connsiteY50" fmla="*/ 719354 h 10800208"/>
                <a:gd name="connsiteX51" fmla="*/ 4141784 w 15294185"/>
                <a:gd name="connsiteY51" fmla="*/ 0 h 10800208"/>
                <a:gd name="connsiteX52" fmla="*/ 2314296 w 15294185"/>
                <a:gd name="connsiteY52" fmla="*/ 282857 h 10800208"/>
                <a:gd name="connsiteX53" fmla="*/ 1334589 w 15294185"/>
                <a:gd name="connsiteY53" fmla="*/ 1087729 h 10800208"/>
                <a:gd name="connsiteX54" fmla="*/ 0 w 15294185"/>
                <a:gd name="connsiteY54"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12273778 w 14703435"/>
                <a:gd name="connsiteY36" fmla="*/ 4165810 h 10800208"/>
                <a:gd name="connsiteX37" fmla="*/ 12201432 w 14703435"/>
                <a:gd name="connsiteY37" fmla="*/ 3767910 h 10800208"/>
                <a:gd name="connsiteX38" fmla="*/ 12508887 w 14703435"/>
                <a:gd name="connsiteY38" fmla="*/ 3264515 h 10800208"/>
                <a:gd name="connsiteX39" fmla="*/ 13774933 w 14703435"/>
                <a:gd name="connsiteY39" fmla="*/ 2486799 h 10800208"/>
                <a:gd name="connsiteX40" fmla="*/ 6319261 w 14703435"/>
                <a:gd name="connsiteY40" fmla="*/ 4419497 h 10800208"/>
                <a:gd name="connsiteX41" fmla="*/ 5596373 w 14703435"/>
                <a:gd name="connsiteY41" fmla="*/ 4033059 h 10800208"/>
                <a:gd name="connsiteX42" fmla="*/ 5365184 w 14703435"/>
                <a:gd name="connsiteY42" fmla="*/ 3460880 h 10800208"/>
                <a:gd name="connsiteX43" fmla="*/ 5153802 w 14703435"/>
                <a:gd name="connsiteY43" fmla="*/ 3132314 h 10800208"/>
                <a:gd name="connsiteX44" fmla="*/ 4898441 w 14703435"/>
                <a:gd name="connsiteY44" fmla="*/ 3183022 h 10800208"/>
                <a:gd name="connsiteX45" fmla="*/ 4600673 w 14703435"/>
                <a:gd name="connsiteY45" fmla="*/ 2914551 h 10800208"/>
                <a:gd name="connsiteX46" fmla="*/ 4416749 w 14703435"/>
                <a:gd name="connsiteY46" fmla="*/ 2491544 h 10800208"/>
                <a:gd name="connsiteX47" fmla="*/ 4653822 w 14703435"/>
                <a:gd name="connsiteY47" fmla="*/ 1941377 h 10800208"/>
                <a:gd name="connsiteX48" fmla="*/ 4432864 w 14703435"/>
                <a:gd name="connsiteY48" fmla="*/ 1388142 h 10800208"/>
                <a:gd name="connsiteX49" fmla="*/ 4437471 w 14703435"/>
                <a:gd name="connsiteY49" fmla="*/ 719354 h 10800208"/>
                <a:gd name="connsiteX50" fmla="*/ 4141784 w 14703435"/>
                <a:gd name="connsiteY50" fmla="*/ 0 h 10800208"/>
                <a:gd name="connsiteX51" fmla="*/ 2314296 w 14703435"/>
                <a:gd name="connsiteY51" fmla="*/ 282857 h 10800208"/>
                <a:gd name="connsiteX52" fmla="*/ 1334589 w 14703435"/>
                <a:gd name="connsiteY52" fmla="*/ 1087729 h 10800208"/>
                <a:gd name="connsiteX53" fmla="*/ 0 w 14703435"/>
                <a:gd name="connsiteY53"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12273778 w 14703435"/>
                <a:gd name="connsiteY36" fmla="*/ 4165810 h 10800208"/>
                <a:gd name="connsiteX37" fmla="*/ 12201432 w 14703435"/>
                <a:gd name="connsiteY37" fmla="*/ 3767910 h 10800208"/>
                <a:gd name="connsiteX38" fmla="*/ 12508887 w 14703435"/>
                <a:gd name="connsiteY38" fmla="*/ 32645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12273778 w 14703435"/>
                <a:gd name="connsiteY36" fmla="*/ 4165810 h 10800208"/>
                <a:gd name="connsiteX37" fmla="*/ 12201432 w 14703435"/>
                <a:gd name="connsiteY37" fmla="*/ 3767910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12273778 w 14703435"/>
                <a:gd name="connsiteY36" fmla="*/ 4165810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9824147 w 14703435"/>
                <a:gd name="connsiteY33" fmla="*/ 6931488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1909491 w 14703435"/>
                <a:gd name="connsiteY32" fmla="*/ 6300156 h 10800208"/>
                <a:gd name="connsiteX33" fmla="*/ 9824147 w 14703435"/>
                <a:gd name="connsiteY33" fmla="*/ 6931488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3924235 w 14703435"/>
                <a:gd name="connsiteY31" fmla="*/ 6560001 h 10800208"/>
                <a:gd name="connsiteX32" fmla="*/ 11909491 w 14703435"/>
                <a:gd name="connsiteY32" fmla="*/ 6300156 h 10800208"/>
                <a:gd name="connsiteX33" fmla="*/ 9824147 w 14703435"/>
                <a:gd name="connsiteY33" fmla="*/ 6931488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407378 w 14703435"/>
                <a:gd name="connsiteY30" fmla="*/ 7544542 h 10800208"/>
                <a:gd name="connsiteX31" fmla="*/ 13924235 w 14703435"/>
                <a:gd name="connsiteY31" fmla="*/ 6560001 h 10800208"/>
                <a:gd name="connsiteX32" fmla="*/ 11909491 w 14703435"/>
                <a:gd name="connsiteY32" fmla="*/ 6300156 h 10800208"/>
                <a:gd name="connsiteX33" fmla="*/ 9824147 w 14703435"/>
                <a:gd name="connsiteY33" fmla="*/ 6931488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341812 h 10706845"/>
                <a:gd name="connsiteX1" fmla="*/ 613837 w 14703435"/>
                <a:gd name="connsiteY1" fmla="*/ 4720170 h 10706845"/>
                <a:gd name="connsiteX2" fmla="*/ 1518338 w 14703435"/>
                <a:gd name="connsiteY2" fmla="*/ 5588320 h 10706845"/>
                <a:gd name="connsiteX3" fmla="*/ 1735898 w 14703435"/>
                <a:gd name="connsiteY3" fmla="*/ 6420244 h 10706845"/>
                <a:gd name="connsiteX4" fmla="*/ 3137400 w 14703435"/>
                <a:gd name="connsiteY4" fmla="*/ 6944804 h 10706845"/>
                <a:gd name="connsiteX5" fmla="*/ 3453963 w 14703435"/>
                <a:gd name="connsiteY5" fmla="*/ 8301295 h 10706845"/>
                <a:gd name="connsiteX6" fmla="*/ 4168520 w 14703435"/>
                <a:gd name="connsiteY6" fmla="*/ 9675864 h 10706845"/>
                <a:gd name="connsiteX7" fmla="*/ 4162343 w 14703435"/>
                <a:gd name="connsiteY7" fmla="*/ 10706845 h 10706845"/>
                <a:gd name="connsiteX8" fmla="*/ 4605215 w 14703435"/>
                <a:gd name="connsiteY8" fmla="*/ 10622681 h 10706845"/>
                <a:gd name="connsiteX9" fmla="*/ 4840336 w 14703435"/>
                <a:gd name="connsiteY9" fmla="*/ 10333299 h 10706845"/>
                <a:gd name="connsiteX10" fmla="*/ 6070201 w 14703435"/>
                <a:gd name="connsiteY10" fmla="*/ 10351391 h 10706845"/>
                <a:gd name="connsiteX11" fmla="*/ 6884082 w 14703435"/>
                <a:gd name="connsiteY11" fmla="*/ 9754539 h 10706845"/>
                <a:gd name="connsiteX12" fmla="*/ 7716051 w 14703435"/>
                <a:gd name="connsiteY12" fmla="*/ 10080098 h 10706845"/>
                <a:gd name="connsiteX13" fmla="*/ 8584189 w 14703435"/>
                <a:gd name="connsiteY13" fmla="*/ 9881146 h 10706845"/>
                <a:gd name="connsiteX14" fmla="*/ 9289552 w 14703435"/>
                <a:gd name="connsiteY14" fmla="*/ 10080098 h 10706845"/>
                <a:gd name="connsiteX15" fmla="*/ 10139605 w 14703435"/>
                <a:gd name="connsiteY15" fmla="*/ 9682198 h 10706845"/>
                <a:gd name="connsiteX16" fmla="*/ 10664108 w 14703435"/>
                <a:gd name="connsiteY16" fmla="*/ 9899234 h 10706845"/>
                <a:gd name="connsiteX17" fmla="*/ 11387555 w 14703435"/>
                <a:gd name="connsiteY17" fmla="*/ 9808804 h 10706845"/>
                <a:gd name="connsiteX18" fmla="*/ 11966315 w 14703435"/>
                <a:gd name="connsiteY18" fmla="*/ 10532259 h 10706845"/>
                <a:gd name="connsiteX19" fmla="*/ 12942975 w 14703435"/>
                <a:gd name="connsiteY19" fmla="*/ 10297130 h 10706845"/>
                <a:gd name="connsiteX20" fmla="*/ 13575992 w 14703435"/>
                <a:gd name="connsiteY20" fmla="*/ 10695030 h 10706845"/>
                <a:gd name="connsiteX21" fmla="*/ 13973888 w 14703435"/>
                <a:gd name="connsiteY21" fmla="*/ 10604597 h 10706845"/>
                <a:gd name="connsiteX22" fmla="*/ 14028146 w 14703435"/>
                <a:gd name="connsiteY22" fmla="*/ 10062006 h 10706845"/>
                <a:gd name="connsiteX23" fmla="*/ 13594073 w 14703435"/>
                <a:gd name="connsiteY23" fmla="*/ 10007749 h 10706845"/>
                <a:gd name="connsiteX24" fmla="*/ 13612161 w 14703435"/>
                <a:gd name="connsiteY24" fmla="*/ 9320470 h 10706845"/>
                <a:gd name="connsiteX25" fmla="*/ 14190925 w 14703435"/>
                <a:gd name="connsiteY25" fmla="*/ 9175783 h 10706845"/>
                <a:gd name="connsiteX26" fmla="*/ 13865366 w 14703435"/>
                <a:gd name="connsiteY26" fmla="*/ 8705538 h 10706845"/>
                <a:gd name="connsiteX27" fmla="*/ 14136664 w 14703435"/>
                <a:gd name="connsiteY27" fmla="*/ 8307642 h 10706845"/>
                <a:gd name="connsiteX28" fmla="*/ 14703435 w 14703435"/>
                <a:gd name="connsiteY28" fmla="*/ 8334738 h 10706845"/>
                <a:gd name="connsiteX29" fmla="*/ 14661163 w 14703435"/>
                <a:gd name="connsiteY29" fmla="*/ 8162954 h 10706845"/>
                <a:gd name="connsiteX30" fmla="*/ 14407378 w 14703435"/>
                <a:gd name="connsiteY30" fmla="*/ 7451179 h 10706845"/>
                <a:gd name="connsiteX31" fmla="*/ 13924235 w 14703435"/>
                <a:gd name="connsiteY31" fmla="*/ 6466638 h 10706845"/>
                <a:gd name="connsiteX32" fmla="*/ 11909491 w 14703435"/>
                <a:gd name="connsiteY32" fmla="*/ 6206793 h 10706845"/>
                <a:gd name="connsiteX33" fmla="*/ 9824147 w 14703435"/>
                <a:gd name="connsiteY33" fmla="*/ 6838125 h 10706845"/>
                <a:gd name="connsiteX34" fmla="*/ 8482717 w 14703435"/>
                <a:gd name="connsiteY34" fmla="*/ 6994165 h 10706845"/>
                <a:gd name="connsiteX35" fmla="*/ 8328079 w 14703435"/>
                <a:gd name="connsiteY35" fmla="*/ 6569451 h 10706845"/>
                <a:gd name="connsiteX36" fmla="*/ 7632672 w 14703435"/>
                <a:gd name="connsiteY36" fmla="*/ 6387789 h 10706845"/>
                <a:gd name="connsiteX37" fmla="*/ 7081852 w 14703435"/>
                <a:gd name="connsiteY37" fmla="*/ 5966020 h 10706845"/>
                <a:gd name="connsiteX38" fmla="*/ 6336686 w 14703435"/>
                <a:gd name="connsiteY38" fmla="*/ 5128452 h 10706845"/>
                <a:gd name="connsiteX39" fmla="*/ 6319261 w 14703435"/>
                <a:gd name="connsiteY39" fmla="*/ 4326134 h 10706845"/>
                <a:gd name="connsiteX40" fmla="*/ 5596373 w 14703435"/>
                <a:gd name="connsiteY40" fmla="*/ 3939696 h 10706845"/>
                <a:gd name="connsiteX41" fmla="*/ 5365184 w 14703435"/>
                <a:gd name="connsiteY41" fmla="*/ 3367517 h 10706845"/>
                <a:gd name="connsiteX42" fmla="*/ 5153802 w 14703435"/>
                <a:gd name="connsiteY42" fmla="*/ 3038951 h 10706845"/>
                <a:gd name="connsiteX43" fmla="*/ 4898441 w 14703435"/>
                <a:gd name="connsiteY43" fmla="*/ 3089659 h 10706845"/>
                <a:gd name="connsiteX44" fmla="*/ 4600673 w 14703435"/>
                <a:gd name="connsiteY44" fmla="*/ 2821188 h 10706845"/>
                <a:gd name="connsiteX45" fmla="*/ 4416749 w 14703435"/>
                <a:gd name="connsiteY45" fmla="*/ 2398181 h 10706845"/>
                <a:gd name="connsiteX46" fmla="*/ 4653822 w 14703435"/>
                <a:gd name="connsiteY46" fmla="*/ 1848014 h 10706845"/>
                <a:gd name="connsiteX47" fmla="*/ 4432864 w 14703435"/>
                <a:gd name="connsiteY47" fmla="*/ 1294779 h 10706845"/>
                <a:gd name="connsiteX48" fmla="*/ 4437471 w 14703435"/>
                <a:gd name="connsiteY48" fmla="*/ 625991 h 10706845"/>
                <a:gd name="connsiteX49" fmla="*/ 4141784 w 14703435"/>
                <a:gd name="connsiteY49" fmla="*/ 0 h 10706845"/>
                <a:gd name="connsiteX50" fmla="*/ 2314296 w 14703435"/>
                <a:gd name="connsiteY50" fmla="*/ 189494 h 10706845"/>
                <a:gd name="connsiteX51" fmla="*/ 1334589 w 14703435"/>
                <a:gd name="connsiteY51" fmla="*/ 994366 h 10706845"/>
                <a:gd name="connsiteX52" fmla="*/ 0 w 14703435"/>
                <a:gd name="connsiteY52" fmla="*/ 2341812 h 10706845"/>
                <a:gd name="connsiteX0" fmla="*/ 0 w 14703435"/>
                <a:gd name="connsiteY0" fmla="*/ 2341812 h 10706845"/>
                <a:gd name="connsiteX1" fmla="*/ 613837 w 14703435"/>
                <a:gd name="connsiteY1" fmla="*/ 4720170 h 10706845"/>
                <a:gd name="connsiteX2" fmla="*/ 1518338 w 14703435"/>
                <a:gd name="connsiteY2" fmla="*/ 5588320 h 10706845"/>
                <a:gd name="connsiteX3" fmla="*/ 1735898 w 14703435"/>
                <a:gd name="connsiteY3" fmla="*/ 6420244 h 10706845"/>
                <a:gd name="connsiteX4" fmla="*/ 3137400 w 14703435"/>
                <a:gd name="connsiteY4" fmla="*/ 6944804 h 10706845"/>
                <a:gd name="connsiteX5" fmla="*/ 3453963 w 14703435"/>
                <a:gd name="connsiteY5" fmla="*/ 8301295 h 10706845"/>
                <a:gd name="connsiteX6" fmla="*/ 4168520 w 14703435"/>
                <a:gd name="connsiteY6" fmla="*/ 9675864 h 10706845"/>
                <a:gd name="connsiteX7" fmla="*/ 4162343 w 14703435"/>
                <a:gd name="connsiteY7" fmla="*/ 10706845 h 10706845"/>
                <a:gd name="connsiteX8" fmla="*/ 4605215 w 14703435"/>
                <a:gd name="connsiteY8" fmla="*/ 10622681 h 10706845"/>
                <a:gd name="connsiteX9" fmla="*/ 4840336 w 14703435"/>
                <a:gd name="connsiteY9" fmla="*/ 10333299 h 10706845"/>
                <a:gd name="connsiteX10" fmla="*/ 6070201 w 14703435"/>
                <a:gd name="connsiteY10" fmla="*/ 10351391 h 10706845"/>
                <a:gd name="connsiteX11" fmla="*/ 6884082 w 14703435"/>
                <a:gd name="connsiteY11" fmla="*/ 9754539 h 10706845"/>
                <a:gd name="connsiteX12" fmla="*/ 7716051 w 14703435"/>
                <a:gd name="connsiteY12" fmla="*/ 10080098 h 10706845"/>
                <a:gd name="connsiteX13" fmla="*/ 8584189 w 14703435"/>
                <a:gd name="connsiteY13" fmla="*/ 9881146 h 10706845"/>
                <a:gd name="connsiteX14" fmla="*/ 9289552 w 14703435"/>
                <a:gd name="connsiteY14" fmla="*/ 10080098 h 10706845"/>
                <a:gd name="connsiteX15" fmla="*/ 10139605 w 14703435"/>
                <a:gd name="connsiteY15" fmla="*/ 9682198 h 10706845"/>
                <a:gd name="connsiteX16" fmla="*/ 10664108 w 14703435"/>
                <a:gd name="connsiteY16" fmla="*/ 9899234 h 10706845"/>
                <a:gd name="connsiteX17" fmla="*/ 11387555 w 14703435"/>
                <a:gd name="connsiteY17" fmla="*/ 9808804 h 10706845"/>
                <a:gd name="connsiteX18" fmla="*/ 11966315 w 14703435"/>
                <a:gd name="connsiteY18" fmla="*/ 10532259 h 10706845"/>
                <a:gd name="connsiteX19" fmla="*/ 12942975 w 14703435"/>
                <a:gd name="connsiteY19" fmla="*/ 10297130 h 10706845"/>
                <a:gd name="connsiteX20" fmla="*/ 13575992 w 14703435"/>
                <a:gd name="connsiteY20" fmla="*/ 10695030 h 10706845"/>
                <a:gd name="connsiteX21" fmla="*/ 13973888 w 14703435"/>
                <a:gd name="connsiteY21" fmla="*/ 10604597 h 10706845"/>
                <a:gd name="connsiteX22" fmla="*/ 14028146 w 14703435"/>
                <a:gd name="connsiteY22" fmla="*/ 10062006 h 10706845"/>
                <a:gd name="connsiteX23" fmla="*/ 13594073 w 14703435"/>
                <a:gd name="connsiteY23" fmla="*/ 10007749 h 10706845"/>
                <a:gd name="connsiteX24" fmla="*/ 13612161 w 14703435"/>
                <a:gd name="connsiteY24" fmla="*/ 9320470 h 10706845"/>
                <a:gd name="connsiteX25" fmla="*/ 14190925 w 14703435"/>
                <a:gd name="connsiteY25" fmla="*/ 9175783 h 10706845"/>
                <a:gd name="connsiteX26" fmla="*/ 13865366 w 14703435"/>
                <a:gd name="connsiteY26" fmla="*/ 8705538 h 10706845"/>
                <a:gd name="connsiteX27" fmla="*/ 14136664 w 14703435"/>
                <a:gd name="connsiteY27" fmla="*/ 8307642 h 10706845"/>
                <a:gd name="connsiteX28" fmla="*/ 14703435 w 14703435"/>
                <a:gd name="connsiteY28" fmla="*/ 8334738 h 10706845"/>
                <a:gd name="connsiteX29" fmla="*/ 14255660 w 14703435"/>
                <a:gd name="connsiteY29" fmla="*/ 8007340 h 10706845"/>
                <a:gd name="connsiteX30" fmla="*/ 14407378 w 14703435"/>
                <a:gd name="connsiteY30" fmla="*/ 7451179 h 10706845"/>
                <a:gd name="connsiteX31" fmla="*/ 13924235 w 14703435"/>
                <a:gd name="connsiteY31" fmla="*/ 6466638 h 10706845"/>
                <a:gd name="connsiteX32" fmla="*/ 11909491 w 14703435"/>
                <a:gd name="connsiteY32" fmla="*/ 6206793 h 10706845"/>
                <a:gd name="connsiteX33" fmla="*/ 9824147 w 14703435"/>
                <a:gd name="connsiteY33" fmla="*/ 6838125 h 10706845"/>
                <a:gd name="connsiteX34" fmla="*/ 8482717 w 14703435"/>
                <a:gd name="connsiteY34" fmla="*/ 6994165 h 10706845"/>
                <a:gd name="connsiteX35" fmla="*/ 8328079 w 14703435"/>
                <a:gd name="connsiteY35" fmla="*/ 6569451 h 10706845"/>
                <a:gd name="connsiteX36" fmla="*/ 7632672 w 14703435"/>
                <a:gd name="connsiteY36" fmla="*/ 6387789 h 10706845"/>
                <a:gd name="connsiteX37" fmla="*/ 7081852 w 14703435"/>
                <a:gd name="connsiteY37" fmla="*/ 5966020 h 10706845"/>
                <a:gd name="connsiteX38" fmla="*/ 6336686 w 14703435"/>
                <a:gd name="connsiteY38" fmla="*/ 5128452 h 10706845"/>
                <a:gd name="connsiteX39" fmla="*/ 6319261 w 14703435"/>
                <a:gd name="connsiteY39" fmla="*/ 4326134 h 10706845"/>
                <a:gd name="connsiteX40" fmla="*/ 5596373 w 14703435"/>
                <a:gd name="connsiteY40" fmla="*/ 3939696 h 10706845"/>
                <a:gd name="connsiteX41" fmla="*/ 5365184 w 14703435"/>
                <a:gd name="connsiteY41" fmla="*/ 3367517 h 10706845"/>
                <a:gd name="connsiteX42" fmla="*/ 5153802 w 14703435"/>
                <a:gd name="connsiteY42" fmla="*/ 3038951 h 10706845"/>
                <a:gd name="connsiteX43" fmla="*/ 4898441 w 14703435"/>
                <a:gd name="connsiteY43" fmla="*/ 3089659 h 10706845"/>
                <a:gd name="connsiteX44" fmla="*/ 4600673 w 14703435"/>
                <a:gd name="connsiteY44" fmla="*/ 2821188 h 10706845"/>
                <a:gd name="connsiteX45" fmla="*/ 4416749 w 14703435"/>
                <a:gd name="connsiteY45" fmla="*/ 2398181 h 10706845"/>
                <a:gd name="connsiteX46" fmla="*/ 4653822 w 14703435"/>
                <a:gd name="connsiteY46" fmla="*/ 1848014 h 10706845"/>
                <a:gd name="connsiteX47" fmla="*/ 4432864 w 14703435"/>
                <a:gd name="connsiteY47" fmla="*/ 1294779 h 10706845"/>
                <a:gd name="connsiteX48" fmla="*/ 4437471 w 14703435"/>
                <a:gd name="connsiteY48" fmla="*/ 625991 h 10706845"/>
                <a:gd name="connsiteX49" fmla="*/ 4141784 w 14703435"/>
                <a:gd name="connsiteY49" fmla="*/ 0 h 10706845"/>
                <a:gd name="connsiteX50" fmla="*/ 2314296 w 14703435"/>
                <a:gd name="connsiteY50" fmla="*/ 189494 h 10706845"/>
                <a:gd name="connsiteX51" fmla="*/ 1334589 w 14703435"/>
                <a:gd name="connsiteY51" fmla="*/ 994366 h 10706845"/>
                <a:gd name="connsiteX52" fmla="*/ 0 w 14703435"/>
                <a:gd name="connsiteY52" fmla="*/ 2341812 h 10706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4703435" h="10706845">
                  <a:moveTo>
                    <a:pt x="0" y="2341812"/>
                  </a:moveTo>
                  <a:lnTo>
                    <a:pt x="613837" y="4720170"/>
                  </a:lnTo>
                  <a:lnTo>
                    <a:pt x="1518338" y="5588320"/>
                  </a:lnTo>
                  <a:lnTo>
                    <a:pt x="1735898" y="6420244"/>
                  </a:lnTo>
                  <a:lnTo>
                    <a:pt x="3137400" y="6944804"/>
                  </a:lnTo>
                  <a:lnTo>
                    <a:pt x="3453963" y="8301295"/>
                  </a:lnTo>
                  <a:lnTo>
                    <a:pt x="4168520" y="9675864"/>
                  </a:lnTo>
                  <a:lnTo>
                    <a:pt x="4162343" y="10706845"/>
                  </a:lnTo>
                  <a:lnTo>
                    <a:pt x="4605215" y="10622681"/>
                  </a:lnTo>
                  <a:lnTo>
                    <a:pt x="4840336" y="10333299"/>
                  </a:lnTo>
                  <a:lnTo>
                    <a:pt x="6070201" y="10351391"/>
                  </a:lnTo>
                  <a:lnTo>
                    <a:pt x="6884082" y="9754539"/>
                  </a:lnTo>
                  <a:lnTo>
                    <a:pt x="7716051" y="10080098"/>
                  </a:lnTo>
                  <a:lnTo>
                    <a:pt x="8584189" y="9881146"/>
                  </a:lnTo>
                  <a:lnTo>
                    <a:pt x="9289552" y="10080098"/>
                  </a:lnTo>
                  <a:lnTo>
                    <a:pt x="10139605" y="9682198"/>
                  </a:lnTo>
                  <a:lnTo>
                    <a:pt x="10664108" y="9899234"/>
                  </a:lnTo>
                  <a:lnTo>
                    <a:pt x="11387555" y="9808804"/>
                  </a:lnTo>
                  <a:lnTo>
                    <a:pt x="11966315" y="10532259"/>
                  </a:lnTo>
                  <a:lnTo>
                    <a:pt x="12942975" y="10297130"/>
                  </a:lnTo>
                  <a:lnTo>
                    <a:pt x="13575992" y="10695030"/>
                  </a:lnTo>
                  <a:lnTo>
                    <a:pt x="13973888" y="10604597"/>
                  </a:lnTo>
                  <a:lnTo>
                    <a:pt x="14028146" y="10062006"/>
                  </a:lnTo>
                  <a:lnTo>
                    <a:pt x="13594073" y="10007749"/>
                  </a:lnTo>
                  <a:lnTo>
                    <a:pt x="13612161" y="9320470"/>
                  </a:lnTo>
                  <a:lnTo>
                    <a:pt x="14190925" y="9175783"/>
                  </a:lnTo>
                  <a:lnTo>
                    <a:pt x="13865366" y="8705538"/>
                  </a:lnTo>
                  <a:lnTo>
                    <a:pt x="14136664" y="8307642"/>
                  </a:lnTo>
                  <a:lnTo>
                    <a:pt x="14703435" y="8334738"/>
                  </a:lnTo>
                  <a:lnTo>
                    <a:pt x="14255660" y="8007340"/>
                  </a:lnTo>
                  <a:lnTo>
                    <a:pt x="14407378" y="7451179"/>
                  </a:lnTo>
                  <a:lnTo>
                    <a:pt x="13924235" y="6466638"/>
                  </a:lnTo>
                  <a:lnTo>
                    <a:pt x="11909491" y="6206793"/>
                  </a:lnTo>
                  <a:lnTo>
                    <a:pt x="9824147" y="6838125"/>
                  </a:lnTo>
                  <a:lnTo>
                    <a:pt x="8482717" y="6994165"/>
                  </a:lnTo>
                  <a:lnTo>
                    <a:pt x="8328079" y="6569451"/>
                  </a:lnTo>
                  <a:lnTo>
                    <a:pt x="7632672" y="6387789"/>
                  </a:lnTo>
                  <a:lnTo>
                    <a:pt x="7081852" y="5966020"/>
                  </a:lnTo>
                  <a:lnTo>
                    <a:pt x="6336686" y="5128452"/>
                  </a:lnTo>
                  <a:lnTo>
                    <a:pt x="6319261" y="4326134"/>
                  </a:lnTo>
                  <a:lnTo>
                    <a:pt x="5596373" y="3939696"/>
                  </a:lnTo>
                  <a:lnTo>
                    <a:pt x="5365184" y="3367517"/>
                  </a:lnTo>
                  <a:lnTo>
                    <a:pt x="5153802" y="3038951"/>
                  </a:lnTo>
                  <a:lnTo>
                    <a:pt x="4898441" y="3089659"/>
                  </a:lnTo>
                  <a:lnTo>
                    <a:pt x="4600673" y="2821188"/>
                  </a:lnTo>
                  <a:lnTo>
                    <a:pt x="4416749" y="2398181"/>
                  </a:lnTo>
                  <a:lnTo>
                    <a:pt x="4653822" y="1848014"/>
                  </a:lnTo>
                  <a:lnTo>
                    <a:pt x="4432864" y="1294779"/>
                  </a:lnTo>
                  <a:cubicBezTo>
                    <a:pt x="4434400" y="1071850"/>
                    <a:pt x="4435935" y="848920"/>
                    <a:pt x="4437471" y="625991"/>
                  </a:cubicBezTo>
                  <a:lnTo>
                    <a:pt x="4141784" y="0"/>
                  </a:lnTo>
                  <a:lnTo>
                    <a:pt x="2314296" y="189494"/>
                  </a:lnTo>
                  <a:lnTo>
                    <a:pt x="1334589" y="994366"/>
                  </a:lnTo>
                  <a:lnTo>
                    <a:pt x="0" y="2341812"/>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grpSp>
      <p:sp>
        <p:nvSpPr>
          <p:cNvPr id="29" name="TextBox 28">
            <a:extLst>
              <a:ext uri="{FF2B5EF4-FFF2-40B4-BE49-F238E27FC236}">
                <a16:creationId xmlns:a16="http://schemas.microsoft.com/office/drawing/2014/main" id="{2A602B99-C034-A7B3-EFC8-7FD312DB3A48}"/>
              </a:ext>
            </a:extLst>
          </p:cNvPr>
          <p:cNvSpPr txBox="1"/>
          <p:nvPr/>
        </p:nvSpPr>
        <p:spPr>
          <a:xfrm>
            <a:off x="178892" y="232056"/>
            <a:ext cx="11981848" cy="836126"/>
          </a:xfrm>
          <a:prstGeom prst="rect">
            <a:avLst/>
          </a:prstGeom>
          <a:noFill/>
        </p:spPr>
        <p:txBody>
          <a:bodyPr wrap="square" rtlCol="0">
            <a:spAutoFit/>
          </a:bodyPr>
          <a:lstStyle/>
          <a:p>
            <a:pPr marL="0" marR="0" lvl="0" indent="0" algn="l" defTabSz="914400" rtl="0" eaLnBrk="1" fontAlgn="auto" latinLnBrk="0" hangingPunct="1">
              <a:lnSpc>
                <a:spcPts val="2946"/>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mn-cs"/>
              </a:rPr>
              <a:t>STRUCTURE OF AGRICULTURAL PRODUCTION IN KAZAKHSTAN: CROP PRODUCTION</a:t>
            </a:r>
            <a:endParaRPr kumimoji="0" lang="ru-RU" sz="30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mn-cs"/>
            </a:endParaRPr>
          </a:p>
        </p:txBody>
      </p:sp>
      <p:pic>
        <p:nvPicPr>
          <p:cNvPr id="63" name="Рисунок 62" descr="Посевы со сплошной заливкой">
            <a:extLst>
              <a:ext uri="{FF2B5EF4-FFF2-40B4-BE49-F238E27FC236}">
                <a16:creationId xmlns:a16="http://schemas.microsoft.com/office/drawing/2014/main" id="{2E499364-EDD7-5D8B-06D1-BDEAB3DA8FF2}"/>
              </a:ext>
            </a:extLst>
          </p:cNvPr>
          <p:cNvPicPr>
            <a:picLocks noChangeAspect="1"/>
          </p:cNvPicPr>
          <p:nvPr/>
        </p:nvPicPr>
        <p:blipFill>
          <a:blip r:embed="rId3"/>
          <a:stretch>
            <a:fillRect/>
          </a:stretch>
        </p:blipFill>
        <p:spPr>
          <a:xfrm>
            <a:off x="9526700" y="1658603"/>
            <a:ext cx="184403" cy="184403"/>
          </a:xfrm>
          <a:prstGeom prst="rect">
            <a:avLst/>
          </a:prstGeom>
        </p:spPr>
      </p:pic>
      <p:pic>
        <p:nvPicPr>
          <p:cNvPr id="64" name="Рисунок 63" descr="Подсолнечник со сплошной заливкой">
            <a:extLst>
              <a:ext uri="{FF2B5EF4-FFF2-40B4-BE49-F238E27FC236}">
                <a16:creationId xmlns:a16="http://schemas.microsoft.com/office/drawing/2014/main" id="{38708BF8-E10D-58F8-5222-CDE1843D21E0}"/>
              </a:ext>
            </a:extLst>
          </p:cNvPr>
          <p:cNvPicPr>
            <a:picLocks noChangeAspect="1"/>
          </p:cNvPicPr>
          <p:nvPr/>
        </p:nvPicPr>
        <p:blipFill>
          <a:blip r:embed="rId4"/>
          <a:stretch>
            <a:fillRect/>
          </a:stretch>
        </p:blipFill>
        <p:spPr>
          <a:xfrm>
            <a:off x="9518517" y="1970226"/>
            <a:ext cx="201861" cy="201861"/>
          </a:xfrm>
          <a:prstGeom prst="rect">
            <a:avLst/>
          </a:prstGeom>
        </p:spPr>
      </p:pic>
      <p:sp>
        <p:nvSpPr>
          <p:cNvPr id="69" name="TextBox 68">
            <a:extLst>
              <a:ext uri="{FF2B5EF4-FFF2-40B4-BE49-F238E27FC236}">
                <a16:creationId xmlns:a16="http://schemas.microsoft.com/office/drawing/2014/main" id="{1F7FCDE0-1FA5-34B9-DBE8-B4A3265656E6}"/>
              </a:ext>
            </a:extLst>
          </p:cNvPr>
          <p:cNvSpPr txBox="1"/>
          <p:nvPr/>
        </p:nvSpPr>
        <p:spPr>
          <a:xfrm>
            <a:off x="9845298" y="1643082"/>
            <a:ext cx="1904570"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grain and leguminous crops</a:t>
            </a:r>
            <a:endParaRPr kumimoji="0" lang="ru-RU"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70" name="TextBox 69">
            <a:extLst>
              <a:ext uri="{FF2B5EF4-FFF2-40B4-BE49-F238E27FC236}">
                <a16:creationId xmlns:a16="http://schemas.microsoft.com/office/drawing/2014/main" id="{0FD6A78C-89E8-688F-23C4-931279D415A1}"/>
              </a:ext>
            </a:extLst>
          </p:cNvPr>
          <p:cNvSpPr txBox="1"/>
          <p:nvPr/>
        </p:nvSpPr>
        <p:spPr>
          <a:xfrm>
            <a:off x="9845298" y="1957506"/>
            <a:ext cx="2090500"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oilseed crops</a:t>
            </a:r>
            <a:endParaRPr kumimoji="0" lang="ru-RU"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71" name="TextBox 70">
            <a:extLst>
              <a:ext uri="{FF2B5EF4-FFF2-40B4-BE49-F238E27FC236}">
                <a16:creationId xmlns:a16="http://schemas.microsoft.com/office/drawing/2014/main" id="{918BDA0D-6744-1C6E-C7DE-0356C094E18A}"/>
              </a:ext>
            </a:extLst>
          </p:cNvPr>
          <p:cNvSpPr txBox="1"/>
          <p:nvPr/>
        </p:nvSpPr>
        <p:spPr>
          <a:xfrm>
            <a:off x="9845298" y="2279091"/>
            <a:ext cx="2090500"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open-field vegetables</a:t>
            </a:r>
            <a:endParaRPr kumimoji="0" lang="ru-RU"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72" name="TextBox 71">
            <a:extLst>
              <a:ext uri="{FF2B5EF4-FFF2-40B4-BE49-F238E27FC236}">
                <a16:creationId xmlns:a16="http://schemas.microsoft.com/office/drawing/2014/main" id="{33EBDB2E-BBDA-4473-6C5F-E3B26A3FDF6D}"/>
              </a:ext>
            </a:extLst>
          </p:cNvPr>
          <p:cNvSpPr txBox="1"/>
          <p:nvPr/>
        </p:nvSpPr>
        <p:spPr>
          <a:xfrm>
            <a:off x="9845298" y="2601436"/>
            <a:ext cx="1920045"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melons and gourds</a:t>
            </a:r>
            <a:endParaRPr kumimoji="0" lang="ru-RU"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pic>
        <p:nvPicPr>
          <p:cNvPr id="7" name="Рисунок 6"/>
          <p:cNvPicPr>
            <a:picLocks noChangeAspect="1"/>
          </p:cNvPicPr>
          <p:nvPr/>
        </p:nvPicPr>
        <p:blipFill>
          <a:blip r:embed="rId5">
            <a:duotone>
              <a:prstClr val="black"/>
              <a:srgbClr val="D9C3A5">
                <a:tint val="50000"/>
                <a:satMod val="180000"/>
              </a:srgbClr>
            </a:duotone>
            <a:extLst>
              <a:ext uri="{28A0092B-C50C-407E-A947-70E740481C1C}">
                <a14:useLocalDpi xmlns:a14="http://schemas.microsoft.com/office/drawing/2010/main" val="0"/>
              </a:ext>
            </a:extLst>
          </a:blip>
          <a:stretch>
            <a:fillRect/>
          </a:stretch>
        </p:blipFill>
        <p:spPr>
          <a:xfrm>
            <a:off x="9565055" y="2651769"/>
            <a:ext cx="147315" cy="147315"/>
          </a:xfrm>
          <a:prstGeom prst="rect">
            <a:avLst/>
          </a:prstGeom>
        </p:spPr>
      </p:pic>
      <p:pic>
        <p:nvPicPr>
          <p:cNvPr id="27" name="Рисунок 26"/>
          <p:cNvPicPr>
            <a:picLocks noChangeAspect="1"/>
          </p:cNvPicPr>
          <p:nvPr/>
        </p:nvPicPr>
        <p:blipFill>
          <a:blip r:embed="rId6">
            <a:grayscl/>
            <a:extLst>
              <a:ext uri="{28A0092B-C50C-407E-A947-70E740481C1C}">
                <a14:useLocalDpi xmlns:a14="http://schemas.microsoft.com/office/drawing/2010/main" val="0"/>
              </a:ext>
            </a:extLst>
          </a:blip>
          <a:stretch>
            <a:fillRect/>
          </a:stretch>
        </p:blipFill>
        <p:spPr>
          <a:xfrm>
            <a:off x="9547042" y="2308299"/>
            <a:ext cx="173280" cy="173280"/>
          </a:xfrm>
          <a:prstGeom prst="rect">
            <a:avLst/>
          </a:prstGeom>
        </p:spPr>
      </p:pic>
      <p:sp>
        <p:nvSpPr>
          <p:cNvPr id="67" name="TextBox 66">
            <a:extLst>
              <a:ext uri="{FF2B5EF4-FFF2-40B4-BE49-F238E27FC236}">
                <a16:creationId xmlns:a16="http://schemas.microsoft.com/office/drawing/2014/main" id="{33EBDB2E-BBDA-4473-6C5F-E3B26A3FDF6D}"/>
              </a:ext>
            </a:extLst>
          </p:cNvPr>
          <p:cNvSpPr txBox="1"/>
          <p:nvPr/>
        </p:nvSpPr>
        <p:spPr>
          <a:xfrm>
            <a:off x="6209757" y="3315702"/>
            <a:ext cx="3308760"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Leading regions by gross harvest</a:t>
            </a:r>
            <a:endParaRPr kumimoji="0" lang="ru-RU" sz="11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pic>
        <p:nvPicPr>
          <p:cNvPr id="74" name="Рисунок 73" descr="Посевы со сплошной заливкой">
            <a:extLst>
              <a:ext uri="{FF2B5EF4-FFF2-40B4-BE49-F238E27FC236}">
                <a16:creationId xmlns:a16="http://schemas.microsoft.com/office/drawing/2014/main" id="{2E499364-EDD7-5D8B-06D1-BDEAB3DA8FF2}"/>
              </a:ext>
            </a:extLst>
          </p:cNvPr>
          <p:cNvPicPr>
            <a:picLocks noChangeAspect="1"/>
          </p:cNvPicPr>
          <p:nvPr/>
        </p:nvPicPr>
        <p:blipFill>
          <a:blip r:embed="rId3"/>
          <a:stretch>
            <a:fillRect/>
          </a:stretch>
        </p:blipFill>
        <p:spPr>
          <a:xfrm>
            <a:off x="8717228" y="4047447"/>
            <a:ext cx="158631" cy="158631"/>
          </a:xfrm>
          <a:prstGeom prst="rect">
            <a:avLst/>
          </a:prstGeom>
        </p:spPr>
      </p:pic>
      <p:pic>
        <p:nvPicPr>
          <p:cNvPr id="78" name="Рисунок 77" descr="Подсолнечник со сплошной заливкой">
            <a:extLst>
              <a:ext uri="{FF2B5EF4-FFF2-40B4-BE49-F238E27FC236}">
                <a16:creationId xmlns:a16="http://schemas.microsoft.com/office/drawing/2014/main" id="{38708BF8-E10D-58F8-5222-CDE1843D21E0}"/>
              </a:ext>
            </a:extLst>
          </p:cNvPr>
          <p:cNvPicPr>
            <a:picLocks noChangeAspect="1"/>
          </p:cNvPicPr>
          <p:nvPr/>
        </p:nvPicPr>
        <p:blipFill>
          <a:blip r:embed="rId4"/>
          <a:stretch>
            <a:fillRect/>
          </a:stretch>
        </p:blipFill>
        <p:spPr>
          <a:xfrm>
            <a:off x="9366390" y="3666792"/>
            <a:ext cx="152127" cy="152127"/>
          </a:xfrm>
          <a:prstGeom prst="rect">
            <a:avLst/>
          </a:prstGeom>
        </p:spPr>
      </p:pic>
      <p:pic>
        <p:nvPicPr>
          <p:cNvPr id="81" name="Рисунок 80"/>
          <p:cNvPicPr>
            <a:picLocks noChangeAspect="1"/>
          </p:cNvPicPr>
          <p:nvPr/>
        </p:nvPicPr>
        <p:blipFill>
          <a:blip r:embed="rId6">
            <a:grayscl/>
            <a:extLst>
              <a:ext uri="{28A0092B-C50C-407E-A947-70E740481C1C}">
                <a14:useLocalDpi xmlns:a14="http://schemas.microsoft.com/office/drawing/2010/main" val="0"/>
              </a:ext>
            </a:extLst>
          </a:blip>
          <a:stretch>
            <a:fillRect/>
          </a:stretch>
        </p:blipFill>
        <p:spPr>
          <a:xfrm>
            <a:off x="10417314" y="5871771"/>
            <a:ext cx="134195" cy="134195"/>
          </a:xfrm>
          <a:prstGeom prst="rect">
            <a:avLst/>
          </a:prstGeom>
        </p:spPr>
      </p:pic>
      <p:pic>
        <p:nvPicPr>
          <p:cNvPr id="83" name="Рисунок 82"/>
          <p:cNvPicPr>
            <a:picLocks noChangeAspect="1"/>
          </p:cNvPicPr>
          <p:nvPr/>
        </p:nvPicPr>
        <p:blipFill>
          <a:blip r:embed="rId5">
            <a:duotone>
              <a:prstClr val="black"/>
              <a:srgbClr val="D9C3A5">
                <a:tint val="50000"/>
                <a:satMod val="180000"/>
              </a:srgbClr>
            </a:duotone>
            <a:extLst>
              <a:ext uri="{28A0092B-C50C-407E-A947-70E740481C1C}">
                <a14:useLocalDpi xmlns:a14="http://schemas.microsoft.com/office/drawing/2010/main" val="0"/>
              </a:ext>
            </a:extLst>
          </a:blip>
          <a:stretch>
            <a:fillRect/>
          </a:stretch>
        </p:blipFill>
        <p:spPr>
          <a:xfrm>
            <a:off x="8634838" y="5681280"/>
            <a:ext cx="111296" cy="111296"/>
          </a:xfrm>
          <a:prstGeom prst="rect">
            <a:avLst/>
          </a:prstGeom>
        </p:spPr>
      </p:pic>
      <p:pic>
        <p:nvPicPr>
          <p:cNvPr id="85" name="Рисунок 84" descr="Посевы со сплошной заливкой">
            <a:extLst>
              <a:ext uri="{FF2B5EF4-FFF2-40B4-BE49-F238E27FC236}">
                <a16:creationId xmlns:a16="http://schemas.microsoft.com/office/drawing/2014/main" id="{2E499364-EDD7-5D8B-06D1-BDEAB3DA8FF2}"/>
              </a:ext>
            </a:extLst>
          </p:cNvPr>
          <p:cNvPicPr>
            <a:picLocks noChangeAspect="1"/>
          </p:cNvPicPr>
          <p:nvPr/>
        </p:nvPicPr>
        <p:blipFill>
          <a:blip r:embed="rId3"/>
          <a:stretch>
            <a:fillRect/>
          </a:stretch>
        </p:blipFill>
        <p:spPr>
          <a:xfrm>
            <a:off x="9148155" y="3720674"/>
            <a:ext cx="158631" cy="158631"/>
          </a:xfrm>
          <a:prstGeom prst="rect">
            <a:avLst/>
          </a:prstGeom>
        </p:spPr>
      </p:pic>
      <p:pic>
        <p:nvPicPr>
          <p:cNvPr id="86" name="Рисунок 85" descr="Посевы со сплошной заливкой">
            <a:extLst>
              <a:ext uri="{FF2B5EF4-FFF2-40B4-BE49-F238E27FC236}">
                <a16:creationId xmlns:a16="http://schemas.microsoft.com/office/drawing/2014/main" id="{2E499364-EDD7-5D8B-06D1-BDEAB3DA8FF2}"/>
              </a:ext>
            </a:extLst>
          </p:cNvPr>
          <p:cNvPicPr>
            <a:picLocks noChangeAspect="1"/>
          </p:cNvPicPr>
          <p:nvPr/>
        </p:nvPicPr>
        <p:blipFill>
          <a:blip r:embed="rId3"/>
          <a:stretch>
            <a:fillRect/>
          </a:stretch>
        </p:blipFill>
        <p:spPr>
          <a:xfrm>
            <a:off x="9319965" y="4228247"/>
            <a:ext cx="158631" cy="158631"/>
          </a:xfrm>
          <a:prstGeom prst="rect">
            <a:avLst/>
          </a:prstGeom>
        </p:spPr>
      </p:pic>
      <p:pic>
        <p:nvPicPr>
          <p:cNvPr id="87" name="Рисунок 86" descr="Подсолнечник со сплошной заливкой">
            <a:extLst>
              <a:ext uri="{FF2B5EF4-FFF2-40B4-BE49-F238E27FC236}">
                <a16:creationId xmlns:a16="http://schemas.microsoft.com/office/drawing/2014/main" id="{38708BF8-E10D-58F8-5222-CDE1843D21E0}"/>
              </a:ext>
            </a:extLst>
          </p:cNvPr>
          <p:cNvPicPr>
            <a:picLocks noChangeAspect="1"/>
          </p:cNvPicPr>
          <p:nvPr/>
        </p:nvPicPr>
        <p:blipFill>
          <a:blip r:embed="rId4"/>
          <a:stretch>
            <a:fillRect/>
          </a:stretch>
        </p:blipFill>
        <p:spPr>
          <a:xfrm>
            <a:off x="8693403" y="4394571"/>
            <a:ext cx="152127" cy="152127"/>
          </a:xfrm>
          <a:prstGeom prst="rect">
            <a:avLst/>
          </a:prstGeom>
        </p:spPr>
      </p:pic>
      <p:pic>
        <p:nvPicPr>
          <p:cNvPr id="88" name="Рисунок 87" descr="Подсолнечник со сплошной заливкой">
            <a:extLst>
              <a:ext uri="{FF2B5EF4-FFF2-40B4-BE49-F238E27FC236}">
                <a16:creationId xmlns:a16="http://schemas.microsoft.com/office/drawing/2014/main" id="{38708BF8-E10D-58F8-5222-CDE1843D21E0}"/>
              </a:ext>
            </a:extLst>
          </p:cNvPr>
          <p:cNvPicPr>
            <a:picLocks noChangeAspect="1"/>
          </p:cNvPicPr>
          <p:nvPr/>
        </p:nvPicPr>
        <p:blipFill>
          <a:blip r:embed="rId4"/>
          <a:stretch>
            <a:fillRect/>
          </a:stretch>
        </p:blipFill>
        <p:spPr>
          <a:xfrm>
            <a:off x="10645456" y="4667020"/>
            <a:ext cx="152127" cy="152127"/>
          </a:xfrm>
          <a:prstGeom prst="rect">
            <a:avLst/>
          </a:prstGeom>
        </p:spPr>
      </p:pic>
      <p:pic>
        <p:nvPicPr>
          <p:cNvPr id="89" name="Рисунок 88"/>
          <p:cNvPicPr>
            <a:picLocks noChangeAspect="1"/>
          </p:cNvPicPr>
          <p:nvPr/>
        </p:nvPicPr>
        <p:blipFill>
          <a:blip r:embed="rId6">
            <a:grayscl/>
            <a:extLst>
              <a:ext uri="{28A0092B-C50C-407E-A947-70E740481C1C}">
                <a14:useLocalDpi xmlns:a14="http://schemas.microsoft.com/office/drawing/2010/main" val="0"/>
              </a:ext>
            </a:extLst>
          </a:blip>
          <a:stretch>
            <a:fillRect/>
          </a:stretch>
        </p:blipFill>
        <p:spPr>
          <a:xfrm>
            <a:off x="9711103" y="5890461"/>
            <a:ext cx="134195" cy="134195"/>
          </a:xfrm>
          <a:prstGeom prst="rect">
            <a:avLst/>
          </a:prstGeom>
        </p:spPr>
      </p:pic>
      <p:pic>
        <p:nvPicPr>
          <p:cNvPr id="90" name="Рисунок 89"/>
          <p:cNvPicPr>
            <a:picLocks noChangeAspect="1"/>
          </p:cNvPicPr>
          <p:nvPr/>
        </p:nvPicPr>
        <p:blipFill>
          <a:blip r:embed="rId6">
            <a:grayscl/>
            <a:extLst>
              <a:ext uri="{28A0092B-C50C-407E-A947-70E740481C1C}">
                <a14:useLocalDpi xmlns:a14="http://schemas.microsoft.com/office/drawing/2010/main" val="0"/>
              </a:ext>
            </a:extLst>
          </a:blip>
          <a:stretch>
            <a:fillRect/>
          </a:stretch>
        </p:blipFill>
        <p:spPr>
          <a:xfrm>
            <a:off x="9176248" y="6312738"/>
            <a:ext cx="134195" cy="134195"/>
          </a:xfrm>
          <a:prstGeom prst="rect">
            <a:avLst/>
          </a:prstGeom>
        </p:spPr>
      </p:pic>
      <p:pic>
        <p:nvPicPr>
          <p:cNvPr id="91" name="Рисунок 90"/>
          <p:cNvPicPr>
            <a:picLocks noChangeAspect="1"/>
          </p:cNvPicPr>
          <p:nvPr/>
        </p:nvPicPr>
        <p:blipFill>
          <a:blip r:embed="rId5">
            <a:duotone>
              <a:prstClr val="black"/>
              <a:srgbClr val="D9C3A5">
                <a:tint val="50000"/>
                <a:satMod val="180000"/>
              </a:srgbClr>
            </a:duotone>
            <a:extLst>
              <a:ext uri="{28A0092B-C50C-407E-A947-70E740481C1C}">
                <a14:useLocalDpi xmlns:a14="http://schemas.microsoft.com/office/drawing/2010/main" val="0"/>
              </a:ext>
            </a:extLst>
          </a:blip>
          <a:stretch>
            <a:fillRect/>
          </a:stretch>
        </p:blipFill>
        <p:spPr>
          <a:xfrm>
            <a:off x="9370696" y="6222181"/>
            <a:ext cx="111296" cy="111296"/>
          </a:xfrm>
          <a:prstGeom prst="rect">
            <a:avLst/>
          </a:prstGeom>
        </p:spPr>
      </p:pic>
      <p:pic>
        <p:nvPicPr>
          <p:cNvPr id="92" name="Рисунок 91"/>
          <p:cNvPicPr>
            <a:picLocks noChangeAspect="1"/>
          </p:cNvPicPr>
          <p:nvPr/>
        </p:nvPicPr>
        <p:blipFill>
          <a:blip r:embed="rId5">
            <a:duotone>
              <a:prstClr val="black"/>
              <a:srgbClr val="D9C3A5">
                <a:tint val="50000"/>
                <a:satMod val="180000"/>
              </a:srgbClr>
            </a:duotone>
            <a:extLst>
              <a:ext uri="{28A0092B-C50C-407E-A947-70E740481C1C}">
                <a14:useLocalDpi xmlns:a14="http://schemas.microsoft.com/office/drawing/2010/main" val="0"/>
              </a:ext>
            </a:extLst>
          </a:blip>
          <a:stretch>
            <a:fillRect/>
          </a:stretch>
        </p:blipFill>
        <p:spPr>
          <a:xfrm>
            <a:off x="9875385" y="5746031"/>
            <a:ext cx="111296" cy="111296"/>
          </a:xfrm>
          <a:prstGeom prst="rect">
            <a:avLst/>
          </a:prstGeom>
        </p:spPr>
      </p:pic>
      <p:pic>
        <p:nvPicPr>
          <p:cNvPr id="93" name="Рисунок 92" descr="Посевы со сплошной заливкой">
            <a:extLst>
              <a:ext uri="{FF2B5EF4-FFF2-40B4-BE49-F238E27FC236}">
                <a16:creationId xmlns:a16="http://schemas.microsoft.com/office/drawing/2014/main" id="{2E499364-EDD7-5D8B-06D1-BDEAB3DA8FF2}"/>
              </a:ext>
            </a:extLst>
          </p:cNvPr>
          <p:cNvPicPr>
            <a:picLocks noChangeAspect="1"/>
          </p:cNvPicPr>
          <p:nvPr/>
        </p:nvPicPr>
        <p:blipFill>
          <a:blip r:embed="rId3"/>
          <a:stretch>
            <a:fillRect/>
          </a:stretch>
        </p:blipFill>
        <p:spPr>
          <a:xfrm>
            <a:off x="9989784" y="4877734"/>
            <a:ext cx="158631" cy="158631"/>
          </a:xfrm>
          <a:prstGeom prst="rect">
            <a:avLst/>
          </a:prstGeom>
        </p:spPr>
      </p:pic>
      <p:pic>
        <p:nvPicPr>
          <p:cNvPr id="94" name="Рисунок 93" descr="Посевы со сплошной заливкой">
            <a:extLst>
              <a:ext uri="{FF2B5EF4-FFF2-40B4-BE49-F238E27FC236}">
                <a16:creationId xmlns:a16="http://schemas.microsoft.com/office/drawing/2014/main" id="{2E499364-EDD7-5D8B-06D1-BDEAB3DA8FF2}"/>
              </a:ext>
            </a:extLst>
          </p:cNvPr>
          <p:cNvPicPr>
            <a:picLocks noChangeAspect="1"/>
          </p:cNvPicPr>
          <p:nvPr/>
        </p:nvPicPr>
        <p:blipFill>
          <a:blip r:embed="rId3"/>
          <a:stretch>
            <a:fillRect/>
          </a:stretch>
        </p:blipFill>
        <p:spPr>
          <a:xfrm>
            <a:off x="10057871" y="3928089"/>
            <a:ext cx="158631" cy="158631"/>
          </a:xfrm>
          <a:prstGeom prst="rect">
            <a:avLst/>
          </a:prstGeom>
        </p:spPr>
      </p:pic>
      <p:pic>
        <p:nvPicPr>
          <p:cNvPr id="95" name="Рисунок 94" descr="Посевы со сплошной заливкой">
            <a:extLst>
              <a:ext uri="{FF2B5EF4-FFF2-40B4-BE49-F238E27FC236}">
                <a16:creationId xmlns:a16="http://schemas.microsoft.com/office/drawing/2014/main" id="{2E499364-EDD7-5D8B-06D1-BDEAB3DA8FF2}"/>
              </a:ext>
            </a:extLst>
          </p:cNvPr>
          <p:cNvPicPr>
            <a:picLocks noChangeAspect="1"/>
          </p:cNvPicPr>
          <p:nvPr/>
        </p:nvPicPr>
        <p:blipFill>
          <a:blip r:embed="rId3"/>
          <a:stretch>
            <a:fillRect/>
          </a:stretch>
        </p:blipFill>
        <p:spPr>
          <a:xfrm>
            <a:off x="9264742" y="5689106"/>
            <a:ext cx="158631" cy="158631"/>
          </a:xfrm>
          <a:prstGeom prst="rect">
            <a:avLst/>
          </a:prstGeom>
        </p:spPr>
      </p:pic>
      <p:pic>
        <p:nvPicPr>
          <p:cNvPr id="96" name="Рисунок 95" descr="Подсолнечник со сплошной заливкой">
            <a:extLst>
              <a:ext uri="{FF2B5EF4-FFF2-40B4-BE49-F238E27FC236}">
                <a16:creationId xmlns:a16="http://schemas.microsoft.com/office/drawing/2014/main" id="{38708BF8-E10D-58F8-5222-CDE1843D21E0}"/>
              </a:ext>
            </a:extLst>
          </p:cNvPr>
          <p:cNvPicPr>
            <a:picLocks noChangeAspect="1"/>
          </p:cNvPicPr>
          <p:nvPr/>
        </p:nvPicPr>
        <p:blipFill>
          <a:blip r:embed="rId4"/>
          <a:stretch>
            <a:fillRect/>
          </a:stretch>
        </p:blipFill>
        <p:spPr>
          <a:xfrm>
            <a:off x="11280457" y="4576019"/>
            <a:ext cx="152127" cy="152127"/>
          </a:xfrm>
          <a:prstGeom prst="rect">
            <a:avLst/>
          </a:prstGeom>
        </p:spPr>
      </p:pic>
      <p:pic>
        <p:nvPicPr>
          <p:cNvPr id="97" name="Рисунок 96" descr="Подсолнечник со сплошной заливкой">
            <a:extLst>
              <a:ext uri="{FF2B5EF4-FFF2-40B4-BE49-F238E27FC236}">
                <a16:creationId xmlns:a16="http://schemas.microsoft.com/office/drawing/2014/main" id="{38708BF8-E10D-58F8-5222-CDE1843D21E0}"/>
              </a:ext>
            </a:extLst>
          </p:cNvPr>
          <p:cNvPicPr>
            <a:picLocks noChangeAspect="1"/>
          </p:cNvPicPr>
          <p:nvPr/>
        </p:nvPicPr>
        <p:blipFill>
          <a:blip r:embed="rId4"/>
          <a:stretch>
            <a:fillRect/>
          </a:stretch>
        </p:blipFill>
        <p:spPr>
          <a:xfrm>
            <a:off x="9540305" y="4211166"/>
            <a:ext cx="152127" cy="152127"/>
          </a:xfrm>
          <a:prstGeom prst="rect">
            <a:avLst/>
          </a:prstGeom>
        </p:spPr>
      </p:pic>
      <p:pic>
        <p:nvPicPr>
          <p:cNvPr id="98" name="Рисунок 97" descr="Подсолнечник со сплошной заливкой">
            <a:extLst>
              <a:ext uri="{FF2B5EF4-FFF2-40B4-BE49-F238E27FC236}">
                <a16:creationId xmlns:a16="http://schemas.microsoft.com/office/drawing/2014/main" id="{38708BF8-E10D-58F8-5222-CDE1843D21E0}"/>
              </a:ext>
            </a:extLst>
          </p:cNvPr>
          <p:cNvPicPr>
            <a:picLocks noChangeAspect="1"/>
          </p:cNvPicPr>
          <p:nvPr/>
        </p:nvPicPr>
        <p:blipFill>
          <a:blip r:embed="rId4"/>
          <a:stretch>
            <a:fillRect/>
          </a:stretch>
        </p:blipFill>
        <p:spPr>
          <a:xfrm>
            <a:off x="10245611" y="4053951"/>
            <a:ext cx="152127" cy="152127"/>
          </a:xfrm>
          <a:prstGeom prst="rect">
            <a:avLst/>
          </a:prstGeom>
        </p:spPr>
      </p:pic>
      <p:pic>
        <p:nvPicPr>
          <p:cNvPr id="99" name="Рисунок 98"/>
          <p:cNvPicPr>
            <a:picLocks noChangeAspect="1"/>
          </p:cNvPicPr>
          <p:nvPr/>
        </p:nvPicPr>
        <p:blipFill>
          <a:blip r:embed="rId6">
            <a:grayscl/>
            <a:extLst>
              <a:ext uri="{28A0092B-C50C-407E-A947-70E740481C1C}">
                <a14:useLocalDpi xmlns:a14="http://schemas.microsoft.com/office/drawing/2010/main" val="0"/>
              </a:ext>
            </a:extLst>
          </a:blip>
          <a:stretch>
            <a:fillRect/>
          </a:stretch>
        </p:blipFill>
        <p:spPr>
          <a:xfrm>
            <a:off x="10677507" y="5340709"/>
            <a:ext cx="134195" cy="134195"/>
          </a:xfrm>
          <a:prstGeom prst="rect">
            <a:avLst/>
          </a:prstGeom>
        </p:spPr>
      </p:pic>
      <p:pic>
        <p:nvPicPr>
          <p:cNvPr id="100" name="Рисунок 99"/>
          <p:cNvPicPr>
            <a:picLocks noChangeAspect="1"/>
          </p:cNvPicPr>
          <p:nvPr/>
        </p:nvPicPr>
        <p:blipFill>
          <a:blip r:embed="rId6">
            <a:grayscl/>
            <a:extLst>
              <a:ext uri="{28A0092B-C50C-407E-A947-70E740481C1C}">
                <a14:useLocalDpi xmlns:a14="http://schemas.microsoft.com/office/drawing/2010/main" val="0"/>
              </a:ext>
            </a:extLst>
          </a:blip>
          <a:stretch>
            <a:fillRect/>
          </a:stretch>
        </p:blipFill>
        <p:spPr>
          <a:xfrm>
            <a:off x="8810536" y="5767715"/>
            <a:ext cx="134195" cy="134195"/>
          </a:xfrm>
          <a:prstGeom prst="rect">
            <a:avLst/>
          </a:prstGeom>
        </p:spPr>
      </p:pic>
      <p:pic>
        <p:nvPicPr>
          <p:cNvPr id="101" name="Рисунок 100"/>
          <p:cNvPicPr>
            <a:picLocks noChangeAspect="1"/>
          </p:cNvPicPr>
          <p:nvPr/>
        </p:nvPicPr>
        <p:blipFill>
          <a:blip r:embed="rId6">
            <a:grayscl/>
            <a:extLst>
              <a:ext uri="{28A0092B-C50C-407E-A947-70E740481C1C}">
                <a14:useLocalDpi xmlns:a14="http://schemas.microsoft.com/office/drawing/2010/main" val="0"/>
              </a:ext>
            </a:extLst>
          </a:blip>
          <a:stretch>
            <a:fillRect/>
          </a:stretch>
        </p:blipFill>
        <p:spPr>
          <a:xfrm>
            <a:off x="10062135" y="4195944"/>
            <a:ext cx="134195" cy="134195"/>
          </a:xfrm>
          <a:prstGeom prst="rect">
            <a:avLst/>
          </a:prstGeom>
        </p:spPr>
      </p:pic>
      <p:pic>
        <p:nvPicPr>
          <p:cNvPr id="102" name="Рисунок 101"/>
          <p:cNvPicPr>
            <a:picLocks noChangeAspect="1"/>
          </p:cNvPicPr>
          <p:nvPr/>
        </p:nvPicPr>
        <p:blipFill>
          <a:blip r:embed="rId5">
            <a:duotone>
              <a:prstClr val="black"/>
              <a:srgbClr val="D9C3A5">
                <a:tint val="50000"/>
                <a:satMod val="180000"/>
              </a:srgbClr>
            </a:duotone>
            <a:extLst>
              <a:ext uri="{28A0092B-C50C-407E-A947-70E740481C1C}">
                <a14:useLocalDpi xmlns:a14="http://schemas.microsoft.com/office/drawing/2010/main" val="0"/>
              </a:ext>
            </a:extLst>
          </a:blip>
          <a:stretch>
            <a:fillRect/>
          </a:stretch>
        </p:blipFill>
        <p:spPr>
          <a:xfrm>
            <a:off x="10819158" y="4849139"/>
            <a:ext cx="111296" cy="111296"/>
          </a:xfrm>
          <a:prstGeom prst="rect">
            <a:avLst/>
          </a:prstGeom>
        </p:spPr>
      </p:pic>
      <p:pic>
        <p:nvPicPr>
          <p:cNvPr id="103" name="Рисунок 102"/>
          <p:cNvPicPr>
            <a:picLocks noChangeAspect="1"/>
          </p:cNvPicPr>
          <p:nvPr/>
        </p:nvPicPr>
        <p:blipFill>
          <a:blip r:embed="rId5">
            <a:duotone>
              <a:prstClr val="black"/>
              <a:srgbClr val="D9C3A5">
                <a:tint val="50000"/>
                <a:satMod val="180000"/>
              </a:srgbClr>
            </a:duotone>
            <a:extLst>
              <a:ext uri="{28A0092B-C50C-407E-A947-70E740481C1C}">
                <a14:useLocalDpi xmlns:a14="http://schemas.microsoft.com/office/drawing/2010/main" val="0"/>
              </a:ext>
            </a:extLst>
          </a:blip>
          <a:stretch>
            <a:fillRect/>
          </a:stretch>
        </p:blipFill>
        <p:spPr>
          <a:xfrm>
            <a:off x="10680140" y="5552156"/>
            <a:ext cx="111296" cy="111296"/>
          </a:xfrm>
          <a:prstGeom prst="rect">
            <a:avLst/>
          </a:prstGeom>
        </p:spPr>
      </p:pic>
      <p:pic>
        <p:nvPicPr>
          <p:cNvPr id="104" name="Рисунок 103"/>
          <p:cNvPicPr>
            <a:picLocks noChangeAspect="1"/>
          </p:cNvPicPr>
          <p:nvPr/>
        </p:nvPicPr>
        <p:blipFill>
          <a:blip r:embed="rId5">
            <a:duotone>
              <a:prstClr val="black"/>
              <a:srgbClr val="D9C3A5">
                <a:tint val="50000"/>
                <a:satMod val="180000"/>
              </a:srgbClr>
            </a:duotone>
            <a:extLst>
              <a:ext uri="{28A0092B-C50C-407E-A947-70E740481C1C}">
                <a14:useLocalDpi xmlns:a14="http://schemas.microsoft.com/office/drawing/2010/main" val="0"/>
              </a:ext>
            </a:extLst>
          </a:blip>
          <a:stretch>
            <a:fillRect/>
          </a:stretch>
        </p:blipFill>
        <p:spPr>
          <a:xfrm>
            <a:off x="10264688" y="4279894"/>
            <a:ext cx="111296" cy="111296"/>
          </a:xfrm>
          <a:prstGeom prst="rect">
            <a:avLst/>
          </a:prstGeom>
        </p:spPr>
      </p:pic>
      <p:sp>
        <p:nvSpPr>
          <p:cNvPr id="61" name="TextBox 60">
            <a:extLst>
              <a:ext uri="{FF2B5EF4-FFF2-40B4-BE49-F238E27FC236}">
                <a16:creationId xmlns:a16="http://schemas.microsoft.com/office/drawing/2014/main" id="{A196E4F8-8A51-4AE5-BF7E-4772E11CAEF3}"/>
              </a:ext>
            </a:extLst>
          </p:cNvPr>
          <p:cNvSpPr txBox="1"/>
          <p:nvPr/>
        </p:nvSpPr>
        <p:spPr>
          <a:xfrm>
            <a:off x="16219" y="6641124"/>
            <a:ext cx="637579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Times New Roman" panose="02020603050405020304" pitchFamily="18" charset="0"/>
              </a:rPr>
              <a:t>Source: The Bureau of National Statistics of the Agency for Strategic Planning and Reforms of the Republic of Kazakhstan</a:t>
            </a:r>
            <a:endParaRPr kumimoji="0" lang="en"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Times New Roman" panose="02020603050405020304" pitchFamily="18" charset="0"/>
            </a:endParaRPr>
          </a:p>
        </p:txBody>
      </p:sp>
    </p:spTree>
    <p:extLst>
      <p:ext uri="{BB962C8B-B14F-4D97-AF65-F5344CB8AC3E}">
        <p14:creationId xmlns:p14="http://schemas.microsoft.com/office/powerpoint/2010/main" val="17573866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88448A-3439-D121-B663-0A0F61FE99BA}"/>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7468F288-6674-36B5-C2F7-7E6B179A60A6}"/>
              </a:ext>
            </a:extLst>
          </p:cNvPr>
          <p:cNvSpPr txBox="1"/>
          <p:nvPr/>
        </p:nvSpPr>
        <p:spPr>
          <a:xfrm>
            <a:off x="171764" y="196605"/>
            <a:ext cx="11870942" cy="464230"/>
          </a:xfrm>
          <a:prstGeom prst="rect">
            <a:avLst/>
          </a:prstGeom>
          <a:solidFill>
            <a:schemeClr val="bg1"/>
          </a:solidFill>
        </p:spPr>
        <p:txBody>
          <a:bodyPr wrap="square" rtlCol="0">
            <a:spAutoFit/>
          </a:bodyPr>
          <a:lstStyle/>
          <a:p>
            <a:pPr marL="0" marR="0" lvl="0" indent="0" algn="ctr" defTabSz="914400" rtl="0" eaLnBrk="1" fontAlgn="auto" latinLnBrk="0" hangingPunct="1">
              <a:lnSpc>
                <a:spcPts val="2946"/>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mn-cs"/>
              </a:rPr>
              <a:t>BARLEY MARKET OVERVIEW IN THE WORLD AND IN KAZAKHSTAN</a:t>
            </a:r>
            <a:endParaRPr kumimoji="0" lang="ru-RU" sz="30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mn-cs"/>
            </a:endParaRPr>
          </a:p>
        </p:txBody>
      </p:sp>
      <p:grpSp>
        <p:nvGrpSpPr>
          <p:cNvPr id="9" name="Группа 8">
            <a:extLst>
              <a:ext uri="{FF2B5EF4-FFF2-40B4-BE49-F238E27FC236}">
                <a16:creationId xmlns:a16="http://schemas.microsoft.com/office/drawing/2014/main" id="{A37AA7C2-4783-D886-50FD-7CE0AA937D90}"/>
              </a:ext>
            </a:extLst>
          </p:cNvPr>
          <p:cNvGrpSpPr/>
          <p:nvPr/>
        </p:nvGrpSpPr>
        <p:grpSpPr>
          <a:xfrm>
            <a:off x="5630471" y="1143747"/>
            <a:ext cx="5912848" cy="3388547"/>
            <a:chOff x="135165" y="90519"/>
            <a:chExt cx="11892752" cy="6652893"/>
          </a:xfrm>
          <a:solidFill>
            <a:schemeClr val="tx2">
              <a:lumMod val="10000"/>
              <a:lumOff val="90000"/>
            </a:schemeClr>
          </a:solidFill>
        </p:grpSpPr>
        <p:grpSp>
          <p:nvGrpSpPr>
            <p:cNvPr id="10" name="组合 99">
              <a:extLst>
                <a:ext uri="{FF2B5EF4-FFF2-40B4-BE49-F238E27FC236}">
                  <a16:creationId xmlns:a16="http://schemas.microsoft.com/office/drawing/2014/main" id="{4230B978-03DF-4B2A-CF66-0BE8BB428953}"/>
                </a:ext>
              </a:extLst>
            </p:cNvPr>
            <p:cNvGrpSpPr/>
            <p:nvPr/>
          </p:nvGrpSpPr>
          <p:grpSpPr>
            <a:xfrm>
              <a:off x="135165" y="90519"/>
              <a:ext cx="11892752" cy="6652893"/>
              <a:chOff x="719138" y="2320925"/>
              <a:chExt cx="5994400" cy="3346451"/>
            </a:xfrm>
            <a:grpFill/>
          </p:grpSpPr>
          <p:sp>
            <p:nvSpPr>
              <p:cNvPr id="14" name="任意多边形 92">
                <a:extLst>
                  <a:ext uri="{FF2B5EF4-FFF2-40B4-BE49-F238E27FC236}">
                    <a16:creationId xmlns:a16="http://schemas.microsoft.com/office/drawing/2014/main" id="{E63A3B9D-2995-F9DE-7F5E-EBBA4315BC5D}"/>
                  </a:ext>
                </a:extLst>
              </p:cNvPr>
              <p:cNvSpPr>
                <a:spLocks/>
              </p:cNvSpPr>
              <p:nvPr/>
            </p:nvSpPr>
            <p:spPr bwMode="auto">
              <a:xfrm>
                <a:off x="3513012" y="2697163"/>
                <a:ext cx="1196785" cy="801688"/>
              </a:xfrm>
              <a:custGeom>
                <a:avLst/>
                <a:gdLst/>
                <a:ahLst/>
                <a:cxnLst/>
                <a:rect l="0" t="0" r="r" b="b"/>
                <a:pathLst>
                  <a:path w="14655896" h="9814804">
                    <a:moveTo>
                      <a:pt x="405571" y="5899247"/>
                    </a:moveTo>
                    <a:lnTo>
                      <a:pt x="458180" y="7258616"/>
                    </a:lnTo>
                    <a:lnTo>
                      <a:pt x="1272065" y="7252586"/>
                    </a:lnTo>
                    <a:lnTo>
                      <a:pt x="1645846" y="7927810"/>
                    </a:lnTo>
                    <a:lnTo>
                      <a:pt x="2586337" y="7921779"/>
                    </a:lnTo>
                    <a:lnTo>
                      <a:pt x="2773228" y="8259392"/>
                    </a:lnTo>
                    <a:lnTo>
                      <a:pt x="3159070" y="8518628"/>
                    </a:lnTo>
                    <a:lnTo>
                      <a:pt x="3629312" y="8789925"/>
                    </a:lnTo>
                    <a:lnTo>
                      <a:pt x="4618282" y="8729735"/>
                    </a:lnTo>
                    <a:lnTo>
                      <a:pt x="5401768" y="8042348"/>
                    </a:lnTo>
                    <a:lnTo>
                      <a:pt x="5884064" y="7957948"/>
                    </a:lnTo>
                    <a:lnTo>
                      <a:pt x="6119185" y="8416136"/>
                    </a:lnTo>
                    <a:lnTo>
                      <a:pt x="6450766" y="8795948"/>
                    </a:lnTo>
                    <a:lnTo>
                      <a:pt x="7059919" y="8883564"/>
                    </a:lnTo>
                    <a:lnTo>
                      <a:pt x="7373165" y="9543518"/>
                    </a:lnTo>
                    <a:lnTo>
                      <a:pt x="7825322" y="9356616"/>
                    </a:lnTo>
                    <a:lnTo>
                      <a:pt x="8301595" y="9603798"/>
                    </a:lnTo>
                    <a:lnTo>
                      <a:pt x="8747721" y="9814804"/>
                    </a:lnTo>
                    <a:lnTo>
                      <a:pt x="9175763" y="9519391"/>
                    </a:lnTo>
                    <a:lnTo>
                      <a:pt x="9314424" y="8946658"/>
                    </a:lnTo>
                    <a:lnTo>
                      <a:pt x="9947441" y="8301587"/>
                    </a:lnTo>
                    <a:lnTo>
                      <a:pt x="10839702" y="7740908"/>
                    </a:lnTo>
                    <a:lnTo>
                      <a:pt x="11086876" y="8235273"/>
                    </a:lnTo>
                    <a:lnTo>
                      <a:pt x="11075024" y="8696571"/>
                    </a:lnTo>
                    <a:lnTo>
                      <a:pt x="11611379" y="8801975"/>
                    </a:lnTo>
                    <a:lnTo>
                      <a:pt x="11912815" y="8295557"/>
                    </a:lnTo>
                    <a:lnTo>
                      <a:pt x="12461432" y="7957945"/>
                    </a:lnTo>
                    <a:lnTo>
                      <a:pt x="12690522" y="7409327"/>
                    </a:lnTo>
                    <a:lnTo>
                      <a:pt x="13184879" y="7373158"/>
                    </a:lnTo>
                    <a:lnTo>
                      <a:pt x="13263248" y="7089807"/>
                    </a:lnTo>
                    <a:lnTo>
                      <a:pt x="13817896" y="6655734"/>
                    </a:lnTo>
                    <a:lnTo>
                      <a:pt x="14523274" y="6535166"/>
                    </a:lnTo>
                    <a:lnTo>
                      <a:pt x="14149478" y="6101093"/>
                    </a:lnTo>
                    <a:lnTo>
                      <a:pt x="14276084" y="5558506"/>
                    </a:lnTo>
                    <a:lnTo>
                      <a:pt x="14655896" y="5383676"/>
                    </a:lnTo>
                    <a:lnTo>
                      <a:pt x="14270054" y="4714483"/>
                    </a:lnTo>
                    <a:lnTo>
                      <a:pt x="14541351" y="4171895"/>
                    </a:lnTo>
                    <a:lnTo>
                      <a:pt x="14462975" y="3116859"/>
                    </a:lnTo>
                    <a:lnTo>
                      <a:pt x="14092141" y="2401649"/>
                    </a:lnTo>
                    <a:lnTo>
                      <a:pt x="13347651" y="2219787"/>
                    </a:lnTo>
                    <a:lnTo>
                      <a:pt x="12606112" y="2172764"/>
                    </a:lnTo>
                    <a:lnTo>
                      <a:pt x="12269707" y="1583147"/>
                    </a:lnTo>
                    <a:lnTo>
                      <a:pt x="11032611" y="1894236"/>
                    </a:lnTo>
                    <a:lnTo>
                      <a:pt x="10620246" y="1423994"/>
                    </a:lnTo>
                    <a:lnTo>
                      <a:pt x="10207881" y="874169"/>
                    </a:lnTo>
                    <a:lnTo>
                      <a:pt x="9639971" y="932045"/>
                    </a:lnTo>
                    <a:lnTo>
                      <a:pt x="8862263" y="747562"/>
                    </a:lnTo>
                    <a:lnTo>
                      <a:pt x="8449897" y="1116528"/>
                    </a:lnTo>
                    <a:lnTo>
                      <a:pt x="7728858" y="530533"/>
                    </a:lnTo>
                    <a:lnTo>
                      <a:pt x="7457560" y="96461"/>
                    </a:lnTo>
                    <a:lnTo>
                      <a:pt x="7144071" y="0"/>
                    </a:lnTo>
                    <a:lnTo>
                      <a:pt x="6709998" y="259236"/>
                    </a:lnTo>
                    <a:lnTo>
                      <a:pt x="6239757" y="162775"/>
                    </a:lnTo>
                    <a:lnTo>
                      <a:pt x="5576594" y="247174"/>
                    </a:lnTo>
                    <a:lnTo>
                      <a:pt x="5220882" y="856065"/>
                    </a:lnTo>
                    <a:lnTo>
                      <a:pt x="5744200" y="1836359"/>
                    </a:lnTo>
                    <a:lnTo>
                      <a:pt x="5581424" y="2317455"/>
                    </a:lnTo>
                    <a:lnTo>
                      <a:pt x="4908615" y="2827488"/>
                    </a:lnTo>
                    <a:lnTo>
                      <a:pt x="3993447" y="3608819"/>
                    </a:lnTo>
                    <a:lnTo>
                      <a:pt x="3449906" y="3361159"/>
                    </a:lnTo>
                    <a:lnTo>
                      <a:pt x="3226593" y="3728180"/>
                    </a:lnTo>
                    <a:lnTo>
                      <a:pt x="2629744" y="3728180"/>
                    </a:lnTo>
                    <a:lnTo>
                      <a:pt x="2003958" y="3583489"/>
                    </a:lnTo>
                    <a:lnTo>
                      <a:pt x="1465852" y="3722609"/>
                    </a:lnTo>
                    <a:lnTo>
                      <a:pt x="753604" y="4804916"/>
                    </a:lnTo>
                    <a:lnTo>
                      <a:pt x="0" y="5443964"/>
                    </a:lnTo>
                    <a:lnTo>
                      <a:pt x="405571" y="5899247"/>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15" name="任意多边形 93">
                <a:extLst>
                  <a:ext uri="{FF2B5EF4-FFF2-40B4-BE49-F238E27FC236}">
                    <a16:creationId xmlns:a16="http://schemas.microsoft.com/office/drawing/2014/main" id="{7CC5AD7F-AAD4-F945-3955-CF5BC7292922}"/>
                  </a:ext>
                </a:extLst>
              </p:cNvPr>
              <p:cNvSpPr>
                <a:spLocks/>
              </p:cNvSpPr>
              <p:nvPr/>
            </p:nvSpPr>
            <p:spPr bwMode="auto">
              <a:xfrm>
                <a:off x="3622214" y="2320925"/>
                <a:ext cx="1061551" cy="680403"/>
              </a:xfrm>
              <a:custGeom>
                <a:avLst/>
                <a:gdLst/>
                <a:ahLst/>
                <a:cxnLst/>
                <a:rect l="0" t="0" r="r" b="b"/>
                <a:pathLst>
                  <a:path w="12998892" h="8330529">
                    <a:moveTo>
                      <a:pt x="56654" y="7407720"/>
                    </a:moveTo>
                    <a:lnTo>
                      <a:pt x="0" y="6577494"/>
                    </a:lnTo>
                    <a:lnTo>
                      <a:pt x="534863" y="6069743"/>
                    </a:lnTo>
                    <a:lnTo>
                      <a:pt x="401029" y="5783984"/>
                    </a:lnTo>
                    <a:lnTo>
                      <a:pt x="534867" y="5505456"/>
                    </a:lnTo>
                    <a:lnTo>
                      <a:pt x="390176" y="4955630"/>
                    </a:lnTo>
                    <a:lnTo>
                      <a:pt x="708496" y="4716894"/>
                    </a:lnTo>
                    <a:lnTo>
                      <a:pt x="136963" y="4120046"/>
                    </a:lnTo>
                    <a:lnTo>
                      <a:pt x="777226" y="3678742"/>
                    </a:lnTo>
                    <a:lnTo>
                      <a:pt x="263569" y="3411068"/>
                    </a:lnTo>
                    <a:lnTo>
                      <a:pt x="223777" y="3092748"/>
                    </a:lnTo>
                    <a:lnTo>
                      <a:pt x="650619" y="3027641"/>
                    </a:lnTo>
                    <a:lnTo>
                      <a:pt x="321446" y="2535692"/>
                    </a:lnTo>
                    <a:lnTo>
                      <a:pt x="419114" y="2268018"/>
                    </a:lnTo>
                    <a:lnTo>
                      <a:pt x="1099154" y="1909906"/>
                    </a:lnTo>
                    <a:lnTo>
                      <a:pt x="2083052" y="1555417"/>
                    </a:lnTo>
                    <a:lnTo>
                      <a:pt x="2958428" y="1229866"/>
                    </a:lnTo>
                    <a:lnTo>
                      <a:pt x="3435901" y="1327534"/>
                    </a:lnTo>
                    <a:lnTo>
                      <a:pt x="3511862" y="864523"/>
                    </a:lnTo>
                    <a:lnTo>
                      <a:pt x="4097856" y="314697"/>
                    </a:lnTo>
                    <a:lnTo>
                      <a:pt x="4752581" y="0"/>
                    </a:lnTo>
                    <a:lnTo>
                      <a:pt x="5728272" y="81578"/>
                    </a:lnTo>
                    <a:lnTo>
                      <a:pt x="6463541" y="694516"/>
                    </a:lnTo>
                    <a:lnTo>
                      <a:pt x="6987061" y="262437"/>
                    </a:lnTo>
                    <a:lnTo>
                      <a:pt x="7422109" y="231505"/>
                    </a:lnTo>
                    <a:lnTo>
                      <a:pt x="7816390" y="549826"/>
                    </a:lnTo>
                    <a:lnTo>
                      <a:pt x="7921289" y="1464994"/>
                    </a:lnTo>
                    <a:lnTo>
                      <a:pt x="8246840" y="1884590"/>
                    </a:lnTo>
                    <a:lnTo>
                      <a:pt x="8275778" y="2684005"/>
                    </a:lnTo>
                    <a:lnTo>
                      <a:pt x="7888728" y="3085517"/>
                    </a:lnTo>
                    <a:lnTo>
                      <a:pt x="8333655" y="3530443"/>
                    </a:lnTo>
                    <a:lnTo>
                      <a:pt x="8756874" y="3114455"/>
                    </a:lnTo>
                    <a:lnTo>
                      <a:pt x="8908795" y="3327876"/>
                    </a:lnTo>
                    <a:lnTo>
                      <a:pt x="9899924" y="2698467"/>
                    </a:lnTo>
                    <a:lnTo>
                      <a:pt x="10301436" y="3114455"/>
                    </a:lnTo>
                    <a:cubicBezTo>
                      <a:pt x="10303846" y="3332697"/>
                      <a:pt x="10306257" y="3550938"/>
                      <a:pt x="10308667" y="3769180"/>
                    </a:cubicBezTo>
                    <a:lnTo>
                      <a:pt x="10731886" y="3700450"/>
                    </a:lnTo>
                    <a:lnTo>
                      <a:pt x="10876577" y="3150624"/>
                    </a:lnTo>
                    <a:lnTo>
                      <a:pt x="11173189" y="3063810"/>
                    </a:lnTo>
                    <a:lnTo>
                      <a:pt x="11607262" y="3508736"/>
                    </a:lnTo>
                    <a:lnTo>
                      <a:pt x="12081127" y="3664281"/>
                    </a:lnTo>
                    <a:lnTo>
                      <a:pt x="12475408" y="3237439"/>
                    </a:lnTo>
                    <a:lnTo>
                      <a:pt x="12714144" y="3682365"/>
                    </a:lnTo>
                    <a:lnTo>
                      <a:pt x="12583930" y="3874079"/>
                    </a:lnTo>
                    <a:lnTo>
                      <a:pt x="12160711" y="4036854"/>
                    </a:lnTo>
                    <a:lnTo>
                      <a:pt x="11864098" y="4402197"/>
                    </a:lnTo>
                    <a:lnTo>
                      <a:pt x="11889413" y="4915838"/>
                    </a:lnTo>
                    <a:lnTo>
                      <a:pt x="11940051" y="5440349"/>
                    </a:lnTo>
                    <a:lnTo>
                      <a:pt x="12374124" y="5132875"/>
                    </a:lnTo>
                    <a:lnTo>
                      <a:pt x="12536899" y="5548867"/>
                    </a:lnTo>
                    <a:lnTo>
                      <a:pt x="12066654" y="5783984"/>
                    </a:lnTo>
                    <a:lnTo>
                      <a:pt x="12482642" y="6037197"/>
                    </a:lnTo>
                    <a:lnTo>
                      <a:pt x="12998892" y="6082556"/>
                    </a:lnTo>
                    <a:lnTo>
                      <a:pt x="12934799" y="6507438"/>
                    </a:lnTo>
                    <a:lnTo>
                      <a:pt x="12573072" y="6579784"/>
                    </a:lnTo>
                    <a:lnTo>
                      <a:pt x="12756883" y="7003998"/>
                    </a:lnTo>
                    <a:lnTo>
                      <a:pt x="12012393" y="6822136"/>
                    </a:lnTo>
                    <a:lnTo>
                      <a:pt x="11270854" y="6775113"/>
                    </a:lnTo>
                    <a:lnTo>
                      <a:pt x="10934449" y="6185496"/>
                    </a:lnTo>
                    <a:lnTo>
                      <a:pt x="9697353" y="6496585"/>
                    </a:lnTo>
                    <a:lnTo>
                      <a:pt x="9284988" y="6026343"/>
                    </a:lnTo>
                    <a:lnTo>
                      <a:pt x="8872623" y="5476518"/>
                    </a:lnTo>
                    <a:lnTo>
                      <a:pt x="8304713" y="5534394"/>
                    </a:lnTo>
                    <a:lnTo>
                      <a:pt x="7527005" y="5349911"/>
                    </a:lnTo>
                    <a:lnTo>
                      <a:pt x="7114639" y="5718877"/>
                    </a:lnTo>
                    <a:lnTo>
                      <a:pt x="6393600" y="5132882"/>
                    </a:lnTo>
                    <a:lnTo>
                      <a:pt x="6122302" y="4698810"/>
                    </a:lnTo>
                    <a:lnTo>
                      <a:pt x="5808813" y="4602349"/>
                    </a:lnTo>
                    <a:lnTo>
                      <a:pt x="5374740" y="4861585"/>
                    </a:lnTo>
                    <a:lnTo>
                      <a:pt x="4904499" y="4765124"/>
                    </a:lnTo>
                    <a:lnTo>
                      <a:pt x="4241336" y="4849523"/>
                    </a:lnTo>
                    <a:lnTo>
                      <a:pt x="3885624" y="5458414"/>
                    </a:lnTo>
                    <a:lnTo>
                      <a:pt x="4408942" y="6438708"/>
                    </a:lnTo>
                    <a:lnTo>
                      <a:pt x="4246166" y="6919804"/>
                    </a:lnTo>
                    <a:lnTo>
                      <a:pt x="3573357" y="7429837"/>
                    </a:lnTo>
                    <a:lnTo>
                      <a:pt x="2658189" y="8211168"/>
                    </a:lnTo>
                    <a:lnTo>
                      <a:pt x="2114648" y="7963508"/>
                    </a:lnTo>
                    <a:lnTo>
                      <a:pt x="1891335" y="8330529"/>
                    </a:lnTo>
                    <a:lnTo>
                      <a:pt x="1294486" y="8330529"/>
                    </a:lnTo>
                    <a:lnTo>
                      <a:pt x="668700" y="8185838"/>
                    </a:lnTo>
                    <a:lnTo>
                      <a:pt x="130594" y="8324958"/>
                    </a:lnTo>
                    <a:cubicBezTo>
                      <a:pt x="133152" y="8054892"/>
                      <a:pt x="54096" y="7677786"/>
                      <a:pt x="56654" y="7407720"/>
                    </a:cubicBez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16" name="任意多边形 94">
                <a:extLst>
                  <a:ext uri="{FF2B5EF4-FFF2-40B4-BE49-F238E27FC236}">
                    <a16:creationId xmlns:a16="http://schemas.microsoft.com/office/drawing/2014/main" id="{CB05891F-DF15-DFEF-5191-AE9077BF8562}"/>
                  </a:ext>
                </a:extLst>
              </p:cNvPr>
              <p:cNvSpPr>
                <a:spLocks/>
              </p:cNvSpPr>
              <p:nvPr/>
            </p:nvSpPr>
            <p:spPr bwMode="auto">
              <a:xfrm>
                <a:off x="771835" y="3539490"/>
                <a:ext cx="1323130" cy="793750"/>
              </a:xfrm>
              <a:custGeom>
                <a:avLst/>
                <a:gdLst/>
                <a:ahLst/>
                <a:cxnLst/>
                <a:rect l="0" t="0" r="r" b="b"/>
                <a:pathLst>
                  <a:path w="16203348" h="9718224">
                    <a:moveTo>
                      <a:pt x="375091" y="608910"/>
                    </a:moveTo>
                    <a:lnTo>
                      <a:pt x="39792" y="995215"/>
                    </a:lnTo>
                    <a:lnTo>
                      <a:pt x="0" y="1552271"/>
                    </a:lnTo>
                    <a:lnTo>
                      <a:pt x="202567" y="1743985"/>
                    </a:lnTo>
                    <a:lnTo>
                      <a:pt x="694516" y="1396727"/>
                    </a:lnTo>
                    <a:lnTo>
                      <a:pt x="962191" y="1830800"/>
                    </a:lnTo>
                    <a:lnTo>
                      <a:pt x="1569893" y="1762069"/>
                    </a:lnTo>
                    <a:lnTo>
                      <a:pt x="1975027" y="2282957"/>
                    </a:lnTo>
                    <a:lnTo>
                      <a:pt x="2040134" y="2789367"/>
                    </a:lnTo>
                    <a:lnTo>
                      <a:pt x="2387392" y="3223440"/>
                    </a:lnTo>
                    <a:lnTo>
                      <a:pt x="2329516" y="3646659"/>
                    </a:lnTo>
                    <a:lnTo>
                      <a:pt x="2376539" y="4243507"/>
                    </a:lnTo>
                    <a:lnTo>
                      <a:pt x="2890195" y="5100799"/>
                    </a:lnTo>
                    <a:lnTo>
                      <a:pt x="2405477" y="5270805"/>
                    </a:lnTo>
                    <a:lnTo>
                      <a:pt x="2003965" y="4869294"/>
                    </a:lnTo>
                    <a:lnTo>
                      <a:pt x="1598831" y="4887378"/>
                    </a:lnTo>
                    <a:lnTo>
                      <a:pt x="1663938" y="5252721"/>
                    </a:lnTo>
                    <a:lnTo>
                      <a:pt x="2603631" y="6079544"/>
                    </a:lnTo>
                    <a:lnTo>
                      <a:pt x="3248292" y="5853177"/>
                    </a:lnTo>
                    <a:lnTo>
                      <a:pt x="4047708" y="5921907"/>
                    </a:lnTo>
                    <a:lnTo>
                      <a:pt x="5161820" y="5419104"/>
                    </a:lnTo>
                    <a:lnTo>
                      <a:pt x="6362747" y="5006739"/>
                    </a:lnTo>
                    <a:lnTo>
                      <a:pt x="7006618" y="4970570"/>
                    </a:lnTo>
                    <a:lnTo>
                      <a:pt x="7513029" y="5346766"/>
                    </a:lnTo>
                    <a:lnTo>
                      <a:pt x="8406489" y="6019575"/>
                    </a:lnTo>
                    <a:lnTo>
                      <a:pt x="8974399" y="5939991"/>
                    </a:lnTo>
                    <a:lnTo>
                      <a:pt x="9364309" y="5717573"/>
                    </a:lnTo>
                    <a:lnTo>
                      <a:pt x="10280226" y="6171497"/>
                    </a:lnTo>
                    <a:lnTo>
                      <a:pt x="10229580" y="6941974"/>
                    </a:lnTo>
                    <a:lnTo>
                      <a:pt x="10421293" y="7922249"/>
                    </a:lnTo>
                    <a:lnTo>
                      <a:pt x="10102973" y="8468451"/>
                    </a:lnTo>
                    <a:lnTo>
                      <a:pt x="10808344" y="8573351"/>
                    </a:lnTo>
                    <a:lnTo>
                      <a:pt x="11423276" y="8244177"/>
                    </a:lnTo>
                    <a:lnTo>
                      <a:pt x="11958625" y="8475682"/>
                    </a:lnTo>
                    <a:lnTo>
                      <a:pt x="12237153" y="8215239"/>
                    </a:lnTo>
                    <a:lnTo>
                      <a:pt x="13054653" y="8226092"/>
                    </a:lnTo>
                    <a:lnTo>
                      <a:pt x="13564687" y="8631227"/>
                    </a:lnTo>
                    <a:lnTo>
                      <a:pt x="13973429" y="8135655"/>
                    </a:lnTo>
                    <a:lnTo>
                      <a:pt x="15282878" y="9275098"/>
                    </a:lnTo>
                    <a:lnTo>
                      <a:pt x="16203348" y="9718224"/>
                    </a:lnTo>
                    <a:lnTo>
                      <a:pt x="16024417" y="8265884"/>
                    </a:lnTo>
                    <a:lnTo>
                      <a:pt x="15677159" y="7893311"/>
                    </a:lnTo>
                    <a:lnTo>
                      <a:pt x="15206917" y="7770327"/>
                    </a:lnTo>
                    <a:lnTo>
                      <a:pt x="14320687" y="7249440"/>
                    </a:lnTo>
                    <a:lnTo>
                      <a:pt x="14353249" y="6547693"/>
                    </a:lnTo>
                    <a:lnTo>
                      <a:pt x="14005990" y="5856800"/>
                    </a:lnTo>
                    <a:lnTo>
                      <a:pt x="14277288" y="5183991"/>
                    </a:lnTo>
                    <a:lnTo>
                      <a:pt x="14758383" y="4326699"/>
                    </a:lnTo>
                    <a:lnTo>
                      <a:pt x="14429209" y="3889018"/>
                    </a:lnTo>
                    <a:lnTo>
                      <a:pt x="14382187" y="2395087"/>
                    </a:lnTo>
                    <a:lnTo>
                      <a:pt x="14584754" y="1877822"/>
                    </a:lnTo>
                    <a:lnTo>
                      <a:pt x="14139828" y="1570356"/>
                    </a:lnTo>
                    <a:lnTo>
                      <a:pt x="13467019" y="1754839"/>
                    </a:lnTo>
                    <a:lnTo>
                      <a:pt x="13177637" y="1425665"/>
                    </a:lnTo>
                    <a:lnTo>
                      <a:pt x="13004008" y="948193"/>
                    </a:lnTo>
                    <a:lnTo>
                      <a:pt x="13344035" y="398367"/>
                    </a:lnTo>
                    <a:lnTo>
                      <a:pt x="12534905" y="0"/>
                    </a:lnTo>
                    <a:lnTo>
                      <a:pt x="12027355" y="479159"/>
                    </a:lnTo>
                    <a:lnTo>
                      <a:pt x="11141125" y="177715"/>
                    </a:lnTo>
                    <a:lnTo>
                      <a:pt x="10652799" y="1082030"/>
                    </a:lnTo>
                    <a:lnTo>
                      <a:pt x="10146388" y="1654770"/>
                    </a:lnTo>
                    <a:lnTo>
                      <a:pt x="9019466" y="675175"/>
                    </a:lnTo>
                    <a:lnTo>
                      <a:pt x="7994124" y="340491"/>
                    </a:lnTo>
                    <a:lnTo>
                      <a:pt x="7608756" y="988664"/>
                    </a:lnTo>
                    <a:lnTo>
                      <a:pt x="6306078" y="907193"/>
                    </a:lnTo>
                    <a:lnTo>
                      <a:pt x="5226927" y="1437726"/>
                    </a:lnTo>
                    <a:lnTo>
                      <a:pt x="4618018" y="1389496"/>
                    </a:lnTo>
                    <a:lnTo>
                      <a:pt x="4214091" y="1624625"/>
                    </a:lnTo>
                    <a:lnTo>
                      <a:pt x="2984241" y="744418"/>
                    </a:lnTo>
                    <a:lnTo>
                      <a:pt x="375091" y="608910"/>
                    </a:lnTo>
                    <a:close/>
                  </a:path>
                </a:pathLst>
              </a:custGeom>
              <a:solidFill>
                <a:schemeClr val="bg2">
                  <a:lumMod val="90000"/>
                </a:schemeClr>
              </a:solid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17" name="任意多边形 98">
                <a:extLst>
                  <a:ext uri="{FF2B5EF4-FFF2-40B4-BE49-F238E27FC236}">
                    <a16:creationId xmlns:a16="http://schemas.microsoft.com/office/drawing/2014/main" id="{A5DBE185-7E23-6A9A-B0F7-805092A0553E}"/>
                  </a:ext>
                </a:extLst>
              </p:cNvPr>
              <p:cNvSpPr>
                <a:spLocks/>
              </p:cNvSpPr>
              <p:nvPr/>
            </p:nvSpPr>
            <p:spPr bwMode="auto">
              <a:xfrm>
                <a:off x="719138" y="2930525"/>
                <a:ext cx="1264719" cy="744538"/>
              </a:xfrm>
              <a:custGeom>
                <a:avLst/>
                <a:gdLst>
                  <a:gd name="T0" fmla="*/ 268633 w 2569"/>
                  <a:gd name="T1" fmla="*/ 2124829 h 1512"/>
                  <a:gd name="T2" fmla="*/ 228602 w 2569"/>
                  <a:gd name="T3" fmla="*/ 1992205 h 1512"/>
                  <a:gd name="T4" fmla="*/ 0 w 2569"/>
                  <a:gd name="T5" fmla="*/ 1788951 h 1512"/>
                  <a:gd name="T6" fmla="*/ 186057 w 2569"/>
                  <a:gd name="T7" fmla="*/ 1506302 h 1512"/>
                  <a:gd name="T8" fmla="*/ 376558 w 2569"/>
                  <a:gd name="T9" fmla="*/ 1437704 h 1512"/>
                  <a:gd name="T10" fmla="*/ 406085 w 2569"/>
                  <a:gd name="T11" fmla="*/ 1350051 h 1512"/>
                  <a:gd name="T12" fmla="*/ 307024 w 2569"/>
                  <a:gd name="T13" fmla="*/ 1246201 h 1512"/>
                  <a:gd name="T14" fmla="*/ 430849 w 2569"/>
                  <a:gd name="T15" fmla="*/ 883201 h 1512"/>
                  <a:gd name="T16" fmla="*/ 572771 w 2569"/>
                  <a:gd name="T17" fmla="*/ 868912 h 1512"/>
                  <a:gd name="T18" fmla="*/ 699454 w 2569"/>
                  <a:gd name="T19" fmla="*/ 780305 h 1512"/>
                  <a:gd name="T20" fmla="*/ 681356 w 2569"/>
                  <a:gd name="T21" fmla="*/ 676455 h 1512"/>
                  <a:gd name="T22" fmla="*/ 819392 w 2569"/>
                  <a:gd name="T23" fmla="*/ 496787 h 1512"/>
                  <a:gd name="T24" fmla="*/ 947104 w 2569"/>
                  <a:gd name="T25" fmla="*/ 583086 h 1512"/>
                  <a:gd name="T26" fmla="*/ 1032828 w 2569"/>
                  <a:gd name="T27" fmla="*/ 717424 h 1512"/>
                  <a:gd name="T28" fmla="*/ 1063309 w 2569"/>
                  <a:gd name="T29" fmla="*/ 826038 h 1512"/>
                  <a:gd name="T30" fmla="*/ 1029970 w 2569"/>
                  <a:gd name="T31" fmla="*/ 990864 h 1512"/>
                  <a:gd name="T32" fmla="*/ 1106171 w 2569"/>
                  <a:gd name="T33" fmla="*/ 1091856 h 1512"/>
                  <a:gd name="T34" fmla="*/ 1263334 w 2569"/>
                  <a:gd name="T35" fmla="*/ 1028020 h 1512"/>
                  <a:gd name="T36" fmla="*/ 1405257 w 2569"/>
                  <a:gd name="T37" fmla="*/ 1043264 h 1512"/>
                  <a:gd name="T38" fmla="*/ 1427163 w 2569"/>
                  <a:gd name="T39" fmla="*/ 913690 h 1512"/>
                  <a:gd name="T40" fmla="*/ 1338391 w 2569"/>
                  <a:gd name="T41" fmla="*/ 826543 h 1512"/>
                  <a:gd name="T42" fmla="*/ 1369061 w 2569"/>
                  <a:gd name="T43" fmla="*/ 533541 h 1512"/>
                  <a:gd name="T44" fmla="*/ 1457643 w 2569"/>
                  <a:gd name="T45" fmla="*/ 567842 h 1512"/>
                  <a:gd name="T46" fmla="*/ 1599566 w 2569"/>
                  <a:gd name="T47" fmla="*/ 496385 h 1512"/>
                  <a:gd name="T48" fmla="*/ 1728152 w 2569"/>
                  <a:gd name="T49" fmla="*/ 453511 h 1512"/>
                  <a:gd name="T50" fmla="*/ 1748155 w 2569"/>
                  <a:gd name="T51" fmla="*/ 258196 h 1512"/>
                  <a:gd name="T52" fmla="*/ 1996758 w 2569"/>
                  <a:gd name="T53" fmla="*/ 309646 h 1512"/>
                  <a:gd name="T54" fmla="*/ 2018664 w 2569"/>
                  <a:gd name="T55" fmla="*/ 248670 h 1512"/>
                  <a:gd name="T56" fmla="*/ 2209165 w 2569"/>
                  <a:gd name="T57" fmla="*/ 233425 h 1512"/>
                  <a:gd name="T58" fmla="*/ 2458718 w 2569"/>
                  <a:gd name="T59" fmla="*/ 0 h 1512"/>
                  <a:gd name="T60" fmla="*/ 2649220 w 2569"/>
                  <a:gd name="T61" fmla="*/ 20962 h 1512"/>
                  <a:gd name="T62" fmla="*/ 2726371 w 2569"/>
                  <a:gd name="T63" fmla="*/ 208655 h 1512"/>
                  <a:gd name="T64" fmla="*/ 2861428 w 2569"/>
                  <a:gd name="T65" fmla="*/ 217740 h 1512"/>
                  <a:gd name="T66" fmla="*/ 3020695 w 2569"/>
                  <a:gd name="T67" fmla="*/ 68599 h 1512"/>
                  <a:gd name="T68" fmla="*/ 3157538 w 2569"/>
                  <a:gd name="T69" fmla="*/ 107341 h 1512"/>
                  <a:gd name="T70" fmla="*/ 3279772 w 2569"/>
                  <a:gd name="T71" fmla="*/ 262959 h 1512"/>
                  <a:gd name="T72" fmla="*/ 3495674 w 2569"/>
                  <a:gd name="T73" fmla="*/ 305833 h 1512"/>
                  <a:gd name="T74" fmla="*/ 3678236 w 2569"/>
                  <a:gd name="T75" fmla="*/ 420164 h 1512"/>
                  <a:gd name="T76" fmla="*/ 3708398 w 2569"/>
                  <a:gd name="T77" fmla="*/ 595471 h 1512"/>
                  <a:gd name="T78" fmla="*/ 3835399 w 2569"/>
                  <a:gd name="T79" fmla="*/ 663116 h 1512"/>
                  <a:gd name="T80" fmla="*/ 3913618 w 2569"/>
                  <a:gd name="T81" fmla="*/ 717293 h 1512"/>
                  <a:gd name="T82" fmla="*/ 3920806 w 2569"/>
                  <a:gd name="T83" fmla="*/ 843186 h 1512"/>
                  <a:gd name="T84" fmla="*/ 4030664 w 2569"/>
                  <a:gd name="T85" fmla="*/ 890187 h 1512"/>
                  <a:gd name="T86" fmla="*/ 4076701 w 2569"/>
                  <a:gd name="T87" fmla="*/ 1123613 h 1512"/>
                  <a:gd name="T88" fmla="*/ 3982318 w 2569"/>
                  <a:gd name="T89" fmla="*/ 1208414 h 1512"/>
                  <a:gd name="T90" fmla="*/ 4078287 w 2569"/>
                  <a:gd name="T91" fmla="*/ 1514242 h 1512"/>
                  <a:gd name="T92" fmla="*/ 3890962 w 2569"/>
                  <a:gd name="T93" fmla="*/ 1714320 h 1512"/>
                  <a:gd name="T94" fmla="*/ 3551235 w 2569"/>
                  <a:gd name="T95" fmla="*/ 1787364 h 1512"/>
                  <a:gd name="T96" fmla="*/ 3470575 w 2569"/>
                  <a:gd name="T97" fmla="*/ 1964448 h 1512"/>
                  <a:gd name="T98" fmla="*/ 3336925 w 2569"/>
                  <a:gd name="T99" fmla="*/ 2090655 h 1512"/>
                  <a:gd name="T100" fmla="*/ 3103561 w 2569"/>
                  <a:gd name="T101" fmla="*/ 2011257 h 1512"/>
                  <a:gd name="T102" fmla="*/ 2974974 w 2569"/>
                  <a:gd name="T103" fmla="*/ 2249444 h 1512"/>
                  <a:gd name="T104" fmla="*/ 2841626 w 2569"/>
                  <a:gd name="T105" fmla="*/ 2400300 h 1512"/>
                  <a:gd name="T106" fmla="*/ 2544884 w 2569"/>
                  <a:gd name="T107" fmla="*/ 2142284 h 1512"/>
                  <a:gd name="T108" fmla="*/ 2274888 w 2569"/>
                  <a:gd name="T109" fmla="*/ 2054131 h 1512"/>
                  <a:gd name="T110" fmla="*/ 2173412 w 2569"/>
                  <a:gd name="T111" fmla="*/ 2224854 h 1512"/>
                  <a:gd name="T112" fmla="*/ 1830390 w 2569"/>
                  <a:gd name="T113" fmla="*/ 2203395 h 1512"/>
                  <a:gd name="T114" fmla="*/ 1546226 w 2569"/>
                  <a:gd name="T115" fmla="*/ 2343131 h 1512"/>
                  <a:gd name="T116" fmla="*/ 1385887 w 2569"/>
                  <a:gd name="T117" fmla="*/ 2330430 h 1512"/>
                  <a:gd name="T118" fmla="*/ 1279524 w 2569"/>
                  <a:gd name="T119" fmla="*/ 2392360 h 1512"/>
                  <a:gd name="T120" fmla="*/ 955678 w 2569"/>
                  <a:gd name="T121" fmla="*/ 2160521 h 1512"/>
                  <a:gd name="T122" fmla="*/ 268633 w 2569"/>
                  <a:gd name="T123" fmla="*/ 2124829 h 151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569" h="1512">
                    <a:moveTo>
                      <a:pt x="169" y="1338"/>
                    </a:moveTo>
                    <a:lnTo>
                      <a:pt x="144" y="1255"/>
                    </a:lnTo>
                    <a:lnTo>
                      <a:pt x="0" y="1127"/>
                    </a:lnTo>
                    <a:lnTo>
                      <a:pt x="117" y="949"/>
                    </a:lnTo>
                    <a:lnTo>
                      <a:pt x="237" y="906"/>
                    </a:lnTo>
                    <a:lnTo>
                      <a:pt x="256" y="850"/>
                    </a:lnTo>
                    <a:lnTo>
                      <a:pt x="193" y="785"/>
                    </a:lnTo>
                    <a:lnTo>
                      <a:pt x="271" y="556"/>
                    </a:lnTo>
                    <a:lnTo>
                      <a:pt x="361" y="547"/>
                    </a:lnTo>
                    <a:lnTo>
                      <a:pt x="441" y="492"/>
                    </a:lnTo>
                    <a:lnTo>
                      <a:pt x="429" y="426"/>
                    </a:lnTo>
                    <a:lnTo>
                      <a:pt x="516" y="313"/>
                    </a:lnTo>
                    <a:lnTo>
                      <a:pt x="597" y="367"/>
                    </a:lnTo>
                    <a:lnTo>
                      <a:pt x="651" y="452"/>
                    </a:lnTo>
                    <a:lnTo>
                      <a:pt x="670" y="520"/>
                    </a:lnTo>
                    <a:lnTo>
                      <a:pt x="649" y="624"/>
                    </a:lnTo>
                    <a:lnTo>
                      <a:pt x="697" y="688"/>
                    </a:lnTo>
                    <a:lnTo>
                      <a:pt x="796" y="648"/>
                    </a:lnTo>
                    <a:lnTo>
                      <a:pt x="885" y="657"/>
                    </a:lnTo>
                    <a:lnTo>
                      <a:pt x="899" y="576"/>
                    </a:lnTo>
                    <a:lnTo>
                      <a:pt x="843" y="521"/>
                    </a:lnTo>
                    <a:lnTo>
                      <a:pt x="862" y="336"/>
                    </a:lnTo>
                    <a:lnTo>
                      <a:pt x="918" y="358"/>
                    </a:lnTo>
                    <a:lnTo>
                      <a:pt x="1008" y="313"/>
                    </a:lnTo>
                    <a:lnTo>
                      <a:pt x="1089" y="286"/>
                    </a:lnTo>
                    <a:lnTo>
                      <a:pt x="1101" y="163"/>
                    </a:lnTo>
                    <a:lnTo>
                      <a:pt x="1258" y="195"/>
                    </a:lnTo>
                    <a:lnTo>
                      <a:pt x="1272" y="157"/>
                    </a:lnTo>
                    <a:lnTo>
                      <a:pt x="1392" y="147"/>
                    </a:lnTo>
                    <a:lnTo>
                      <a:pt x="1549" y="0"/>
                    </a:lnTo>
                    <a:lnTo>
                      <a:pt x="1669" y="13"/>
                    </a:lnTo>
                    <a:lnTo>
                      <a:pt x="1717" y="131"/>
                    </a:lnTo>
                    <a:lnTo>
                      <a:pt x="1802" y="137"/>
                    </a:lnTo>
                    <a:lnTo>
                      <a:pt x="1903" y="43"/>
                    </a:lnTo>
                    <a:lnTo>
                      <a:pt x="1989" y="68"/>
                    </a:lnTo>
                    <a:lnTo>
                      <a:pt x="2066" y="166"/>
                    </a:lnTo>
                    <a:lnTo>
                      <a:pt x="2202" y="193"/>
                    </a:lnTo>
                    <a:lnTo>
                      <a:pt x="2317" y="265"/>
                    </a:lnTo>
                    <a:lnTo>
                      <a:pt x="2336" y="375"/>
                    </a:lnTo>
                    <a:lnTo>
                      <a:pt x="2416" y="418"/>
                    </a:lnTo>
                    <a:lnTo>
                      <a:pt x="2465" y="452"/>
                    </a:lnTo>
                    <a:lnTo>
                      <a:pt x="2470" y="531"/>
                    </a:lnTo>
                    <a:lnTo>
                      <a:pt x="2539" y="561"/>
                    </a:lnTo>
                    <a:lnTo>
                      <a:pt x="2568" y="708"/>
                    </a:lnTo>
                    <a:lnTo>
                      <a:pt x="2509" y="761"/>
                    </a:lnTo>
                    <a:lnTo>
                      <a:pt x="2569" y="954"/>
                    </a:lnTo>
                    <a:lnTo>
                      <a:pt x="2451" y="1080"/>
                    </a:lnTo>
                    <a:lnTo>
                      <a:pt x="2237" y="1126"/>
                    </a:lnTo>
                    <a:lnTo>
                      <a:pt x="2186" y="1237"/>
                    </a:lnTo>
                    <a:lnTo>
                      <a:pt x="2102" y="1317"/>
                    </a:lnTo>
                    <a:lnTo>
                      <a:pt x="1955" y="1267"/>
                    </a:lnTo>
                    <a:lnTo>
                      <a:pt x="1874" y="1417"/>
                    </a:lnTo>
                    <a:lnTo>
                      <a:pt x="1790" y="1512"/>
                    </a:lnTo>
                    <a:lnTo>
                      <a:pt x="1603" y="1349"/>
                    </a:lnTo>
                    <a:lnTo>
                      <a:pt x="1433" y="1294"/>
                    </a:lnTo>
                    <a:lnTo>
                      <a:pt x="1369" y="1401"/>
                    </a:lnTo>
                    <a:lnTo>
                      <a:pt x="1153" y="1388"/>
                    </a:lnTo>
                    <a:lnTo>
                      <a:pt x="974" y="1476"/>
                    </a:lnTo>
                    <a:lnTo>
                      <a:pt x="873" y="1468"/>
                    </a:lnTo>
                    <a:lnTo>
                      <a:pt x="806" y="1507"/>
                    </a:lnTo>
                    <a:lnTo>
                      <a:pt x="602" y="1361"/>
                    </a:lnTo>
                    <a:lnTo>
                      <a:pt x="169" y="1338"/>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18" name="任意多边形 100">
                <a:extLst>
                  <a:ext uri="{FF2B5EF4-FFF2-40B4-BE49-F238E27FC236}">
                    <a16:creationId xmlns:a16="http://schemas.microsoft.com/office/drawing/2014/main" id="{06BD396E-6887-EA5D-EDDD-6E630EE6C492}"/>
                  </a:ext>
                </a:extLst>
              </p:cNvPr>
              <p:cNvSpPr>
                <a:spLocks/>
              </p:cNvSpPr>
              <p:nvPr/>
            </p:nvSpPr>
            <p:spPr bwMode="auto">
              <a:xfrm>
                <a:off x="5207240" y="2977198"/>
                <a:ext cx="1506298" cy="1302385"/>
              </a:xfrm>
              <a:custGeom>
                <a:avLst/>
                <a:gdLst/>
                <a:ahLst/>
                <a:cxnLst/>
                <a:rect l="0" t="0" r="r" b="b"/>
                <a:pathLst>
                  <a:path w="18447968" h="15946069">
                    <a:moveTo>
                      <a:pt x="477776" y="7436569"/>
                    </a:moveTo>
                    <a:lnTo>
                      <a:pt x="271294" y="8060457"/>
                    </a:lnTo>
                    <a:lnTo>
                      <a:pt x="379812" y="8675382"/>
                    </a:lnTo>
                    <a:lnTo>
                      <a:pt x="759624" y="9217969"/>
                    </a:lnTo>
                    <a:lnTo>
                      <a:pt x="687278" y="9670126"/>
                    </a:lnTo>
                    <a:lnTo>
                      <a:pt x="144687" y="9941420"/>
                    </a:lnTo>
                    <a:lnTo>
                      <a:pt x="343643" y="10592536"/>
                    </a:lnTo>
                    <a:lnTo>
                      <a:pt x="940487" y="10954252"/>
                    </a:lnTo>
                    <a:lnTo>
                      <a:pt x="596844" y="11786221"/>
                    </a:lnTo>
                    <a:lnTo>
                      <a:pt x="633017" y="12780969"/>
                    </a:lnTo>
                    <a:lnTo>
                      <a:pt x="198944" y="13341645"/>
                    </a:lnTo>
                    <a:lnTo>
                      <a:pt x="723451" y="13757629"/>
                    </a:lnTo>
                    <a:lnTo>
                      <a:pt x="1640036" y="13197151"/>
                    </a:lnTo>
                    <a:lnTo>
                      <a:pt x="1880971" y="13395906"/>
                    </a:lnTo>
                    <a:lnTo>
                      <a:pt x="2930086" y="12952832"/>
                    </a:lnTo>
                    <a:lnTo>
                      <a:pt x="3828256" y="13245188"/>
                    </a:lnTo>
                    <a:lnTo>
                      <a:pt x="4768739" y="13040205"/>
                    </a:lnTo>
                    <a:lnTo>
                      <a:pt x="5190751" y="13649115"/>
                    </a:lnTo>
                    <a:lnTo>
                      <a:pt x="5932290" y="13444132"/>
                    </a:lnTo>
                    <a:lnTo>
                      <a:pt x="6498992" y="12991975"/>
                    </a:lnTo>
                    <a:lnTo>
                      <a:pt x="7373161" y="13582800"/>
                    </a:lnTo>
                    <a:lnTo>
                      <a:pt x="8512588" y="13570738"/>
                    </a:lnTo>
                    <a:lnTo>
                      <a:pt x="9416903" y="13281357"/>
                    </a:lnTo>
                    <a:lnTo>
                      <a:pt x="9742454" y="14004811"/>
                    </a:lnTo>
                    <a:lnTo>
                      <a:pt x="10080066" y="14716204"/>
                    </a:lnTo>
                    <a:lnTo>
                      <a:pt x="10616683" y="15358294"/>
                    </a:lnTo>
                    <a:lnTo>
                      <a:pt x="11117010" y="15946069"/>
                    </a:lnTo>
                    <a:lnTo>
                      <a:pt x="11593335" y="15822497"/>
                    </a:lnTo>
                    <a:lnTo>
                      <a:pt x="11780218" y="13579811"/>
                    </a:lnTo>
                    <a:lnTo>
                      <a:pt x="11954994" y="12135890"/>
                    </a:lnTo>
                    <a:lnTo>
                      <a:pt x="12196146" y="11388328"/>
                    </a:lnTo>
                    <a:lnTo>
                      <a:pt x="13166775" y="11707856"/>
                    </a:lnTo>
                    <a:lnTo>
                      <a:pt x="14004775" y="11611395"/>
                    </a:lnTo>
                    <a:lnTo>
                      <a:pt x="14939235" y="11322014"/>
                    </a:lnTo>
                    <a:lnTo>
                      <a:pt x="15409477" y="11882693"/>
                    </a:lnTo>
                    <a:lnTo>
                      <a:pt x="15861634" y="11273783"/>
                    </a:lnTo>
                    <a:lnTo>
                      <a:pt x="16413199" y="10920339"/>
                    </a:lnTo>
                    <a:lnTo>
                      <a:pt x="16765948" y="10200671"/>
                    </a:lnTo>
                    <a:lnTo>
                      <a:pt x="16428336" y="9374732"/>
                    </a:lnTo>
                    <a:lnTo>
                      <a:pt x="15946033" y="8440272"/>
                    </a:lnTo>
                    <a:lnTo>
                      <a:pt x="16024409" y="7433474"/>
                    </a:lnTo>
                    <a:lnTo>
                      <a:pt x="16958870" y="6776350"/>
                    </a:lnTo>
                    <a:lnTo>
                      <a:pt x="17911414" y="6083041"/>
                    </a:lnTo>
                    <a:lnTo>
                      <a:pt x="17694370" y="5570592"/>
                    </a:lnTo>
                    <a:lnTo>
                      <a:pt x="17385711" y="5219213"/>
                    </a:lnTo>
                    <a:lnTo>
                      <a:pt x="17637701" y="4819407"/>
                    </a:lnTo>
                    <a:lnTo>
                      <a:pt x="18171858" y="4701949"/>
                    </a:lnTo>
                    <a:lnTo>
                      <a:pt x="18447970" y="4316604"/>
                    </a:lnTo>
                    <a:lnTo>
                      <a:pt x="17814953" y="4117660"/>
                    </a:lnTo>
                    <a:lnTo>
                      <a:pt x="17067422" y="3472551"/>
                    </a:lnTo>
                    <a:lnTo>
                      <a:pt x="16852763" y="3282076"/>
                    </a:lnTo>
                    <a:lnTo>
                      <a:pt x="16161870" y="4063407"/>
                    </a:lnTo>
                    <a:lnTo>
                      <a:pt x="14429201" y="4027238"/>
                    </a:lnTo>
                    <a:lnTo>
                      <a:pt x="13854061" y="3658272"/>
                    </a:lnTo>
                    <a:lnTo>
                      <a:pt x="13383819" y="2963756"/>
                    </a:lnTo>
                    <a:lnTo>
                      <a:pt x="12493981" y="2927587"/>
                    </a:lnTo>
                    <a:lnTo>
                      <a:pt x="11976717" y="2139025"/>
                    </a:lnTo>
                    <a:lnTo>
                      <a:pt x="11484768" y="1495155"/>
                    </a:lnTo>
                    <a:lnTo>
                      <a:pt x="10830043" y="1256418"/>
                    </a:lnTo>
                    <a:lnTo>
                      <a:pt x="10323633" y="1220249"/>
                    </a:lnTo>
                    <a:lnTo>
                      <a:pt x="9802745" y="1603676"/>
                    </a:lnTo>
                    <a:lnTo>
                      <a:pt x="9223982" y="1621761"/>
                    </a:lnTo>
                    <a:lnTo>
                      <a:pt x="8782678" y="2171586"/>
                    </a:lnTo>
                    <a:lnTo>
                      <a:pt x="8272645" y="2102856"/>
                    </a:lnTo>
                    <a:lnTo>
                      <a:pt x="7853048" y="2526075"/>
                    </a:lnTo>
                    <a:lnTo>
                      <a:pt x="7323799" y="2632907"/>
                    </a:lnTo>
                    <a:lnTo>
                      <a:pt x="6977672" y="2178817"/>
                    </a:lnTo>
                    <a:lnTo>
                      <a:pt x="6594245" y="2055834"/>
                    </a:lnTo>
                    <a:lnTo>
                      <a:pt x="6431470" y="1314295"/>
                    </a:lnTo>
                    <a:lnTo>
                      <a:pt x="5642908" y="1343233"/>
                    </a:lnTo>
                    <a:lnTo>
                      <a:pt x="5150959" y="1610907"/>
                    </a:lnTo>
                    <a:lnTo>
                      <a:pt x="5480133" y="2167963"/>
                    </a:lnTo>
                    <a:lnTo>
                      <a:pt x="4742216" y="2862495"/>
                    </a:lnTo>
                    <a:lnTo>
                      <a:pt x="2658667" y="0"/>
                    </a:lnTo>
                    <a:lnTo>
                      <a:pt x="2658682" y="1018890"/>
                    </a:lnTo>
                    <a:lnTo>
                      <a:pt x="1850829" y="1730283"/>
                    </a:lnTo>
                    <a:lnTo>
                      <a:pt x="1404694" y="2272862"/>
                    </a:lnTo>
                    <a:lnTo>
                      <a:pt x="2351216" y="3388182"/>
                    </a:lnTo>
                    <a:lnTo>
                      <a:pt x="2658682" y="4286458"/>
                    </a:lnTo>
                    <a:lnTo>
                      <a:pt x="1935228" y="5220918"/>
                    </a:lnTo>
                    <a:lnTo>
                      <a:pt x="875281" y="5166646"/>
                    </a:lnTo>
                    <a:lnTo>
                      <a:pt x="0" y="5890112"/>
                    </a:lnTo>
                    <a:lnTo>
                      <a:pt x="72345" y="6921032"/>
                    </a:lnTo>
                    <a:lnTo>
                      <a:pt x="477776" y="7436569"/>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19" name="任意多边形 101">
                <a:extLst>
                  <a:ext uri="{FF2B5EF4-FFF2-40B4-BE49-F238E27FC236}">
                    <a16:creationId xmlns:a16="http://schemas.microsoft.com/office/drawing/2014/main" id="{84AB3C32-7E41-11E6-1E4E-9305547BD756}"/>
                  </a:ext>
                </a:extLst>
              </p:cNvPr>
              <p:cNvSpPr>
                <a:spLocks/>
              </p:cNvSpPr>
              <p:nvPr/>
            </p:nvSpPr>
            <p:spPr bwMode="auto">
              <a:xfrm>
                <a:off x="1796244" y="3167380"/>
                <a:ext cx="1550424" cy="1358583"/>
              </a:xfrm>
              <a:custGeom>
                <a:avLst/>
                <a:gdLst/>
                <a:ahLst/>
                <a:cxnLst/>
                <a:rect l="0" t="0" r="r" b="b"/>
                <a:pathLst>
                  <a:path w="4884" h="4279">
                    <a:moveTo>
                      <a:pt x="544" y="127"/>
                    </a:moveTo>
                    <a:lnTo>
                      <a:pt x="590" y="351"/>
                    </a:lnTo>
                    <a:lnTo>
                      <a:pt x="499" y="437"/>
                    </a:lnTo>
                    <a:lnTo>
                      <a:pt x="590" y="732"/>
                    </a:lnTo>
                    <a:lnTo>
                      <a:pt x="403" y="934"/>
                    </a:lnTo>
                    <a:lnTo>
                      <a:pt x="79" y="1000"/>
                    </a:lnTo>
                    <a:lnTo>
                      <a:pt x="0" y="1172"/>
                    </a:lnTo>
                    <a:lnTo>
                      <a:pt x="204" y="1276"/>
                    </a:lnTo>
                    <a:lnTo>
                      <a:pt x="120" y="1417"/>
                    </a:lnTo>
                    <a:lnTo>
                      <a:pt x="161" y="1538"/>
                    </a:lnTo>
                    <a:lnTo>
                      <a:pt x="239" y="1624"/>
                    </a:lnTo>
                    <a:lnTo>
                      <a:pt x="410" y="1577"/>
                    </a:lnTo>
                    <a:lnTo>
                      <a:pt x="523" y="1653"/>
                    </a:lnTo>
                    <a:lnTo>
                      <a:pt x="476" y="1787"/>
                    </a:lnTo>
                    <a:lnTo>
                      <a:pt x="486" y="2172"/>
                    </a:lnTo>
                    <a:lnTo>
                      <a:pt x="568" y="2287"/>
                    </a:lnTo>
                    <a:lnTo>
                      <a:pt x="448" y="2508"/>
                    </a:lnTo>
                    <a:lnTo>
                      <a:pt x="377" y="2683"/>
                    </a:lnTo>
                    <a:lnTo>
                      <a:pt x="464" y="2859"/>
                    </a:lnTo>
                    <a:lnTo>
                      <a:pt x="457" y="3038"/>
                    </a:lnTo>
                    <a:lnTo>
                      <a:pt x="685" y="3172"/>
                    </a:lnTo>
                    <a:lnTo>
                      <a:pt x="811" y="3206"/>
                    </a:lnTo>
                    <a:lnTo>
                      <a:pt x="898" y="3302"/>
                    </a:lnTo>
                    <a:lnTo>
                      <a:pt x="943" y="3673"/>
                    </a:lnTo>
                    <a:lnTo>
                      <a:pt x="1043" y="4279"/>
                    </a:lnTo>
                    <a:lnTo>
                      <a:pt x="1904" y="4098"/>
                    </a:lnTo>
                    <a:lnTo>
                      <a:pt x="2021" y="4051"/>
                    </a:lnTo>
                    <a:lnTo>
                      <a:pt x="1989" y="3979"/>
                    </a:lnTo>
                    <a:lnTo>
                      <a:pt x="2056" y="3893"/>
                    </a:lnTo>
                    <a:lnTo>
                      <a:pt x="2060" y="3814"/>
                    </a:lnTo>
                    <a:lnTo>
                      <a:pt x="2224" y="3774"/>
                    </a:lnTo>
                    <a:lnTo>
                      <a:pt x="2369" y="3651"/>
                    </a:lnTo>
                    <a:lnTo>
                      <a:pt x="2705" y="3438"/>
                    </a:lnTo>
                    <a:lnTo>
                      <a:pt x="2798" y="3396"/>
                    </a:lnTo>
                    <a:lnTo>
                      <a:pt x="2854" y="3305"/>
                    </a:lnTo>
                    <a:lnTo>
                      <a:pt x="2914" y="3215"/>
                    </a:lnTo>
                    <a:lnTo>
                      <a:pt x="3007" y="3248"/>
                    </a:lnTo>
                    <a:lnTo>
                      <a:pt x="3139" y="3230"/>
                    </a:lnTo>
                    <a:lnTo>
                      <a:pt x="3218" y="3147"/>
                    </a:lnTo>
                    <a:lnTo>
                      <a:pt x="3406" y="2847"/>
                    </a:lnTo>
                    <a:lnTo>
                      <a:pt x="3620" y="2846"/>
                    </a:lnTo>
                    <a:lnTo>
                      <a:pt x="3751" y="2933"/>
                    </a:lnTo>
                    <a:lnTo>
                      <a:pt x="3818" y="3038"/>
                    </a:lnTo>
                    <a:lnTo>
                      <a:pt x="3991" y="3096"/>
                    </a:lnTo>
                    <a:lnTo>
                      <a:pt x="4140" y="3230"/>
                    </a:lnTo>
                    <a:lnTo>
                      <a:pt x="4400" y="3032"/>
                    </a:lnTo>
                    <a:lnTo>
                      <a:pt x="4884" y="2731"/>
                    </a:lnTo>
                    <a:lnTo>
                      <a:pt x="4794" y="2593"/>
                    </a:lnTo>
                    <a:lnTo>
                      <a:pt x="4755" y="2422"/>
                    </a:lnTo>
                    <a:lnTo>
                      <a:pt x="4673" y="2234"/>
                    </a:lnTo>
                    <a:lnTo>
                      <a:pt x="4452" y="2187"/>
                    </a:lnTo>
                    <a:lnTo>
                      <a:pt x="4314" y="2026"/>
                    </a:lnTo>
                    <a:lnTo>
                      <a:pt x="4318" y="1915"/>
                    </a:lnTo>
                    <a:lnTo>
                      <a:pt x="4274" y="1878"/>
                    </a:lnTo>
                    <a:lnTo>
                      <a:pt x="4179" y="2007"/>
                    </a:lnTo>
                    <a:lnTo>
                      <a:pt x="4021" y="1780"/>
                    </a:lnTo>
                    <a:lnTo>
                      <a:pt x="4065" y="1572"/>
                    </a:lnTo>
                    <a:lnTo>
                      <a:pt x="3994" y="1448"/>
                    </a:lnTo>
                    <a:lnTo>
                      <a:pt x="4140" y="1294"/>
                    </a:lnTo>
                    <a:lnTo>
                      <a:pt x="4322" y="1231"/>
                    </a:lnTo>
                    <a:lnTo>
                      <a:pt x="4284" y="1073"/>
                    </a:lnTo>
                    <a:lnTo>
                      <a:pt x="4242" y="877"/>
                    </a:lnTo>
                    <a:lnTo>
                      <a:pt x="4159" y="719"/>
                    </a:lnTo>
                    <a:lnTo>
                      <a:pt x="4032" y="548"/>
                    </a:lnTo>
                    <a:lnTo>
                      <a:pt x="4153" y="494"/>
                    </a:lnTo>
                    <a:lnTo>
                      <a:pt x="4003" y="289"/>
                    </a:lnTo>
                    <a:lnTo>
                      <a:pt x="3896" y="364"/>
                    </a:lnTo>
                    <a:lnTo>
                      <a:pt x="3946" y="187"/>
                    </a:lnTo>
                    <a:lnTo>
                      <a:pt x="3763" y="204"/>
                    </a:lnTo>
                    <a:lnTo>
                      <a:pt x="3711" y="337"/>
                    </a:lnTo>
                    <a:lnTo>
                      <a:pt x="3647" y="498"/>
                    </a:lnTo>
                    <a:lnTo>
                      <a:pt x="3455" y="547"/>
                    </a:lnTo>
                    <a:lnTo>
                      <a:pt x="3142" y="565"/>
                    </a:lnTo>
                    <a:lnTo>
                      <a:pt x="3095" y="451"/>
                    </a:lnTo>
                    <a:lnTo>
                      <a:pt x="2977" y="482"/>
                    </a:lnTo>
                    <a:lnTo>
                      <a:pt x="2950" y="569"/>
                    </a:lnTo>
                    <a:lnTo>
                      <a:pt x="2906" y="668"/>
                    </a:lnTo>
                    <a:lnTo>
                      <a:pt x="2733" y="567"/>
                    </a:lnTo>
                    <a:lnTo>
                      <a:pt x="2545" y="570"/>
                    </a:lnTo>
                    <a:lnTo>
                      <a:pt x="2411" y="407"/>
                    </a:lnTo>
                    <a:lnTo>
                      <a:pt x="2357" y="213"/>
                    </a:lnTo>
                    <a:lnTo>
                      <a:pt x="2071" y="181"/>
                    </a:lnTo>
                    <a:lnTo>
                      <a:pt x="1947" y="285"/>
                    </a:lnTo>
                    <a:lnTo>
                      <a:pt x="1819" y="280"/>
                    </a:lnTo>
                    <a:lnTo>
                      <a:pt x="1769" y="164"/>
                    </a:lnTo>
                    <a:lnTo>
                      <a:pt x="1490" y="146"/>
                    </a:lnTo>
                    <a:lnTo>
                      <a:pt x="1403" y="221"/>
                    </a:lnTo>
                    <a:lnTo>
                      <a:pt x="1275" y="237"/>
                    </a:lnTo>
                    <a:lnTo>
                      <a:pt x="1211" y="354"/>
                    </a:lnTo>
                    <a:lnTo>
                      <a:pt x="1021" y="417"/>
                    </a:lnTo>
                    <a:lnTo>
                      <a:pt x="796" y="140"/>
                    </a:lnTo>
                    <a:lnTo>
                      <a:pt x="615" y="0"/>
                    </a:lnTo>
                    <a:lnTo>
                      <a:pt x="544" y="127"/>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20" name="任意多边形 109">
                <a:extLst>
                  <a:ext uri="{FF2B5EF4-FFF2-40B4-BE49-F238E27FC236}">
                    <a16:creationId xmlns:a16="http://schemas.microsoft.com/office/drawing/2014/main" id="{4B204F55-E106-6465-508B-40D70C899CD4}"/>
                  </a:ext>
                </a:extLst>
              </p:cNvPr>
              <p:cNvSpPr>
                <a:spLocks/>
              </p:cNvSpPr>
              <p:nvPr/>
            </p:nvSpPr>
            <p:spPr bwMode="auto">
              <a:xfrm>
                <a:off x="2788274" y="2490788"/>
                <a:ext cx="1112343" cy="1445260"/>
              </a:xfrm>
              <a:custGeom>
                <a:avLst/>
                <a:gdLst/>
                <a:ahLst/>
                <a:cxnLst/>
                <a:rect l="0" t="0" r="r" b="b"/>
                <a:pathLst>
                  <a:path w="13622565" h="17699749">
                    <a:moveTo>
                      <a:pt x="10642295" y="190148"/>
                    </a:moveTo>
                    <a:lnTo>
                      <a:pt x="10541327" y="440405"/>
                    </a:lnTo>
                    <a:lnTo>
                      <a:pt x="10876011" y="946970"/>
                    </a:lnTo>
                    <a:lnTo>
                      <a:pt x="10454429" y="1010619"/>
                    </a:lnTo>
                    <a:lnTo>
                      <a:pt x="10487052" y="1326891"/>
                    </a:lnTo>
                    <a:lnTo>
                      <a:pt x="11002646" y="1598265"/>
                    </a:lnTo>
                    <a:lnTo>
                      <a:pt x="10369457" y="2041512"/>
                    </a:lnTo>
                    <a:lnTo>
                      <a:pt x="10948375" y="2647578"/>
                    </a:lnTo>
                    <a:lnTo>
                      <a:pt x="10622736" y="2882765"/>
                    </a:lnTo>
                    <a:lnTo>
                      <a:pt x="10752935" y="3452960"/>
                    </a:lnTo>
                    <a:lnTo>
                      <a:pt x="10626295" y="3697184"/>
                    </a:lnTo>
                    <a:lnTo>
                      <a:pt x="10758424" y="4004449"/>
                    </a:lnTo>
                    <a:lnTo>
                      <a:pt x="10215688" y="4529111"/>
                    </a:lnTo>
                    <a:lnTo>
                      <a:pt x="10282575" y="5542511"/>
                    </a:lnTo>
                    <a:lnTo>
                      <a:pt x="10362483" y="6248949"/>
                    </a:lnTo>
                    <a:lnTo>
                      <a:pt x="9654875" y="7324261"/>
                    </a:lnTo>
                    <a:lnTo>
                      <a:pt x="8885999" y="7975560"/>
                    </a:lnTo>
                    <a:lnTo>
                      <a:pt x="9293054" y="8427848"/>
                    </a:lnTo>
                    <a:lnTo>
                      <a:pt x="9342463" y="9786535"/>
                    </a:lnTo>
                    <a:lnTo>
                      <a:pt x="10161417" y="9793764"/>
                    </a:lnTo>
                    <a:lnTo>
                      <a:pt x="10532279" y="10454115"/>
                    </a:lnTo>
                    <a:lnTo>
                      <a:pt x="11482058" y="10463152"/>
                    </a:lnTo>
                    <a:lnTo>
                      <a:pt x="11653917" y="10779759"/>
                    </a:lnTo>
                    <a:lnTo>
                      <a:pt x="12033827" y="11051133"/>
                    </a:lnTo>
                    <a:lnTo>
                      <a:pt x="12531328" y="11331556"/>
                    </a:lnTo>
                    <a:lnTo>
                      <a:pt x="13525033" y="11264884"/>
                    </a:lnTo>
                    <a:lnTo>
                      <a:pt x="13622565" y="11784996"/>
                    </a:lnTo>
                    <a:lnTo>
                      <a:pt x="13072739" y="12075586"/>
                    </a:lnTo>
                    <a:lnTo>
                      <a:pt x="12397515" y="12497597"/>
                    </a:lnTo>
                    <a:lnTo>
                      <a:pt x="12090048" y="13287367"/>
                    </a:lnTo>
                    <a:lnTo>
                      <a:pt x="11571576" y="13691294"/>
                    </a:lnTo>
                    <a:lnTo>
                      <a:pt x="10824014" y="14318273"/>
                    </a:lnTo>
                    <a:lnTo>
                      <a:pt x="10691385" y="15186418"/>
                    </a:lnTo>
                    <a:lnTo>
                      <a:pt x="10076452" y="15753121"/>
                    </a:lnTo>
                    <a:lnTo>
                      <a:pt x="9690609" y="15897811"/>
                    </a:lnTo>
                    <a:lnTo>
                      <a:pt x="9316828" y="16253508"/>
                    </a:lnTo>
                    <a:lnTo>
                      <a:pt x="8762187" y="16349969"/>
                    </a:lnTo>
                    <a:lnTo>
                      <a:pt x="8117109" y="15867666"/>
                    </a:lnTo>
                    <a:lnTo>
                      <a:pt x="7616721" y="15873689"/>
                    </a:lnTo>
                    <a:lnTo>
                      <a:pt x="7435861" y="16741834"/>
                    </a:lnTo>
                    <a:lnTo>
                      <a:pt x="6887243" y="17181930"/>
                    </a:lnTo>
                    <a:lnTo>
                      <a:pt x="6676238" y="17664233"/>
                    </a:lnTo>
                    <a:lnTo>
                      <a:pt x="6335576" y="17699749"/>
                    </a:lnTo>
                    <a:lnTo>
                      <a:pt x="6015490" y="16968505"/>
                    </a:lnTo>
                    <a:lnTo>
                      <a:pt x="5158198" y="16787645"/>
                    </a:lnTo>
                    <a:lnTo>
                      <a:pt x="4619226" y="16161859"/>
                    </a:lnTo>
                    <a:lnTo>
                      <a:pt x="4637311" y="15727786"/>
                    </a:lnTo>
                    <a:lnTo>
                      <a:pt x="4467305" y="15583095"/>
                    </a:lnTo>
                    <a:lnTo>
                      <a:pt x="4097454" y="16087770"/>
                    </a:lnTo>
                    <a:lnTo>
                      <a:pt x="3482522" y="15203956"/>
                    </a:lnTo>
                    <a:lnTo>
                      <a:pt x="3653428" y="14396645"/>
                    </a:lnTo>
                    <a:lnTo>
                      <a:pt x="3378507" y="13914342"/>
                    </a:lnTo>
                    <a:lnTo>
                      <a:pt x="3945210" y="13317494"/>
                    </a:lnTo>
                    <a:lnTo>
                      <a:pt x="4650580" y="13070319"/>
                    </a:lnTo>
                    <a:lnTo>
                      <a:pt x="4505889" y="12455386"/>
                    </a:lnTo>
                    <a:lnTo>
                      <a:pt x="4343114" y="11695763"/>
                    </a:lnTo>
                    <a:lnTo>
                      <a:pt x="4017563" y="11080830"/>
                    </a:lnTo>
                    <a:lnTo>
                      <a:pt x="3523198" y="10417667"/>
                    </a:lnTo>
                    <a:lnTo>
                      <a:pt x="3996178" y="10206164"/>
                    </a:lnTo>
                    <a:lnTo>
                      <a:pt x="3411391" y="9409164"/>
                    </a:lnTo>
                    <a:lnTo>
                      <a:pt x="2997818" y="9699753"/>
                    </a:lnTo>
                    <a:lnTo>
                      <a:pt x="3191625" y="9012965"/>
                    </a:lnTo>
                    <a:lnTo>
                      <a:pt x="2481120" y="9079257"/>
                    </a:lnTo>
                    <a:lnTo>
                      <a:pt x="2307810" y="8862270"/>
                    </a:lnTo>
                    <a:lnTo>
                      <a:pt x="1902675" y="8435428"/>
                    </a:lnTo>
                    <a:lnTo>
                      <a:pt x="1461371" y="8522243"/>
                    </a:lnTo>
                    <a:lnTo>
                      <a:pt x="1211781" y="8156900"/>
                    </a:lnTo>
                    <a:lnTo>
                      <a:pt x="528118" y="8099024"/>
                    </a:lnTo>
                    <a:lnTo>
                      <a:pt x="549825" y="7444299"/>
                    </a:lnTo>
                    <a:lnTo>
                      <a:pt x="0" y="7252585"/>
                    </a:lnTo>
                    <a:lnTo>
                      <a:pt x="79584" y="6858305"/>
                    </a:lnTo>
                    <a:lnTo>
                      <a:pt x="745162" y="6648506"/>
                    </a:lnTo>
                    <a:lnTo>
                      <a:pt x="1291365" y="6409770"/>
                    </a:lnTo>
                    <a:lnTo>
                      <a:pt x="1645854" y="6207203"/>
                    </a:lnTo>
                    <a:lnTo>
                      <a:pt x="1663938" y="5650147"/>
                    </a:lnTo>
                    <a:lnTo>
                      <a:pt x="1171989" y="5140113"/>
                    </a:lnTo>
                    <a:lnTo>
                      <a:pt x="1848421" y="4217714"/>
                    </a:lnTo>
                    <a:lnTo>
                      <a:pt x="2492292" y="4441989"/>
                    </a:lnTo>
                    <a:lnTo>
                      <a:pt x="3280854" y="4470927"/>
                    </a:lnTo>
                    <a:lnTo>
                      <a:pt x="3761949" y="4152607"/>
                    </a:lnTo>
                    <a:lnTo>
                      <a:pt x="3114455" y="3606404"/>
                    </a:lnTo>
                    <a:lnTo>
                      <a:pt x="2673152" y="3541297"/>
                    </a:lnTo>
                    <a:lnTo>
                      <a:pt x="1989489" y="3570235"/>
                    </a:lnTo>
                    <a:lnTo>
                      <a:pt x="2018427" y="3063810"/>
                    </a:lnTo>
                    <a:lnTo>
                      <a:pt x="2831435" y="3080250"/>
                    </a:lnTo>
                    <a:lnTo>
                      <a:pt x="2904657" y="2857635"/>
                    </a:lnTo>
                    <a:lnTo>
                      <a:pt x="2307809" y="2694859"/>
                    </a:lnTo>
                    <a:lnTo>
                      <a:pt x="1757984" y="2579106"/>
                    </a:lnTo>
                    <a:lnTo>
                      <a:pt x="2376539" y="2040135"/>
                    </a:lnTo>
                    <a:lnTo>
                      <a:pt x="1786922" y="1692876"/>
                    </a:lnTo>
                    <a:lnTo>
                      <a:pt x="2353928" y="1376505"/>
                    </a:lnTo>
                    <a:lnTo>
                      <a:pt x="3392984" y="1616916"/>
                    </a:lnTo>
                    <a:lnTo>
                      <a:pt x="4807332" y="1461371"/>
                    </a:lnTo>
                    <a:lnTo>
                      <a:pt x="5613078" y="1412704"/>
                    </a:lnTo>
                    <a:lnTo>
                      <a:pt x="6427855" y="1211781"/>
                    </a:lnTo>
                    <a:lnTo>
                      <a:pt x="7110603" y="895439"/>
                    </a:lnTo>
                    <a:lnTo>
                      <a:pt x="8674165" y="1059859"/>
                    </a:lnTo>
                    <a:lnTo>
                      <a:pt x="8850487" y="790540"/>
                    </a:lnTo>
                    <a:lnTo>
                      <a:pt x="8804379" y="405135"/>
                    </a:lnTo>
                    <a:lnTo>
                      <a:pt x="9412081" y="144691"/>
                    </a:lnTo>
                    <a:lnTo>
                      <a:pt x="10153621" y="0"/>
                    </a:lnTo>
                    <a:lnTo>
                      <a:pt x="10642295" y="190148"/>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21" name="任意多边形 110">
                <a:extLst>
                  <a:ext uri="{FF2B5EF4-FFF2-40B4-BE49-F238E27FC236}">
                    <a16:creationId xmlns:a16="http://schemas.microsoft.com/office/drawing/2014/main" id="{DC2D821E-1AED-8132-0E91-6EDC0921739B}"/>
                  </a:ext>
                </a:extLst>
              </p:cNvPr>
              <p:cNvSpPr>
                <a:spLocks/>
              </p:cNvSpPr>
              <p:nvPr/>
            </p:nvSpPr>
            <p:spPr bwMode="auto">
              <a:xfrm>
                <a:off x="3109851" y="3231198"/>
                <a:ext cx="2250717" cy="1237933"/>
              </a:xfrm>
              <a:custGeom>
                <a:avLst/>
                <a:gdLst/>
                <a:ahLst/>
                <a:cxnLst/>
                <a:rect l="0" t="0" r="r" b="b"/>
                <a:pathLst>
                  <a:path w="27560432" h="15152939">
                    <a:moveTo>
                      <a:pt x="26157237" y="4322377"/>
                    </a:moveTo>
                    <a:lnTo>
                      <a:pt x="25950755" y="4946265"/>
                    </a:lnTo>
                    <a:lnTo>
                      <a:pt x="26059273" y="5561190"/>
                    </a:lnTo>
                    <a:lnTo>
                      <a:pt x="26439085" y="6103777"/>
                    </a:lnTo>
                    <a:lnTo>
                      <a:pt x="26366739" y="6555934"/>
                    </a:lnTo>
                    <a:lnTo>
                      <a:pt x="25824148" y="6827228"/>
                    </a:lnTo>
                    <a:lnTo>
                      <a:pt x="26023104" y="7478344"/>
                    </a:lnTo>
                    <a:lnTo>
                      <a:pt x="26619948" y="7840060"/>
                    </a:lnTo>
                    <a:lnTo>
                      <a:pt x="26276305" y="8672029"/>
                    </a:lnTo>
                    <a:lnTo>
                      <a:pt x="26312478" y="9666777"/>
                    </a:lnTo>
                    <a:lnTo>
                      <a:pt x="25878405" y="10227453"/>
                    </a:lnTo>
                    <a:lnTo>
                      <a:pt x="26402912" y="10643437"/>
                    </a:lnTo>
                    <a:lnTo>
                      <a:pt x="27319497" y="10082959"/>
                    </a:lnTo>
                    <a:lnTo>
                      <a:pt x="27560432" y="10281714"/>
                    </a:lnTo>
                    <a:lnTo>
                      <a:pt x="27325315" y="10860465"/>
                    </a:lnTo>
                    <a:lnTo>
                      <a:pt x="27542355" y="12005935"/>
                    </a:lnTo>
                    <a:lnTo>
                      <a:pt x="26089423" y="11975789"/>
                    </a:lnTo>
                    <a:lnTo>
                      <a:pt x="24473715" y="12090334"/>
                    </a:lnTo>
                    <a:lnTo>
                      <a:pt x="23135328" y="12222964"/>
                    </a:lnTo>
                    <a:lnTo>
                      <a:pt x="22261159" y="12934357"/>
                    </a:lnTo>
                    <a:lnTo>
                      <a:pt x="20826342" y="14369204"/>
                    </a:lnTo>
                    <a:lnTo>
                      <a:pt x="12952786" y="14960014"/>
                    </a:lnTo>
                    <a:lnTo>
                      <a:pt x="11934663" y="15008264"/>
                    </a:lnTo>
                    <a:lnTo>
                      <a:pt x="8506848" y="15152939"/>
                    </a:lnTo>
                    <a:lnTo>
                      <a:pt x="7985095" y="14507857"/>
                    </a:lnTo>
                    <a:lnTo>
                      <a:pt x="7400308" y="14477712"/>
                    </a:lnTo>
                    <a:lnTo>
                      <a:pt x="6972273" y="14749009"/>
                    </a:lnTo>
                    <a:lnTo>
                      <a:pt x="5181729" y="14664610"/>
                    </a:lnTo>
                    <a:lnTo>
                      <a:pt x="4397998" y="14031593"/>
                    </a:lnTo>
                    <a:lnTo>
                      <a:pt x="2908896" y="13223739"/>
                    </a:lnTo>
                    <a:lnTo>
                      <a:pt x="1263043" y="12512346"/>
                    </a:lnTo>
                    <a:lnTo>
                      <a:pt x="485320" y="12060189"/>
                    </a:lnTo>
                    <a:lnTo>
                      <a:pt x="0" y="11767077"/>
                    </a:lnTo>
                    <a:lnTo>
                      <a:pt x="1003686" y="11021112"/>
                    </a:lnTo>
                    <a:lnTo>
                      <a:pt x="2902551" y="9836713"/>
                    </a:lnTo>
                    <a:lnTo>
                      <a:pt x="2558940" y="9303282"/>
                    </a:lnTo>
                    <a:lnTo>
                      <a:pt x="2402508" y="8616199"/>
                    </a:lnTo>
                    <a:lnTo>
                      <a:pt x="2730740" y="8589028"/>
                    </a:lnTo>
                    <a:lnTo>
                      <a:pt x="2947754" y="8118883"/>
                    </a:lnTo>
                    <a:lnTo>
                      <a:pt x="3499325" y="7675866"/>
                    </a:lnTo>
                    <a:lnTo>
                      <a:pt x="3680166" y="6798868"/>
                    </a:lnTo>
                    <a:lnTo>
                      <a:pt x="4186528" y="6807904"/>
                    </a:lnTo>
                    <a:lnTo>
                      <a:pt x="4837569" y="7278054"/>
                    </a:lnTo>
                    <a:lnTo>
                      <a:pt x="5352976" y="7196687"/>
                    </a:lnTo>
                    <a:lnTo>
                      <a:pt x="5741786" y="6825992"/>
                    </a:lnTo>
                    <a:lnTo>
                      <a:pt x="6157723" y="6663251"/>
                    </a:lnTo>
                    <a:lnTo>
                      <a:pt x="6745471" y="6093658"/>
                    </a:lnTo>
                    <a:lnTo>
                      <a:pt x="6890140" y="5243782"/>
                    </a:lnTo>
                    <a:lnTo>
                      <a:pt x="7568305" y="4674188"/>
                    </a:lnTo>
                    <a:lnTo>
                      <a:pt x="8137967" y="4231167"/>
                    </a:lnTo>
                    <a:lnTo>
                      <a:pt x="8463480" y="3426500"/>
                    </a:lnTo>
                    <a:lnTo>
                      <a:pt x="9024093" y="3073893"/>
                    </a:lnTo>
                    <a:lnTo>
                      <a:pt x="9675138" y="2721291"/>
                    </a:lnTo>
                    <a:lnTo>
                      <a:pt x="9558580" y="2173007"/>
                    </a:lnTo>
                    <a:lnTo>
                      <a:pt x="10353296" y="1500723"/>
                    </a:lnTo>
                    <a:lnTo>
                      <a:pt x="10832530" y="1428389"/>
                    </a:lnTo>
                    <a:lnTo>
                      <a:pt x="11058585" y="1880458"/>
                    </a:lnTo>
                    <a:lnTo>
                      <a:pt x="11411229" y="2260189"/>
                    </a:lnTo>
                    <a:lnTo>
                      <a:pt x="11998974" y="2341559"/>
                    </a:lnTo>
                    <a:lnTo>
                      <a:pt x="12315449" y="3001571"/>
                    </a:lnTo>
                    <a:lnTo>
                      <a:pt x="12785642" y="2820742"/>
                    </a:lnTo>
                    <a:lnTo>
                      <a:pt x="13671776" y="3272803"/>
                    </a:lnTo>
                    <a:lnTo>
                      <a:pt x="14123886" y="2974450"/>
                    </a:lnTo>
                    <a:lnTo>
                      <a:pt x="14259509" y="2404849"/>
                    </a:lnTo>
                    <a:lnTo>
                      <a:pt x="14892468" y="1762918"/>
                    </a:lnTo>
                    <a:lnTo>
                      <a:pt x="15778605" y="1211398"/>
                    </a:lnTo>
                    <a:lnTo>
                      <a:pt x="16022739" y="1681548"/>
                    </a:lnTo>
                    <a:lnTo>
                      <a:pt x="16013694" y="2169778"/>
                    </a:lnTo>
                    <a:lnTo>
                      <a:pt x="16556232" y="2260200"/>
                    </a:lnTo>
                    <a:lnTo>
                      <a:pt x="16863663" y="1744834"/>
                    </a:lnTo>
                    <a:lnTo>
                      <a:pt x="17406193" y="1410312"/>
                    </a:lnTo>
                    <a:lnTo>
                      <a:pt x="17623203" y="867840"/>
                    </a:lnTo>
                    <a:lnTo>
                      <a:pt x="18120524" y="831675"/>
                    </a:lnTo>
                    <a:lnTo>
                      <a:pt x="18201903" y="542358"/>
                    </a:lnTo>
                    <a:lnTo>
                      <a:pt x="18744437" y="117414"/>
                    </a:lnTo>
                    <a:lnTo>
                      <a:pt x="19443290" y="0"/>
                    </a:lnTo>
                    <a:lnTo>
                      <a:pt x="19982300" y="460880"/>
                    </a:lnTo>
                    <a:lnTo>
                      <a:pt x="19530143" y="913038"/>
                    </a:lnTo>
                    <a:lnTo>
                      <a:pt x="19837609" y="1238588"/>
                    </a:lnTo>
                    <a:lnTo>
                      <a:pt x="20886614" y="1546055"/>
                    </a:lnTo>
                    <a:lnTo>
                      <a:pt x="21881359" y="1889694"/>
                    </a:lnTo>
                    <a:lnTo>
                      <a:pt x="21772837" y="2269505"/>
                    </a:lnTo>
                    <a:lnTo>
                      <a:pt x="21537712" y="2884438"/>
                    </a:lnTo>
                    <a:lnTo>
                      <a:pt x="21996067" y="2911656"/>
                    </a:lnTo>
                    <a:lnTo>
                      <a:pt x="22478203" y="2414189"/>
                    </a:lnTo>
                    <a:lnTo>
                      <a:pt x="23292084" y="2016293"/>
                    </a:lnTo>
                    <a:lnTo>
                      <a:pt x="23888932" y="1998212"/>
                    </a:lnTo>
                    <a:lnTo>
                      <a:pt x="24612383" y="1582227"/>
                    </a:lnTo>
                    <a:lnTo>
                      <a:pt x="25010275" y="695990"/>
                    </a:lnTo>
                    <a:lnTo>
                      <a:pt x="25769899" y="840685"/>
                    </a:lnTo>
                    <a:lnTo>
                      <a:pt x="26402920" y="876857"/>
                    </a:lnTo>
                    <a:lnTo>
                      <a:pt x="26240141" y="1491794"/>
                    </a:lnTo>
                    <a:lnTo>
                      <a:pt x="26554742" y="2052454"/>
                    </a:lnTo>
                    <a:lnTo>
                      <a:pt x="25679461" y="2775920"/>
                    </a:lnTo>
                    <a:lnTo>
                      <a:pt x="25751806" y="3806840"/>
                    </a:lnTo>
                    <a:lnTo>
                      <a:pt x="26157237" y="4322377"/>
                    </a:lnTo>
                    <a:close/>
                  </a:path>
                </a:pathLst>
              </a:custGeom>
              <a:grpFill/>
              <a:ln w="9525" cap="flat">
                <a:solidFill>
                  <a:schemeClr val="bg1"/>
                </a:solidFill>
                <a:prstDash val="solid"/>
                <a:miter/>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22" name="任意多边形 111">
                <a:extLst>
                  <a:ext uri="{FF2B5EF4-FFF2-40B4-BE49-F238E27FC236}">
                    <a16:creationId xmlns:a16="http://schemas.microsoft.com/office/drawing/2014/main" id="{528C05D4-CE57-BE85-C9E9-9087872CC714}"/>
                  </a:ext>
                </a:extLst>
              </p:cNvPr>
              <p:cNvSpPr>
                <a:spLocks/>
              </p:cNvSpPr>
              <p:nvPr/>
            </p:nvSpPr>
            <p:spPr bwMode="auto">
              <a:xfrm>
                <a:off x="4595197" y="2461260"/>
                <a:ext cx="830131" cy="1007110"/>
              </a:xfrm>
              <a:custGeom>
                <a:avLst/>
                <a:gdLst>
                  <a:gd name="T0" fmla="*/ 0 w 2615"/>
                  <a:gd name="T1" fmla="*/ 877971 h 3172"/>
                  <a:gd name="T2" fmla="*/ 9526 w 2615"/>
                  <a:gd name="T3" fmla="*/ 982701 h 3172"/>
                  <a:gd name="T4" fmla="*/ 123826 w 2615"/>
                  <a:gd name="T5" fmla="*/ 901738 h 3172"/>
                  <a:gd name="T6" fmla="*/ 164307 w 2615"/>
                  <a:gd name="T7" fmla="*/ 1013658 h 3172"/>
                  <a:gd name="T8" fmla="*/ 45243 w 2615"/>
                  <a:gd name="T9" fmla="*/ 1070806 h 3172"/>
                  <a:gd name="T10" fmla="*/ 150019 w 2615"/>
                  <a:gd name="T11" fmla="*/ 1139863 h 3172"/>
                  <a:gd name="T12" fmla="*/ 288132 w 2615"/>
                  <a:gd name="T13" fmla="*/ 1149388 h 3172"/>
                  <a:gd name="T14" fmla="*/ 269080 w 2615"/>
                  <a:gd name="T15" fmla="*/ 1258924 h 3172"/>
                  <a:gd name="T16" fmla="*/ 178593 w 2615"/>
                  <a:gd name="T17" fmla="*/ 1282737 h 3172"/>
                  <a:gd name="T18" fmla="*/ 228600 w 2615"/>
                  <a:gd name="T19" fmla="*/ 1401799 h 3172"/>
                  <a:gd name="T20" fmla="*/ 319086 w 2615"/>
                  <a:gd name="T21" fmla="*/ 1589915 h 3172"/>
                  <a:gd name="T22" fmla="*/ 340517 w 2615"/>
                  <a:gd name="T23" fmla="*/ 1861376 h 3172"/>
                  <a:gd name="T24" fmla="*/ 269079 w 2615"/>
                  <a:gd name="T25" fmla="*/ 2001869 h 3172"/>
                  <a:gd name="T26" fmla="*/ 371473 w 2615"/>
                  <a:gd name="T27" fmla="*/ 2180463 h 3172"/>
                  <a:gd name="T28" fmla="*/ 271460 w 2615"/>
                  <a:gd name="T29" fmla="*/ 2225705 h 3172"/>
                  <a:gd name="T30" fmla="*/ 238123 w 2615"/>
                  <a:gd name="T31" fmla="*/ 2368579 h 3172"/>
                  <a:gd name="T32" fmla="*/ 334487 w 2615"/>
                  <a:gd name="T33" fmla="*/ 2484765 h 3172"/>
                  <a:gd name="T34" fmla="*/ 471485 w 2615"/>
                  <a:gd name="T35" fmla="*/ 2606703 h 3172"/>
                  <a:gd name="T36" fmla="*/ 357185 w 2615"/>
                  <a:gd name="T37" fmla="*/ 2723382 h 3172"/>
                  <a:gd name="T38" fmla="*/ 440527 w 2615"/>
                  <a:gd name="T39" fmla="*/ 2811489 h 3172"/>
                  <a:gd name="T40" fmla="*/ 769139 w 2615"/>
                  <a:gd name="T41" fmla="*/ 2906739 h 3172"/>
                  <a:gd name="T42" fmla="*/ 973926 w 2615"/>
                  <a:gd name="T43" fmla="*/ 2985319 h 3172"/>
                  <a:gd name="T44" fmla="*/ 950112 w 2615"/>
                  <a:gd name="T45" fmla="*/ 3075806 h 3172"/>
                  <a:gd name="T46" fmla="*/ 885818 w 2615"/>
                  <a:gd name="T47" fmla="*/ 3242493 h 3172"/>
                  <a:gd name="T48" fmla="*/ 1007259 w 2615"/>
                  <a:gd name="T49" fmla="*/ 3249638 h 3172"/>
                  <a:gd name="T50" fmla="*/ 1131085 w 2615"/>
                  <a:gd name="T51" fmla="*/ 3121049 h 3172"/>
                  <a:gd name="T52" fmla="*/ 1345398 w 2615"/>
                  <a:gd name="T53" fmla="*/ 3013894 h 3172"/>
                  <a:gd name="T54" fmla="*/ 1502558 w 2615"/>
                  <a:gd name="T55" fmla="*/ 3009131 h 3172"/>
                  <a:gd name="T56" fmla="*/ 1697821 w 2615"/>
                  <a:gd name="T57" fmla="*/ 2899594 h 3172"/>
                  <a:gd name="T58" fmla="*/ 1800212 w 2615"/>
                  <a:gd name="T59" fmla="*/ 2668613 h 3172"/>
                  <a:gd name="T60" fmla="*/ 2016905 w 2615"/>
                  <a:gd name="T61" fmla="*/ 2709095 h 3172"/>
                  <a:gd name="T62" fmla="*/ 2164543 w 2615"/>
                  <a:gd name="T63" fmla="*/ 2713858 h 3172"/>
                  <a:gd name="T64" fmla="*/ 2121679 w 2615"/>
                  <a:gd name="T65" fmla="*/ 2871020 h 3172"/>
                  <a:gd name="T66" fmla="*/ 2207907 w 2615"/>
                  <a:gd name="T67" fmla="*/ 3025008 h 3172"/>
                  <a:gd name="T68" fmla="*/ 2488389 w 2615"/>
                  <a:gd name="T69" fmla="*/ 3037709 h 3172"/>
                  <a:gd name="T70" fmla="*/ 2676509 w 2615"/>
                  <a:gd name="T71" fmla="*/ 2792441 h 3172"/>
                  <a:gd name="T72" fmla="*/ 2595546 w 2615"/>
                  <a:gd name="T73" fmla="*/ 2559078 h 3172"/>
                  <a:gd name="T74" fmla="*/ 2347133 w 2615"/>
                  <a:gd name="T75" fmla="*/ 2261454 h 3172"/>
                  <a:gd name="T76" fmla="*/ 2464577 w 2615"/>
                  <a:gd name="T77" fmla="*/ 2116168 h 3172"/>
                  <a:gd name="T78" fmla="*/ 2678889 w 2615"/>
                  <a:gd name="T79" fmla="*/ 1930432 h 3172"/>
                  <a:gd name="T80" fmla="*/ 2678093 w 2615"/>
                  <a:gd name="T81" fmla="*/ 1666453 h 3172"/>
                  <a:gd name="T82" fmla="*/ 2048418 w 2615"/>
                  <a:gd name="T83" fmla="*/ 889742 h 3172"/>
                  <a:gd name="T84" fmla="*/ 1796250 w 2615"/>
                  <a:gd name="T85" fmla="*/ 626836 h 3172"/>
                  <a:gd name="T86" fmla="*/ 1502649 w 2615"/>
                  <a:gd name="T87" fmla="*/ 460378 h 3172"/>
                  <a:gd name="T88" fmla="*/ 1364578 w 2615"/>
                  <a:gd name="T89" fmla="*/ 395289 h 3172"/>
                  <a:gd name="T90" fmla="*/ 1264594 w 2615"/>
                  <a:gd name="T91" fmla="*/ 266701 h 3172"/>
                  <a:gd name="T92" fmla="*/ 1435995 w 2615"/>
                  <a:gd name="T93" fmla="*/ 190501 h 3172"/>
                  <a:gd name="T94" fmla="*/ 1469322 w 2615"/>
                  <a:gd name="T95" fmla="*/ 0 h 3172"/>
                  <a:gd name="T96" fmla="*/ 1231267 w 2615"/>
                  <a:gd name="T97" fmla="*/ 104775 h 3172"/>
                  <a:gd name="T98" fmla="*/ 1144255 w 2615"/>
                  <a:gd name="T99" fmla="*/ 92908 h 3172"/>
                  <a:gd name="T100" fmla="*/ 1102720 w 2615"/>
                  <a:gd name="T101" fmla="*/ 257179 h 3172"/>
                  <a:gd name="T102" fmla="*/ 888470 w 2615"/>
                  <a:gd name="T103" fmla="*/ 357191 h 3172"/>
                  <a:gd name="T104" fmla="*/ 755159 w 2615"/>
                  <a:gd name="T105" fmla="*/ 528641 h 3172"/>
                  <a:gd name="T106" fmla="*/ 531389 w 2615"/>
                  <a:gd name="T107" fmla="*/ 623889 h 3172"/>
                  <a:gd name="T108" fmla="*/ 459972 w 2615"/>
                  <a:gd name="T109" fmla="*/ 766766 h 3172"/>
                  <a:gd name="T110" fmla="*/ 264769 w 2615"/>
                  <a:gd name="T111" fmla="*/ 728663 h 3172"/>
                  <a:gd name="T112" fmla="*/ 0 w 2615"/>
                  <a:gd name="T113" fmla="*/ 877971 h 31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615" h="3172">
                    <a:moveTo>
                      <a:pt x="0" y="858"/>
                    </a:moveTo>
                    <a:lnTo>
                      <a:pt x="7" y="955"/>
                    </a:lnTo>
                    <a:lnTo>
                      <a:pt x="119" y="880"/>
                    </a:lnTo>
                    <a:lnTo>
                      <a:pt x="160" y="990"/>
                    </a:lnTo>
                    <a:lnTo>
                      <a:pt x="44" y="1046"/>
                    </a:lnTo>
                    <a:lnTo>
                      <a:pt x="146" y="1114"/>
                    </a:lnTo>
                    <a:lnTo>
                      <a:pt x="281" y="1123"/>
                    </a:lnTo>
                    <a:lnTo>
                      <a:pt x="263" y="1230"/>
                    </a:lnTo>
                    <a:lnTo>
                      <a:pt x="174" y="1253"/>
                    </a:lnTo>
                    <a:lnTo>
                      <a:pt x="223" y="1370"/>
                    </a:lnTo>
                    <a:lnTo>
                      <a:pt x="312" y="1553"/>
                    </a:lnTo>
                    <a:lnTo>
                      <a:pt x="333" y="1819"/>
                    </a:lnTo>
                    <a:lnTo>
                      <a:pt x="263" y="1956"/>
                    </a:lnTo>
                    <a:lnTo>
                      <a:pt x="363" y="2130"/>
                    </a:lnTo>
                    <a:lnTo>
                      <a:pt x="265" y="2175"/>
                    </a:lnTo>
                    <a:lnTo>
                      <a:pt x="233" y="2314"/>
                    </a:lnTo>
                    <a:lnTo>
                      <a:pt x="327" y="2428"/>
                    </a:lnTo>
                    <a:lnTo>
                      <a:pt x="460" y="2547"/>
                    </a:lnTo>
                    <a:lnTo>
                      <a:pt x="349" y="2661"/>
                    </a:lnTo>
                    <a:lnTo>
                      <a:pt x="430" y="2747"/>
                    </a:lnTo>
                    <a:lnTo>
                      <a:pt x="751" y="2840"/>
                    </a:lnTo>
                    <a:lnTo>
                      <a:pt x="952" y="2913"/>
                    </a:lnTo>
                    <a:lnTo>
                      <a:pt x="922" y="3013"/>
                    </a:lnTo>
                    <a:lnTo>
                      <a:pt x="863" y="3165"/>
                    </a:lnTo>
                    <a:lnTo>
                      <a:pt x="977" y="3172"/>
                    </a:lnTo>
                    <a:lnTo>
                      <a:pt x="1105" y="3049"/>
                    </a:lnTo>
                    <a:lnTo>
                      <a:pt x="1314" y="2945"/>
                    </a:lnTo>
                    <a:lnTo>
                      <a:pt x="1467" y="2940"/>
                    </a:lnTo>
                    <a:lnTo>
                      <a:pt x="1651" y="2835"/>
                    </a:lnTo>
                    <a:lnTo>
                      <a:pt x="1756" y="2602"/>
                    </a:lnTo>
                    <a:lnTo>
                      <a:pt x="1948" y="2641"/>
                    </a:lnTo>
                    <a:lnTo>
                      <a:pt x="2114" y="2652"/>
                    </a:lnTo>
                    <a:lnTo>
                      <a:pt x="2072" y="2805"/>
                    </a:lnTo>
                    <a:lnTo>
                      <a:pt x="2156" y="2956"/>
                    </a:lnTo>
                    <a:lnTo>
                      <a:pt x="2430" y="2968"/>
                    </a:lnTo>
                    <a:lnTo>
                      <a:pt x="2614" y="2728"/>
                    </a:lnTo>
                    <a:lnTo>
                      <a:pt x="2535" y="2500"/>
                    </a:lnTo>
                    <a:lnTo>
                      <a:pt x="2292" y="2210"/>
                    </a:lnTo>
                    <a:lnTo>
                      <a:pt x="2407" y="2068"/>
                    </a:lnTo>
                    <a:lnTo>
                      <a:pt x="2609" y="1891"/>
                    </a:lnTo>
                    <a:lnTo>
                      <a:pt x="2615" y="1628"/>
                    </a:lnTo>
                    <a:lnTo>
                      <a:pt x="2000" y="869"/>
                    </a:lnTo>
                    <a:lnTo>
                      <a:pt x="1754" y="612"/>
                    </a:lnTo>
                    <a:lnTo>
                      <a:pt x="1467" y="450"/>
                    </a:lnTo>
                    <a:lnTo>
                      <a:pt x="1333" y="386"/>
                    </a:lnTo>
                    <a:lnTo>
                      <a:pt x="1235" y="261"/>
                    </a:lnTo>
                    <a:lnTo>
                      <a:pt x="1402" y="186"/>
                    </a:lnTo>
                    <a:lnTo>
                      <a:pt x="1435" y="0"/>
                    </a:lnTo>
                    <a:lnTo>
                      <a:pt x="1207" y="97"/>
                    </a:lnTo>
                    <a:lnTo>
                      <a:pt x="1123" y="94"/>
                    </a:lnTo>
                    <a:lnTo>
                      <a:pt x="1077" y="251"/>
                    </a:lnTo>
                    <a:lnTo>
                      <a:pt x="868" y="349"/>
                    </a:lnTo>
                    <a:lnTo>
                      <a:pt x="737" y="516"/>
                    </a:lnTo>
                    <a:lnTo>
                      <a:pt x="519" y="610"/>
                    </a:lnTo>
                    <a:lnTo>
                      <a:pt x="449" y="749"/>
                    </a:lnTo>
                    <a:lnTo>
                      <a:pt x="259" y="712"/>
                    </a:lnTo>
                    <a:lnTo>
                      <a:pt x="0" y="858"/>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23" name="任意多边形 112">
                <a:extLst>
                  <a:ext uri="{FF2B5EF4-FFF2-40B4-BE49-F238E27FC236}">
                    <a16:creationId xmlns:a16="http://schemas.microsoft.com/office/drawing/2014/main" id="{0B6E9D0F-6713-FCDE-B0E7-7629909D6428}"/>
                  </a:ext>
                </a:extLst>
              </p:cNvPr>
              <p:cNvSpPr>
                <a:spLocks/>
              </p:cNvSpPr>
              <p:nvPr/>
            </p:nvSpPr>
            <p:spPr bwMode="auto">
              <a:xfrm>
                <a:off x="4082516" y="4405630"/>
                <a:ext cx="1070440" cy="855980"/>
              </a:xfrm>
              <a:custGeom>
                <a:avLst/>
                <a:gdLst>
                  <a:gd name="T0" fmla="*/ 215558 w 13103724"/>
                  <a:gd name="T1" fmla="*/ 1849899 h 10479261"/>
                  <a:gd name="T2" fmla="*/ 264663 w 13103724"/>
                  <a:gd name="T3" fmla="*/ 2011576 h 10479261"/>
                  <a:gd name="T4" fmla="*/ 339518 w 13103724"/>
                  <a:gd name="T5" fmla="*/ 2103213 h 10479261"/>
                  <a:gd name="T6" fmla="*/ 499210 w 13103724"/>
                  <a:gd name="T7" fmla="*/ 2104344 h 10479261"/>
                  <a:gd name="T8" fmla="*/ 617617 w 13103724"/>
                  <a:gd name="T9" fmla="*/ 2307580 h 10479261"/>
                  <a:gd name="T10" fmla="*/ 633269 w 13103724"/>
                  <a:gd name="T11" fmla="*/ 2513082 h 10479261"/>
                  <a:gd name="T12" fmla="*/ 773543 w 13103724"/>
                  <a:gd name="T13" fmla="*/ 2644339 h 10479261"/>
                  <a:gd name="T14" fmla="*/ 1027507 w 13103724"/>
                  <a:gd name="T15" fmla="*/ 2759865 h 10479261"/>
                  <a:gd name="T16" fmla="*/ 1051685 w 13103724"/>
                  <a:gd name="T17" fmla="*/ 2610750 h 10479261"/>
                  <a:gd name="T18" fmla="*/ 1166964 w 13103724"/>
                  <a:gd name="T19" fmla="*/ 2547876 h 10479261"/>
                  <a:gd name="T20" fmla="*/ 1146003 w 13103724"/>
                  <a:gd name="T21" fmla="*/ 2436415 h 10479261"/>
                  <a:gd name="T22" fmla="*/ 1506126 w 13103724"/>
                  <a:gd name="T23" fmla="*/ 2365920 h 10479261"/>
                  <a:gd name="T24" fmla="*/ 1740489 w 13103724"/>
                  <a:gd name="T25" fmla="*/ 2396405 h 10479261"/>
                  <a:gd name="T26" fmla="*/ 1973903 w 13103724"/>
                  <a:gd name="T27" fmla="*/ 2426890 h 10479261"/>
                  <a:gd name="T28" fmla="*/ 2112996 w 13103724"/>
                  <a:gd name="T29" fmla="*/ 2515488 h 10479261"/>
                  <a:gd name="T30" fmla="*/ 2225144 w 13103724"/>
                  <a:gd name="T31" fmla="*/ 2500704 h 10479261"/>
                  <a:gd name="T32" fmla="*/ 2314968 w 13103724"/>
                  <a:gd name="T33" fmla="*/ 2588842 h 10479261"/>
                  <a:gd name="T34" fmla="*/ 2423577 w 13103724"/>
                  <a:gd name="T35" fmla="*/ 2555498 h 10479261"/>
                  <a:gd name="T36" fmla="*/ 2370225 w 13103724"/>
                  <a:gd name="T37" fmla="*/ 2466900 h 10479261"/>
                  <a:gd name="T38" fmla="*/ 2377846 w 13103724"/>
                  <a:gd name="T39" fmla="*/ 2324955 h 10479261"/>
                  <a:gd name="T40" fmla="*/ 2454063 w 13103724"/>
                  <a:gd name="T41" fmla="*/ 2147761 h 10479261"/>
                  <a:gd name="T42" fmla="*/ 2550287 w 13103724"/>
                  <a:gd name="T43" fmla="*/ 2046780 h 10479261"/>
                  <a:gd name="T44" fmla="*/ 2727489 w 13103724"/>
                  <a:gd name="T45" fmla="*/ 1942940 h 10479261"/>
                  <a:gd name="T46" fmla="*/ 2885636 w 13103724"/>
                  <a:gd name="T47" fmla="*/ 2026775 h 10479261"/>
                  <a:gd name="T48" fmla="*/ 3164778 w 13103724"/>
                  <a:gd name="T49" fmla="*/ 2145856 h 10479261"/>
                  <a:gd name="T50" fmla="*/ 3450477 w 13103724"/>
                  <a:gd name="T51" fmla="*/ 2203796 h 10479261"/>
                  <a:gd name="T52" fmla="*/ 3451225 w 13103724"/>
                  <a:gd name="T53" fmla="*/ 1928333 h 10479261"/>
                  <a:gd name="T54" fmla="*/ 3260683 w 13103724"/>
                  <a:gd name="T55" fmla="*/ 1567910 h 10479261"/>
                  <a:gd name="T56" fmla="*/ 3182087 w 13103724"/>
                  <a:gd name="T57" fmla="*/ 1211289 h 10479261"/>
                  <a:gd name="T58" fmla="*/ 2804975 w 13103724"/>
                  <a:gd name="T59" fmla="*/ 1066182 h 10479261"/>
                  <a:gd name="T60" fmla="*/ 2749400 w 13103724"/>
                  <a:gd name="T61" fmla="*/ 853422 h 10479261"/>
                  <a:gd name="T62" fmla="*/ 2511225 w 13103724"/>
                  <a:gd name="T63" fmla="*/ 615257 h 10479261"/>
                  <a:gd name="T64" fmla="*/ 2442947 w 13103724"/>
                  <a:gd name="T65" fmla="*/ 336606 h 10479261"/>
                  <a:gd name="T66" fmla="*/ 2352490 w 13103724"/>
                  <a:gd name="T67" fmla="*/ 0 h 10479261"/>
                  <a:gd name="T68" fmla="*/ 420012 w 13103724"/>
                  <a:gd name="T69" fmla="*/ 146051 h 10479261"/>
                  <a:gd name="T70" fmla="*/ 0 w 13103724"/>
                  <a:gd name="T71" fmla="*/ 165957 h 10479261"/>
                  <a:gd name="T72" fmla="*/ 420954 w 13103724"/>
                  <a:gd name="T73" fmla="*/ 1212935 h 10479261"/>
                  <a:gd name="T74" fmla="*/ 391919 w 13103724"/>
                  <a:gd name="T75" fmla="*/ 1419571 h 10479261"/>
                  <a:gd name="T76" fmla="*/ 331583 w 13103724"/>
                  <a:gd name="T77" fmla="*/ 1649571 h 10479261"/>
                  <a:gd name="T78" fmla="*/ 215558 w 13103724"/>
                  <a:gd name="T79" fmla="*/ 1849899 h 1047926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3103724" h="10479261">
                    <a:moveTo>
                      <a:pt x="818438" y="7024103"/>
                    </a:moveTo>
                    <a:lnTo>
                      <a:pt x="1004880" y="7637995"/>
                    </a:lnTo>
                    <a:lnTo>
                      <a:pt x="1289094" y="7985936"/>
                    </a:lnTo>
                    <a:lnTo>
                      <a:pt x="1895417" y="7990235"/>
                    </a:lnTo>
                    <a:lnTo>
                      <a:pt x="2344988" y="8761920"/>
                    </a:lnTo>
                    <a:lnTo>
                      <a:pt x="2404414" y="9542218"/>
                    </a:lnTo>
                    <a:lnTo>
                      <a:pt x="2937013" y="10040601"/>
                    </a:lnTo>
                    <a:lnTo>
                      <a:pt x="3901270" y="10479261"/>
                    </a:lnTo>
                    <a:lnTo>
                      <a:pt x="3993071" y="9913071"/>
                    </a:lnTo>
                    <a:lnTo>
                      <a:pt x="4430767" y="9674335"/>
                    </a:lnTo>
                    <a:lnTo>
                      <a:pt x="4351183" y="9251116"/>
                    </a:lnTo>
                    <a:lnTo>
                      <a:pt x="5718509" y="8983442"/>
                    </a:lnTo>
                    <a:lnTo>
                      <a:pt x="6608347" y="9099194"/>
                    </a:lnTo>
                    <a:lnTo>
                      <a:pt x="7494577" y="9214947"/>
                    </a:lnTo>
                    <a:lnTo>
                      <a:pt x="8022695" y="9551352"/>
                    </a:lnTo>
                    <a:lnTo>
                      <a:pt x="8448500" y="9495222"/>
                    </a:lnTo>
                    <a:lnTo>
                      <a:pt x="8789549" y="9829880"/>
                    </a:lnTo>
                    <a:lnTo>
                      <a:pt x="9201915" y="9703273"/>
                    </a:lnTo>
                    <a:lnTo>
                      <a:pt x="8999347" y="9366869"/>
                    </a:lnTo>
                    <a:lnTo>
                      <a:pt x="9028285" y="8827897"/>
                    </a:lnTo>
                    <a:lnTo>
                      <a:pt x="9317667" y="8155088"/>
                    </a:lnTo>
                    <a:lnTo>
                      <a:pt x="9683010" y="7771661"/>
                    </a:lnTo>
                    <a:lnTo>
                      <a:pt x="10355819" y="7377380"/>
                    </a:lnTo>
                    <a:lnTo>
                      <a:pt x="10956275" y="7695700"/>
                    </a:lnTo>
                    <a:lnTo>
                      <a:pt x="12016134" y="8147857"/>
                    </a:lnTo>
                    <a:lnTo>
                      <a:pt x="13100884" y="8367852"/>
                    </a:lnTo>
                    <a:cubicBezTo>
                      <a:pt x="13101831" y="8019208"/>
                      <a:pt x="13102777" y="7670563"/>
                      <a:pt x="13103724" y="7321919"/>
                    </a:cubicBezTo>
                    <a:lnTo>
                      <a:pt x="12380269" y="5953386"/>
                    </a:lnTo>
                    <a:lnTo>
                      <a:pt x="12081849" y="4599284"/>
                    </a:lnTo>
                    <a:lnTo>
                      <a:pt x="10650016" y="4048312"/>
                    </a:lnTo>
                    <a:lnTo>
                      <a:pt x="10439011" y="3240458"/>
                    </a:lnTo>
                    <a:lnTo>
                      <a:pt x="9534696" y="2336143"/>
                    </a:lnTo>
                    <a:lnTo>
                      <a:pt x="9275460" y="1278099"/>
                    </a:lnTo>
                    <a:lnTo>
                      <a:pt x="8932015" y="0"/>
                    </a:lnTo>
                    <a:lnTo>
                      <a:pt x="1594715" y="554558"/>
                    </a:lnTo>
                    <a:lnTo>
                      <a:pt x="0" y="630142"/>
                    </a:lnTo>
                    <a:lnTo>
                      <a:pt x="1598292" y="4605539"/>
                    </a:lnTo>
                    <a:lnTo>
                      <a:pt x="1488049" y="5390136"/>
                    </a:lnTo>
                    <a:lnTo>
                      <a:pt x="1258963" y="6263454"/>
                    </a:lnTo>
                    <a:lnTo>
                      <a:pt x="818438" y="7024103"/>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24" name="任意多边形 113">
                <a:extLst>
                  <a:ext uri="{FF2B5EF4-FFF2-40B4-BE49-F238E27FC236}">
                    <a16:creationId xmlns:a16="http://schemas.microsoft.com/office/drawing/2014/main" id="{E141D3B2-9216-DD0F-D368-88753A1B09E5}"/>
                  </a:ext>
                </a:extLst>
              </p:cNvPr>
              <p:cNvSpPr>
                <a:spLocks/>
              </p:cNvSpPr>
              <p:nvPr/>
            </p:nvSpPr>
            <p:spPr bwMode="auto">
              <a:xfrm>
                <a:off x="3578406" y="4457383"/>
                <a:ext cx="830765" cy="1209993"/>
              </a:xfrm>
              <a:custGeom>
                <a:avLst/>
                <a:gdLst>
                  <a:gd name="T0" fmla="*/ 1841986 w 10172266"/>
                  <a:gd name="T1" fmla="*/ 1683352 h 14815417"/>
                  <a:gd name="T2" fmla="*/ 1891073 w 10172266"/>
                  <a:gd name="T3" fmla="*/ 1844973 h 14815417"/>
                  <a:gd name="T4" fmla="*/ 1965899 w 10172266"/>
                  <a:gd name="T5" fmla="*/ 1936575 h 14815417"/>
                  <a:gd name="T6" fmla="*/ 2125529 w 10172266"/>
                  <a:gd name="T7" fmla="*/ 1937708 h 14815417"/>
                  <a:gd name="T8" fmla="*/ 2243890 w 10172266"/>
                  <a:gd name="T9" fmla="*/ 2140870 h 14815417"/>
                  <a:gd name="T10" fmla="*/ 2259535 w 10172266"/>
                  <a:gd name="T11" fmla="*/ 2346301 h 14815417"/>
                  <a:gd name="T12" fmla="*/ 2399756 w 10172266"/>
                  <a:gd name="T13" fmla="*/ 2477512 h 14815417"/>
                  <a:gd name="T14" fmla="*/ 2653621 w 10172266"/>
                  <a:gd name="T15" fmla="*/ 2592998 h 14815417"/>
                  <a:gd name="T16" fmla="*/ 2678112 w 10172266"/>
                  <a:gd name="T17" fmla="*/ 2693443 h 14815417"/>
                  <a:gd name="T18" fmla="*/ 2565419 w 10172266"/>
                  <a:gd name="T19" fmla="*/ 2728360 h 14815417"/>
                  <a:gd name="T20" fmla="*/ 2479707 w 10172266"/>
                  <a:gd name="T21" fmla="*/ 2874385 h 14815417"/>
                  <a:gd name="T22" fmla="*/ 2355905 w 10172266"/>
                  <a:gd name="T23" fmla="*/ 2798198 h 14815417"/>
                  <a:gd name="T24" fmla="*/ 2194007 w 10172266"/>
                  <a:gd name="T25" fmla="*/ 3021994 h 14815417"/>
                  <a:gd name="T26" fmla="*/ 1917831 w 10172266"/>
                  <a:gd name="T27" fmla="*/ 3136271 h 14815417"/>
                  <a:gd name="T28" fmla="*/ 1746412 w 10172266"/>
                  <a:gd name="T29" fmla="*/ 3312451 h 14815417"/>
                  <a:gd name="T30" fmla="*/ 1427378 w 10172266"/>
                  <a:gd name="T31" fmla="*/ 3664810 h 14815417"/>
                  <a:gd name="T32" fmla="*/ 1451188 w 10172266"/>
                  <a:gd name="T33" fmla="*/ 3850512 h 14815417"/>
                  <a:gd name="T34" fmla="*/ 1243325 w 10172266"/>
                  <a:gd name="T35" fmla="*/ 3900487 h 14815417"/>
                  <a:gd name="T36" fmla="*/ 1103584 w 10172266"/>
                  <a:gd name="T37" fmla="*/ 3764805 h 14815417"/>
                  <a:gd name="T38" fmla="*/ 1203582 w 10172266"/>
                  <a:gd name="T39" fmla="*/ 3588625 h 14815417"/>
                  <a:gd name="T40" fmla="*/ 998830 w 10172266"/>
                  <a:gd name="T41" fmla="*/ 3464824 h 14815417"/>
                  <a:gd name="T42" fmla="*/ 379810 w 10172266"/>
                  <a:gd name="T43" fmla="*/ 3493399 h 14815417"/>
                  <a:gd name="T44" fmla="*/ 256009 w 10172266"/>
                  <a:gd name="T45" fmla="*/ 2874383 h 14815417"/>
                  <a:gd name="T46" fmla="*/ 0 w 10172266"/>
                  <a:gd name="T47" fmla="*/ 2870986 h 14815417"/>
                  <a:gd name="T48" fmla="*/ 21025 w 10172266"/>
                  <a:gd name="T49" fmla="*/ 2662512 h 14815417"/>
                  <a:gd name="T50" fmla="*/ 189345 w 10172266"/>
                  <a:gd name="T51" fmla="*/ 2512504 h 14815417"/>
                  <a:gd name="T52" fmla="*/ 379813 w 10172266"/>
                  <a:gd name="T53" fmla="*/ 2369657 h 14815417"/>
                  <a:gd name="T54" fmla="*/ 598850 w 10172266"/>
                  <a:gd name="T55" fmla="*/ 2217285 h 14815417"/>
                  <a:gd name="T56" fmla="*/ 770270 w 10172266"/>
                  <a:gd name="T57" fmla="*/ 2164907 h 14815417"/>
                  <a:gd name="T58" fmla="*/ 967152 w 10172266"/>
                  <a:gd name="T59" fmla="*/ 2010141 h 14815417"/>
                  <a:gd name="T60" fmla="*/ 865501 w 10172266"/>
                  <a:gd name="T61" fmla="*/ 1864925 h 14815417"/>
                  <a:gd name="T62" fmla="*/ 1046447 w 10172266"/>
                  <a:gd name="T63" fmla="*/ 1669700 h 14815417"/>
                  <a:gd name="T64" fmla="*/ 1003590 w 10172266"/>
                  <a:gd name="T65" fmla="*/ 1550660 h 14815417"/>
                  <a:gd name="T66" fmla="*/ 1070254 w 10172266"/>
                  <a:gd name="T67" fmla="*/ 1379243 h 14815417"/>
                  <a:gd name="T68" fmla="*/ 832169 w 10172266"/>
                  <a:gd name="T69" fmla="*/ 1160207 h 14815417"/>
                  <a:gd name="T70" fmla="*/ 813123 w 10172266"/>
                  <a:gd name="T71" fmla="*/ 712616 h 14815417"/>
                  <a:gd name="T72" fmla="*/ 675034 w 10172266"/>
                  <a:gd name="T73" fmla="*/ 455490 h 14815417"/>
                  <a:gd name="T74" fmla="*/ 703605 w 10172266"/>
                  <a:gd name="T75" fmla="*/ 322166 h 14815417"/>
                  <a:gd name="T76" fmla="*/ 732174 w 10172266"/>
                  <a:gd name="T77" fmla="*/ 40437 h 14815417"/>
                  <a:gd name="T78" fmla="*/ 1626512 w 10172266"/>
                  <a:gd name="T79" fmla="*/ 0 h 14815417"/>
                  <a:gd name="T80" fmla="*/ 2047304 w 10172266"/>
                  <a:gd name="T81" fmla="*/ 1046611 h 14815417"/>
                  <a:gd name="T82" fmla="*/ 2018279 w 10172266"/>
                  <a:gd name="T83" fmla="*/ 1253174 h 14815417"/>
                  <a:gd name="T84" fmla="*/ 1957966 w 10172266"/>
                  <a:gd name="T85" fmla="*/ 1483095 h 14815417"/>
                  <a:gd name="T86" fmla="*/ 1841986 w 10172266"/>
                  <a:gd name="T87" fmla="*/ 1683352 h 1481541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0172266" h="14815417">
                    <a:moveTo>
                      <a:pt x="6996414" y="6393961"/>
                    </a:moveTo>
                    <a:lnTo>
                      <a:pt x="7182856" y="7007853"/>
                    </a:lnTo>
                    <a:lnTo>
                      <a:pt x="7467070" y="7355794"/>
                    </a:lnTo>
                    <a:lnTo>
                      <a:pt x="8073393" y="7360093"/>
                    </a:lnTo>
                    <a:lnTo>
                      <a:pt x="8522964" y="8131778"/>
                    </a:lnTo>
                    <a:lnTo>
                      <a:pt x="8582390" y="8912076"/>
                    </a:lnTo>
                    <a:lnTo>
                      <a:pt x="9114989" y="9410459"/>
                    </a:lnTo>
                    <a:lnTo>
                      <a:pt x="10079246" y="9849119"/>
                    </a:lnTo>
                    <a:lnTo>
                      <a:pt x="10172266" y="10230640"/>
                    </a:lnTo>
                    <a:lnTo>
                      <a:pt x="9744224" y="10363269"/>
                    </a:lnTo>
                    <a:lnTo>
                      <a:pt x="9418669" y="10917922"/>
                    </a:lnTo>
                    <a:lnTo>
                      <a:pt x="8948428" y="10628536"/>
                    </a:lnTo>
                    <a:lnTo>
                      <a:pt x="8333495" y="11478594"/>
                    </a:lnTo>
                    <a:lnTo>
                      <a:pt x="7284493" y="11912659"/>
                    </a:lnTo>
                    <a:lnTo>
                      <a:pt x="6633392" y="12581849"/>
                    </a:lnTo>
                    <a:lnTo>
                      <a:pt x="5421607" y="13920232"/>
                    </a:lnTo>
                    <a:lnTo>
                      <a:pt x="5512045" y="14625598"/>
                    </a:lnTo>
                    <a:lnTo>
                      <a:pt x="4722518" y="14815417"/>
                    </a:lnTo>
                    <a:lnTo>
                      <a:pt x="4191742" y="14300055"/>
                    </a:lnTo>
                    <a:lnTo>
                      <a:pt x="4571561" y="13630861"/>
                    </a:lnTo>
                    <a:lnTo>
                      <a:pt x="3793853" y="13160620"/>
                    </a:lnTo>
                    <a:lnTo>
                      <a:pt x="1442633" y="13269153"/>
                    </a:lnTo>
                    <a:lnTo>
                      <a:pt x="972399" y="10917914"/>
                    </a:lnTo>
                    <a:lnTo>
                      <a:pt x="0" y="10905013"/>
                    </a:lnTo>
                    <a:lnTo>
                      <a:pt x="79861" y="10113155"/>
                    </a:lnTo>
                    <a:lnTo>
                      <a:pt x="719190" y="9543373"/>
                    </a:lnTo>
                    <a:lnTo>
                      <a:pt x="1442641" y="9000786"/>
                    </a:lnTo>
                    <a:lnTo>
                      <a:pt x="2274610" y="8422026"/>
                    </a:lnTo>
                    <a:lnTo>
                      <a:pt x="2925715" y="8223078"/>
                    </a:lnTo>
                    <a:lnTo>
                      <a:pt x="3673532" y="7635222"/>
                    </a:lnTo>
                    <a:lnTo>
                      <a:pt x="3287431" y="7083642"/>
                    </a:lnTo>
                    <a:lnTo>
                      <a:pt x="3974717" y="6342107"/>
                    </a:lnTo>
                    <a:lnTo>
                      <a:pt x="3811934" y="5889950"/>
                    </a:lnTo>
                    <a:lnTo>
                      <a:pt x="4065143" y="5238848"/>
                    </a:lnTo>
                    <a:lnTo>
                      <a:pt x="3160825" y="4406875"/>
                    </a:lnTo>
                    <a:lnTo>
                      <a:pt x="3088483" y="2706765"/>
                    </a:lnTo>
                    <a:lnTo>
                      <a:pt x="2563980" y="1730112"/>
                    </a:lnTo>
                    <a:lnTo>
                      <a:pt x="2672502" y="1223698"/>
                    </a:lnTo>
                    <a:lnTo>
                      <a:pt x="2781017" y="153593"/>
                    </a:lnTo>
                    <a:lnTo>
                      <a:pt x="6177976" y="0"/>
                    </a:lnTo>
                    <a:lnTo>
                      <a:pt x="7776268" y="3975397"/>
                    </a:lnTo>
                    <a:lnTo>
                      <a:pt x="7666025" y="4759994"/>
                    </a:lnTo>
                    <a:lnTo>
                      <a:pt x="7436939" y="5633312"/>
                    </a:lnTo>
                    <a:lnTo>
                      <a:pt x="6996414" y="6393961"/>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25" name="任意多边形 114">
                <a:extLst>
                  <a:ext uri="{FF2B5EF4-FFF2-40B4-BE49-F238E27FC236}">
                    <a16:creationId xmlns:a16="http://schemas.microsoft.com/office/drawing/2014/main" id="{284866FF-E409-DD21-ED0A-C2906B79FE18}"/>
                  </a:ext>
                </a:extLst>
              </p:cNvPr>
              <p:cNvSpPr>
                <a:spLocks/>
              </p:cNvSpPr>
              <p:nvPr/>
            </p:nvSpPr>
            <p:spPr bwMode="auto">
              <a:xfrm>
                <a:off x="4812333" y="4036060"/>
                <a:ext cx="1400587" cy="1052195"/>
              </a:xfrm>
              <a:custGeom>
                <a:avLst/>
                <a:gdLst/>
                <a:ahLst/>
                <a:cxnLst/>
                <a:rect l="0" t="0" r="r" b="b"/>
                <a:pathLst>
                  <a:path w="17157070" h="12886678">
                    <a:moveTo>
                      <a:pt x="0" y="4521645"/>
                    </a:moveTo>
                    <a:lnTo>
                      <a:pt x="613837" y="6900003"/>
                    </a:lnTo>
                    <a:lnTo>
                      <a:pt x="1518338" y="7768153"/>
                    </a:lnTo>
                    <a:lnTo>
                      <a:pt x="1735898" y="8600077"/>
                    </a:lnTo>
                    <a:lnTo>
                      <a:pt x="3137400" y="9124637"/>
                    </a:lnTo>
                    <a:lnTo>
                      <a:pt x="3453963" y="10481128"/>
                    </a:lnTo>
                    <a:lnTo>
                      <a:pt x="4168520" y="11855697"/>
                    </a:lnTo>
                    <a:lnTo>
                      <a:pt x="4162343" y="12886678"/>
                    </a:lnTo>
                    <a:lnTo>
                      <a:pt x="4605215" y="12802514"/>
                    </a:lnTo>
                    <a:lnTo>
                      <a:pt x="4840336" y="12513132"/>
                    </a:lnTo>
                    <a:lnTo>
                      <a:pt x="6070201" y="12531224"/>
                    </a:lnTo>
                    <a:lnTo>
                      <a:pt x="6884082" y="11934372"/>
                    </a:lnTo>
                    <a:lnTo>
                      <a:pt x="7716051" y="12259931"/>
                    </a:lnTo>
                    <a:lnTo>
                      <a:pt x="8584189" y="12060979"/>
                    </a:lnTo>
                    <a:lnTo>
                      <a:pt x="9289552" y="12259931"/>
                    </a:lnTo>
                    <a:lnTo>
                      <a:pt x="10139605" y="11862031"/>
                    </a:lnTo>
                    <a:lnTo>
                      <a:pt x="10664108" y="12079067"/>
                    </a:lnTo>
                    <a:lnTo>
                      <a:pt x="11387555" y="11988637"/>
                    </a:lnTo>
                    <a:lnTo>
                      <a:pt x="11966315" y="12712092"/>
                    </a:lnTo>
                    <a:lnTo>
                      <a:pt x="12942975" y="12476963"/>
                    </a:lnTo>
                    <a:lnTo>
                      <a:pt x="13575992" y="12874863"/>
                    </a:lnTo>
                    <a:lnTo>
                      <a:pt x="13973888" y="12784430"/>
                    </a:lnTo>
                    <a:lnTo>
                      <a:pt x="14028146" y="12241839"/>
                    </a:lnTo>
                    <a:lnTo>
                      <a:pt x="13594073" y="12187582"/>
                    </a:lnTo>
                    <a:lnTo>
                      <a:pt x="13612161" y="11500303"/>
                    </a:lnTo>
                    <a:lnTo>
                      <a:pt x="14190925" y="11355616"/>
                    </a:lnTo>
                    <a:lnTo>
                      <a:pt x="13865366" y="10885371"/>
                    </a:lnTo>
                    <a:lnTo>
                      <a:pt x="14136664" y="10487475"/>
                    </a:lnTo>
                    <a:lnTo>
                      <a:pt x="14703435" y="10514571"/>
                    </a:lnTo>
                    <a:lnTo>
                      <a:pt x="14661163" y="10342787"/>
                    </a:lnTo>
                    <a:lnTo>
                      <a:pt x="14335608" y="10180012"/>
                    </a:lnTo>
                    <a:lnTo>
                      <a:pt x="14498387" y="9601248"/>
                    </a:lnTo>
                    <a:lnTo>
                      <a:pt x="13847278" y="8696934"/>
                    </a:lnTo>
                    <a:lnTo>
                      <a:pt x="13340864" y="7991571"/>
                    </a:lnTo>
                    <a:lnTo>
                      <a:pt x="13123831" y="6906393"/>
                    </a:lnTo>
                    <a:lnTo>
                      <a:pt x="13232349" y="6219119"/>
                    </a:lnTo>
                    <a:lnTo>
                      <a:pt x="12273778" y="6252280"/>
                    </a:lnTo>
                    <a:lnTo>
                      <a:pt x="12201432" y="5854380"/>
                    </a:lnTo>
                    <a:lnTo>
                      <a:pt x="12508887" y="5350985"/>
                    </a:lnTo>
                    <a:lnTo>
                      <a:pt x="13774933" y="4573269"/>
                    </a:lnTo>
                    <a:lnTo>
                      <a:pt x="15294184" y="4066854"/>
                    </a:lnTo>
                    <a:lnTo>
                      <a:pt x="15746333" y="4392409"/>
                    </a:lnTo>
                    <a:lnTo>
                      <a:pt x="16578306" y="4103027"/>
                    </a:lnTo>
                    <a:lnTo>
                      <a:pt x="17084732" y="4500935"/>
                    </a:lnTo>
                    <a:lnTo>
                      <a:pt x="17157070" y="3560444"/>
                    </a:lnTo>
                    <a:lnTo>
                      <a:pt x="16433615" y="3470014"/>
                    </a:lnTo>
                    <a:lnTo>
                      <a:pt x="16415865" y="2853862"/>
                    </a:lnTo>
                    <a:lnTo>
                      <a:pt x="15963191" y="2993318"/>
                    </a:lnTo>
                    <a:lnTo>
                      <a:pt x="14923009" y="1763435"/>
                    </a:lnTo>
                    <a:lnTo>
                      <a:pt x="14244644" y="325540"/>
                    </a:lnTo>
                    <a:lnTo>
                      <a:pt x="13367278" y="614945"/>
                    </a:lnTo>
                    <a:lnTo>
                      <a:pt x="12218563" y="623988"/>
                    </a:lnTo>
                    <a:lnTo>
                      <a:pt x="11323109" y="36169"/>
                    </a:lnTo>
                    <a:lnTo>
                      <a:pt x="10780410" y="488337"/>
                    </a:lnTo>
                    <a:lnTo>
                      <a:pt x="10038717" y="687288"/>
                    </a:lnTo>
                    <a:lnTo>
                      <a:pt x="9622651" y="81389"/>
                    </a:lnTo>
                    <a:lnTo>
                      <a:pt x="8672925" y="280344"/>
                    </a:lnTo>
                    <a:lnTo>
                      <a:pt x="7759379" y="0"/>
                    </a:lnTo>
                    <a:lnTo>
                      <a:pt x="6729494" y="443189"/>
                    </a:lnTo>
                    <a:lnTo>
                      <a:pt x="6493079" y="1012843"/>
                    </a:lnTo>
                    <a:lnTo>
                      <a:pt x="6710175" y="2161345"/>
                    </a:lnTo>
                    <a:lnTo>
                      <a:pt x="5290099" y="2134207"/>
                    </a:lnTo>
                    <a:lnTo>
                      <a:pt x="2314296" y="2369327"/>
                    </a:lnTo>
                    <a:lnTo>
                      <a:pt x="1334589" y="3174199"/>
                    </a:lnTo>
                    <a:lnTo>
                      <a:pt x="0" y="4521645"/>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26" name="任意多边形 115">
                <a:extLst>
                  <a:ext uri="{FF2B5EF4-FFF2-40B4-BE49-F238E27FC236}">
                    <a16:creationId xmlns:a16="http://schemas.microsoft.com/office/drawing/2014/main" id="{B37D6D0A-7C01-41CE-C5C0-57451FD3A903}"/>
                  </a:ext>
                </a:extLst>
              </p:cNvPr>
              <p:cNvSpPr>
                <a:spLocks/>
              </p:cNvSpPr>
              <p:nvPr/>
            </p:nvSpPr>
            <p:spPr bwMode="auto">
              <a:xfrm>
                <a:off x="1061349" y="4204335"/>
                <a:ext cx="1065678" cy="1160145"/>
              </a:xfrm>
              <a:custGeom>
                <a:avLst/>
                <a:gdLst>
                  <a:gd name="T0" fmla="*/ 610215 w 2165"/>
                  <a:gd name="T1" fmla="*/ 867849 h 2356"/>
                  <a:gd name="T2" fmla="*/ 666918 w 2165"/>
                  <a:gd name="T3" fmla="*/ 1036045 h 2356"/>
                  <a:gd name="T4" fmla="*/ 466843 w 2165"/>
                  <a:gd name="T5" fmla="*/ 978906 h 2356"/>
                  <a:gd name="T6" fmla="*/ 414444 w 2165"/>
                  <a:gd name="T7" fmla="*/ 874947 h 2356"/>
                  <a:gd name="T8" fmla="*/ 85749 w 2165"/>
                  <a:gd name="T9" fmla="*/ 789239 h 2356"/>
                  <a:gd name="T10" fmla="*/ 4766 w 2165"/>
                  <a:gd name="T11" fmla="*/ 826537 h 2356"/>
                  <a:gd name="T12" fmla="*/ 0 w 2165"/>
                  <a:gd name="T13" fmla="*/ 1017789 h 2356"/>
                  <a:gd name="T14" fmla="*/ 238190 w 2165"/>
                  <a:gd name="T15" fmla="*/ 1117782 h 2356"/>
                  <a:gd name="T16" fmla="*/ 257243 w 2165"/>
                  <a:gd name="T17" fmla="*/ 1370144 h 2356"/>
                  <a:gd name="T18" fmla="*/ 357280 w 2165"/>
                  <a:gd name="T19" fmla="*/ 1670119 h 2356"/>
                  <a:gd name="T20" fmla="*/ 400154 w 2165"/>
                  <a:gd name="T21" fmla="*/ 1812965 h 2356"/>
                  <a:gd name="T22" fmla="*/ 292304 w 2165"/>
                  <a:gd name="T23" fmla="*/ 1996277 h 2356"/>
                  <a:gd name="T24" fmla="*/ 540015 w 2165"/>
                  <a:gd name="T25" fmla="*/ 1981991 h 2356"/>
                  <a:gd name="T26" fmla="*/ 614518 w 2165"/>
                  <a:gd name="T27" fmla="*/ 2265306 h 2356"/>
                  <a:gd name="T28" fmla="*/ 766956 w 2165"/>
                  <a:gd name="T29" fmla="*/ 2274830 h 2356"/>
                  <a:gd name="T30" fmla="*/ 952739 w 2165"/>
                  <a:gd name="T31" fmla="*/ 2365299 h 2356"/>
                  <a:gd name="T32" fmla="*/ 1009903 w 2165"/>
                  <a:gd name="T33" fmla="*/ 2503384 h 2356"/>
                  <a:gd name="T34" fmla="*/ 771718 w 2165"/>
                  <a:gd name="T35" fmla="*/ 2831929 h 2356"/>
                  <a:gd name="T36" fmla="*/ 770098 w 2165"/>
                  <a:gd name="T37" fmla="*/ 3077228 h 2356"/>
                  <a:gd name="T38" fmla="*/ 1194094 w 2165"/>
                  <a:gd name="T39" fmla="*/ 2879544 h 2356"/>
                  <a:gd name="T40" fmla="*/ 1513260 w 2165"/>
                  <a:gd name="T41" fmla="*/ 2849389 h 2356"/>
                  <a:gd name="T42" fmla="*/ 1757794 w 2165"/>
                  <a:gd name="T43" fmla="*/ 2855736 h 2356"/>
                  <a:gd name="T44" fmla="*/ 2142066 w 2165"/>
                  <a:gd name="T45" fmla="*/ 3169997 h 2356"/>
                  <a:gd name="T46" fmla="*/ 2100779 w 2165"/>
                  <a:gd name="T47" fmla="*/ 3354108 h 2356"/>
                  <a:gd name="T48" fmla="*/ 2370719 w 2165"/>
                  <a:gd name="T49" fmla="*/ 3739792 h 2356"/>
                  <a:gd name="T50" fmla="*/ 2608902 w 2165"/>
                  <a:gd name="T51" fmla="*/ 3731869 h 2356"/>
                  <a:gd name="T52" fmla="*/ 2959820 w 2165"/>
                  <a:gd name="T53" fmla="*/ 1113016 h 2356"/>
                  <a:gd name="T54" fmla="*/ 3436938 w 2165"/>
                  <a:gd name="T55" fmla="*/ 1033503 h 2356"/>
                  <a:gd name="T56" fmla="*/ 3340126 w 2165"/>
                  <a:gd name="T57" fmla="*/ 413238 h 2356"/>
                  <a:gd name="T58" fmla="*/ 3090563 w 2165"/>
                  <a:gd name="T59" fmla="*/ 300724 h 2356"/>
                  <a:gd name="T60" fmla="*/ 2745757 w 2165"/>
                  <a:gd name="T61" fmla="*/ 0 h 2356"/>
                  <a:gd name="T62" fmla="*/ 2639556 w 2165"/>
                  <a:gd name="T63" fmla="*/ 131187 h 2356"/>
                  <a:gd name="T64" fmla="*/ 2503712 w 2165"/>
                  <a:gd name="T65" fmla="*/ 20629 h 2356"/>
                  <a:gd name="T66" fmla="*/ 2292074 w 2165"/>
                  <a:gd name="T67" fmla="*/ 23075 h 2356"/>
                  <a:gd name="T68" fmla="*/ 2214906 w 2165"/>
                  <a:gd name="T69" fmla="*/ 89622 h 2356"/>
                  <a:gd name="T70" fmla="*/ 2071192 w 2165"/>
                  <a:gd name="T71" fmla="*/ 30409 h 2356"/>
                  <a:gd name="T72" fmla="*/ 1918768 w 2165"/>
                  <a:gd name="T73" fmla="*/ 113536 h 2356"/>
                  <a:gd name="T74" fmla="*/ 1729255 w 2165"/>
                  <a:gd name="T75" fmla="*/ 88595 h 2356"/>
                  <a:gd name="T76" fmla="*/ 1648230 w 2165"/>
                  <a:gd name="T77" fmla="*/ 246426 h 2356"/>
                  <a:gd name="T78" fmla="*/ 1572011 w 2165"/>
                  <a:gd name="T79" fmla="*/ 351179 h 2356"/>
                  <a:gd name="T80" fmla="*/ 1643466 w 2165"/>
                  <a:gd name="T81" fmla="*/ 551163 h 2356"/>
                  <a:gd name="T82" fmla="*/ 1786377 w 2165"/>
                  <a:gd name="T83" fmla="*/ 617826 h 2356"/>
                  <a:gd name="T84" fmla="*/ 1938814 w 2165"/>
                  <a:gd name="T85" fmla="*/ 646395 h 2356"/>
                  <a:gd name="T86" fmla="*/ 2053143 w 2165"/>
                  <a:gd name="T87" fmla="*/ 551163 h 2356"/>
                  <a:gd name="T88" fmla="*/ 2157943 w 2165"/>
                  <a:gd name="T89" fmla="*/ 598778 h 2356"/>
                  <a:gd name="T90" fmla="*/ 2096015 w 2165"/>
                  <a:gd name="T91" fmla="*/ 722579 h 2356"/>
                  <a:gd name="T92" fmla="*/ 2191292 w 2165"/>
                  <a:gd name="T93" fmla="*/ 913044 h 2356"/>
                  <a:gd name="T94" fmla="*/ 1914995 w 2165"/>
                  <a:gd name="T95" fmla="*/ 979701 h 2356"/>
                  <a:gd name="T96" fmla="*/ 1891177 w 2165"/>
                  <a:gd name="T97" fmla="*/ 889232 h 2356"/>
                  <a:gd name="T98" fmla="*/ 2091252 w 2165"/>
                  <a:gd name="T99" fmla="*/ 803524 h 2356"/>
                  <a:gd name="T100" fmla="*/ 2015033 w 2165"/>
                  <a:gd name="T101" fmla="*/ 722578 h 2356"/>
                  <a:gd name="T102" fmla="*/ 1867359 w 2165"/>
                  <a:gd name="T103" fmla="*/ 736863 h 2356"/>
                  <a:gd name="T104" fmla="*/ 1714924 w 2165"/>
                  <a:gd name="T105" fmla="*/ 703536 h 2356"/>
                  <a:gd name="T106" fmla="*/ 1471977 w 2165"/>
                  <a:gd name="T107" fmla="*/ 608304 h 2356"/>
                  <a:gd name="T108" fmla="*/ 981317 w 2165"/>
                  <a:gd name="T109" fmla="*/ 398796 h 2356"/>
                  <a:gd name="T110" fmla="*/ 833647 w 2165"/>
                  <a:gd name="T111" fmla="*/ 422604 h 2356"/>
                  <a:gd name="T112" fmla="*/ 666918 w 2165"/>
                  <a:gd name="T113" fmla="*/ 408318 h 2356"/>
                  <a:gd name="T114" fmla="*/ 590700 w 2165"/>
                  <a:gd name="T115" fmla="*/ 608302 h 2356"/>
                  <a:gd name="T116" fmla="*/ 409678 w 2165"/>
                  <a:gd name="T117" fmla="*/ 679724 h 2356"/>
                  <a:gd name="T118" fmla="*/ 610215 w 2165"/>
                  <a:gd name="T119" fmla="*/ 867849 h 23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165" h="2356">
                    <a:moveTo>
                      <a:pt x="384" y="547"/>
                    </a:moveTo>
                    <a:lnTo>
                      <a:pt x="420" y="653"/>
                    </a:lnTo>
                    <a:lnTo>
                      <a:pt x="294" y="617"/>
                    </a:lnTo>
                    <a:lnTo>
                      <a:pt x="261" y="551"/>
                    </a:lnTo>
                    <a:lnTo>
                      <a:pt x="54" y="497"/>
                    </a:lnTo>
                    <a:lnTo>
                      <a:pt x="3" y="521"/>
                    </a:lnTo>
                    <a:lnTo>
                      <a:pt x="0" y="641"/>
                    </a:lnTo>
                    <a:lnTo>
                      <a:pt x="150" y="704"/>
                    </a:lnTo>
                    <a:lnTo>
                      <a:pt x="162" y="863"/>
                    </a:lnTo>
                    <a:lnTo>
                      <a:pt x="225" y="1052"/>
                    </a:lnTo>
                    <a:lnTo>
                      <a:pt x="252" y="1142"/>
                    </a:lnTo>
                    <a:lnTo>
                      <a:pt x="184" y="1258"/>
                    </a:lnTo>
                    <a:lnTo>
                      <a:pt x="340" y="1249"/>
                    </a:lnTo>
                    <a:lnTo>
                      <a:pt x="387" y="1427"/>
                    </a:lnTo>
                    <a:lnTo>
                      <a:pt x="483" y="1433"/>
                    </a:lnTo>
                    <a:lnTo>
                      <a:pt x="600" y="1490"/>
                    </a:lnTo>
                    <a:lnTo>
                      <a:pt x="636" y="1577"/>
                    </a:lnTo>
                    <a:lnTo>
                      <a:pt x="486" y="1784"/>
                    </a:lnTo>
                    <a:cubicBezTo>
                      <a:pt x="486" y="1836"/>
                      <a:pt x="485" y="1887"/>
                      <a:pt x="485" y="1939"/>
                    </a:cubicBezTo>
                    <a:lnTo>
                      <a:pt x="752" y="1814"/>
                    </a:lnTo>
                    <a:lnTo>
                      <a:pt x="953" y="1795"/>
                    </a:lnTo>
                    <a:lnTo>
                      <a:pt x="1107" y="1799"/>
                    </a:lnTo>
                    <a:lnTo>
                      <a:pt x="1349" y="1997"/>
                    </a:lnTo>
                    <a:lnTo>
                      <a:pt x="1323" y="2113"/>
                    </a:lnTo>
                    <a:lnTo>
                      <a:pt x="1493" y="2356"/>
                    </a:lnTo>
                    <a:lnTo>
                      <a:pt x="1643" y="2351"/>
                    </a:lnTo>
                    <a:lnTo>
                      <a:pt x="1864" y="701"/>
                    </a:lnTo>
                    <a:lnTo>
                      <a:pt x="2165" y="651"/>
                    </a:lnTo>
                    <a:lnTo>
                      <a:pt x="2104" y="260"/>
                    </a:lnTo>
                    <a:lnTo>
                      <a:pt x="1947" y="189"/>
                    </a:lnTo>
                    <a:lnTo>
                      <a:pt x="1730" y="0"/>
                    </a:lnTo>
                    <a:lnTo>
                      <a:pt x="1663" y="83"/>
                    </a:lnTo>
                    <a:lnTo>
                      <a:pt x="1577" y="13"/>
                    </a:lnTo>
                    <a:lnTo>
                      <a:pt x="1444" y="15"/>
                    </a:lnTo>
                    <a:lnTo>
                      <a:pt x="1395" y="56"/>
                    </a:lnTo>
                    <a:lnTo>
                      <a:pt x="1305" y="19"/>
                    </a:lnTo>
                    <a:lnTo>
                      <a:pt x="1209" y="72"/>
                    </a:lnTo>
                    <a:lnTo>
                      <a:pt x="1089" y="56"/>
                    </a:lnTo>
                    <a:lnTo>
                      <a:pt x="1038" y="155"/>
                    </a:lnTo>
                    <a:lnTo>
                      <a:pt x="990" y="221"/>
                    </a:lnTo>
                    <a:lnTo>
                      <a:pt x="1035" y="347"/>
                    </a:lnTo>
                    <a:lnTo>
                      <a:pt x="1125" y="389"/>
                    </a:lnTo>
                    <a:lnTo>
                      <a:pt x="1221" y="407"/>
                    </a:lnTo>
                    <a:lnTo>
                      <a:pt x="1293" y="347"/>
                    </a:lnTo>
                    <a:lnTo>
                      <a:pt x="1359" y="377"/>
                    </a:lnTo>
                    <a:lnTo>
                      <a:pt x="1320" y="455"/>
                    </a:lnTo>
                    <a:lnTo>
                      <a:pt x="1380" y="575"/>
                    </a:lnTo>
                    <a:lnTo>
                      <a:pt x="1206" y="617"/>
                    </a:lnTo>
                    <a:lnTo>
                      <a:pt x="1191" y="560"/>
                    </a:lnTo>
                    <a:lnTo>
                      <a:pt x="1317" y="506"/>
                    </a:lnTo>
                    <a:lnTo>
                      <a:pt x="1269" y="455"/>
                    </a:lnTo>
                    <a:lnTo>
                      <a:pt x="1176" y="464"/>
                    </a:lnTo>
                    <a:lnTo>
                      <a:pt x="1080" y="443"/>
                    </a:lnTo>
                    <a:lnTo>
                      <a:pt x="927" y="383"/>
                    </a:lnTo>
                    <a:lnTo>
                      <a:pt x="618" y="251"/>
                    </a:lnTo>
                    <a:lnTo>
                      <a:pt x="525" y="266"/>
                    </a:lnTo>
                    <a:lnTo>
                      <a:pt x="420" y="257"/>
                    </a:lnTo>
                    <a:lnTo>
                      <a:pt x="372" y="383"/>
                    </a:lnTo>
                    <a:lnTo>
                      <a:pt x="258" y="428"/>
                    </a:lnTo>
                    <a:lnTo>
                      <a:pt x="384" y="547"/>
                    </a:lnTo>
                    <a:close/>
                  </a:path>
                </a:pathLst>
              </a:custGeom>
              <a:solidFill>
                <a:schemeClr val="bg2">
                  <a:lumMod val="90000"/>
                </a:schemeClr>
              </a:solid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27" name="任意多边形 116">
                <a:extLst>
                  <a:ext uri="{FF2B5EF4-FFF2-40B4-BE49-F238E27FC236}">
                    <a16:creationId xmlns:a16="http://schemas.microsoft.com/office/drawing/2014/main" id="{B667F9DB-18F1-0B5B-9E54-E3CD49F39E40}"/>
                  </a:ext>
                </a:extLst>
              </p:cNvPr>
              <p:cNvSpPr>
                <a:spLocks/>
              </p:cNvSpPr>
              <p:nvPr/>
            </p:nvSpPr>
            <p:spPr bwMode="auto">
              <a:xfrm>
                <a:off x="2488602" y="4070985"/>
                <a:ext cx="1421222" cy="1212215"/>
              </a:xfrm>
              <a:custGeom>
                <a:avLst/>
                <a:gdLst>
                  <a:gd name="T0" fmla="*/ 1155932 w 4477"/>
                  <a:gd name="T1" fmla="*/ 0 h 3818"/>
                  <a:gd name="T2" fmla="*/ 0 w 4477"/>
                  <a:gd name="T3" fmla="*/ 497666 h 3818"/>
                  <a:gd name="T4" fmla="*/ 1209770 w 4477"/>
                  <a:gd name="T5" fmla="*/ 1447800 h 3818"/>
                  <a:gd name="T6" fmla="*/ 1235166 w 4477"/>
                  <a:gd name="T7" fmla="*/ 1633535 h 3818"/>
                  <a:gd name="T8" fmla="*/ 1676486 w 4477"/>
                  <a:gd name="T9" fmla="*/ 2171696 h 3818"/>
                  <a:gd name="T10" fmla="*/ 2024148 w 4477"/>
                  <a:gd name="T11" fmla="*/ 2098668 h 3818"/>
                  <a:gd name="T12" fmla="*/ 2286081 w 4477"/>
                  <a:gd name="T13" fmla="*/ 2044692 h 3818"/>
                  <a:gd name="T14" fmla="*/ 2448006 w 4477"/>
                  <a:gd name="T15" fmla="*/ 2141530 h 3818"/>
                  <a:gd name="T16" fmla="*/ 2670254 w 4477"/>
                  <a:gd name="T17" fmla="*/ 2130416 h 3818"/>
                  <a:gd name="T18" fmla="*/ 2929015 w 4477"/>
                  <a:gd name="T19" fmla="*/ 2197092 h 3818"/>
                  <a:gd name="T20" fmla="*/ 3175077 w 4477"/>
                  <a:gd name="T21" fmla="*/ 2024055 h 3818"/>
                  <a:gd name="T22" fmla="*/ 3352877 w 4477"/>
                  <a:gd name="T23" fmla="*/ 2262181 h 3818"/>
                  <a:gd name="T24" fmla="*/ 3532265 w 4477"/>
                  <a:gd name="T25" fmla="*/ 2341555 h 3818"/>
                  <a:gd name="T26" fmla="*/ 3630687 w 4477"/>
                  <a:gd name="T27" fmla="*/ 2687631 h 3818"/>
                  <a:gd name="T28" fmla="*/ 3833889 w 4477"/>
                  <a:gd name="T29" fmla="*/ 2617778 h 3818"/>
                  <a:gd name="T30" fmla="*/ 3797351 w 4477"/>
                  <a:gd name="T31" fmla="*/ 3075550 h 3818"/>
                  <a:gd name="T32" fmla="*/ 4318074 w 4477"/>
                  <a:gd name="T33" fmla="*/ 2492368 h 3818"/>
                  <a:gd name="T34" fmla="*/ 3921210 w 4477"/>
                  <a:gd name="T35" fmla="*/ 695326 h 3818"/>
                  <a:gd name="T36" fmla="*/ 1186022 w 4477"/>
                  <a:gd name="T37" fmla="*/ 0 h 3818"/>
                  <a:gd name="T38" fmla="*/ 1155932 w 4477"/>
                  <a:gd name="T39" fmla="*/ 0 h 38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477" h="3818">
                    <a:moveTo>
                      <a:pt x="680" y="448"/>
                    </a:moveTo>
                    <a:lnTo>
                      <a:pt x="616" y="552"/>
                    </a:lnTo>
                    <a:lnTo>
                      <a:pt x="528" y="592"/>
                    </a:lnTo>
                    <a:lnTo>
                      <a:pt x="197" y="797"/>
                    </a:lnTo>
                    <a:lnTo>
                      <a:pt x="41" y="928"/>
                    </a:lnTo>
                    <a:lnTo>
                      <a:pt x="0" y="1032"/>
                    </a:lnTo>
                    <a:lnTo>
                      <a:pt x="120" y="1024"/>
                    </a:lnTo>
                    <a:lnTo>
                      <a:pt x="176" y="1056"/>
                    </a:lnTo>
                    <a:lnTo>
                      <a:pt x="152" y="1112"/>
                    </a:lnTo>
                    <a:lnTo>
                      <a:pt x="120" y="1184"/>
                    </a:lnTo>
                    <a:lnTo>
                      <a:pt x="240" y="1128"/>
                    </a:lnTo>
                    <a:lnTo>
                      <a:pt x="224" y="1008"/>
                    </a:lnTo>
                    <a:lnTo>
                      <a:pt x="272" y="920"/>
                    </a:lnTo>
                    <a:lnTo>
                      <a:pt x="232" y="800"/>
                    </a:lnTo>
                    <a:lnTo>
                      <a:pt x="336" y="824"/>
                    </a:lnTo>
                    <a:lnTo>
                      <a:pt x="392" y="864"/>
                    </a:lnTo>
                    <a:lnTo>
                      <a:pt x="400" y="984"/>
                    </a:lnTo>
                    <a:lnTo>
                      <a:pt x="488" y="936"/>
                    </a:lnTo>
                    <a:lnTo>
                      <a:pt x="560" y="936"/>
                    </a:lnTo>
                    <a:lnTo>
                      <a:pt x="632" y="968"/>
                    </a:lnTo>
                    <a:lnTo>
                      <a:pt x="696" y="960"/>
                    </a:lnTo>
                    <a:lnTo>
                      <a:pt x="776" y="984"/>
                    </a:lnTo>
                    <a:lnTo>
                      <a:pt x="832" y="984"/>
                    </a:lnTo>
                    <a:lnTo>
                      <a:pt x="816" y="912"/>
                    </a:lnTo>
                    <a:lnTo>
                      <a:pt x="656" y="904"/>
                    </a:lnTo>
                    <a:lnTo>
                      <a:pt x="552" y="888"/>
                    </a:lnTo>
                    <a:lnTo>
                      <a:pt x="512" y="800"/>
                    </a:lnTo>
                    <a:lnTo>
                      <a:pt x="480" y="760"/>
                    </a:lnTo>
                    <a:lnTo>
                      <a:pt x="456" y="704"/>
                    </a:lnTo>
                    <a:lnTo>
                      <a:pt x="520" y="640"/>
                    </a:lnTo>
                    <a:lnTo>
                      <a:pt x="648" y="600"/>
                    </a:lnTo>
                    <a:lnTo>
                      <a:pt x="768" y="648"/>
                    </a:lnTo>
                    <a:lnTo>
                      <a:pt x="832" y="680"/>
                    </a:lnTo>
                    <a:lnTo>
                      <a:pt x="816" y="616"/>
                    </a:lnTo>
                    <a:lnTo>
                      <a:pt x="760" y="552"/>
                    </a:lnTo>
                    <a:lnTo>
                      <a:pt x="864" y="552"/>
                    </a:lnTo>
                    <a:lnTo>
                      <a:pt x="920" y="608"/>
                    </a:lnTo>
                    <a:lnTo>
                      <a:pt x="912" y="680"/>
                    </a:lnTo>
                    <a:lnTo>
                      <a:pt x="952" y="720"/>
                    </a:lnTo>
                    <a:lnTo>
                      <a:pt x="1024" y="752"/>
                    </a:lnTo>
                    <a:lnTo>
                      <a:pt x="1080" y="720"/>
                    </a:lnTo>
                    <a:lnTo>
                      <a:pt x="1096" y="640"/>
                    </a:lnTo>
                    <a:lnTo>
                      <a:pt x="1184" y="584"/>
                    </a:lnTo>
                    <a:lnTo>
                      <a:pt x="1256" y="560"/>
                    </a:lnTo>
                    <a:lnTo>
                      <a:pt x="1360" y="616"/>
                    </a:lnTo>
                    <a:lnTo>
                      <a:pt x="1288" y="704"/>
                    </a:lnTo>
                    <a:lnTo>
                      <a:pt x="1200" y="784"/>
                    </a:lnTo>
                    <a:lnTo>
                      <a:pt x="1120" y="888"/>
                    </a:lnTo>
                    <a:lnTo>
                      <a:pt x="1048" y="1016"/>
                    </a:lnTo>
                    <a:lnTo>
                      <a:pt x="960" y="1000"/>
                    </a:lnTo>
                    <a:lnTo>
                      <a:pt x="920" y="1056"/>
                    </a:lnTo>
                    <a:lnTo>
                      <a:pt x="984" y="1128"/>
                    </a:lnTo>
                    <a:lnTo>
                      <a:pt x="992" y="1192"/>
                    </a:lnTo>
                    <a:lnTo>
                      <a:pt x="928" y="1264"/>
                    </a:lnTo>
                    <a:lnTo>
                      <a:pt x="896" y="1368"/>
                    </a:lnTo>
                    <a:lnTo>
                      <a:pt x="1008" y="1312"/>
                    </a:lnTo>
                    <a:lnTo>
                      <a:pt x="1080" y="1384"/>
                    </a:lnTo>
                    <a:lnTo>
                      <a:pt x="1040" y="1472"/>
                    </a:lnTo>
                    <a:lnTo>
                      <a:pt x="1144" y="1568"/>
                    </a:lnTo>
                    <a:lnTo>
                      <a:pt x="1176" y="1648"/>
                    </a:lnTo>
                    <a:lnTo>
                      <a:pt x="1208" y="1696"/>
                    </a:lnTo>
                    <a:lnTo>
                      <a:pt x="1296" y="1728"/>
                    </a:lnTo>
                    <a:lnTo>
                      <a:pt x="1280" y="1792"/>
                    </a:lnTo>
                    <a:lnTo>
                      <a:pt x="1384" y="1816"/>
                    </a:lnTo>
                    <a:lnTo>
                      <a:pt x="1312" y="1912"/>
                    </a:lnTo>
                    <a:lnTo>
                      <a:pt x="1128" y="2024"/>
                    </a:lnTo>
                    <a:lnTo>
                      <a:pt x="984" y="2072"/>
                    </a:lnTo>
                    <a:lnTo>
                      <a:pt x="946" y="2186"/>
                    </a:lnTo>
                    <a:lnTo>
                      <a:pt x="970" y="2368"/>
                    </a:lnTo>
                    <a:lnTo>
                      <a:pt x="1402" y="2894"/>
                    </a:lnTo>
                    <a:lnTo>
                      <a:pt x="1741" y="2822"/>
                    </a:lnTo>
                    <a:lnTo>
                      <a:pt x="1997" y="2769"/>
                    </a:lnTo>
                    <a:lnTo>
                      <a:pt x="2155" y="2864"/>
                    </a:lnTo>
                    <a:lnTo>
                      <a:pt x="2372" y="2853"/>
                    </a:lnTo>
                    <a:lnTo>
                      <a:pt x="2625" y="2918"/>
                    </a:lnTo>
                    <a:lnTo>
                      <a:pt x="2866" y="2749"/>
                    </a:lnTo>
                    <a:lnTo>
                      <a:pt x="3039" y="2982"/>
                    </a:lnTo>
                    <a:lnTo>
                      <a:pt x="3215" y="3060"/>
                    </a:lnTo>
                    <a:lnTo>
                      <a:pt x="3311" y="3399"/>
                    </a:lnTo>
                    <a:lnTo>
                      <a:pt x="3509" y="3331"/>
                    </a:lnTo>
                    <a:lnTo>
                      <a:pt x="3453" y="3818"/>
                    </a:lnTo>
                    <a:lnTo>
                      <a:pt x="3621" y="3669"/>
                    </a:lnTo>
                    <a:lnTo>
                      <a:pt x="3801" y="3534"/>
                    </a:lnTo>
                    <a:lnTo>
                      <a:pt x="4015" y="3385"/>
                    </a:lnTo>
                    <a:lnTo>
                      <a:pt x="4184" y="3329"/>
                    </a:lnTo>
                    <a:lnTo>
                      <a:pt x="4379" y="3184"/>
                    </a:lnTo>
                    <a:lnTo>
                      <a:pt x="4280" y="3041"/>
                    </a:lnTo>
                    <a:lnTo>
                      <a:pt x="4454" y="2849"/>
                    </a:lnTo>
                    <a:lnTo>
                      <a:pt x="4415" y="2734"/>
                    </a:lnTo>
                    <a:lnTo>
                      <a:pt x="4477" y="2566"/>
                    </a:lnTo>
                    <a:lnTo>
                      <a:pt x="4244" y="2348"/>
                    </a:lnTo>
                    <a:lnTo>
                      <a:pt x="4230" y="1913"/>
                    </a:lnTo>
                    <a:lnTo>
                      <a:pt x="4091" y="1662"/>
                    </a:lnTo>
                    <a:lnTo>
                      <a:pt x="4122" y="1533"/>
                    </a:lnTo>
                    <a:lnTo>
                      <a:pt x="4150" y="1254"/>
                    </a:lnTo>
                    <a:lnTo>
                      <a:pt x="4012" y="1090"/>
                    </a:lnTo>
                    <a:lnTo>
                      <a:pt x="3861" y="1082"/>
                    </a:lnTo>
                    <a:lnTo>
                      <a:pt x="3747" y="1152"/>
                    </a:lnTo>
                    <a:lnTo>
                      <a:pt x="3294" y="1127"/>
                    </a:lnTo>
                    <a:lnTo>
                      <a:pt x="3090" y="966"/>
                    </a:lnTo>
                    <a:lnTo>
                      <a:pt x="2717" y="761"/>
                    </a:lnTo>
                    <a:lnTo>
                      <a:pt x="2284" y="575"/>
                    </a:lnTo>
                    <a:lnTo>
                      <a:pt x="1960" y="382"/>
                    </a:lnTo>
                    <a:lnTo>
                      <a:pt x="1809" y="249"/>
                    </a:lnTo>
                    <a:lnTo>
                      <a:pt x="1640" y="192"/>
                    </a:lnTo>
                    <a:lnTo>
                      <a:pt x="1568" y="88"/>
                    </a:lnTo>
                    <a:lnTo>
                      <a:pt x="1440" y="0"/>
                    </a:lnTo>
                    <a:lnTo>
                      <a:pt x="1224" y="0"/>
                    </a:lnTo>
                    <a:lnTo>
                      <a:pt x="1040" y="296"/>
                    </a:lnTo>
                    <a:lnTo>
                      <a:pt x="960" y="384"/>
                    </a:lnTo>
                    <a:lnTo>
                      <a:pt x="824" y="400"/>
                    </a:lnTo>
                    <a:lnTo>
                      <a:pt x="736" y="368"/>
                    </a:lnTo>
                    <a:lnTo>
                      <a:pt x="680" y="448"/>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28" name="任意多边形 117">
                <a:extLst>
                  <a:ext uri="{FF2B5EF4-FFF2-40B4-BE49-F238E27FC236}">
                    <a16:creationId xmlns:a16="http://schemas.microsoft.com/office/drawing/2014/main" id="{23F7BDC5-4BB2-2D0D-FCB3-DAAFBC51F390}"/>
                  </a:ext>
                </a:extLst>
              </p:cNvPr>
              <p:cNvSpPr>
                <a:spLocks/>
              </p:cNvSpPr>
              <p:nvPr/>
            </p:nvSpPr>
            <p:spPr bwMode="auto">
              <a:xfrm>
                <a:off x="2591455" y="4479925"/>
                <a:ext cx="59681" cy="27940"/>
              </a:xfrm>
              <a:custGeom>
                <a:avLst/>
                <a:gdLst>
                  <a:gd name="T0" fmla="*/ 195587 w 188"/>
                  <a:gd name="T1" fmla="*/ 0 h 88"/>
                  <a:gd name="T2" fmla="*/ 0 w 188"/>
                  <a:gd name="T3" fmla="*/ 2919412 h 88"/>
                  <a:gd name="T4" fmla="*/ 3309938 w 188"/>
                  <a:gd name="T5" fmla="*/ 827669 h 88"/>
                  <a:gd name="T6" fmla="*/ 225678 w 188"/>
                  <a:gd name="T7" fmla="*/ 0 h 88"/>
                  <a:gd name="T8" fmla="*/ 195587 w 188"/>
                  <a:gd name="T9" fmla="*/ 0 h 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8" h="88">
                    <a:moveTo>
                      <a:pt x="32" y="32"/>
                    </a:moveTo>
                    <a:lnTo>
                      <a:pt x="0" y="60"/>
                    </a:lnTo>
                    <a:lnTo>
                      <a:pt x="64" y="88"/>
                    </a:lnTo>
                    <a:lnTo>
                      <a:pt x="108" y="60"/>
                    </a:lnTo>
                    <a:lnTo>
                      <a:pt x="188" y="12"/>
                    </a:lnTo>
                    <a:lnTo>
                      <a:pt x="152" y="12"/>
                    </a:lnTo>
                    <a:lnTo>
                      <a:pt x="76" y="0"/>
                    </a:lnTo>
                    <a:lnTo>
                      <a:pt x="48" y="0"/>
                    </a:lnTo>
                    <a:lnTo>
                      <a:pt x="32" y="32"/>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29" name="任意多边形 10">
                <a:extLst>
                  <a:ext uri="{FF2B5EF4-FFF2-40B4-BE49-F238E27FC236}">
                    <a16:creationId xmlns:a16="http://schemas.microsoft.com/office/drawing/2014/main" id="{CEC7CAA1-BDBF-4A7A-E1DE-8DE20F7ECE61}"/>
                  </a:ext>
                </a:extLst>
              </p:cNvPr>
              <p:cNvSpPr>
                <a:spLocks/>
              </p:cNvSpPr>
              <p:nvPr/>
            </p:nvSpPr>
            <p:spPr bwMode="auto">
              <a:xfrm>
                <a:off x="2454317" y="4485005"/>
                <a:ext cx="71109" cy="97790"/>
              </a:xfrm>
              <a:custGeom>
                <a:avLst/>
                <a:gdLst>
                  <a:gd name="T0" fmla="*/ 195587 w 224"/>
                  <a:gd name="T1" fmla="*/ 0 h 308"/>
                  <a:gd name="T2" fmla="*/ 0 w 224"/>
                  <a:gd name="T3" fmla="*/ 2919412 h 308"/>
                  <a:gd name="T4" fmla="*/ 3309938 w 224"/>
                  <a:gd name="T5" fmla="*/ 827669 h 308"/>
                  <a:gd name="T6" fmla="*/ 225678 w 224"/>
                  <a:gd name="T7" fmla="*/ 0 h 308"/>
                  <a:gd name="T8" fmla="*/ 195587 w 224"/>
                  <a:gd name="T9" fmla="*/ 0 h 30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4" h="308">
                    <a:moveTo>
                      <a:pt x="28" y="72"/>
                    </a:moveTo>
                    <a:lnTo>
                      <a:pt x="0" y="108"/>
                    </a:lnTo>
                    <a:lnTo>
                      <a:pt x="140" y="226"/>
                    </a:lnTo>
                    <a:lnTo>
                      <a:pt x="180" y="216"/>
                    </a:lnTo>
                    <a:lnTo>
                      <a:pt x="224" y="200"/>
                    </a:lnTo>
                    <a:lnTo>
                      <a:pt x="224" y="308"/>
                    </a:lnTo>
                    <a:lnTo>
                      <a:pt x="140" y="224"/>
                    </a:lnTo>
                    <a:lnTo>
                      <a:pt x="140" y="132"/>
                    </a:lnTo>
                    <a:lnTo>
                      <a:pt x="164" y="80"/>
                    </a:lnTo>
                    <a:lnTo>
                      <a:pt x="200" y="36"/>
                    </a:lnTo>
                    <a:lnTo>
                      <a:pt x="180" y="4"/>
                    </a:lnTo>
                    <a:lnTo>
                      <a:pt x="132" y="0"/>
                    </a:lnTo>
                    <a:lnTo>
                      <a:pt x="108" y="36"/>
                    </a:lnTo>
                    <a:lnTo>
                      <a:pt x="80" y="52"/>
                    </a:lnTo>
                    <a:lnTo>
                      <a:pt x="28" y="72"/>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grpSp>
        <p:sp>
          <p:nvSpPr>
            <p:cNvPr id="11" name="任意多边形 110">
              <a:extLst>
                <a:ext uri="{FF2B5EF4-FFF2-40B4-BE49-F238E27FC236}">
                  <a16:creationId xmlns:a16="http://schemas.microsoft.com/office/drawing/2014/main" id="{2C08D64E-00DF-5E72-8B85-7CCD245F8AA8}"/>
                </a:ext>
              </a:extLst>
            </p:cNvPr>
            <p:cNvSpPr>
              <a:spLocks/>
            </p:cNvSpPr>
            <p:nvPr/>
          </p:nvSpPr>
          <p:spPr bwMode="auto">
            <a:xfrm>
              <a:off x="4878284" y="2556792"/>
              <a:ext cx="2702929" cy="1810252"/>
            </a:xfrm>
            <a:custGeom>
              <a:avLst/>
              <a:gdLst>
                <a:gd name="connsiteX0" fmla="*/ 26157237 w 27560432"/>
                <a:gd name="connsiteY0" fmla="*/ 4322377 h 15152939"/>
                <a:gd name="connsiteX1" fmla="*/ 25950755 w 27560432"/>
                <a:gd name="connsiteY1" fmla="*/ 4946265 h 15152939"/>
                <a:gd name="connsiteX2" fmla="*/ 26059273 w 27560432"/>
                <a:gd name="connsiteY2" fmla="*/ 5561190 h 15152939"/>
                <a:gd name="connsiteX3" fmla="*/ 26439085 w 27560432"/>
                <a:gd name="connsiteY3" fmla="*/ 6103777 h 15152939"/>
                <a:gd name="connsiteX4" fmla="*/ 26366739 w 27560432"/>
                <a:gd name="connsiteY4" fmla="*/ 6555934 h 15152939"/>
                <a:gd name="connsiteX5" fmla="*/ 25824148 w 27560432"/>
                <a:gd name="connsiteY5" fmla="*/ 6827228 h 15152939"/>
                <a:gd name="connsiteX6" fmla="*/ 26023104 w 27560432"/>
                <a:gd name="connsiteY6" fmla="*/ 7478344 h 15152939"/>
                <a:gd name="connsiteX7" fmla="*/ 26619948 w 27560432"/>
                <a:gd name="connsiteY7" fmla="*/ 7840060 h 15152939"/>
                <a:gd name="connsiteX8" fmla="*/ 26276305 w 27560432"/>
                <a:gd name="connsiteY8" fmla="*/ 8672029 h 15152939"/>
                <a:gd name="connsiteX9" fmla="*/ 26312478 w 27560432"/>
                <a:gd name="connsiteY9" fmla="*/ 9666777 h 15152939"/>
                <a:gd name="connsiteX10" fmla="*/ 25878405 w 27560432"/>
                <a:gd name="connsiteY10" fmla="*/ 10227453 h 15152939"/>
                <a:gd name="connsiteX11" fmla="*/ 26402912 w 27560432"/>
                <a:gd name="connsiteY11" fmla="*/ 10643437 h 15152939"/>
                <a:gd name="connsiteX12" fmla="*/ 27319497 w 27560432"/>
                <a:gd name="connsiteY12" fmla="*/ 10082959 h 15152939"/>
                <a:gd name="connsiteX13" fmla="*/ 27560432 w 27560432"/>
                <a:gd name="connsiteY13" fmla="*/ 10281714 h 15152939"/>
                <a:gd name="connsiteX14" fmla="*/ 27542355 w 27560432"/>
                <a:gd name="connsiteY14" fmla="*/ 12005935 h 15152939"/>
                <a:gd name="connsiteX15" fmla="*/ 26089423 w 27560432"/>
                <a:gd name="connsiteY15" fmla="*/ 11975789 h 15152939"/>
                <a:gd name="connsiteX16" fmla="*/ 24473715 w 27560432"/>
                <a:gd name="connsiteY16" fmla="*/ 12090334 h 15152939"/>
                <a:gd name="connsiteX17" fmla="*/ 23135328 w 27560432"/>
                <a:gd name="connsiteY17" fmla="*/ 12222964 h 15152939"/>
                <a:gd name="connsiteX18" fmla="*/ 22261159 w 27560432"/>
                <a:gd name="connsiteY18" fmla="*/ 12934357 h 15152939"/>
                <a:gd name="connsiteX19" fmla="*/ 20826342 w 27560432"/>
                <a:gd name="connsiteY19" fmla="*/ 14369204 h 15152939"/>
                <a:gd name="connsiteX20" fmla="*/ 12952786 w 27560432"/>
                <a:gd name="connsiteY20" fmla="*/ 14960014 h 15152939"/>
                <a:gd name="connsiteX21" fmla="*/ 11934663 w 27560432"/>
                <a:gd name="connsiteY21" fmla="*/ 15008264 h 15152939"/>
                <a:gd name="connsiteX22" fmla="*/ 8506848 w 27560432"/>
                <a:gd name="connsiteY22" fmla="*/ 15152939 h 15152939"/>
                <a:gd name="connsiteX23" fmla="*/ 7985095 w 27560432"/>
                <a:gd name="connsiteY23" fmla="*/ 14507857 h 15152939"/>
                <a:gd name="connsiteX24" fmla="*/ 7400308 w 27560432"/>
                <a:gd name="connsiteY24" fmla="*/ 14477712 h 15152939"/>
                <a:gd name="connsiteX25" fmla="*/ 6972273 w 27560432"/>
                <a:gd name="connsiteY25" fmla="*/ 14749009 h 15152939"/>
                <a:gd name="connsiteX26" fmla="*/ 5181729 w 27560432"/>
                <a:gd name="connsiteY26" fmla="*/ 14664610 h 15152939"/>
                <a:gd name="connsiteX27" fmla="*/ 4397998 w 27560432"/>
                <a:gd name="connsiteY27" fmla="*/ 14031593 h 15152939"/>
                <a:gd name="connsiteX28" fmla="*/ 2908896 w 27560432"/>
                <a:gd name="connsiteY28" fmla="*/ 13223739 h 15152939"/>
                <a:gd name="connsiteX29" fmla="*/ 1263043 w 27560432"/>
                <a:gd name="connsiteY29" fmla="*/ 12512346 h 15152939"/>
                <a:gd name="connsiteX30" fmla="*/ 485320 w 27560432"/>
                <a:gd name="connsiteY30" fmla="*/ 12060189 h 15152939"/>
                <a:gd name="connsiteX31" fmla="*/ 0 w 27560432"/>
                <a:gd name="connsiteY31" fmla="*/ 11767077 h 15152939"/>
                <a:gd name="connsiteX32" fmla="*/ 1003686 w 27560432"/>
                <a:gd name="connsiteY32" fmla="*/ 11021112 h 15152939"/>
                <a:gd name="connsiteX33" fmla="*/ 2902551 w 27560432"/>
                <a:gd name="connsiteY33" fmla="*/ 9836713 h 15152939"/>
                <a:gd name="connsiteX34" fmla="*/ 2558940 w 27560432"/>
                <a:gd name="connsiteY34" fmla="*/ 9303282 h 15152939"/>
                <a:gd name="connsiteX35" fmla="*/ 2402508 w 27560432"/>
                <a:gd name="connsiteY35" fmla="*/ 8616199 h 15152939"/>
                <a:gd name="connsiteX36" fmla="*/ 2730740 w 27560432"/>
                <a:gd name="connsiteY36" fmla="*/ 8589028 h 15152939"/>
                <a:gd name="connsiteX37" fmla="*/ 2947754 w 27560432"/>
                <a:gd name="connsiteY37" fmla="*/ 8118883 h 15152939"/>
                <a:gd name="connsiteX38" fmla="*/ 3499325 w 27560432"/>
                <a:gd name="connsiteY38" fmla="*/ 7675866 h 15152939"/>
                <a:gd name="connsiteX39" fmla="*/ 3680166 w 27560432"/>
                <a:gd name="connsiteY39" fmla="*/ 6798868 h 15152939"/>
                <a:gd name="connsiteX40" fmla="*/ 4186528 w 27560432"/>
                <a:gd name="connsiteY40" fmla="*/ 6807904 h 15152939"/>
                <a:gd name="connsiteX41" fmla="*/ 4837569 w 27560432"/>
                <a:gd name="connsiteY41" fmla="*/ 7278054 h 15152939"/>
                <a:gd name="connsiteX42" fmla="*/ 5352976 w 27560432"/>
                <a:gd name="connsiteY42" fmla="*/ 7196687 h 15152939"/>
                <a:gd name="connsiteX43" fmla="*/ 5741786 w 27560432"/>
                <a:gd name="connsiteY43" fmla="*/ 6825992 h 15152939"/>
                <a:gd name="connsiteX44" fmla="*/ 6157723 w 27560432"/>
                <a:gd name="connsiteY44" fmla="*/ 6663251 h 15152939"/>
                <a:gd name="connsiteX45" fmla="*/ 6745471 w 27560432"/>
                <a:gd name="connsiteY45" fmla="*/ 6093658 h 15152939"/>
                <a:gd name="connsiteX46" fmla="*/ 6890140 w 27560432"/>
                <a:gd name="connsiteY46" fmla="*/ 5243782 h 15152939"/>
                <a:gd name="connsiteX47" fmla="*/ 7568305 w 27560432"/>
                <a:gd name="connsiteY47" fmla="*/ 4674188 h 15152939"/>
                <a:gd name="connsiteX48" fmla="*/ 8137967 w 27560432"/>
                <a:gd name="connsiteY48" fmla="*/ 4231167 h 15152939"/>
                <a:gd name="connsiteX49" fmla="*/ 8463480 w 27560432"/>
                <a:gd name="connsiteY49" fmla="*/ 3426500 h 15152939"/>
                <a:gd name="connsiteX50" fmla="*/ 9024093 w 27560432"/>
                <a:gd name="connsiteY50" fmla="*/ 3073893 h 15152939"/>
                <a:gd name="connsiteX51" fmla="*/ 9675138 w 27560432"/>
                <a:gd name="connsiteY51" fmla="*/ 2721291 h 15152939"/>
                <a:gd name="connsiteX52" fmla="*/ 9558580 w 27560432"/>
                <a:gd name="connsiteY52" fmla="*/ 2173007 h 15152939"/>
                <a:gd name="connsiteX53" fmla="*/ 10353296 w 27560432"/>
                <a:gd name="connsiteY53" fmla="*/ 1500723 h 15152939"/>
                <a:gd name="connsiteX54" fmla="*/ 10832530 w 27560432"/>
                <a:gd name="connsiteY54" fmla="*/ 1428389 h 15152939"/>
                <a:gd name="connsiteX55" fmla="*/ 11058585 w 27560432"/>
                <a:gd name="connsiteY55" fmla="*/ 1880458 h 15152939"/>
                <a:gd name="connsiteX56" fmla="*/ 11411229 w 27560432"/>
                <a:gd name="connsiteY56" fmla="*/ 2260189 h 15152939"/>
                <a:gd name="connsiteX57" fmla="*/ 11998974 w 27560432"/>
                <a:gd name="connsiteY57" fmla="*/ 2341559 h 15152939"/>
                <a:gd name="connsiteX58" fmla="*/ 12315449 w 27560432"/>
                <a:gd name="connsiteY58" fmla="*/ 3001571 h 15152939"/>
                <a:gd name="connsiteX59" fmla="*/ 12785642 w 27560432"/>
                <a:gd name="connsiteY59" fmla="*/ 2820742 h 15152939"/>
                <a:gd name="connsiteX60" fmla="*/ 13671776 w 27560432"/>
                <a:gd name="connsiteY60" fmla="*/ 3272803 h 15152939"/>
                <a:gd name="connsiteX61" fmla="*/ 14123886 w 27560432"/>
                <a:gd name="connsiteY61" fmla="*/ 2974450 h 15152939"/>
                <a:gd name="connsiteX62" fmla="*/ 14259509 w 27560432"/>
                <a:gd name="connsiteY62" fmla="*/ 2404849 h 15152939"/>
                <a:gd name="connsiteX63" fmla="*/ 14892468 w 27560432"/>
                <a:gd name="connsiteY63" fmla="*/ 1762918 h 15152939"/>
                <a:gd name="connsiteX64" fmla="*/ 15778605 w 27560432"/>
                <a:gd name="connsiteY64" fmla="*/ 1211398 h 15152939"/>
                <a:gd name="connsiteX65" fmla="*/ 16022739 w 27560432"/>
                <a:gd name="connsiteY65" fmla="*/ 1681548 h 15152939"/>
                <a:gd name="connsiteX66" fmla="*/ 16013694 w 27560432"/>
                <a:gd name="connsiteY66" fmla="*/ 2169778 h 15152939"/>
                <a:gd name="connsiteX67" fmla="*/ 16556232 w 27560432"/>
                <a:gd name="connsiteY67" fmla="*/ 2260200 h 15152939"/>
                <a:gd name="connsiteX68" fmla="*/ 16863663 w 27560432"/>
                <a:gd name="connsiteY68" fmla="*/ 1744834 h 15152939"/>
                <a:gd name="connsiteX69" fmla="*/ 17406193 w 27560432"/>
                <a:gd name="connsiteY69" fmla="*/ 1410312 h 15152939"/>
                <a:gd name="connsiteX70" fmla="*/ 17623203 w 27560432"/>
                <a:gd name="connsiteY70" fmla="*/ 867840 h 15152939"/>
                <a:gd name="connsiteX71" fmla="*/ 18120524 w 27560432"/>
                <a:gd name="connsiteY71" fmla="*/ 831675 h 15152939"/>
                <a:gd name="connsiteX72" fmla="*/ 18201903 w 27560432"/>
                <a:gd name="connsiteY72" fmla="*/ 542358 h 15152939"/>
                <a:gd name="connsiteX73" fmla="*/ 18744437 w 27560432"/>
                <a:gd name="connsiteY73" fmla="*/ 117414 h 15152939"/>
                <a:gd name="connsiteX74" fmla="*/ 19443290 w 27560432"/>
                <a:gd name="connsiteY74" fmla="*/ 0 h 15152939"/>
                <a:gd name="connsiteX75" fmla="*/ 19982300 w 27560432"/>
                <a:gd name="connsiteY75" fmla="*/ 460880 h 15152939"/>
                <a:gd name="connsiteX76" fmla="*/ 19530143 w 27560432"/>
                <a:gd name="connsiteY76" fmla="*/ 913038 h 15152939"/>
                <a:gd name="connsiteX77" fmla="*/ 19837609 w 27560432"/>
                <a:gd name="connsiteY77" fmla="*/ 1238588 h 15152939"/>
                <a:gd name="connsiteX78" fmla="*/ 20886614 w 27560432"/>
                <a:gd name="connsiteY78" fmla="*/ 1546055 h 15152939"/>
                <a:gd name="connsiteX79" fmla="*/ 21881359 w 27560432"/>
                <a:gd name="connsiteY79" fmla="*/ 1889694 h 15152939"/>
                <a:gd name="connsiteX80" fmla="*/ 21772837 w 27560432"/>
                <a:gd name="connsiteY80" fmla="*/ 2269505 h 15152939"/>
                <a:gd name="connsiteX81" fmla="*/ 21537712 w 27560432"/>
                <a:gd name="connsiteY81" fmla="*/ 2884438 h 15152939"/>
                <a:gd name="connsiteX82" fmla="*/ 21996067 w 27560432"/>
                <a:gd name="connsiteY82" fmla="*/ 2911656 h 15152939"/>
                <a:gd name="connsiteX83" fmla="*/ 22478203 w 27560432"/>
                <a:gd name="connsiteY83" fmla="*/ 2414189 h 15152939"/>
                <a:gd name="connsiteX84" fmla="*/ 23292084 w 27560432"/>
                <a:gd name="connsiteY84" fmla="*/ 2016293 h 15152939"/>
                <a:gd name="connsiteX85" fmla="*/ 23888932 w 27560432"/>
                <a:gd name="connsiteY85" fmla="*/ 1998212 h 15152939"/>
                <a:gd name="connsiteX86" fmla="*/ 24612383 w 27560432"/>
                <a:gd name="connsiteY86" fmla="*/ 1582227 h 15152939"/>
                <a:gd name="connsiteX87" fmla="*/ 25010275 w 27560432"/>
                <a:gd name="connsiteY87" fmla="*/ 695990 h 15152939"/>
                <a:gd name="connsiteX88" fmla="*/ 25769899 w 27560432"/>
                <a:gd name="connsiteY88" fmla="*/ 840685 h 15152939"/>
                <a:gd name="connsiteX89" fmla="*/ 26402920 w 27560432"/>
                <a:gd name="connsiteY89" fmla="*/ 876857 h 15152939"/>
                <a:gd name="connsiteX90" fmla="*/ 26240141 w 27560432"/>
                <a:gd name="connsiteY90" fmla="*/ 1491794 h 15152939"/>
                <a:gd name="connsiteX91" fmla="*/ 26554742 w 27560432"/>
                <a:gd name="connsiteY91" fmla="*/ 2052454 h 15152939"/>
                <a:gd name="connsiteX92" fmla="*/ 25679461 w 27560432"/>
                <a:gd name="connsiteY92" fmla="*/ 2775920 h 15152939"/>
                <a:gd name="connsiteX93" fmla="*/ 25751806 w 27560432"/>
                <a:gd name="connsiteY93" fmla="*/ 3806840 h 15152939"/>
                <a:gd name="connsiteX94" fmla="*/ 26157237 w 27560432"/>
                <a:gd name="connsiteY94"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023104 w 27542354"/>
                <a:gd name="connsiteY6" fmla="*/ 7478344 h 15152939"/>
                <a:gd name="connsiteX7" fmla="*/ 26619948 w 27542354"/>
                <a:gd name="connsiteY7" fmla="*/ 7840060 h 15152939"/>
                <a:gd name="connsiteX8" fmla="*/ 26276305 w 27542354"/>
                <a:gd name="connsiteY8" fmla="*/ 8672029 h 15152939"/>
                <a:gd name="connsiteX9" fmla="*/ 26312478 w 27542354"/>
                <a:gd name="connsiteY9" fmla="*/ 9666777 h 15152939"/>
                <a:gd name="connsiteX10" fmla="*/ 25878405 w 27542354"/>
                <a:gd name="connsiteY10" fmla="*/ 10227453 h 15152939"/>
                <a:gd name="connsiteX11" fmla="*/ 26402912 w 27542354"/>
                <a:gd name="connsiteY11" fmla="*/ 10643437 h 15152939"/>
                <a:gd name="connsiteX12" fmla="*/ 27319497 w 27542354"/>
                <a:gd name="connsiteY12" fmla="*/ 10082959 h 15152939"/>
                <a:gd name="connsiteX13" fmla="*/ 27542355 w 27542354"/>
                <a:gd name="connsiteY13" fmla="*/ 12005935 h 15152939"/>
                <a:gd name="connsiteX14" fmla="*/ 26089423 w 27542354"/>
                <a:gd name="connsiteY14" fmla="*/ 11975789 h 15152939"/>
                <a:gd name="connsiteX15" fmla="*/ 24473715 w 27542354"/>
                <a:gd name="connsiteY15" fmla="*/ 12090334 h 15152939"/>
                <a:gd name="connsiteX16" fmla="*/ 23135328 w 27542354"/>
                <a:gd name="connsiteY16" fmla="*/ 12222964 h 15152939"/>
                <a:gd name="connsiteX17" fmla="*/ 22261159 w 27542354"/>
                <a:gd name="connsiteY17" fmla="*/ 12934357 h 15152939"/>
                <a:gd name="connsiteX18" fmla="*/ 20826342 w 27542354"/>
                <a:gd name="connsiteY18" fmla="*/ 14369204 h 15152939"/>
                <a:gd name="connsiteX19" fmla="*/ 12952786 w 27542354"/>
                <a:gd name="connsiteY19" fmla="*/ 14960014 h 15152939"/>
                <a:gd name="connsiteX20" fmla="*/ 11934663 w 27542354"/>
                <a:gd name="connsiteY20" fmla="*/ 15008264 h 15152939"/>
                <a:gd name="connsiteX21" fmla="*/ 8506848 w 27542354"/>
                <a:gd name="connsiteY21" fmla="*/ 15152939 h 15152939"/>
                <a:gd name="connsiteX22" fmla="*/ 7985095 w 27542354"/>
                <a:gd name="connsiteY22" fmla="*/ 14507857 h 15152939"/>
                <a:gd name="connsiteX23" fmla="*/ 7400308 w 27542354"/>
                <a:gd name="connsiteY23" fmla="*/ 14477712 h 15152939"/>
                <a:gd name="connsiteX24" fmla="*/ 6972273 w 27542354"/>
                <a:gd name="connsiteY24" fmla="*/ 14749009 h 15152939"/>
                <a:gd name="connsiteX25" fmla="*/ 5181729 w 27542354"/>
                <a:gd name="connsiteY25" fmla="*/ 14664610 h 15152939"/>
                <a:gd name="connsiteX26" fmla="*/ 4397998 w 27542354"/>
                <a:gd name="connsiteY26" fmla="*/ 14031593 h 15152939"/>
                <a:gd name="connsiteX27" fmla="*/ 2908896 w 27542354"/>
                <a:gd name="connsiteY27" fmla="*/ 13223739 h 15152939"/>
                <a:gd name="connsiteX28" fmla="*/ 1263043 w 27542354"/>
                <a:gd name="connsiteY28" fmla="*/ 12512346 h 15152939"/>
                <a:gd name="connsiteX29" fmla="*/ 485320 w 27542354"/>
                <a:gd name="connsiteY29" fmla="*/ 12060189 h 15152939"/>
                <a:gd name="connsiteX30" fmla="*/ 0 w 27542354"/>
                <a:gd name="connsiteY30" fmla="*/ 11767077 h 15152939"/>
                <a:gd name="connsiteX31" fmla="*/ 1003686 w 27542354"/>
                <a:gd name="connsiteY31" fmla="*/ 11021112 h 15152939"/>
                <a:gd name="connsiteX32" fmla="*/ 2902551 w 27542354"/>
                <a:gd name="connsiteY32" fmla="*/ 9836713 h 15152939"/>
                <a:gd name="connsiteX33" fmla="*/ 2558940 w 27542354"/>
                <a:gd name="connsiteY33" fmla="*/ 9303282 h 15152939"/>
                <a:gd name="connsiteX34" fmla="*/ 2402508 w 27542354"/>
                <a:gd name="connsiteY34" fmla="*/ 8616199 h 15152939"/>
                <a:gd name="connsiteX35" fmla="*/ 2730740 w 27542354"/>
                <a:gd name="connsiteY35" fmla="*/ 8589028 h 15152939"/>
                <a:gd name="connsiteX36" fmla="*/ 2947754 w 27542354"/>
                <a:gd name="connsiteY36" fmla="*/ 8118883 h 15152939"/>
                <a:gd name="connsiteX37" fmla="*/ 3499325 w 27542354"/>
                <a:gd name="connsiteY37" fmla="*/ 7675866 h 15152939"/>
                <a:gd name="connsiteX38" fmla="*/ 3680166 w 27542354"/>
                <a:gd name="connsiteY38" fmla="*/ 6798868 h 15152939"/>
                <a:gd name="connsiteX39" fmla="*/ 4186528 w 27542354"/>
                <a:gd name="connsiteY39" fmla="*/ 6807904 h 15152939"/>
                <a:gd name="connsiteX40" fmla="*/ 4837569 w 27542354"/>
                <a:gd name="connsiteY40" fmla="*/ 7278054 h 15152939"/>
                <a:gd name="connsiteX41" fmla="*/ 5352976 w 27542354"/>
                <a:gd name="connsiteY41" fmla="*/ 7196687 h 15152939"/>
                <a:gd name="connsiteX42" fmla="*/ 5741786 w 27542354"/>
                <a:gd name="connsiteY42" fmla="*/ 6825992 h 15152939"/>
                <a:gd name="connsiteX43" fmla="*/ 6157723 w 27542354"/>
                <a:gd name="connsiteY43" fmla="*/ 6663251 h 15152939"/>
                <a:gd name="connsiteX44" fmla="*/ 6745471 w 27542354"/>
                <a:gd name="connsiteY44" fmla="*/ 6093658 h 15152939"/>
                <a:gd name="connsiteX45" fmla="*/ 6890140 w 27542354"/>
                <a:gd name="connsiteY45" fmla="*/ 5243782 h 15152939"/>
                <a:gd name="connsiteX46" fmla="*/ 7568305 w 27542354"/>
                <a:gd name="connsiteY46" fmla="*/ 4674188 h 15152939"/>
                <a:gd name="connsiteX47" fmla="*/ 8137967 w 27542354"/>
                <a:gd name="connsiteY47" fmla="*/ 4231167 h 15152939"/>
                <a:gd name="connsiteX48" fmla="*/ 8463480 w 27542354"/>
                <a:gd name="connsiteY48" fmla="*/ 3426500 h 15152939"/>
                <a:gd name="connsiteX49" fmla="*/ 9024093 w 27542354"/>
                <a:gd name="connsiteY49" fmla="*/ 3073893 h 15152939"/>
                <a:gd name="connsiteX50" fmla="*/ 9675138 w 27542354"/>
                <a:gd name="connsiteY50" fmla="*/ 2721291 h 15152939"/>
                <a:gd name="connsiteX51" fmla="*/ 9558580 w 27542354"/>
                <a:gd name="connsiteY51" fmla="*/ 2173007 h 15152939"/>
                <a:gd name="connsiteX52" fmla="*/ 10353296 w 27542354"/>
                <a:gd name="connsiteY52" fmla="*/ 1500723 h 15152939"/>
                <a:gd name="connsiteX53" fmla="*/ 10832530 w 27542354"/>
                <a:gd name="connsiteY53" fmla="*/ 1428389 h 15152939"/>
                <a:gd name="connsiteX54" fmla="*/ 11058585 w 27542354"/>
                <a:gd name="connsiteY54" fmla="*/ 1880458 h 15152939"/>
                <a:gd name="connsiteX55" fmla="*/ 11411229 w 27542354"/>
                <a:gd name="connsiteY55" fmla="*/ 2260189 h 15152939"/>
                <a:gd name="connsiteX56" fmla="*/ 11998974 w 27542354"/>
                <a:gd name="connsiteY56" fmla="*/ 2341559 h 15152939"/>
                <a:gd name="connsiteX57" fmla="*/ 12315449 w 27542354"/>
                <a:gd name="connsiteY57" fmla="*/ 3001571 h 15152939"/>
                <a:gd name="connsiteX58" fmla="*/ 12785642 w 27542354"/>
                <a:gd name="connsiteY58" fmla="*/ 2820742 h 15152939"/>
                <a:gd name="connsiteX59" fmla="*/ 13671776 w 27542354"/>
                <a:gd name="connsiteY59" fmla="*/ 3272803 h 15152939"/>
                <a:gd name="connsiteX60" fmla="*/ 14123886 w 27542354"/>
                <a:gd name="connsiteY60" fmla="*/ 2974450 h 15152939"/>
                <a:gd name="connsiteX61" fmla="*/ 14259509 w 27542354"/>
                <a:gd name="connsiteY61" fmla="*/ 2404849 h 15152939"/>
                <a:gd name="connsiteX62" fmla="*/ 14892468 w 27542354"/>
                <a:gd name="connsiteY62" fmla="*/ 1762918 h 15152939"/>
                <a:gd name="connsiteX63" fmla="*/ 15778605 w 27542354"/>
                <a:gd name="connsiteY63" fmla="*/ 1211398 h 15152939"/>
                <a:gd name="connsiteX64" fmla="*/ 16022739 w 27542354"/>
                <a:gd name="connsiteY64" fmla="*/ 1681548 h 15152939"/>
                <a:gd name="connsiteX65" fmla="*/ 16013694 w 27542354"/>
                <a:gd name="connsiteY65" fmla="*/ 2169778 h 15152939"/>
                <a:gd name="connsiteX66" fmla="*/ 16556232 w 27542354"/>
                <a:gd name="connsiteY66" fmla="*/ 2260200 h 15152939"/>
                <a:gd name="connsiteX67" fmla="*/ 16863663 w 27542354"/>
                <a:gd name="connsiteY67" fmla="*/ 1744834 h 15152939"/>
                <a:gd name="connsiteX68" fmla="*/ 17406193 w 27542354"/>
                <a:gd name="connsiteY68" fmla="*/ 1410312 h 15152939"/>
                <a:gd name="connsiteX69" fmla="*/ 17623203 w 27542354"/>
                <a:gd name="connsiteY69" fmla="*/ 867840 h 15152939"/>
                <a:gd name="connsiteX70" fmla="*/ 18120524 w 27542354"/>
                <a:gd name="connsiteY70" fmla="*/ 831675 h 15152939"/>
                <a:gd name="connsiteX71" fmla="*/ 18201903 w 27542354"/>
                <a:gd name="connsiteY71" fmla="*/ 542358 h 15152939"/>
                <a:gd name="connsiteX72" fmla="*/ 18744437 w 27542354"/>
                <a:gd name="connsiteY72" fmla="*/ 117414 h 15152939"/>
                <a:gd name="connsiteX73" fmla="*/ 19443290 w 27542354"/>
                <a:gd name="connsiteY73" fmla="*/ 0 h 15152939"/>
                <a:gd name="connsiteX74" fmla="*/ 19982300 w 27542354"/>
                <a:gd name="connsiteY74" fmla="*/ 460880 h 15152939"/>
                <a:gd name="connsiteX75" fmla="*/ 19530143 w 27542354"/>
                <a:gd name="connsiteY75" fmla="*/ 913038 h 15152939"/>
                <a:gd name="connsiteX76" fmla="*/ 19837609 w 27542354"/>
                <a:gd name="connsiteY76" fmla="*/ 1238588 h 15152939"/>
                <a:gd name="connsiteX77" fmla="*/ 20886614 w 27542354"/>
                <a:gd name="connsiteY77" fmla="*/ 1546055 h 15152939"/>
                <a:gd name="connsiteX78" fmla="*/ 21881359 w 27542354"/>
                <a:gd name="connsiteY78" fmla="*/ 1889694 h 15152939"/>
                <a:gd name="connsiteX79" fmla="*/ 21772837 w 27542354"/>
                <a:gd name="connsiteY79" fmla="*/ 2269505 h 15152939"/>
                <a:gd name="connsiteX80" fmla="*/ 21537712 w 27542354"/>
                <a:gd name="connsiteY80" fmla="*/ 2884438 h 15152939"/>
                <a:gd name="connsiteX81" fmla="*/ 21996067 w 27542354"/>
                <a:gd name="connsiteY81" fmla="*/ 2911656 h 15152939"/>
                <a:gd name="connsiteX82" fmla="*/ 22478203 w 27542354"/>
                <a:gd name="connsiteY82" fmla="*/ 2414189 h 15152939"/>
                <a:gd name="connsiteX83" fmla="*/ 23292084 w 27542354"/>
                <a:gd name="connsiteY83" fmla="*/ 2016293 h 15152939"/>
                <a:gd name="connsiteX84" fmla="*/ 23888932 w 27542354"/>
                <a:gd name="connsiteY84" fmla="*/ 1998212 h 15152939"/>
                <a:gd name="connsiteX85" fmla="*/ 24612383 w 27542354"/>
                <a:gd name="connsiteY85" fmla="*/ 1582227 h 15152939"/>
                <a:gd name="connsiteX86" fmla="*/ 25010275 w 27542354"/>
                <a:gd name="connsiteY86" fmla="*/ 695990 h 15152939"/>
                <a:gd name="connsiteX87" fmla="*/ 25769899 w 27542354"/>
                <a:gd name="connsiteY87" fmla="*/ 840685 h 15152939"/>
                <a:gd name="connsiteX88" fmla="*/ 26402920 w 27542354"/>
                <a:gd name="connsiteY88" fmla="*/ 876857 h 15152939"/>
                <a:gd name="connsiteX89" fmla="*/ 26240141 w 27542354"/>
                <a:gd name="connsiteY89" fmla="*/ 1491794 h 15152939"/>
                <a:gd name="connsiteX90" fmla="*/ 26554742 w 27542354"/>
                <a:gd name="connsiteY90" fmla="*/ 2052454 h 15152939"/>
                <a:gd name="connsiteX91" fmla="*/ 25679461 w 27542354"/>
                <a:gd name="connsiteY91" fmla="*/ 2775920 h 15152939"/>
                <a:gd name="connsiteX92" fmla="*/ 25751806 w 27542354"/>
                <a:gd name="connsiteY92" fmla="*/ 3806840 h 15152939"/>
                <a:gd name="connsiteX93" fmla="*/ 26157237 w 27542354"/>
                <a:gd name="connsiteY93"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023104 w 27542354"/>
                <a:gd name="connsiteY6" fmla="*/ 7478344 h 15152939"/>
                <a:gd name="connsiteX7" fmla="*/ 26619948 w 27542354"/>
                <a:gd name="connsiteY7" fmla="*/ 7840060 h 15152939"/>
                <a:gd name="connsiteX8" fmla="*/ 26276305 w 27542354"/>
                <a:gd name="connsiteY8" fmla="*/ 8672029 h 15152939"/>
                <a:gd name="connsiteX9" fmla="*/ 26312478 w 27542354"/>
                <a:gd name="connsiteY9" fmla="*/ 9666777 h 15152939"/>
                <a:gd name="connsiteX10" fmla="*/ 25878405 w 27542354"/>
                <a:gd name="connsiteY10" fmla="*/ 10227453 h 15152939"/>
                <a:gd name="connsiteX11" fmla="*/ 26402912 w 27542354"/>
                <a:gd name="connsiteY11" fmla="*/ 10643437 h 15152939"/>
                <a:gd name="connsiteX12" fmla="*/ 27542355 w 27542354"/>
                <a:gd name="connsiteY12" fmla="*/ 12005935 h 15152939"/>
                <a:gd name="connsiteX13" fmla="*/ 26089423 w 27542354"/>
                <a:gd name="connsiteY13" fmla="*/ 11975789 h 15152939"/>
                <a:gd name="connsiteX14" fmla="*/ 24473715 w 27542354"/>
                <a:gd name="connsiteY14" fmla="*/ 12090334 h 15152939"/>
                <a:gd name="connsiteX15" fmla="*/ 23135328 w 27542354"/>
                <a:gd name="connsiteY15" fmla="*/ 12222964 h 15152939"/>
                <a:gd name="connsiteX16" fmla="*/ 22261159 w 27542354"/>
                <a:gd name="connsiteY16" fmla="*/ 12934357 h 15152939"/>
                <a:gd name="connsiteX17" fmla="*/ 20826342 w 27542354"/>
                <a:gd name="connsiteY17" fmla="*/ 14369204 h 15152939"/>
                <a:gd name="connsiteX18" fmla="*/ 12952786 w 27542354"/>
                <a:gd name="connsiteY18" fmla="*/ 14960014 h 15152939"/>
                <a:gd name="connsiteX19" fmla="*/ 11934663 w 27542354"/>
                <a:gd name="connsiteY19" fmla="*/ 15008264 h 15152939"/>
                <a:gd name="connsiteX20" fmla="*/ 8506848 w 27542354"/>
                <a:gd name="connsiteY20" fmla="*/ 15152939 h 15152939"/>
                <a:gd name="connsiteX21" fmla="*/ 7985095 w 27542354"/>
                <a:gd name="connsiteY21" fmla="*/ 14507857 h 15152939"/>
                <a:gd name="connsiteX22" fmla="*/ 7400308 w 27542354"/>
                <a:gd name="connsiteY22" fmla="*/ 14477712 h 15152939"/>
                <a:gd name="connsiteX23" fmla="*/ 6972273 w 27542354"/>
                <a:gd name="connsiteY23" fmla="*/ 14749009 h 15152939"/>
                <a:gd name="connsiteX24" fmla="*/ 5181729 w 27542354"/>
                <a:gd name="connsiteY24" fmla="*/ 14664610 h 15152939"/>
                <a:gd name="connsiteX25" fmla="*/ 4397998 w 27542354"/>
                <a:gd name="connsiteY25" fmla="*/ 14031593 h 15152939"/>
                <a:gd name="connsiteX26" fmla="*/ 2908896 w 27542354"/>
                <a:gd name="connsiteY26" fmla="*/ 13223739 h 15152939"/>
                <a:gd name="connsiteX27" fmla="*/ 1263043 w 27542354"/>
                <a:gd name="connsiteY27" fmla="*/ 12512346 h 15152939"/>
                <a:gd name="connsiteX28" fmla="*/ 485320 w 27542354"/>
                <a:gd name="connsiteY28" fmla="*/ 12060189 h 15152939"/>
                <a:gd name="connsiteX29" fmla="*/ 0 w 27542354"/>
                <a:gd name="connsiteY29" fmla="*/ 11767077 h 15152939"/>
                <a:gd name="connsiteX30" fmla="*/ 1003686 w 27542354"/>
                <a:gd name="connsiteY30" fmla="*/ 11021112 h 15152939"/>
                <a:gd name="connsiteX31" fmla="*/ 2902551 w 27542354"/>
                <a:gd name="connsiteY31" fmla="*/ 9836713 h 15152939"/>
                <a:gd name="connsiteX32" fmla="*/ 2558940 w 27542354"/>
                <a:gd name="connsiteY32" fmla="*/ 9303282 h 15152939"/>
                <a:gd name="connsiteX33" fmla="*/ 2402508 w 27542354"/>
                <a:gd name="connsiteY33" fmla="*/ 8616199 h 15152939"/>
                <a:gd name="connsiteX34" fmla="*/ 2730740 w 27542354"/>
                <a:gd name="connsiteY34" fmla="*/ 8589028 h 15152939"/>
                <a:gd name="connsiteX35" fmla="*/ 2947754 w 27542354"/>
                <a:gd name="connsiteY35" fmla="*/ 8118883 h 15152939"/>
                <a:gd name="connsiteX36" fmla="*/ 3499325 w 27542354"/>
                <a:gd name="connsiteY36" fmla="*/ 7675866 h 15152939"/>
                <a:gd name="connsiteX37" fmla="*/ 3680166 w 27542354"/>
                <a:gd name="connsiteY37" fmla="*/ 6798868 h 15152939"/>
                <a:gd name="connsiteX38" fmla="*/ 4186528 w 27542354"/>
                <a:gd name="connsiteY38" fmla="*/ 6807904 h 15152939"/>
                <a:gd name="connsiteX39" fmla="*/ 4837569 w 27542354"/>
                <a:gd name="connsiteY39" fmla="*/ 7278054 h 15152939"/>
                <a:gd name="connsiteX40" fmla="*/ 5352976 w 27542354"/>
                <a:gd name="connsiteY40" fmla="*/ 7196687 h 15152939"/>
                <a:gd name="connsiteX41" fmla="*/ 5741786 w 27542354"/>
                <a:gd name="connsiteY41" fmla="*/ 6825992 h 15152939"/>
                <a:gd name="connsiteX42" fmla="*/ 6157723 w 27542354"/>
                <a:gd name="connsiteY42" fmla="*/ 6663251 h 15152939"/>
                <a:gd name="connsiteX43" fmla="*/ 6745471 w 27542354"/>
                <a:gd name="connsiteY43" fmla="*/ 6093658 h 15152939"/>
                <a:gd name="connsiteX44" fmla="*/ 6890140 w 27542354"/>
                <a:gd name="connsiteY44" fmla="*/ 5243782 h 15152939"/>
                <a:gd name="connsiteX45" fmla="*/ 7568305 w 27542354"/>
                <a:gd name="connsiteY45" fmla="*/ 4674188 h 15152939"/>
                <a:gd name="connsiteX46" fmla="*/ 8137967 w 27542354"/>
                <a:gd name="connsiteY46" fmla="*/ 4231167 h 15152939"/>
                <a:gd name="connsiteX47" fmla="*/ 8463480 w 27542354"/>
                <a:gd name="connsiteY47" fmla="*/ 3426500 h 15152939"/>
                <a:gd name="connsiteX48" fmla="*/ 9024093 w 27542354"/>
                <a:gd name="connsiteY48" fmla="*/ 3073893 h 15152939"/>
                <a:gd name="connsiteX49" fmla="*/ 9675138 w 27542354"/>
                <a:gd name="connsiteY49" fmla="*/ 2721291 h 15152939"/>
                <a:gd name="connsiteX50" fmla="*/ 9558580 w 27542354"/>
                <a:gd name="connsiteY50" fmla="*/ 2173007 h 15152939"/>
                <a:gd name="connsiteX51" fmla="*/ 10353296 w 27542354"/>
                <a:gd name="connsiteY51" fmla="*/ 1500723 h 15152939"/>
                <a:gd name="connsiteX52" fmla="*/ 10832530 w 27542354"/>
                <a:gd name="connsiteY52" fmla="*/ 1428389 h 15152939"/>
                <a:gd name="connsiteX53" fmla="*/ 11058585 w 27542354"/>
                <a:gd name="connsiteY53" fmla="*/ 1880458 h 15152939"/>
                <a:gd name="connsiteX54" fmla="*/ 11411229 w 27542354"/>
                <a:gd name="connsiteY54" fmla="*/ 2260189 h 15152939"/>
                <a:gd name="connsiteX55" fmla="*/ 11998974 w 27542354"/>
                <a:gd name="connsiteY55" fmla="*/ 2341559 h 15152939"/>
                <a:gd name="connsiteX56" fmla="*/ 12315449 w 27542354"/>
                <a:gd name="connsiteY56" fmla="*/ 3001571 h 15152939"/>
                <a:gd name="connsiteX57" fmla="*/ 12785642 w 27542354"/>
                <a:gd name="connsiteY57" fmla="*/ 2820742 h 15152939"/>
                <a:gd name="connsiteX58" fmla="*/ 13671776 w 27542354"/>
                <a:gd name="connsiteY58" fmla="*/ 3272803 h 15152939"/>
                <a:gd name="connsiteX59" fmla="*/ 14123886 w 27542354"/>
                <a:gd name="connsiteY59" fmla="*/ 2974450 h 15152939"/>
                <a:gd name="connsiteX60" fmla="*/ 14259509 w 27542354"/>
                <a:gd name="connsiteY60" fmla="*/ 2404849 h 15152939"/>
                <a:gd name="connsiteX61" fmla="*/ 14892468 w 27542354"/>
                <a:gd name="connsiteY61" fmla="*/ 1762918 h 15152939"/>
                <a:gd name="connsiteX62" fmla="*/ 15778605 w 27542354"/>
                <a:gd name="connsiteY62" fmla="*/ 1211398 h 15152939"/>
                <a:gd name="connsiteX63" fmla="*/ 16022739 w 27542354"/>
                <a:gd name="connsiteY63" fmla="*/ 1681548 h 15152939"/>
                <a:gd name="connsiteX64" fmla="*/ 16013694 w 27542354"/>
                <a:gd name="connsiteY64" fmla="*/ 2169778 h 15152939"/>
                <a:gd name="connsiteX65" fmla="*/ 16556232 w 27542354"/>
                <a:gd name="connsiteY65" fmla="*/ 2260200 h 15152939"/>
                <a:gd name="connsiteX66" fmla="*/ 16863663 w 27542354"/>
                <a:gd name="connsiteY66" fmla="*/ 1744834 h 15152939"/>
                <a:gd name="connsiteX67" fmla="*/ 17406193 w 27542354"/>
                <a:gd name="connsiteY67" fmla="*/ 1410312 h 15152939"/>
                <a:gd name="connsiteX68" fmla="*/ 17623203 w 27542354"/>
                <a:gd name="connsiteY68" fmla="*/ 867840 h 15152939"/>
                <a:gd name="connsiteX69" fmla="*/ 18120524 w 27542354"/>
                <a:gd name="connsiteY69" fmla="*/ 831675 h 15152939"/>
                <a:gd name="connsiteX70" fmla="*/ 18201903 w 27542354"/>
                <a:gd name="connsiteY70" fmla="*/ 542358 h 15152939"/>
                <a:gd name="connsiteX71" fmla="*/ 18744437 w 27542354"/>
                <a:gd name="connsiteY71" fmla="*/ 117414 h 15152939"/>
                <a:gd name="connsiteX72" fmla="*/ 19443290 w 27542354"/>
                <a:gd name="connsiteY72" fmla="*/ 0 h 15152939"/>
                <a:gd name="connsiteX73" fmla="*/ 19982300 w 27542354"/>
                <a:gd name="connsiteY73" fmla="*/ 460880 h 15152939"/>
                <a:gd name="connsiteX74" fmla="*/ 19530143 w 27542354"/>
                <a:gd name="connsiteY74" fmla="*/ 913038 h 15152939"/>
                <a:gd name="connsiteX75" fmla="*/ 19837609 w 27542354"/>
                <a:gd name="connsiteY75" fmla="*/ 1238588 h 15152939"/>
                <a:gd name="connsiteX76" fmla="*/ 20886614 w 27542354"/>
                <a:gd name="connsiteY76" fmla="*/ 1546055 h 15152939"/>
                <a:gd name="connsiteX77" fmla="*/ 21881359 w 27542354"/>
                <a:gd name="connsiteY77" fmla="*/ 1889694 h 15152939"/>
                <a:gd name="connsiteX78" fmla="*/ 21772837 w 27542354"/>
                <a:gd name="connsiteY78" fmla="*/ 2269505 h 15152939"/>
                <a:gd name="connsiteX79" fmla="*/ 21537712 w 27542354"/>
                <a:gd name="connsiteY79" fmla="*/ 2884438 h 15152939"/>
                <a:gd name="connsiteX80" fmla="*/ 21996067 w 27542354"/>
                <a:gd name="connsiteY80" fmla="*/ 2911656 h 15152939"/>
                <a:gd name="connsiteX81" fmla="*/ 22478203 w 27542354"/>
                <a:gd name="connsiteY81" fmla="*/ 2414189 h 15152939"/>
                <a:gd name="connsiteX82" fmla="*/ 23292084 w 27542354"/>
                <a:gd name="connsiteY82" fmla="*/ 2016293 h 15152939"/>
                <a:gd name="connsiteX83" fmla="*/ 23888932 w 27542354"/>
                <a:gd name="connsiteY83" fmla="*/ 1998212 h 15152939"/>
                <a:gd name="connsiteX84" fmla="*/ 24612383 w 27542354"/>
                <a:gd name="connsiteY84" fmla="*/ 1582227 h 15152939"/>
                <a:gd name="connsiteX85" fmla="*/ 25010275 w 27542354"/>
                <a:gd name="connsiteY85" fmla="*/ 695990 h 15152939"/>
                <a:gd name="connsiteX86" fmla="*/ 25769899 w 27542354"/>
                <a:gd name="connsiteY86" fmla="*/ 840685 h 15152939"/>
                <a:gd name="connsiteX87" fmla="*/ 26402920 w 27542354"/>
                <a:gd name="connsiteY87" fmla="*/ 876857 h 15152939"/>
                <a:gd name="connsiteX88" fmla="*/ 26240141 w 27542354"/>
                <a:gd name="connsiteY88" fmla="*/ 1491794 h 15152939"/>
                <a:gd name="connsiteX89" fmla="*/ 26554742 w 27542354"/>
                <a:gd name="connsiteY89" fmla="*/ 2052454 h 15152939"/>
                <a:gd name="connsiteX90" fmla="*/ 25679461 w 27542354"/>
                <a:gd name="connsiteY90" fmla="*/ 2775920 h 15152939"/>
                <a:gd name="connsiteX91" fmla="*/ 25751806 w 27542354"/>
                <a:gd name="connsiteY91" fmla="*/ 3806840 h 15152939"/>
                <a:gd name="connsiteX92" fmla="*/ 26157237 w 27542354"/>
                <a:gd name="connsiteY92"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023104 w 27542354"/>
                <a:gd name="connsiteY6" fmla="*/ 7478344 h 15152939"/>
                <a:gd name="connsiteX7" fmla="*/ 26619948 w 27542354"/>
                <a:gd name="connsiteY7" fmla="*/ 7840060 h 15152939"/>
                <a:gd name="connsiteX8" fmla="*/ 26276305 w 27542354"/>
                <a:gd name="connsiteY8" fmla="*/ 8672029 h 15152939"/>
                <a:gd name="connsiteX9" fmla="*/ 26312478 w 27542354"/>
                <a:gd name="connsiteY9" fmla="*/ 9666777 h 15152939"/>
                <a:gd name="connsiteX10" fmla="*/ 26402912 w 27542354"/>
                <a:gd name="connsiteY10" fmla="*/ 10643437 h 15152939"/>
                <a:gd name="connsiteX11" fmla="*/ 27542355 w 27542354"/>
                <a:gd name="connsiteY11" fmla="*/ 12005935 h 15152939"/>
                <a:gd name="connsiteX12" fmla="*/ 26089423 w 27542354"/>
                <a:gd name="connsiteY12" fmla="*/ 11975789 h 15152939"/>
                <a:gd name="connsiteX13" fmla="*/ 24473715 w 27542354"/>
                <a:gd name="connsiteY13" fmla="*/ 12090334 h 15152939"/>
                <a:gd name="connsiteX14" fmla="*/ 23135328 w 27542354"/>
                <a:gd name="connsiteY14" fmla="*/ 12222964 h 15152939"/>
                <a:gd name="connsiteX15" fmla="*/ 22261159 w 27542354"/>
                <a:gd name="connsiteY15" fmla="*/ 12934357 h 15152939"/>
                <a:gd name="connsiteX16" fmla="*/ 20826342 w 27542354"/>
                <a:gd name="connsiteY16" fmla="*/ 14369204 h 15152939"/>
                <a:gd name="connsiteX17" fmla="*/ 12952786 w 27542354"/>
                <a:gd name="connsiteY17" fmla="*/ 14960014 h 15152939"/>
                <a:gd name="connsiteX18" fmla="*/ 11934663 w 27542354"/>
                <a:gd name="connsiteY18" fmla="*/ 15008264 h 15152939"/>
                <a:gd name="connsiteX19" fmla="*/ 8506848 w 27542354"/>
                <a:gd name="connsiteY19" fmla="*/ 15152939 h 15152939"/>
                <a:gd name="connsiteX20" fmla="*/ 7985095 w 27542354"/>
                <a:gd name="connsiteY20" fmla="*/ 14507857 h 15152939"/>
                <a:gd name="connsiteX21" fmla="*/ 7400308 w 27542354"/>
                <a:gd name="connsiteY21" fmla="*/ 14477712 h 15152939"/>
                <a:gd name="connsiteX22" fmla="*/ 6972273 w 27542354"/>
                <a:gd name="connsiteY22" fmla="*/ 14749009 h 15152939"/>
                <a:gd name="connsiteX23" fmla="*/ 5181729 w 27542354"/>
                <a:gd name="connsiteY23" fmla="*/ 14664610 h 15152939"/>
                <a:gd name="connsiteX24" fmla="*/ 4397998 w 27542354"/>
                <a:gd name="connsiteY24" fmla="*/ 14031593 h 15152939"/>
                <a:gd name="connsiteX25" fmla="*/ 2908896 w 27542354"/>
                <a:gd name="connsiteY25" fmla="*/ 13223739 h 15152939"/>
                <a:gd name="connsiteX26" fmla="*/ 1263043 w 27542354"/>
                <a:gd name="connsiteY26" fmla="*/ 12512346 h 15152939"/>
                <a:gd name="connsiteX27" fmla="*/ 485320 w 27542354"/>
                <a:gd name="connsiteY27" fmla="*/ 12060189 h 15152939"/>
                <a:gd name="connsiteX28" fmla="*/ 0 w 27542354"/>
                <a:gd name="connsiteY28" fmla="*/ 11767077 h 15152939"/>
                <a:gd name="connsiteX29" fmla="*/ 1003686 w 27542354"/>
                <a:gd name="connsiteY29" fmla="*/ 11021112 h 15152939"/>
                <a:gd name="connsiteX30" fmla="*/ 2902551 w 27542354"/>
                <a:gd name="connsiteY30" fmla="*/ 9836713 h 15152939"/>
                <a:gd name="connsiteX31" fmla="*/ 2558940 w 27542354"/>
                <a:gd name="connsiteY31" fmla="*/ 9303282 h 15152939"/>
                <a:gd name="connsiteX32" fmla="*/ 2402508 w 27542354"/>
                <a:gd name="connsiteY32" fmla="*/ 8616199 h 15152939"/>
                <a:gd name="connsiteX33" fmla="*/ 2730740 w 27542354"/>
                <a:gd name="connsiteY33" fmla="*/ 8589028 h 15152939"/>
                <a:gd name="connsiteX34" fmla="*/ 2947754 w 27542354"/>
                <a:gd name="connsiteY34" fmla="*/ 8118883 h 15152939"/>
                <a:gd name="connsiteX35" fmla="*/ 3499325 w 27542354"/>
                <a:gd name="connsiteY35" fmla="*/ 7675866 h 15152939"/>
                <a:gd name="connsiteX36" fmla="*/ 3680166 w 27542354"/>
                <a:gd name="connsiteY36" fmla="*/ 6798868 h 15152939"/>
                <a:gd name="connsiteX37" fmla="*/ 4186528 w 27542354"/>
                <a:gd name="connsiteY37" fmla="*/ 6807904 h 15152939"/>
                <a:gd name="connsiteX38" fmla="*/ 4837569 w 27542354"/>
                <a:gd name="connsiteY38" fmla="*/ 7278054 h 15152939"/>
                <a:gd name="connsiteX39" fmla="*/ 5352976 w 27542354"/>
                <a:gd name="connsiteY39" fmla="*/ 7196687 h 15152939"/>
                <a:gd name="connsiteX40" fmla="*/ 5741786 w 27542354"/>
                <a:gd name="connsiteY40" fmla="*/ 6825992 h 15152939"/>
                <a:gd name="connsiteX41" fmla="*/ 6157723 w 27542354"/>
                <a:gd name="connsiteY41" fmla="*/ 6663251 h 15152939"/>
                <a:gd name="connsiteX42" fmla="*/ 6745471 w 27542354"/>
                <a:gd name="connsiteY42" fmla="*/ 6093658 h 15152939"/>
                <a:gd name="connsiteX43" fmla="*/ 6890140 w 27542354"/>
                <a:gd name="connsiteY43" fmla="*/ 5243782 h 15152939"/>
                <a:gd name="connsiteX44" fmla="*/ 7568305 w 27542354"/>
                <a:gd name="connsiteY44" fmla="*/ 4674188 h 15152939"/>
                <a:gd name="connsiteX45" fmla="*/ 8137967 w 27542354"/>
                <a:gd name="connsiteY45" fmla="*/ 4231167 h 15152939"/>
                <a:gd name="connsiteX46" fmla="*/ 8463480 w 27542354"/>
                <a:gd name="connsiteY46" fmla="*/ 3426500 h 15152939"/>
                <a:gd name="connsiteX47" fmla="*/ 9024093 w 27542354"/>
                <a:gd name="connsiteY47" fmla="*/ 3073893 h 15152939"/>
                <a:gd name="connsiteX48" fmla="*/ 9675138 w 27542354"/>
                <a:gd name="connsiteY48" fmla="*/ 2721291 h 15152939"/>
                <a:gd name="connsiteX49" fmla="*/ 9558580 w 27542354"/>
                <a:gd name="connsiteY49" fmla="*/ 2173007 h 15152939"/>
                <a:gd name="connsiteX50" fmla="*/ 10353296 w 27542354"/>
                <a:gd name="connsiteY50" fmla="*/ 1500723 h 15152939"/>
                <a:gd name="connsiteX51" fmla="*/ 10832530 w 27542354"/>
                <a:gd name="connsiteY51" fmla="*/ 1428389 h 15152939"/>
                <a:gd name="connsiteX52" fmla="*/ 11058585 w 27542354"/>
                <a:gd name="connsiteY52" fmla="*/ 1880458 h 15152939"/>
                <a:gd name="connsiteX53" fmla="*/ 11411229 w 27542354"/>
                <a:gd name="connsiteY53" fmla="*/ 2260189 h 15152939"/>
                <a:gd name="connsiteX54" fmla="*/ 11998974 w 27542354"/>
                <a:gd name="connsiteY54" fmla="*/ 2341559 h 15152939"/>
                <a:gd name="connsiteX55" fmla="*/ 12315449 w 27542354"/>
                <a:gd name="connsiteY55" fmla="*/ 3001571 h 15152939"/>
                <a:gd name="connsiteX56" fmla="*/ 12785642 w 27542354"/>
                <a:gd name="connsiteY56" fmla="*/ 2820742 h 15152939"/>
                <a:gd name="connsiteX57" fmla="*/ 13671776 w 27542354"/>
                <a:gd name="connsiteY57" fmla="*/ 3272803 h 15152939"/>
                <a:gd name="connsiteX58" fmla="*/ 14123886 w 27542354"/>
                <a:gd name="connsiteY58" fmla="*/ 2974450 h 15152939"/>
                <a:gd name="connsiteX59" fmla="*/ 14259509 w 27542354"/>
                <a:gd name="connsiteY59" fmla="*/ 2404849 h 15152939"/>
                <a:gd name="connsiteX60" fmla="*/ 14892468 w 27542354"/>
                <a:gd name="connsiteY60" fmla="*/ 1762918 h 15152939"/>
                <a:gd name="connsiteX61" fmla="*/ 15778605 w 27542354"/>
                <a:gd name="connsiteY61" fmla="*/ 1211398 h 15152939"/>
                <a:gd name="connsiteX62" fmla="*/ 16022739 w 27542354"/>
                <a:gd name="connsiteY62" fmla="*/ 1681548 h 15152939"/>
                <a:gd name="connsiteX63" fmla="*/ 16013694 w 27542354"/>
                <a:gd name="connsiteY63" fmla="*/ 2169778 h 15152939"/>
                <a:gd name="connsiteX64" fmla="*/ 16556232 w 27542354"/>
                <a:gd name="connsiteY64" fmla="*/ 2260200 h 15152939"/>
                <a:gd name="connsiteX65" fmla="*/ 16863663 w 27542354"/>
                <a:gd name="connsiteY65" fmla="*/ 1744834 h 15152939"/>
                <a:gd name="connsiteX66" fmla="*/ 17406193 w 27542354"/>
                <a:gd name="connsiteY66" fmla="*/ 1410312 h 15152939"/>
                <a:gd name="connsiteX67" fmla="*/ 17623203 w 27542354"/>
                <a:gd name="connsiteY67" fmla="*/ 867840 h 15152939"/>
                <a:gd name="connsiteX68" fmla="*/ 18120524 w 27542354"/>
                <a:gd name="connsiteY68" fmla="*/ 831675 h 15152939"/>
                <a:gd name="connsiteX69" fmla="*/ 18201903 w 27542354"/>
                <a:gd name="connsiteY69" fmla="*/ 542358 h 15152939"/>
                <a:gd name="connsiteX70" fmla="*/ 18744437 w 27542354"/>
                <a:gd name="connsiteY70" fmla="*/ 117414 h 15152939"/>
                <a:gd name="connsiteX71" fmla="*/ 19443290 w 27542354"/>
                <a:gd name="connsiteY71" fmla="*/ 0 h 15152939"/>
                <a:gd name="connsiteX72" fmla="*/ 19982300 w 27542354"/>
                <a:gd name="connsiteY72" fmla="*/ 460880 h 15152939"/>
                <a:gd name="connsiteX73" fmla="*/ 19530143 w 27542354"/>
                <a:gd name="connsiteY73" fmla="*/ 913038 h 15152939"/>
                <a:gd name="connsiteX74" fmla="*/ 19837609 w 27542354"/>
                <a:gd name="connsiteY74" fmla="*/ 1238588 h 15152939"/>
                <a:gd name="connsiteX75" fmla="*/ 20886614 w 27542354"/>
                <a:gd name="connsiteY75" fmla="*/ 1546055 h 15152939"/>
                <a:gd name="connsiteX76" fmla="*/ 21881359 w 27542354"/>
                <a:gd name="connsiteY76" fmla="*/ 1889694 h 15152939"/>
                <a:gd name="connsiteX77" fmla="*/ 21772837 w 27542354"/>
                <a:gd name="connsiteY77" fmla="*/ 2269505 h 15152939"/>
                <a:gd name="connsiteX78" fmla="*/ 21537712 w 27542354"/>
                <a:gd name="connsiteY78" fmla="*/ 2884438 h 15152939"/>
                <a:gd name="connsiteX79" fmla="*/ 21996067 w 27542354"/>
                <a:gd name="connsiteY79" fmla="*/ 2911656 h 15152939"/>
                <a:gd name="connsiteX80" fmla="*/ 22478203 w 27542354"/>
                <a:gd name="connsiteY80" fmla="*/ 2414189 h 15152939"/>
                <a:gd name="connsiteX81" fmla="*/ 23292084 w 27542354"/>
                <a:gd name="connsiteY81" fmla="*/ 2016293 h 15152939"/>
                <a:gd name="connsiteX82" fmla="*/ 23888932 w 27542354"/>
                <a:gd name="connsiteY82" fmla="*/ 1998212 h 15152939"/>
                <a:gd name="connsiteX83" fmla="*/ 24612383 w 27542354"/>
                <a:gd name="connsiteY83" fmla="*/ 1582227 h 15152939"/>
                <a:gd name="connsiteX84" fmla="*/ 25010275 w 27542354"/>
                <a:gd name="connsiteY84" fmla="*/ 695990 h 15152939"/>
                <a:gd name="connsiteX85" fmla="*/ 25769899 w 27542354"/>
                <a:gd name="connsiteY85" fmla="*/ 840685 h 15152939"/>
                <a:gd name="connsiteX86" fmla="*/ 26402920 w 27542354"/>
                <a:gd name="connsiteY86" fmla="*/ 876857 h 15152939"/>
                <a:gd name="connsiteX87" fmla="*/ 26240141 w 27542354"/>
                <a:gd name="connsiteY87" fmla="*/ 1491794 h 15152939"/>
                <a:gd name="connsiteX88" fmla="*/ 26554742 w 27542354"/>
                <a:gd name="connsiteY88" fmla="*/ 2052454 h 15152939"/>
                <a:gd name="connsiteX89" fmla="*/ 25679461 w 27542354"/>
                <a:gd name="connsiteY89" fmla="*/ 2775920 h 15152939"/>
                <a:gd name="connsiteX90" fmla="*/ 25751806 w 27542354"/>
                <a:gd name="connsiteY90" fmla="*/ 3806840 h 15152939"/>
                <a:gd name="connsiteX91" fmla="*/ 26157237 w 27542354"/>
                <a:gd name="connsiteY91"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023104 w 27542354"/>
                <a:gd name="connsiteY6" fmla="*/ 7478344 h 15152939"/>
                <a:gd name="connsiteX7" fmla="*/ 26619948 w 27542354"/>
                <a:gd name="connsiteY7" fmla="*/ 7840060 h 15152939"/>
                <a:gd name="connsiteX8" fmla="*/ 26312478 w 27542354"/>
                <a:gd name="connsiteY8" fmla="*/ 9666777 h 15152939"/>
                <a:gd name="connsiteX9" fmla="*/ 26402912 w 27542354"/>
                <a:gd name="connsiteY9" fmla="*/ 10643437 h 15152939"/>
                <a:gd name="connsiteX10" fmla="*/ 27542355 w 27542354"/>
                <a:gd name="connsiteY10" fmla="*/ 12005935 h 15152939"/>
                <a:gd name="connsiteX11" fmla="*/ 26089423 w 27542354"/>
                <a:gd name="connsiteY11" fmla="*/ 11975789 h 15152939"/>
                <a:gd name="connsiteX12" fmla="*/ 24473715 w 27542354"/>
                <a:gd name="connsiteY12" fmla="*/ 12090334 h 15152939"/>
                <a:gd name="connsiteX13" fmla="*/ 23135328 w 27542354"/>
                <a:gd name="connsiteY13" fmla="*/ 12222964 h 15152939"/>
                <a:gd name="connsiteX14" fmla="*/ 22261159 w 27542354"/>
                <a:gd name="connsiteY14" fmla="*/ 12934357 h 15152939"/>
                <a:gd name="connsiteX15" fmla="*/ 20826342 w 27542354"/>
                <a:gd name="connsiteY15" fmla="*/ 14369204 h 15152939"/>
                <a:gd name="connsiteX16" fmla="*/ 12952786 w 27542354"/>
                <a:gd name="connsiteY16" fmla="*/ 14960014 h 15152939"/>
                <a:gd name="connsiteX17" fmla="*/ 11934663 w 27542354"/>
                <a:gd name="connsiteY17" fmla="*/ 15008264 h 15152939"/>
                <a:gd name="connsiteX18" fmla="*/ 8506848 w 27542354"/>
                <a:gd name="connsiteY18" fmla="*/ 15152939 h 15152939"/>
                <a:gd name="connsiteX19" fmla="*/ 7985095 w 27542354"/>
                <a:gd name="connsiteY19" fmla="*/ 14507857 h 15152939"/>
                <a:gd name="connsiteX20" fmla="*/ 7400308 w 27542354"/>
                <a:gd name="connsiteY20" fmla="*/ 14477712 h 15152939"/>
                <a:gd name="connsiteX21" fmla="*/ 6972273 w 27542354"/>
                <a:gd name="connsiteY21" fmla="*/ 14749009 h 15152939"/>
                <a:gd name="connsiteX22" fmla="*/ 5181729 w 27542354"/>
                <a:gd name="connsiteY22" fmla="*/ 14664610 h 15152939"/>
                <a:gd name="connsiteX23" fmla="*/ 4397998 w 27542354"/>
                <a:gd name="connsiteY23" fmla="*/ 14031593 h 15152939"/>
                <a:gd name="connsiteX24" fmla="*/ 2908896 w 27542354"/>
                <a:gd name="connsiteY24" fmla="*/ 13223739 h 15152939"/>
                <a:gd name="connsiteX25" fmla="*/ 1263043 w 27542354"/>
                <a:gd name="connsiteY25" fmla="*/ 12512346 h 15152939"/>
                <a:gd name="connsiteX26" fmla="*/ 485320 w 27542354"/>
                <a:gd name="connsiteY26" fmla="*/ 12060189 h 15152939"/>
                <a:gd name="connsiteX27" fmla="*/ 0 w 27542354"/>
                <a:gd name="connsiteY27" fmla="*/ 11767077 h 15152939"/>
                <a:gd name="connsiteX28" fmla="*/ 1003686 w 27542354"/>
                <a:gd name="connsiteY28" fmla="*/ 11021112 h 15152939"/>
                <a:gd name="connsiteX29" fmla="*/ 2902551 w 27542354"/>
                <a:gd name="connsiteY29" fmla="*/ 9836713 h 15152939"/>
                <a:gd name="connsiteX30" fmla="*/ 2558940 w 27542354"/>
                <a:gd name="connsiteY30" fmla="*/ 9303282 h 15152939"/>
                <a:gd name="connsiteX31" fmla="*/ 2402508 w 27542354"/>
                <a:gd name="connsiteY31" fmla="*/ 8616199 h 15152939"/>
                <a:gd name="connsiteX32" fmla="*/ 2730740 w 27542354"/>
                <a:gd name="connsiteY32" fmla="*/ 8589028 h 15152939"/>
                <a:gd name="connsiteX33" fmla="*/ 2947754 w 27542354"/>
                <a:gd name="connsiteY33" fmla="*/ 8118883 h 15152939"/>
                <a:gd name="connsiteX34" fmla="*/ 3499325 w 27542354"/>
                <a:gd name="connsiteY34" fmla="*/ 7675866 h 15152939"/>
                <a:gd name="connsiteX35" fmla="*/ 3680166 w 27542354"/>
                <a:gd name="connsiteY35" fmla="*/ 6798868 h 15152939"/>
                <a:gd name="connsiteX36" fmla="*/ 4186528 w 27542354"/>
                <a:gd name="connsiteY36" fmla="*/ 6807904 h 15152939"/>
                <a:gd name="connsiteX37" fmla="*/ 4837569 w 27542354"/>
                <a:gd name="connsiteY37" fmla="*/ 7278054 h 15152939"/>
                <a:gd name="connsiteX38" fmla="*/ 5352976 w 27542354"/>
                <a:gd name="connsiteY38" fmla="*/ 7196687 h 15152939"/>
                <a:gd name="connsiteX39" fmla="*/ 5741786 w 27542354"/>
                <a:gd name="connsiteY39" fmla="*/ 6825992 h 15152939"/>
                <a:gd name="connsiteX40" fmla="*/ 6157723 w 27542354"/>
                <a:gd name="connsiteY40" fmla="*/ 6663251 h 15152939"/>
                <a:gd name="connsiteX41" fmla="*/ 6745471 w 27542354"/>
                <a:gd name="connsiteY41" fmla="*/ 6093658 h 15152939"/>
                <a:gd name="connsiteX42" fmla="*/ 6890140 w 27542354"/>
                <a:gd name="connsiteY42" fmla="*/ 5243782 h 15152939"/>
                <a:gd name="connsiteX43" fmla="*/ 7568305 w 27542354"/>
                <a:gd name="connsiteY43" fmla="*/ 4674188 h 15152939"/>
                <a:gd name="connsiteX44" fmla="*/ 8137967 w 27542354"/>
                <a:gd name="connsiteY44" fmla="*/ 4231167 h 15152939"/>
                <a:gd name="connsiteX45" fmla="*/ 8463480 w 27542354"/>
                <a:gd name="connsiteY45" fmla="*/ 3426500 h 15152939"/>
                <a:gd name="connsiteX46" fmla="*/ 9024093 w 27542354"/>
                <a:gd name="connsiteY46" fmla="*/ 3073893 h 15152939"/>
                <a:gd name="connsiteX47" fmla="*/ 9675138 w 27542354"/>
                <a:gd name="connsiteY47" fmla="*/ 2721291 h 15152939"/>
                <a:gd name="connsiteX48" fmla="*/ 9558580 w 27542354"/>
                <a:gd name="connsiteY48" fmla="*/ 2173007 h 15152939"/>
                <a:gd name="connsiteX49" fmla="*/ 10353296 w 27542354"/>
                <a:gd name="connsiteY49" fmla="*/ 1500723 h 15152939"/>
                <a:gd name="connsiteX50" fmla="*/ 10832530 w 27542354"/>
                <a:gd name="connsiteY50" fmla="*/ 1428389 h 15152939"/>
                <a:gd name="connsiteX51" fmla="*/ 11058585 w 27542354"/>
                <a:gd name="connsiteY51" fmla="*/ 1880458 h 15152939"/>
                <a:gd name="connsiteX52" fmla="*/ 11411229 w 27542354"/>
                <a:gd name="connsiteY52" fmla="*/ 2260189 h 15152939"/>
                <a:gd name="connsiteX53" fmla="*/ 11998974 w 27542354"/>
                <a:gd name="connsiteY53" fmla="*/ 2341559 h 15152939"/>
                <a:gd name="connsiteX54" fmla="*/ 12315449 w 27542354"/>
                <a:gd name="connsiteY54" fmla="*/ 3001571 h 15152939"/>
                <a:gd name="connsiteX55" fmla="*/ 12785642 w 27542354"/>
                <a:gd name="connsiteY55" fmla="*/ 2820742 h 15152939"/>
                <a:gd name="connsiteX56" fmla="*/ 13671776 w 27542354"/>
                <a:gd name="connsiteY56" fmla="*/ 3272803 h 15152939"/>
                <a:gd name="connsiteX57" fmla="*/ 14123886 w 27542354"/>
                <a:gd name="connsiteY57" fmla="*/ 2974450 h 15152939"/>
                <a:gd name="connsiteX58" fmla="*/ 14259509 w 27542354"/>
                <a:gd name="connsiteY58" fmla="*/ 2404849 h 15152939"/>
                <a:gd name="connsiteX59" fmla="*/ 14892468 w 27542354"/>
                <a:gd name="connsiteY59" fmla="*/ 1762918 h 15152939"/>
                <a:gd name="connsiteX60" fmla="*/ 15778605 w 27542354"/>
                <a:gd name="connsiteY60" fmla="*/ 1211398 h 15152939"/>
                <a:gd name="connsiteX61" fmla="*/ 16022739 w 27542354"/>
                <a:gd name="connsiteY61" fmla="*/ 1681548 h 15152939"/>
                <a:gd name="connsiteX62" fmla="*/ 16013694 w 27542354"/>
                <a:gd name="connsiteY62" fmla="*/ 2169778 h 15152939"/>
                <a:gd name="connsiteX63" fmla="*/ 16556232 w 27542354"/>
                <a:gd name="connsiteY63" fmla="*/ 2260200 h 15152939"/>
                <a:gd name="connsiteX64" fmla="*/ 16863663 w 27542354"/>
                <a:gd name="connsiteY64" fmla="*/ 1744834 h 15152939"/>
                <a:gd name="connsiteX65" fmla="*/ 17406193 w 27542354"/>
                <a:gd name="connsiteY65" fmla="*/ 1410312 h 15152939"/>
                <a:gd name="connsiteX66" fmla="*/ 17623203 w 27542354"/>
                <a:gd name="connsiteY66" fmla="*/ 867840 h 15152939"/>
                <a:gd name="connsiteX67" fmla="*/ 18120524 w 27542354"/>
                <a:gd name="connsiteY67" fmla="*/ 831675 h 15152939"/>
                <a:gd name="connsiteX68" fmla="*/ 18201903 w 27542354"/>
                <a:gd name="connsiteY68" fmla="*/ 542358 h 15152939"/>
                <a:gd name="connsiteX69" fmla="*/ 18744437 w 27542354"/>
                <a:gd name="connsiteY69" fmla="*/ 117414 h 15152939"/>
                <a:gd name="connsiteX70" fmla="*/ 19443290 w 27542354"/>
                <a:gd name="connsiteY70" fmla="*/ 0 h 15152939"/>
                <a:gd name="connsiteX71" fmla="*/ 19982300 w 27542354"/>
                <a:gd name="connsiteY71" fmla="*/ 460880 h 15152939"/>
                <a:gd name="connsiteX72" fmla="*/ 19530143 w 27542354"/>
                <a:gd name="connsiteY72" fmla="*/ 913038 h 15152939"/>
                <a:gd name="connsiteX73" fmla="*/ 19837609 w 27542354"/>
                <a:gd name="connsiteY73" fmla="*/ 1238588 h 15152939"/>
                <a:gd name="connsiteX74" fmla="*/ 20886614 w 27542354"/>
                <a:gd name="connsiteY74" fmla="*/ 1546055 h 15152939"/>
                <a:gd name="connsiteX75" fmla="*/ 21881359 w 27542354"/>
                <a:gd name="connsiteY75" fmla="*/ 1889694 h 15152939"/>
                <a:gd name="connsiteX76" fmla="*/ 21772837 w 27542354"/>
                <a:gd name="connsiteY76" fmla="*/ 2269505 h 15152939"/>
                <a:gd name="connsiteX77" fmla="*/ 21537712 w 27542354"/>
                <a:gd name="connsiteY77" fmla="*/ 2884438 h 15152939"/>
                <a:gd name="connsiteX78" fmla="*/ 21996067 w 27542354"/>
                <a:gd name="connsiteY78" fmla="*/ 2911656 h 15152939"/>
                <a:gd name="connsiteX79" fmla="*/ 22478203 w 27542354"/>
                <a:gd name="connsiteY79" fmla="*/ 2414189 h 15152939"/>
                <a:gd name="connsiteX80" fmla="*/ 23292084 w 27542354"/>
                <a:gd name="connsiteY80" fmla="*/ 2016293 h 15152939"/>
                <a:gd name="connsiteX81" fmla="*/ 23888932 w 27542354"/>
                <a:gd name="connsiteY81" fmla="*/ 1998212 h 15152939"/>
                <a:gd name="connsiteX82" fmla="*/ 24612383 w 27542354"/>
                <a:gd name="connsiteY82" fmla="*/ 1582227 h 15152939"/>
                <a:gd name="connsiteX83" fmla="*/ 25010275 w 27542354"/>
                <a:gd name="connsiteY83" fmla="*/ 695990 h 15152939"/>
                <a:gd name="connsiteX84" fmla="*/ 25769899 w 27542354"/>
                <a:gd name="connsiteY84" fmla="*/ 840685 h 15152939"/>
                <a:gd name="connsiteX85" fmla="*/ 26402920 w 27542354"/>
                <a:gd name="connsiteY85" fmla="*/ 876857 h 15152939"/>
                <a:gd name="connsiteX86" fmla="*/ 26240141 w 27542354"/>
                <a:gd name="connsiteY86" fmla="*/ 1491794 h 15152939"/>
                <a:gd name="connsiteX87" fmla="*/ 26554742 w 27542354"/>
                <a:gd name="connsiteY87" fmla="*/ 2052454 h 15152939"/>
                <a:gd name="connsiteX88" fmla="*/ 25679461 w 27542354"/>
                <a:gd name="connsiteY88" fmla="*/ 2775920 h 15152939"/>
                <a:gd name="connsiteX89" fmla="*/ 25751806 w 27542354"/>
                <a:gd name="connsiteY89" fmla="*/ 3806840 h 15152939"/>
                <a:gd name="connsiteX90" fmla="*/ 26157237 w 27542354"/>
                <a:gd name="connsiteY90"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619948 w 27542354"/>
                <a:gd name="connsiteY6" fmla="*/ 7840060 h 15152939"/>
                <a:gd name="connsiteX7" fmla="*/ 26312478 w 27542354"/>
                <a:gd name="connsiteY7" fmla="*/ 9666777 h 15152939"/>
                <a:gd name="connsiteX8" fmla="*/ 26402912 w 27542354"/>
                <a:gd name="connsiteY8" fmla="*/ 10643437 h 15152939"/>
                <a:gd name="connsiteX9" fmla="*/ 27542355 w 27542354"/>
                <a:gd name="connsiteY9" fmla="*/ 12005935 h 15152939"/>
                <a:gd name="connsiteX10" fmla="*/ 26089423 w 27542354"/>
                <a:gd name="connsiteY10" fmla="*/ 11975789 h 15152939"/>
                <a:gd name="connsiteX11" fmla="*/ 24473715 w 27542354"/>
                <a:gd name="connsiteY11" fmla="*/ 12090334 h 15152939"/>
                <a:gd name="connsiteX12" fmla="*/ 23135328 w 27542354"/>
                <a:gd name="connsiteY12" fmla="*/ 12222964 h 15152939"/>
                <a:gd name="connsiteX13" fmla="*/ 22261159 w 27542354"/>
                <a:gd name="connsiteY13" fmla="*/ 12934357 h 15152939"/>
                <a:gd name="connsiteX14" fmla="*/ 20826342 w 27542354"/>
                <a:gd name="connsiteY14" fmla="*/ 14369204 h 15152939"/>
                <a:gd name="connsiteX15" fmla="*/ 12952786 w 27542354"/>
                <a:gd name="connsiteY15" fmla="*/ 14960014 h 15152939"/>
                <a:gd name="connsiteX16" fmla="*/ 11934663 w 27542354"/>
                <a:gd name="connsiteY16" fmla="*/ 15008264 h 15152939"/>
                <a:gd name="connsiteX17" fmla="*/ 8506848 w 27542354"/>
                <a:gd name="connsiteY17" fmla="*/ 15152939 h 15152939"/>
                <a:gd name="connsiteX18" fmla="*/ 7985095 w 27542354"/>
                <a:gd name="connsiteY18" fmla="*/ 14507857 h 15152939"/>
                <a:gd name="connsiteX19" fmla="*/ 7400308 w 27542354"/>
                <a:gd name="connsiteY19" fmla="*/ 14477712 h 15152939"/>
                <a:gd name="connsiteX20" fmla="*/ 6972273 w 27542354"/>
                <a:gd name="connsiteY20" fmla="*/ 14749009 h 15152939"/>
                <a:gd name="connsiteX21" fmla="*/ 5181729 w 27542354"/>
                <a:gd name="connsiteY21" fmla="*/ 14664610 h 15152939"/>
                <a:gd name="connsiteX22" fmla="*/ 4397998 w 27542354"/>
                <a:gd name="connsiteY22" fmla="*/ 14031593 h 15152939"/>
                <a:gd name="connsiteX23" fmla="*/ 2908896 w 27542354"/>
                <a:gd name="connsiteY23" fmla="*/ 13223739 h 15152939"/>
                <a:gd name="connsiteX24" fmla="*/ 1263043 w 27542354"/>
                <a:gd name="connsiteY24" fmla="*/ 12512346 h 15152939"/>
                <a:gd name="connsiteX25" fmla="*/ 485320 w 27542354"/>
                <a:gd name="connsiteY25" fmla="*/ 12060189 h 15152939"/>
                <a:gd name="connsiteX26" fmla="*/ 0 w 27542354"/>
                <a:gd name="connsiteY26" fmla="*/ 11767077 h 15152939"/>
                <a:gd name="connsiteX27" fmla="*/ 1003686 w 27542354"/>
                <a:gd name="connsiteY27" fmla="*/ 11021112 h 15152939"/>
                <a:gd name="connsiteX28" fmla="*/ 2902551 w 27542354"/>
                <a:gd name="connsiteY28" fmla="*/ 9836713 h 15152939"/>
                <a:gd name="connsiteX29" fmla="*/ 2558940 w 27542354"/>
                <a:gd name="connsiteY29" fmla="*/ 9303282 h 15152939"/>
                <a:gd name="connsiteX30" fmla="*/ 2402508 w 27542354"/>
                <a:gd name="connsiteY30" fmla="*/ 8616199 h 15152939"/>
                <a:gd name="connsiteX31" fmla="*/ 2730740 w 27542354"/>
                <a:gd name="connsiteY31" fmla="*/ 8589028 h 15152939"/>
                <a:gd name="connsiteX32" fmla="*/ 2947754 w 27542354"/>
                <a:gd name="connsiteY32" fmla="*/ 8118883 h 15152939"/>
                <a:gd name="connsiteX33" fmla="*/ 3499325 w 27542354"/>
                <a:gd name="connsiteY33" fmla="*/ 7675866 h 15152939"/>
                <a:gd name="connsiteX34" fmla="*/ 3680166 w 27542354"/>
                <a:gd name="connsiteY34" fmla="*/ 6798868 h 15152939"/>
                <a:gd name="connsiteX35" fmla="*/ 4186528 w 27542354"/>
                <a:gd name="connsiteY35" fmla="*/ 6807904 h 15152939"/>
                <a:gd name="connsiteX36" fmla="*/ 4837569 w 27542354"/>
                <a:gd name="connsiteY36" fmla="*/ 7278054 h 15152939"/>
                <a:gd name="connsiteX37" fmla="*/ 5352976 w 27542354"/>
                <a:gd name="connsiteY37" fmla="*/ 7196687 h 15152939"/>
                <a:gd name="connsiteX38" fmla="*/ 5741786 w 27542354"/>
                <a:gd name="connsiteY38" fmla="*/ 6825992 h 15152939"/>
                <a:gd name="connsiteX39" fmla="*/ 6157723 w 27542354"/>
                <a:gd name="connsiteY39" fmla="*/ 6663251 h 15152939"/>
                <a:gd name="connsiteX40" fmla="*/ 6745471 w 27542354"/>
                <a:gd name="connsiteY40" fmla="*/ 6093658 h 15152939"/>
                <a:gd name="connsiteX41" fmla="*/ 6890140 w 27542354"/>
                <a:gd name="connsiteY41" fmla="*/ 5243782 h 15152939"/>
                <a:gd name="connsiteX42" fmla="*/ 7568305 w 27542354"/>
                <a:gd name="connsiteY42" fmla="*/ 4674188 h 15152939"/>
                <a:gd name="connsiteX43" fmla="*/ 8137967 w 27542354"/>
                <a:gd name="connsiteY43" fmla="*/ 4231167 h 15152939"/>
                <a:gd name="connsiteX44" fmla="*/ 8463480 w 27542354"/>
                <a:gd name="connsiteY44" fmla="*/ 3426500 h 15152939"/>
                <a:gd name="connsiteX45" fmla="*/ 9024093 w 27542354"/>
                <a:gd name="connsiteY45" fmla="*/ 3073893 h 15152939"/>
                <a:gd name="connsiteX46" fmla="*/ 9675138 w 27542354"/>
                <a:gd name="connsiteY46" fmla="*/ 2721291 h 15152939"/>
                <a:gd name="connsiteX47" fmla="*/ 9558580 w 27542354"/>
                <a:gd name="connsiteY47" fmla="*/ 2173007 h 15152939"/>
                <a:gd name="connsiteX48" fmla="*/ 10353296 w 27542354"/>
                <a:gd name="connsiteY48" fmla="*/ 1500723 h 15152939"/>
                <a:gd name="connsiteX49" fmla="*/ 10832530 w 27542354"/>
                <a:gd name="connsiteY49" fmla="*/ 1428389 h 15152939"/>
                <a:gd name="connsiteX50" fmla="*/ 11058585 w 27542354"/>
                <a:gd name="connsiteY50" fmla="*/ 1880458 h 15152939"/>
                <a:gd name="connsiteX51" fmla="*/ 11411229 w 27542354"/>
                <a:gd name="connsiteY51" fmla="*/ 2260189 h 15152939"/>
                <a:gd name="connsiteX52" fmla="*/ 11998974 w 27542354"/>
                <a:gd name="connsiteY52" fmla="*/ 2341559 h 15152939"/>
                <a:gd name="connsiteX53" fmla="*/ 12315449 w 27542354"/>
                <a:gd name="connsiteY53" fmla="*/ 3001571 h 15152939"/>
                <a:gd name="connsiteX54" fmla="*/ 12785642 w 27542354"/>
                <a:gd name="connsiteY54" fmla="*/ 2820742 h 15152939"/>
                <a:gd name="connsiteX55" fmla="*/ 13671776 w 27542354"/>
                <a:gd name="connsiteY55" fmla="*/ 3272803 h 15152939"/>
                <a:gd name="connsiteX56" fmla="*/ 14123886 w 27542354"/>
                <a:gd name="connsiteY56" fmla="*/ 2974450 h 15152939"/>
                <a:gd name="connsiteX57" fmla="*/ 14259509 w 27542354"/>
                <a:gd name="connsiteY57" fmla="*/ 2404849 h 15152939"/>
                <a:gd name="connsiteX58" fmla="*/ 14892468 w 27542354"/>
                <a:gd name="connsiteY58" fmla="*/ 1762918 h 15152939"/>
                <a:gd name="connsiteX59" fmla="*/ 15778605 w 27542354"/>
                <a:gd name="connsiteY59" fmla="*/ 1211398 h 15152939"/>
                <a:gd name="connsiteX60" fmla="*/ 16022739 w 27542354"/>
                <a:gd name="connsiteY60" fmla="*/ 1681548 h 15152939"/>
                <a:gd name="connsiteX61" fmla="*/ 16013694 w 27542354"/>
                <a:gd name="connsiteY61" fmla="*/ 2169778 h 15152939"/>
                <a:gd name="connsiteX62" fmla="*/ 16556232 w 27542354"/>
                <a:gd name="connsiteY62" fmla="*/ 2260200 h 15152939"/>
                <a:gd name="connsiteX63" fmla="*/ 16863663 w 27542354"/>
                <a:gd name="connsiteY63" fmla="*/ 1744834 h 15152939"/>
                <a:gd name="connsiteX64" fmla="*/ 17406193 w 27542354"/>
                <a:gd name="connsiteY64" fmla="*/ 1410312 h 15152939"/>
                <a:gd name="connsiteX65" fmla="*/ 17623203 w 27542354"/>
                <a:gd name="connsiteY65" fmla="*/ 867840 h 15152939"/>
                <a:gd name="connsiteX66" fmla="*/ 18120524 w 27542354"/>
                <a:gd name="connsiteY66" fmla="*/ 831675 h 15152939"/>
                <a:gd name="connsiteX67" fmla="*/ 18201903 w 27542354"/>
                <a:gd name="connsiteY67" fmla="*/ 542358 h 15152939"/>
                <a:gd name="connsiteX68" fmla="*/ 18744437 w 27542354"/>
                <a:gd name="connsiteY68" fmla="*/ 117414 h 15152939"/>
                <a:gd name="connsiteX69" fmla="*/ 19443290 w 27542354"/>
                <a:gd name="connsiteY69" fmla="*/ 0 h 15152939"/>
                <a:gd name="connsiteX70" fmla="*/ 19982300 w 27542354"/>
                <a:gd name="connsiteY70" fmla="*/ 460880 h 15152939"/>
                <a:gd name="connsiteX71" fmla="*/ 19530143 w 27542354"/>
                <a:gd name="connsiteY71" fmla="*/ 913038 h 15152939"/>
                <a:gd name="connsiteX72" fmla="*/ 19837609 w 27542354"/>
                <a:gd name="connsiteY72" fmla="*/ 1238588 h 15152939"/>
                <a:gd name="connsiteX73" fmla="*/ 20886614 w 27542354"/>
                <a:gd name="connsiteY73" fmla="*/ 1546055 h 15152939"/>
                <a:gd name="connsiteX74" fmla="*/ 21881359 w 27542354"/>
                <a:gd name="connsiteY74" fmla="*/ 1889694 h 15152939"/>
                <a:gd name="connsiteX75" fmla="*/ 21772837 w 27542354"/>
                <a:gd name="connsiteY75" fmla="*/ 2269505 h 15152939"/>
                <a:gd name="connsiteX76" fmla="*/ 21537712 w 27542354"/>
                <a:gd name="connsiteY76" fmla="*/ 2884438 h 15152939"/>
                <a:gd name="connsiteX77" fmla="*/ 21996067 w 27542354"/>
                <a:gd name="connsiteY77" fmla="*/ 2911656 h 15152939"/>
                <a:gd name="connsiteX78" fmla="*/ 22478203 w 27542354"/>
                <a:gd name="connsiteY78" fmla="*/ 2414189 h 15152939"/>
                <a:gd name="connsiteX79" fmla="*/ 23292084 w 27542354"/>
                <a:gd name="connsiteY79" fmla="*/ 2016293 h 15152939"/>
                <a:gd name="connsiteX80" fmla="*/ 23888932 w 27542354"/>
                <a:gd name="connsiteY80" fmla="*/ 1998212 h 15152939"/>
                <a:gd name="connsiteX81" fmla="*/ 24612383 w 27542354"/>
                <a:gd name="connsiteY81" fmla="*/ 1582227 h 15152939"/>
                <a:gd name="connsiteX82" fmla="*/ 25010275 w 27542354"/>
                <a:gd name="connsiteY82" fmla="*/ 695990 h 15152939"/>
                <a:gd name="connsiteX83" fmla="*/ 25769899 w 27542354"/>
                <a:gd name="connsiteY83" fmla="*/ 840685 h 15152939"/>
                <a:gd name="connsiteX84" fmla="*/ 26402920 w 27542354"/>
                <a:gd name="connsiteY84" fmla="*/ 876857 h 15152939"/>
                <a:gd name="connsiteX85" fmla="*/ 26240141 w 27542354"/>
                <a:gd name="connsiteY85" fmla="*/ 1491794 h 15152939"/>
                <a:gd name="connsiteX86" fmla="*/ 26554742 w 27542354"/>
                <a:gd name="connsiteY86" fmla="*/ 2052454 h 15152939"/>
                <a:gd name="connsiteX87" fmla="*/ 25679461 w 27542354"/>
                <a:gd name="connsiteY87" fmla="*/ 2775920 h 15152939"/>
                <a:gd name="connsiteX88" fmla="*/ 25751806 w 27542354"/>
                <a:gd name="connsiteY88" fmla="*/ 3806840 h 15152939"/>
                <a:gd name="connsiteX89" fmla="*/ 26157237 w 27542354"/>
                <a:gd name="connsiteY89"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5824148 w 27542354"/>
                <a:gd name="connsiteY4" fmla="*/ 6827228 h 15152939"/>
                <a:gd name="connsiteX5" fmla="*/ 26619948 w 27542354"/>
                <a:gd name="connsiteY5" fmla="*/ 7840060 h 15152939"/>
                <a:gd name="connsiteX6" fmla="*/ 26312478 w 27542354"/>
                <a:gd name="connsiteY6" fmla="*/ 9666777 h 15152939"/>
                <a:gd name="connsiteX7" fmla="*/ 26402912 w 27542354"/>
                <a:gd name="connsiteY7" fmla="*/ 10643437 h 15152939"/>
                <a:gd name="connsiteX8" fmla="*/ 27542355 w 27542354"/>
                <a:gd name="connsiteY8" fmla="*/ 12005935 h 15152939"/>
                <a:gd name="connsiteX9" fmla="*/ 26089423 w 27542354"/>
                <a:gd name="connsiteY9" fmla="*/ 11975789 h 15152939"/>
                <a:gd name="connsiteX10" fmla="*/ 24473715 w 27542354"/>
                <a:gd name="connsiteY10" fmla="*/ 12090334 h 15152939"/>
                <a:gd name="connsiteX11" fmla="*/ 23135328 w 27542354"/>
                <a:gd name="connsiteY11" fmla="*/ 12222964 h 15152939"/>
                <a:gd name="connsiteX12" fmla="*/ 22261159 w 27542354"/>
                <a:gd name="connsiteY12" fmla="*/ 12934357 h 15152939"/>
                <a:gd name="connsiteX13" fmla="*/ 20826342 w 27542354"/>
                <a:gd name="connsiteY13" fmla="*/ 14369204 h 15152939"/>
                <a:gd name="connsiteX14" fmla="*/ 12952786 w 27542354"/>
                <a:gd name="connsiteY14" fmla="*/ 14960014 h 15152939"/>
                <a:gd name="connsiteX15" fmla="*/ 11934663 w 27542354"/>
                <a:gd name="connsiteY15" fmla="*/ 15008264 h 15152939"/>
                <a:gd name="connsiteX16" fmla="*/ 8506848 w 27542354"/>
                <a:gd name="connsiteY16" fmla="*/ 15152939 h 15152939"/>
                <a:gd name="connsiteX17" fmla="*/ 7985095 w 27542354"/>
                <a:gd name="connsiteY17" fmla="*/ 14507857 h 15152939"/>
                <a:gd name="connsiteX18" fmla="*/ 7400308 w 27542354"/>
                <a:gd name="connsiteY18" fmla="*/ 14477712 h 15152939"/>
                <a:gd name="connsiteX19" fmla="*/ 6972273 w 27542354"/>
                <a:gd name="connsiteY19" fmla="*/ 14749009 h 15152939"/>
                <a:gd name="connsiteX20" fmla="*/ 5181729 w 27542354"/>
                <a:gd name="connsiteY20" fmla="*/ 14664610 h 15152939"/>
                <a:gd name="connsiteX21" fmla="*/ 4397998 w 27542354"/>
                <a:gd name="connsiteY21" fmla="*/ 14031593 h 15152939"/>
                <a:gd name="connsiteX22" fmla="*/ 2908896 w 27542354"/>
                <a:gd name="connsiteY22" fmla="*/ 13223739 h 15152939"/>
                <a:gd name="connsiteX23" fmla="*/ 1263043 w 27542354"/>
                <a:gd name="connsiteY23" fmla="*/ 12512346 h 15152939"/>
                <a:gd name="connsiteX24" fmla="*/ 485320 w 27542354"/>
                <a:gd name="connsiteY24" fmla="*/ 12060189 h 15152939"/>
                <a:gd name="connsiteX25" fmla="*/ 0 w 27542354"/>
                <a:gd name="connsiteY25" fmla="*/ 11767077 h 15152939"/>
                <a:gd name="connsiteX26" fmla="*/ 1003686 w 27542354"/>
                <a:gd name="connsiteY26" fmla="*/ 11021112 h 15152939"/>
                <a:gd name="connsiteX27" fmla="*/ 2902551 w 27542354"/>
                <a:gd name="connsiteY27" fmla="*/ 9836713 h 15152939"/>
                <a:gd name="connsiteX28" fmla="*/ 2558940 w 27542354"/>
                <a:gd name="connsiteY28" fmla="*/ 9303282 h 15152939"/>
                <a:gd name="connsiteX29" fmla="*/ 2402508 w 27542354"/>
                <a:gd name="connsiteY29" fmla="*/ 8616199 h 15152939"/>
                <a:gd name="connsiteX30" fmla="*/ 2730740 w 27542354"/>
                <a:gd name="connsiteY30" fmla="*/ 8589028 h 15152939"/>
                <a:gd name="connsiteX31" fmla="*/ 2947754 w 27542354"/>
                <a:gd name="connsiteY31" fmla="*/ 8118883 h 15152939"/>
                <a:gd name="connsiteX32" fmla="*/ 3499325 w 27542354"/>
                <a:gd name="connsiteY32" fmla="*/ 7675866 h 15152939"/>
                <a:gd name="connsiteX33" fmla="*/ 3680166 w 27542354"/>
                <a:gd name="connsiteY33" fmla="*/ 6798868 h 15152939"/>
                <a:gd name="connsiteX34" fmla="*/ 4186528 w 27542354"/>
                <a:gd name="connsiteY34" fmla="*/ 6807904 h 15152939"/>
                <a:gd name="connsiteX35" fmla="*/ 4837569 w 27542354"/>
                <a:gd name="connsiteY35" fmla="*/ 7278054 h 15152939"/>
                <a:gd name="connsiteX36" fmla="*/ 5352976 w 27542354"/>
                <a:gd name="connsiteY36" fmla="*/ 7196687 h 15152939"/>
                <a:gd name="connsiteX37" fmla="*/ 5741786 w 27542354"/>
                <a:gd name="connsiteY37" fmla="*/ 6825992 h 15152939"/>
                <a:gd name="connsiteX38" fmla="*/ 6157723 w 27542354"/>
                <a:gd name="connsiteY38" fmla="*/ 6663251 h 15152939"/>
                <a:gd name="connsiteX39" fmla="*/ 6745471 w 27542354"/>
                <a:gd name="connsiteY39" fmla="*/ 6093658 h 15152939"/>
                <a:gd name="connsiteX40" fmla="*/ 6890140 w 27542354"/>
                <a:gd name="connsiteY40" fmla="*/ 5243782 h 15152939"/>
                <a:gd name="connsiteX41" fmla="*/ 7568305 w 27542354"/>
                <a:gd name="connsiteY41" fmla="*/ 4674188 h 15152939"/>
                <a:gd name="connsiteX42" fmla="*/ 8137967 w 27542354"/>
                <a:gd name="connsiteY42" fmla="*/ 4231167 h 15152939"/>
                <a:gd name="connsiteX43" fmla="*/ 8463480 w 27542354"/>
                <a:gd name="connsiteY43" fmla="*/ 3426500 h 15152939"/>
                <a:gd name="connsiteX44" fmla="*/ 9024093 w 27542354"/>
                <a:gd name="connsiteY44" fmla="*/ 3073893 h 15152939"/>
                <a:gd name="connsiteX45" fmla="*/ 9675138 w 27542354"/>
                <a:gd name="connsiteY45" fmla="*/ 2721291 h 15152939"/>
                <a:gd name="connsiteX46" fmla="*/ 9558580 w 27542354"/>
                <a:gd name="connsiteY46" fmla="*/ 2173007 h 15152939"/>
                <a:gd name="connsiteX47" fmla="*/ 10353296 w 27542354"/>
                <a:gd name="connsiteY47" fmla="*/ 1500723 h 15152939"/>
                <a:gd name="connsiteX48" fmla="*/ 10832530 w 27542354"/>
                <a:gd name="connsiteY48" fmla="*/ 1428389 h 15152939"/>
                <a:gd name="connsiteX49" fmla="*/ 11058585 w 27542354"/>
                <a:gd name="connsiteY49" fmla="*/ 1880458 h 15152939"/>
                <a:gd name="connsiteX50" fmla="*/ 11411229 w 27542354"/>
                <a:gd name="connsiteY50" fmla="*/ 2260189 h 15152939"/>
                <a:gd name="connsiteX51" fmla="*/ 11998974 w 27542354"/>
                <a:gd name="connsiteY51" fmla="*/ 2341559 h 15152939"/>
                <a:gd name="connsiteX52" fmla="*/ 12315449 w 27542354"/>
                <a:gd name="connsiteY52" fmla="*/ 3001571 h 15152939"/>
                <a:gd name="connsiteX53" fmla="*/ 12785642 w 27542354"/>
                <a:gd name="connsiteY53" fmla="*/ 2820742 h 15152939"/>
                <a:gd name="connsiteX54" fmla="*/ 13671776 w 27542354"/>
                <a:gd name="connsiteY54" fmla="*/ 3272803 h 15152939"/>
                <a:gd name="connsiteX55" fmla="*/ 14123886 w 27542354"/>
                <a:gd name="connsiteY55" fmla="*/ 2974450 h 15152939"/>
                <a:gd name="connsiteX56" fmla="*/ 14259509 w 27542354"/>
                <a:gd name="connsiteY56" fmla="*/ 2404849 h 15152939"/>
                <a:gd name="connsiteX57" fmla="*/ 14892468 w 27542354"/>
                <a:gd name="connsiteY57" fmla="*/ 1762918 h 15152939"/>
                <a:gd name="connsiteX58" fmla="*/ 15778605 w 27542354"/>
                <a:gd name="connsiteY58" fmla="*/ 1211398 h 15152939"/>
                <a:gd name="connsiteX59" fmla="*/ 16022739 w 27542354"/>
                <a:gd name="connsiteY59" fmla="*/ 1681548 h 15152939"/>
                <a:gd name="connsiteX60" fmla="*/ 16013694 w 27542354"/>
                <a:gd name="connsiteY60" fmla="*/ 2169778 h 15152939"/>
                <a:gd name="connsiteX61" fmla="*/ 16556232 w 27542354"/>
                <a:gd name="connsiteY61" fmla="*/ 2260200 h 15152939"/>
                <a:gd name="connsiteX62" fmla="*/ 16863663 w 27542354"/>
                <a:gd name="connsiteY62" fmla="*/ 1744834 h 15152939"/>
                <a:gd name="connsiteX63" fmla="*/ 17406193 w 27542354"/>
                <a:gd name="connsiteY63" fmla="*/ 1410312 h 15152939"/>
                <a:gd name="connsiteX64" fmla="*/ 17623203 w 27542354"/>
                <a:gd name="connsiteY64" fmla="*/ 867840 h 15152939"/>
                <a:gd name="connsiteX65" fmla="*/ 18120524 w 27542354"/>
                <a:gd name="connsiteY65" fmla="*/ 831675 h 15152939"/>
                <a:gd name="connsiteX66" fmla="*/ 18201903 w 27542354"/>
                <a:gd name="connsiteY66" fmla="*/ 542358 h 15152939"/>
                <a:gd name="connsiteX67" fmla="*/ 18744437 w 27542354"/>
                <a:gd name="connsiteY67" fmla="*/ 117414 h 15152939"/>
                <a:gd name="connsiteX68" fmla="*/ 19443290 w 27542354"/>
                <a:gd name="connsiteY68" fmla="*/ 0 h 15152939"/>
                <a:gd name="connsiteX69" fmla="*/ 19982300 w 27542354"/>
                <a:gd name="connsiteY69" fmla="*/ 460880 h 15152939"/>
                <a:gd name="connsiteX70" fmla="*/ 19530143 w 27542354"/>
                <a:gd name="connsiteY70" fmla="*/ 913038 h 15152939"/>
                <a:gd name="connsiteX71" fmla="*/ 19837609 w 27542354"/>
                <a:gd name="connsiteY71" fmla="*/ 1238588 h 15152939"/>
                <a:gd name="connsiteX72" fmla="*/ 20886614 w 27542354"/>
                <a:gd name="connsiteY72" fmla="*/ 1546055 h 15152939"/>
                <a:gd name="connsiteX73" fmla="*/ 21881359 w 27542354"/>
                <a:gd name="connsiteY73" fmla="*/ 1889694 h 15152939"/>
                <a:gd name="connsiteX74" fmla="*/ 21772837 w 27542354"/>
                <a:gd name="connsiteY74" fmla="*/ 2269505 h 15152939"/>
                <a:gd name="connsiteX75" fmla="*/ 21537712 w 27542354"/>
                <a:gd name="connsiteY75" fmla="*/ 2884438 h 15152939"/>
                <a:gd name="connsiteX76" fmla="*/ 21996067 w 27542354"/>
                <a:gd name="connsiteY76" fmla="*/ 2911656 h 15152939"/>
                <a:gd name="connsiteX77" fmla="*/ 22478203 w 27542354"/>
                <a:gd name="connsiteY77" fmla="*/ 2414189 h 15152939"/>
                <a:gd name="connsiteX78" fmla="*/ 23292084 w 27542354"/>
                <a:gd name="connsiteY78" fmla="*/ 2016293 h 15152939"/>
                <a:gd name="connsiteX79" fmla="*/ 23888932 w 27542354"/>
                <a:gd name="connsiteY79" fmla="*/ 1998212 h 15152939"/>
                <a:gd name="connsiteX80" fmla="*/ 24612383 w 27542354"/>
                <a:gd name="connsiteY80" fmla="*/ 1582227 h 15152939"/>
                <a:gd name="connsiteX81" fmla="*/ 25010275 w 27542354"/>
                <a:gd name="connsiteY81" fmla="*/ 695990 h 15152939"/>
                <a:gd name="connsiteX82" fmla="*/ 25769899 w 27542354"/>
                <a:gd name="connsiteY82" fmla="*/ 840685 h 15152939"/>
                <a:gd name="connsiteX83" fmla="*/ 26402920 w 27542354"/>
                <a:gd name="connsiteY83" fmla="*/ 876857 h 15152939"/>
                <a:gd name="connsiteX84" fmla="*/ 26240141 w 27542354"/>
                <a:gd name="connsiteY84" fmla="*/ 1491794 h 15152939"/>
                <a:gd name="connsiteX85" fmla="*/ 26554742 w 27542354"/>
                <a:gd name="connsiteY85" fmla="*/ 2052454 h 15152939"/>
                <a:gd name="connsiteX86" fmla="*/ 25679461 w 27542354"/>
                <a:gd name="connsiteY86" fmla="*/ 2775920 h 15152939"/>
                <a:gd name="connsiteX87" fmla="*/ 25751806 w 27542354"/>
                <a:gd name="connsiteY87" fmla="*/ 3806840 h 15152939"/>
                <a:gd name="connsiteX88" fmla="*/ 26157237 w 27542354"/>
                <a:gd name="connsiteY88" fmla="*/ 4322377 h 15152939"/>
                <a:gd name="connsiteX0" fmla="*/ 26157237 w 27542354"/>
                <a:gd name="connsiteY0" fmla="*/ 4322377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5769899 w 27542354"/>
                <a:gd name="connsiteY81" fmla="*/ 840685 h 15152939"/>
                <a:gd name="connsiteX82" fmla="*/ 26402920 w 27542354"/>
                <a:gd name="connsiteY82" fmla="*/ 876857 h 15152939"/>
                <a:gd name="connsiteX83" fmla="*/ 26240141 w 27542354"/>
                <a:gd name="connsiteY83" fmla="*/ 1491794 h 15152939"/>
                <a:gd name="connsiteX84" fmla="*/ 26554742 w 27542354"/>
                <a:gd name="connsiteY84" fmla="*/ 2052454 h 15152939"/>
                <a:gd name="connsiteX85" fmla="*/ 25679461 w 27542354"/>
                <a:gd name="connsiteY85" fmla="*/ 2775920 h 15152939"/>
                <a:gd name="connsiteX86" fmla="*/ 25751806 w 27542354"/>
                <a:gd name="connsiteY86" fmla="*/ 3806840 h 15152939"/>
                <a:gd name="connsiteX87" fmla="*/ 26157237 w 27542354"/>
                <a:gd name="connsiteY87" fmla="*/ 4322377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5769899 w 27542354"/>
                <a:gd name="connsiteY81" fmla="*/ 840685 h 15152939"/>
                <a:gd name="connsiteX82" fmla="*/ 26402920 w 27542354"/>
                <a:gd name="connsiteY82" fmla="*/ 876857 h 15152939"/>
                <a:gd name="connsiteX83" fmla="*/ 26240141 w 27542354"/>
                <a:gd name="connsiteY83" fmla="*/ 1491794 h 15152939"/>
                <a:gd name="connsiteX84" fmla="*/ 26554742 w 27542354"/>
                <a:gd name="connsiteY84" fmla="*/ 2052454 h 15152939"/>
                <a:gd name="connsiteX85" fmla="*/ 25679461 w 27542354"/>
                <a:gd name="connsiteY85" fmla="*/ 2775920 h 15152939"/>
                <a:gd name="connsiteX86" fmla="*/ 25751806 w 27542354"/>
                <a:gd name="connsiteY86"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5769899 w 27542354"/>
                <a:gd name="connsiteY81" fmla="*/ 840685 h 15152939"/>
                <a:gd name="connsiteX82" fmla="*/ 26402920 w 27542354"/>
                <a:gd name="connsiteY82" fmla="*/ 876857 h 15152939"/>
                <a:gd name="connsiteX83" fmla="*/ 26240141 w 27542354"/>
                <a:gd name="connsiteY83" fmla="*/ 1491794 h 15152939"/>
                <a:gd name="connsiteX84" fmla="*/ 26554742 w 27542354"/>
                <a:gd name="connsiteY84" fmla="*/ 2052454 h 15152939"/>
                <a:gd name="connsiteX85" fmla="*/ 25751806 w 27542354"/>
                <a:gd name="connsiteY85"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5769899 w 27542354"/>
                <a:gd name="connsiteY81" fmla="*/ 840685 h 15152939"/>
                <a:gd name="connsiteX82" fmla="*/ 26402920 w 27542354"/>
                <a:gd name="connsiteY82" fmla="*/ 876857 h 15152939"/>
                <a:gd name="connsiteX83" fmla="*/ 26554742 w 27542354"/>
                <a:gd name="connsiteY83" fmla="*/ 2052454 h 15152939"/>
                <a:gd name="connsiteX84" fmla="*/ 25751806 w 27542354"/>
                <a:gd name="connsiteY84"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6402920 w 27542354"/>
                <a:gd name="connsiteY81" fmla="*/ 876857 h 15152939"/>
                <a:gd name="connsiteX82" fmla="*/ 26554742 w 27542354"/>
                <a:gd name="connsiteY82" fmla="*/ 2052454 h 15152939"/>
                <a:gd name="connsiteX83" fmla="*/ 25751806 w 27542354"/>
                <a:gd name="connsiteY83"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5010275 w 27542354"/>
                <a:gd name="connsiteY79" fmla="*/ 695990 h 15152939"/>
                <a:gd name="connsiteX80" fmla="*/ 26402920 w 27542354"/>
                <a:gd name="connsiteY80" fmla="*/ 876857 h 15152939"/>
                <a:gd name="connsiteX81" fmla="*/ 26554742 w 27542354"/>
                <a:gd name="connsiteY81" fmla="*/ 2052454 h 15152939"/>
                <a:gd name="connsiteX82" fmla="*/ 25751806 w 27542354"/>
                <a:gd name="connsiteY82"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888932 w 27542354"/>
                <a:gd name="connsiteY77" fmla="*/ 1998212 h 15152939"/>
                <a:gd name="connsiteX78" fmla="*/ 25010275 w 27542354"/>
                <a:gd name="connsiteY78" fmla="*/ 695990 h 15152939"/>
                <a:gd name="connsiteX79" fmla="*/ 26402920 w 27542354"/>
                <a:gd name="connsiteY79" fmla="*/ 876857 h 15152939"/>
                <a:gd name="connsiteX80" fmla="*/ 26554742 w 27542354"/>
                <a:gd name="connsiteY80" fmla="*/ 2052454 h 15152939"/>
                <a:gd name="connsiteX81" fmla="*/ 25751806 w 27542354"/>
                <a:gd name="connsiteY81"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2478203 w 27542354"/>
                <a:gd name="connsiteY75" fmla="*/ 2414189 h 15152939"/>
                <a:gd name="connsiteX76" fmla="*/ 23888932 w 27542354"/>
                <a:gd name="connsiteY76" fmla="*/ 1998212 h 15152939"/>
                <a:gd name="connsiteX77" fmla="*/ 25010275 w 27542354"/>
                <a:gd name="connsiteY77" fmla="*/ 695990 h 15152939"/>
                <a:gd name="connsiteX78" fmla="*/ 26402920 w 27542354"/>
                <a:gd name="connsiteY78" fmla="*/ 876857 h 15152939"/>
                <a:gd name="connsiteX79" fmla="*/ 26554742 w 27542354"/>
                <a:gd name="connsiteY79" fmla="*/ 2052454 h 15152939"/>
                <a:gd name="connsiteX80" fmla="*/ 25751806 w 27542354"/>
                <a:gd name="connsiteY80"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537712 w 27542354"/>
                <a:gd name="connsiteY73" fmla="*/ 2884438 h 15152939"/>
                <a:gd name="connsiteX74" fmla="*/ 22478203 w 27542354"/>
                <a:gd name="connsiteY74" fmla="*/ 2414189 h 15152939"/>
                <a:gd name="connsiteX75" fmla="*/ 23888932 w 27542354"/>
                <a:gd name="connsiteY75" fmla="*/ 1998212 h 15152939"/>
                <a:gd name="connsiteX76" fmla="*/ 25010275 w 27542354"/>
                <a:gd name="connsiteY76" fmla="*/ 695990 h 15152939"/>
                <a:gd name="connsiteX77" fmla="*/ 26402920 w 27542354"/>
                <a:gd name="connsiteY77" fmla="*/ 876857 h 15152939"/>
                <a:gd name="connsiteX78" fmla="*/ 26554742 w 27542354"/>
                <a:gd name="connsiteY78" fmla="*/ 2052454 h 15152939"/>
                <a:gd name="connsiteX79" fmla="*/ 25751806 w 27542354"/>
                <a:gd name="connsiteY79"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1881359 w 27542354"/>
                <a:gd name="connsiteY71" fmla="*/ 1889694 h 15152939"/>
                <a:gd name="connsiteX72" fmla="*/ 21537712 w 27542354"/>
                <a:gd name="connsiteY72" fmla="*/ 2884438 h 15152939"/>
                <a:gd name="connsiteX73" fmla="*/ 22478203 w 27542354"/>
                <a:gd name="connsiteY73" fmla="*/ 2414189 h 15152939"/>
                <a:gd name="connsiteX74" fmla="*/ 23888932 w 27542354"/>
                <a:gd name="connsiteY74" fmla="*/ 1998212 h 15152939"/>
                <a:gd name="connsiteX75" fmla="*/ 25010275 w 27542354"/>
                <a:gd name="connsiteY75" fmla="*/ 695990 h 15152939"/>
                <a:gd name="connsiteX76" fmla="*/ 26402920 w 27542354"/>
                <a:gd name="connsiteY76" fmla="*/ 876857 h 15152939"/>
                <a:gd name="connsiteX77" fmla="*/ 26554742 w 27542354"/>
                <a:gd name="connsiteY77" fmla="*/ 2052454 h 15152939"/>
                <a:gd name="connsiteX78" fmla="*/ 25751806 w 27542354"/>
                <a:gd name="connsiteY78"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837609 w 27542354"/>
                <a:gd name="connsiteY69" fmla="*/ 1238588 h 15152939"/>
                <a:gd name="connsiteX70" fmla="*/ 21881359 w 27542354"/>
                <a:gd name="connsiteY70" fmla="*/ 1889694 h 15152939"/>
                <a:gd name="connsiteX71" fmla="*/ 21537712 w 27542354"/>
                <a:gd name="connsiteY71" fmla="*/ 2884438 h 15152939"/>
                <a:gd name="connsiteX72" fmla="*/ 22478203 w 27542354"/>
                <a:gd name="connsiteY72" fmla="*/ 2414189 h 15152939"/>
                <a:gd name="connsiteX73" fmla="*/ 23888932 w 27542354"/>
                <a:gd name="connsiteY73" fmla="*/ 1998212 h 15152939"/>
                <a:gd name="connsiteX74" fmla="*/ 25010275 w 27542354"/>
                <a:gd name="connsiteY74" fmla="*/ 695990 h 15152939"/>
                <a:gd name="connsiteX75" fmla="*/ 26402920 w 27542354"/>
                <a:gd name="connsiteY75" fmla="*/ 876857 h 15152939"/>
                <a:gd name="connsiteX76" fmla="*/ 26554742 w 27542354"/>
                <a:gd name="connsiteY76" fmla="*/ 2052454 h 15152939"/>
                <a:gd name="connsiteX77" fmla="*/ 25751806 w 27542354"/>
                <a:gd name="connsiteY77" fmla="*/ 3806840 h 15152939"/>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013694 w 27542354"/>
                <a:gd name="connsiteY59" fmla="*/ 2052363 h 15035524"/>
                <a:gd name="connsiteX60" fmla="*/ 16556232 w 27542354"/>
                <a:gd name="connsiteY60" fmla="*/ 2142785 h 15035524"/>
                <a:gd name="connsiteX61" fmla="*/ 16863663 w 27542354"/>
                <a:gd name="connsiteY61" fmla="*/ 1627419 h 15035524"/>
                <a:gd name="connsiteX62" fmla="*/ 17406193 w 27542354"/>
                <a:gd name="connsiteY62" fmla="*/ 1292897 h 15035524"/>
                <a:gd name="connsiteX63" fmla="*/ 17623203 w 27542354"/>
                <a:gd name="connsiteY63" fmla="*/ 750425 h 15035524"/>
                <a:gd name="connsiteX64" fmla="*/ 18120524 w 27542354"/>
                <a:gd name="connsiteY64" fmla="*/ 714260 h 15035524"/>
                <a:gd name="connsiteX65" fmla="*/ 18201903 w 27542354"/>
                <a:gd name="connsiteY65" fmla="*/ 424943 h 15035524"/>
                <a:gd name="connsiteX66" fmla="*/ 18744437 w 27542354"/>
                <a:gd name="connsiteY66" fmla="*/ -1 h 15035524"/>
                <a:gd name="connsiteX67" fmla="*/ 19982300 w 27542354"/>
                <a:gd name="connsiteY67" fmla="*/ 343465 h 15035524"/>
                <a:gd name="connsiteX68" fmla="*/ 19837609 w 27542354"/>
                <a:gd name="connsiteY68" fmla="*/ 1121173 h 15035524"/>
                <a:gd name="connsiteX69" fmla="*/ 21881359 w 27542354"/>
                <a:gd name="connsiteY69" fmla="*/ 1772279 h 15035524"/>
                <a:gd name="connsiteX70" fmla="*/ 21537712 w 27542354"/>
                <a:gd name="connsiteY70" fmla="*/ 2767023 h 15035524"/>
                <a:gd name="connsiteX71" fmla="*/ 22478203 w 27542354"/>
                <a:gd name="connsiteY71" fmla="*/ 2296774 h 15035524"/>
                <a:gd name="connsiteX72" fmla="*/ 23888932 w 27542354"/>
                <a:gd name="connsiteY72" fmla="*/ 1880797 h 15035524"/>
                <a:gd name="connsiteX73" fmla="*/ 25010275 w 27542354"/>
                <a:gd name="connsiteY73" fmla="*/ 578575 h 15035524"/>
                <a:gd name="connsiteX74" fmla="*/ 26402920 w 27542354"/>
                <a:gd name="connsiteY74" fmla="*/ 759442 h 15035524"/>
                <a:gd name="connsiteX75" fmla="*/ 26554742 w 27542354"/>
                <a:gd name="connsiteY75" fmla="*/ 1935039 h 15035524"/>
                <a:gd name="connsiteX76" fmla="*/ 25751806 w 27542354"/>
                <a:gd name="connsiteY76"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013694 w 27542354"/>
                <a:gd name="connsiteY59" fmla="*/ 2052363 h 15035524"/>
                <a:gd name="connsiteX60" fmla="*/ 16556232 w 27542354"/>
                <a:gd name="connsiteY60" fmla="*/ 2142785 h 15035524"/>
                <a:gd name="connsiteX61" fmla="*/ 16863663 w 27542354"/>
                <a:gd name="connsiteY61" fmla="*/ 1627419 h 15035524"/>
                <a:gd name="connsiteX62" fmla="*/ 17406193 w 27542354"/>
                <a:gd name="connsiteY62" fmla="*/ 1292897 h 15035524"/>
                <a:gd name="connsiteX63" fmla="*/ 17623203 w 27542354"/>
                <a:gd name="connsiteY63" fmla="*/ 750425 h 15035524"/>
                <a:gd name="connsiteX64" fmla="*/ 18120524 w 27542354"/>
                <a:gd name="connsiteY64" fmla="*/ 714260 h 15035524"/>
                <a:gd name="connsiteX65" fmla="*/ 18744437 w 27542354"/>
                <a:gd name="connsiteY65" fmla="*/ -1 h 15035524"/>
                <a:gd name="connsiteX66" fmla="*/ 19982300 w 27542354"/>
                <a:gd name="connsiteY66" fmla="*/ 343465 h 15035524"/>
                <a:gd name="connsiteX67" fmla="*/ 19837609 w 27542354"/>
                <a:gd name="connsiteY67" fmla="*/ 1121173 h 15035524"/>
                <a:gd name="connsiteX68" fmla="*/ 21881359 w 27542354"/>
                <a:gd name="connsiteY68" fmla="*/ 1772279 h 15035524"/>
                <a:gd name="connsiteX69" fmla="*/ 21537712 w 27542354"/>
                <a:gd name="connsiteY69" fmla="*/ 2767023 h 15035524"/>
                <a:gd name="connsiteX70" fmla="*/ 22478203 w 27542354"/>
                <a:gd name="connsiteY70" fmla="*/ 2296774 h 15035524"/>
                <a:gd name="connsiteX71" fmla="*/ 23888932 w 27542354"/>
                <a:gd name="connsiteY71" fmla="*/ 1880797 h 15035524"/>
                <a:gd name="connsiteX72" fmla="*/ 25010275 w 27542354"/>
                <a:gd name="connsiteY72" fmla="*/ 578575 h 15035524"/>
                <a:gd name="connsiteX73" fmla="*/ 26402920 w 27542354"/>
                <a:gd name="connsiteY73" fmla="*/ 759442 h 15035524"/>
                <a:gd name="connsiteX74" fmla="*/ 26554742 w 27542354"/>
                <a:gd name="connsiteY74" fmla="*/ 1935039 h 15035524"/>
                <a:gd name="connsiteX75" fmla="*/ 25751806 w 27542354"/>
                <a:gd name="connsiteY75"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013694 w 27542354"/>
                <a:gd name="connsiteY59" fmla="*/ 2052363 h 15035524"/>
                <a:gd name="connsiteX60" fmla="*/ 16556232 w 27542354"/>
                <a:gd name="connsiteY60" fmla="*/ 2142785 h 15035524"/>
                <a:gd name="connsiteX61" fmla="*/ 16863663 w 27542354"/>
                <a:gd name="connsiteY61" fmla="*/ 1627419 h 15035524"/>
                <a:gd name="connsiteX62" fmla="*/ 17406193 w 27542354"/>
                <a:gd name="connsiteY62" fmla="*/ 1292897 h 15035524"/>
                <a:gd name="connsiteX63" fmla="*/ 18120524 w 27542354"/>
                <a:gd name="connsiteY63" fmla="*/ 714260 h 15035524"/>
                <a:gd name="connsiteX64" fmla="*/ 18744437 w 27542354"/>
                <a:gd name="connsiteY64" fmla="*/ -1 h 15035524"/>
                <a:gd name="connsiteX65" fmla="*/ 19982300 w 27542354"/>
                <a:gd name="connsiteY65" fmla="*/ 343465 h 15035524"/>
                <a:gd name="connsiteX66" fmla="*/ 19837609 w 27542354"/>
                <a:gd name="connsiteY66" fmla="*/ 1121173 h 15035524"/>
                <a:gd name="connsiteX67" fmla="*/ 21881359 w 27542354"/>
                <a:gd name="connsiteY67" fmla="*/ 1772279 h 15035524"/>
                <a:gd name="connsiteX68" fmla="*/ 21537712 w 27542354"/>
                <a:gd name="connsiteY68" fmla="*/ 2767023 h 15035524"/>
                <a:gd name="connsiteX69" fmla="*/ 22478203 w 27542354"/>
                <a:gd name="connsiteY69" fmla="*/ 2296774 h 15035524"/>
                <a:gd name="connsiteX70" fmla="*/ 23888932 w 27542354"/>
                <a:gd name="connsiteY70" fmla="*/ 1880797 h 15035524"/>
                <a:gd name="connsiteX71" fmla="*/ 25010275 w 27542354"/>
                <a:gd name="connsiteY71" fmla="*/ 578575 h 15035524"/>
                <a:gd name="connsiteX72" fmla="*/ 26402920 w 27542354"/>
                <a:gd name="connsiteY72" fmla="*/ 759442 h 15035524"/>
                <a:gd name="connsiteX73" fmla="*/ 26554742 w 27542354"/>
                <a:gd name="connsiteY73" fmla="*/ 1935039 h 15035524"/>
                <a:gd name="connsiteX74" fmla="*/ 25751806 w 27542354"/>
                <a:gd name="connsiteY74"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013694 w 27542354"/>
                <a:gd name="connsiteY59" fmla="*/ 2052363 h 15035524"/>
                <a:gd name="connsiteX60" fmla="*/ 16556232 w 27542354"/>
                <a:gd name="connsiteY60" fmla="*/ 2142785 h 15035524"/>
                <a:gd name="connsiteX61" fmla="*/ 17406193 w 27542354"/>
                <a:gd name="connsiteY61" fmla="*/ 1292897 h 15035524"/>
                <a:gd name="connsiteX62" fmla="*/ 18120524 w 27542354"/>
                <a:gd name="connsiteY62" fmla="*/ 714260 h 15035524"/>
                <a:gd name="connsiteX63" fmla="*/ 18744437 w 27542354"/>
                <a:gd name="connsiteY63" fmla="*/ -1 h 15035524"/>
                <a:gd name="connsiteX64" fmla="*/ 19982300 w 27542354"/>
                <a:gd name="connsiteY64" fmla="*/ 343465 h 15035524"/>
                <a:gd name="connsiteX65" fmla="*/ 19837609 w 27542354"/>
                <a:gd name="connsiteY65" fmla="*/ 1121173 h 15035524"/>
                <a:gd name="connsiteX66" fmla="*/ 21881359 w 27542354"/>
                <a:gd name="connsiteY66" fmla="*/ 1772279 h 15035524"/>
                <a:gd name="connsiteX67" fmla="*/ 21537712 w 27542354"/>
                <a:gd name="connsiteY67" fmla="*/ 2767023 h 15035524"/>
                <a:gd name="connsiteX68" fmla="*/ 22478203 w 27542354"/>
                <a:gd name="connsiteY68" fmla="*/ 2296774 h 15035524"/>
                <a:gd name="connsiteX69" fmla="*/ 23888932 w 27542354"/>
                <a:gd name="connsiteY69" fmla="*/ 1880797 h 15035524"/>
                <a:gd name="connsiteX70" fmla="*/ 25010275 w 27542354"/>
                <a:gd name="connsiteY70" fmla="*/ 578575 h 15035524"/>
                <a:gd name="connsiteX71" fmla="*/ 26402920 w 27542354"/>
                <a:gd name="connsiteY71" fmla="*/ 759442 h 15035524"/>
                <a:gd name="connsiteX72" fmla="*/ 26554742 w 27542354"/>
                <a:gd name="connsiteY72" fmla="*/ 1935039 h 15035524"/>
                <a:gd name="connsiteX73" fmla="*/ 25751806 w 27542354"/>
                <a:gd name="connsiteY73"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16081136 w 27542354"/>
                <a:gd name="connsiteY12" fmla="*/ 11254718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13276149 w 27542354"/>
                <a:gd name="connsiteY11" fmla="*/ 11528479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14150319 w 27542354"/>
                <a:gd name="connsiteY10" fmla="*/ 11405301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14618283 w 27542354"/>
                <a:gd name="connsiteY9" fmla="*/ 10516400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15011380 w 27542354"/>
                <a:gd name="connsiteY9" fmla="*/ 11048592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13482332 w 27542354"/>
                <a:gd name="connsiteY8" fmla="*/ 8749261 h 15035524"/>
                <a:gd name="connsiteX9" fmla="*/ 15011380 w 27542354"/>
                <a:gd name="connsiteY9" fmla="*/ 11048592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15195097 w 27542354"/>
                <a:gd name="connsiteY8" fmla="*/ 10093742 h 15035524"/>
                <a:gd name="connsiteX9" fmla="*/ 15011380 w 27542354"/>
                <a:gd name="connsiteY9" fmla="*/ 11048592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26312478 w 26619949"/>
                <a:gd name="connsiteY5" fmla="*/ 9549362 h 15035524"/>
                <a:gd name="connsiteX6" fmla="*/ 26402912 w 26619949"/>
                <a:gd name="connsiteY6" fmla="*/ 10526022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26312478 w 26619949"/>
                <a:gd name="connsiteY5" fmla="*/ 9549362 h 15035524"/>
                <a:gd name="connsiteX6" fmla="*/ 14862794 w 26619949"/>
                <a:gd name="connsiteY6" fmla="*/ 7108798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26312478 w 26619949"/>
                <a:gd name="connsiteY5" fmla="*/ 9549362 h 15035524"/>
                <a:gd name="connsiteX6" fmla="*/ 16070155 w 26619949"/>
                <a:gd name="connsiteY6" fmla="*/ 9937808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15193523 w 26619949"/>
                <a:gd name="connsiteY5" fmla="*/ 6720348 h 15035524"/>
                <a:gd name="connsiteX6" fmla="*/ 16070155 w 26619949"/>
                <a:gd name="connsiteY6" fmla="*/ 9937808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16372801 w 26619949"/>
                <a:gd name="connsiteY5" fmla="*/ 9717422 h 15035524"/>
                <a:gd name="connsiteX6" fmla="*/ 16070155 w 26619949"/>
                <a:gd name="connsiteY6" fmla="*/ 9937808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554741"/>
                <a:gd name="connsiteY0" fmla="*/ 3689425 h 15035524"/>
                <a:gd name="connsiteX1" fmla="*/ 25950755 w 26554741"/>
                <a:gd name="connsiteY1" fmla="*/ 4828850 h 15035524"/>
                <a:gd name="connsiteX2" fmla="*/ 26439085 w 26554741"/>
                <a:gd name="connsiteY2" fmla="*/ 5986362 h 15035524"/>
                <a:gd name="connsiteX3" fmla="*/ 25824148 w 26554741"/>
                <a:gd name="connsiteY3" fmla="*/ 6709813 h 15035524"/>
                <a:gd name="connsiteX4" fmla="*/ 14321716 w 26554741"/>
                <a:gd name="connsiteY4" fmla="*/ 6574229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26439085 w 26554741"/>
                <a:gd name="connsiteY2" fmla="*/ 5986362 h 15035524"/>
                <a:gd name="connsiteX3" fmla="*/ 25824148 w 26554741"/>
                <a:gd name="connsiteY3" fmla="*/ 6709813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26439085 w 26554741"/>
                <a:gd name="connsiteY2" fmla="*/ 5986362 h 15035524"/>
                <a:gd name="connsiteX3" fmla="*/ 14340183 w 26554741"/>
                <a:gd name="connsiteY3" fmla="*/ 7354046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26439085 w 26554741"/>
                <a:gd name="connsiteY2" fmla="*/ 5986362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15179740 w 26554741"/>
                <a:gd name="connsiteY2" fmla="*/ 7863038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15505685 w 26554741"/>
                <a:gd name="connsiteY1" fmla="*/ 7181691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16432262 w 26554741"/>
                <a:gd name="connsiteY1" fmla="*/ 7825917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15138264 w 26554741"/>
                <a:gd name="connsiteY0" fmla="*/ 6406394 h 15035524"/>
                <a:gd name="connsiteX1" fmla="*/ 16432262 w 26554741"/>
                <a:gd name="connsiteY1" fmla="*/ 7825917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15138264 w 26554741"/>
                <a:gd name="connsiteY72" fmla="*/ 6406394 h 15035524"/>
                <a:gd name="connsiteX0" fmla="*/ 16682563 w 26554741"/>
                <a:gd name="connsiteY0" fmla="*/ 6798531 h 15035524"/>
                <a:gd name="connsiteX1" fmla="*/ 16432262 w 26554741"/>
                <a:gd name="connsiteY1" fmla="*/ 7825917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16682563 w 26554741"/>
                <a:gd name="connsiteY72" fmla="*/ 6798531 h 15035524"/>
                <a:gd name="connsiteX0" fmla="*/ 16682563 w 26402921"/>
                <a:gd name="connsiteY0" fmla="*/ 6798531 h 15035524"/>
                <a:gd name="connsiteX1" fmla="*/ 16432262 w 26402921"/>
                <a:gd name="connsiteY1" fmla="*/ 7825917 h 15035524"/>
                <a:gd name="connsiteX2" fmla="*/ 16106317 w 26402921"/>
                <a:gd name="connsiteY2" fmla="*/ 8367221 h 15035524"/>
                <a:gd name="connsiteX3" fmla="*/ 16305649 w 26402921"/>
                <a:gd name="connsiteY3" fmla="*/ 8754550 h 15035524"/>
                <a:gd name="connsiteX4" fmla="*/ 16287189 w 26402921"/>
                <a:gd name="connsiteY4" fmla="*/ 9151157 h 15035524"/>
                <a:gd name="connsiteX5" fmla="*/ 16372801 w 26402921"/>
                <a:gd name="connsiteY5" fmla="*/ 9717422 h 15035524"/>
                <a:gd name="connsiteX6" fmla="*/ 16070155 w 26402921"/>
                <a:gd name="connsiteY6" fmla="*/ 9937808 h 15035524"/>
                <a:gd name="connsiteX7" fmla="*/ 15805690 w 26402921"/>
                <a:gd name="connsiteY7" fmla="*/ 10431999 h 15035524"/>
                <a:gd name="connsiteX8" fmla="*/ 15195097 w 26402921"/>
                <a:gd name="connsiteY8" fmla="*/ 10093742 h 15035524"/>
                <a:gd name="connsiteX9" fmla="*/ 15011380 w 26402921"/>
                <a:gd name="connsiteY9" fmla="*/ 11048592 h 15035524"/>
                <a:gd name="connsiteX10" fmla="*/ 14908430 w 26402921"/>
                <a:gd name="connsiteY10" fmla="*/ 11937487 h 15035524"/>
                <a:gd name="connsiteX11" fmla="*/ 14904684 w 26402921"/>
                <a:gd name="connsiteY11" fmla="*/ 12760926 h 15035524"/>
                <a:gd name="connsiteX12" fmla="*/ 14929927 w 26402921"/>
                <a:gd name="connsiteY12" fmla="*/ 14391846 h 15035524"/>
                <a:gd name="connsiteX13" fmla="*/ 12952786 w 26402921"/>
                <a:gd name="connsiteY13" fmla="*/ 14842599 h 15035524"/>
                <a:gd name="connsiteX14" fmla="*/ 11934663 w 26402921"/>
                <a:gd name="connsiteY14" fmla="*/ 14890849 h 15035524"/>
                <a:gd name="connsiteX15" fmla="*/ 8506848 w 26402921"/>
                <a:gd name="connsiteY15" fmla="*/ 15035524 h 15035524"/>
                <a:gd name="connsiteX16" fmla="*/ 7985095 w 26402921"/>
                <a:gd name="connsiteY16" fmla="*/ 14390442 h 15035524"/>
                <a:gd name="connsiteX17" fmla="*/ 7400308 w 26402921"/>
                <a:gd name="connsiteY17" fmla="*/ 14360297 h 15035524"/>
                <a:gd name="connsiteX18" fmla="*/ 6972273 w 26402921"/>
                <a:gd name="connsiteY18" fmla="*/ 14631594 h 15035524"/>
                <a:gd name="connsiteX19" fmla="*/ 5181729 w 26402921"/>
                <a:gd name="connsiteY19" fmla="*/ 14547195 h 15035524"/>
                <a:gd name="connsiteX20" fmla="*/ 4397998 w 26402921"/>
                <a:gd name="connsiteY20" fmla="*/ 13914178 h 15035524"/>
                <a:gd name="connsiteX21" fmla="*/ 2908896 w 26402921"/>
                <a:gd name="connsiteY21" fmla="*/ 13106324 h 15035524"/>
                <a:gd name="connsiteX22" fmla="*/ 1263043 w 26402921"/>
                <a:gd name="connsiteY22" fmla="*/ 12394931 h 15035524"/>
                <a:gd name="connsiteX23" fmla="*/ 485320 w 26402921"/>
                <a:gd name="connsiteY23" fmla="*/ 11942774 h 15035524"/>
                <a:gd name="connsiteX24" fmla="*/ 0 w 26402921"/>
                <a:gd name="connsiteY24" fmla="*/ 11649662 h 15035524"/>
                <a:gd name="connsiteX25" fmla="*/ 1003686 w 26402921"/>
                <a:gd name="connsiteY25" fmla="*/ 10903697 h 15035524"/>
                <a:gd name="connsiteX26" fmla="*/ 2902551 w 26402921"/>
                <a:gd name="connsiteY26" fmla="*/ 9719298 h 15035524"/>
                <a:gd name="connsiteX27" fmla="*/ 2558940 w 26402921"/>
                <a:gd name="connsiteY27" fmla="*/ 9185867 h 15035524"/>
                <a:gd name="connsiteX28" fmla="*/ 2402508 w 26402921"/>
                <a:gd name="connsiteY28" fmla="*/ 8498784 h 15035524"/>
                <a:gd name="connsiteX29" fmla="*/ 2730740 w 26402921"/>
                <a:gd name="connsiteY29" fmla="*/ 8471613 h 15035524"/>
                <a:gd name="connsiteX30" fmla="*/ 2947754 w 26402921"/>
                <a:gd name="connsiteY30" fmla="*/ 8001468 h 15035524"/>
                <a:gd name="connsiteX31" fmla="*/ 3499325 w 26402921"/>
                <a:gd name="connsiteY31" fmla="*/ 7558451 h 15035524"/>
                <a:gd name="connsiteX32" fmla="*/ 3680166 w 26402921"/>
                <a:gd name="connsiteY32" fmla="*/ 6681453 h 15035524"/>
                <a:gd name="connsiteX33" fmla="*/ 4186528 w 26402921"/>
                <a:gd name="connsiteY33" fmla="*/ 6690489 h 15035524"/>
                <a:gd name="connsiteX34" fmla="*/ 4837569 w 26402921"/>
                <a:gd name="connsiteY34" fmla="*/ 7160639 h 15035524"/>
                <a:gd name="connsiteX35" fmla="*/ 5352976 w 26402921"/>
                <a:gd name="connsiteY35" fmla="*/ 7079272 h 15035524"/>
                <a:gd name="connsiteX36" fmla="*/ 5741786 w 26402921"/>
                <a:gd name="connsiteY36" fmla="*/ 6708577 h 15035524"/>
                <a:gd name="connsiteX37" fmla="*/ 6157723 w 26402921"/>
                <a:gd name="connsiteY37" fmla="*/ 6545836 h 15035524"/>
                <a:gd name="connsiteX38" fmla="*/ 6745471 w 26402921"/>
                <a:gd name="connsiteY38" fmla="*/ 5976243 h 15035524"/>
                <a:gd name="connsiteX39" fmla="*/ 6890140 w 26402921"/>
                <a:gd name="connsiteY39" fmla="*/ 5126367 h 15035524"/>
                <a:gd name="connsiteX40" fmla="*/ 7568305 w 26402921"/>
                <a:gd name="connsiteY40" fmla="*/ 4556773 h 15035524"/>
                <a:gd name="connsiteX41" fmla="*/ 8137967 w 26402921"/>
                <a:gd name="connsiteY41" fmla="*/ 4113752 h 15035524"/>
                <a:gd name="connsiteX42" fmla="*/ 8463480 w 26402921"/>
                <a:gd name="connsiteY42" fmla="*/ 3309085 h 15035524"/>
                <a:gd name="connsiteX43" fmla="*/ 9024093 w 26402921"/>
                <a:gd name="connsiteY43" fmla="*/ 2956478 h 15035524"/>
                <a:gd name="connsiteX44" fmla="*/ 9675138 w 26402921"/>
                <a:gd name="connsiteY44" fmla="*/ 2603876 h 15035524"/>
                <a:gd name="connsiteX45" fmla="*/ 9558580 w 26402921"/>
                <a:gd name="connsiteY45" fmla="*/ 2055592 h 15035524"/>
                <a:gd name="connsiteX46" fmla="*/ 10353296 w 26402921"/>
                <a:gd name="connsiteY46" fmla="*/ 1383308 h 15035524"/>
                <a:gd name="connsiteX47" fmla="*/ 10832530 w 26402921"/>
                <a:gd name="connsiteY47" fmla="*/ 1310974 h 15035524"/>
                <a:gd name="connsiteX48" fmla="*/ 11058585 w 26402921"/>
                <a:gd name="connsiteY48" fmla="*/ 1763043 h 15035524"/>
                <a:gd name="connsiteX49" fmla="*/ 11411229 w 26402921"/>
                <a:gd name="connsiteY49" fmla="*/ 2142774 h 15035524"/>
                <a:gd name="connsiteX50" fmla="*/ 11998974 w 26402921"/>
                <a:gd name="connsiteY50" fmla="*/ 2224144 h 15035524"/>
                <a:gd name="connsiteX51" fmla="*/ 12315449 w 26402921"/>
                <a:gd name="connsiteY51" fmla="*/ 2884156 h 15035524"/>
                <a:gd name="connsiteX52" fmla="*/ 12785642 w 26402921"/>
                <a:gd name="connsiteY52" fmla="*/ 2703327 h 15035524"/>
                <a:gd name="connsiteX53" fmla="*/ 13671776 w 26402921"/>
                <a:gd name="connsiteY53" fmla="*/ 3155388 h 15035524"/>
                <a:gd name="connsiteX54" fmla="*/ 14123886 w 26402921"/>
                <a:gd name="connsiteY54" fmla="*/ 2857035 h 15035524"/>
                <a:gd name="connsiteX55" fmla="*/ 14259509 w 26402921"/>
                <a:gd name="connsiteY55" fmla="*/ 2287434 h 15035524"/>
                <a:gd name="connsiteX56" fmla="*/ 14892468 w 26402921"/>
                <a:gd name="connsiteY56" fmla="*/ 1645503 h 15035524"/>
                <a:gd name="connsiteX57" fmla="*/ 15778605 w 26402921"/>
                <a:gd name="connsiteY57" fmla="*/ 1093983 h 15035524"/>
                <a:gd name="connsiteX58" fmla="*/ 16022739 w 26402921"/>
                <a:gd name="connsiteY58" fmla="*/ 1564133 h 15035524"/>
                <a:gd name="connsiteX59" fmla="*/ 16556232 w 26402921"/>
                <a:gd name="connsiteY59" fmla="*/ 2142785 h 15035524"/>
                <a:gd name="connsiteX60" fmla="*/ 17406193 w 26402921"/>
                <a:gd name="connsiteY60" fmla="*/ 1292897 h 15035524"/>
                <a:gd name="connsiteX61" fmla="*/ 18120524 w 26402921"/>
                <a:gd name="connsiteY61" fmla="*/ 714260 h 15035524"/>
                <a:gd name="connsiteX62" fmla="*/ 18744437 w 26402921"/>
                <a:gd name="connsiteY62" fmla="*/ -1 h 15035524"/>
                <a:gd name="connsiteX63" fmla="*/ 19982300 w 26402921"/>
                <a:gd name="connsiteY63" fmla="*/ 343465 h 15035524"/>
                <a:gd name="connsiteX64" fmla="*/ 19837609 w 26402921"/>
                <a:gd name="connsiteY64" fmla="*/ 1121173 h 15035524"/>
                <a:gd name="connsiteX65" fmla="*/ 21881359 w 26402921"/>
                <a:gd name="connsiteY65" fmla="*/ 1772279 h 15035524"/>
                <a:gd name="connsiteX66" fmla="*/ 21537712 w 26402921"/>
                <a:gd name="connsiteY66" fmla="*/ 2767023 h 15035524"/>
                <a:gd name="connsiteX67" fmla="*/ 22478203 w 26402921"/>
                <a:gd name="connsiteY67" fmla="*/ 2296774 h 15035524"/>
                <a:gd name="connsiteX68" fmla="*/ 23888932 w 26402921"/>
                <a:gd name="connsiteY68" fmla="*/ 1880797 h 15035524"/>
                <a:gd name="connsiteX69" fmla="*/ 25010275 w 26402921"/>
                <a:gd name="connsiteY69" fmla="*/ 578575 h 15035524"/>
                <a:gd name="connsiteX70" fmla="*/ 26402920 w 26402921"/>
                <a:gd name="connsiteY70" fmla="*/ 759442 h 15035524"/>
                <a:gd name="connsiteX71" fmla="*/ 14902301 w 26402921"/>
                <a:gd name="connsiteY71" fmla="*/ 5604356 h 15035524"/>
                <a:gd name="connsiteX72" fmla="*/ 16682563 w 26402921"/>
                <a:gd name="connsiteY72" fmla="*/ 6798531 h 15035524"/>
                <a:gd name="connsiteX0" fmla="*/ 16682563 w 26402921"/>
                <a:gd name="connsiteY0" fmla="*/ 6798531 h 15035524"/>
                <a:gd name="connsiteX1" fmla="*/ 16432262 w 26402921"/>
                <a:gd name="connsiteY1" fmla="*/ 7825917 h 15035524"/>
                <a:gd name="connsiteX2" fmla="*/ 16106317 w 26402921"/>
                <a:gd name="connsiteY2" fmla="*/ 8367221 h 15035524"/>
                <a:gd name="connsiteX3" fmla="*/ 16305649 w 26402921"/>
                <a:gd name="connsiteY3" fmla="*/ 8754550 h 15035524"/>
                <a:gd name="connsiteX4" fmla="*/ 16287189 w 26402921"/>
                <a:gd name="connsiteY4" fmla="*/ 9151157 h 15035524"/>
                <a:gd name="connsiteX5" fmla="*/ 16372801 w 26402921"/>
                <a:gd name="connsiteY5" fmla="*/ 9717422 h 15035524"/>
                <a:gd name="connsiteX6" fmla="*/ 16070155 w 26402921"/>
                <a:gd name="connsiteY6" fmla="*/ 9937808 h 15035524"/>
                <a:gd name="connsiteX7" fmla="*/ 15805690 w 26402921"/>
                <a:gd name="connsiteY7" fmla="*/ 10431999 h 15035524"/>
                <a:gd name="connsiteX8" fmla="*/ 15195097 w 26402921"/>
                <a:gd name="connsiteY8" fmla="*/ 10093742 h 15035524"/>
                <a:gd name="connsiteX9" fmla="*/ 15011380 w 26402921"/>
                <a:gd name="connsiteY9" fmla="*/ 11048592 h 15035524"/>
                <a:gd name="connsiteX10" fmla="*/ 14908430 w 26402921"/>
                <a:gd name="connsiteY10" fmla="*/ 11937487 h 15035524"/>
                <a:gd name="connsiteX11" fmla="*/ 14904684 w 26402921"/>
                <a:gd name="connsiteY11" fmla="*/ 12760926 h 15035524"/>
                <a:gd name="connsiteX12" fmla="*/ 14929927 w 26402921"/>
                <a:gd name="connsiteY12" fmla="*/ 14391846 h 15035524"/>
                <a:gd name="connsiteX13" fmla="*/ 12952786 w 26402921"/>
                <a:gd name="connsiteY13" fmla="*/ 14842599 h 15035524"/>
                <a:gd name="connsiteX14" fmla="*/ 11934663 w 26402921"/>
                <a:gd name="connsiteY14" fmla="*/ 14890849 h 15035524"/>
                <a:gd name="connsiteX15" fmla="*/ 8506848 w 26402921"/>
                <a:gd name="connsiteY15" fmla="*/ 15035524 h 15035524"/>
                <a:gd name="connsiteX16" fmla="*/ 7985095 w 26402921"/>
                <a:gd name="connsiteY16" fmla="*/ 14390442 h 15035524"/>
                <a:gd name="connsiteX17" fmla="*/ 7400308 w 26402921"/>
                <a:gd name="connsiteY17" fmla="*/ 14360297 h 15035524"/>
                <a:gd name="connsiteX18" fmla="*/ 6972273 w 26402921"/>
                <a:gd name="connsiteY18" fmla="*/ 14631594 h 15035524"/>
                <a:gd name="connsiteX19" fmla="*/ 5181729 w 26402921"/>
                <a:gd name="connsiteY19" fmla="*/ 14547195 h 15035524"/>
                <a:gd name="connsiteX20" fmla="*/ 4397998 w 26402921"/>
                <a:gd name="connsiteY20" fmla="*/ 13914178 h 15035524"/>
                <a:gd name="connsiteX21" fmla="*/ 2908896 w 26402921"/>
                <a:gd name="connsiteY21" fmla="*/ 13106324 h 15035524"/>
                <a:gd name="connsiteX22" fmla="*/ 1263043 w 26402921"/>
                <a:gd name="connsiteY22" fmla="*/ 12394931 h 15035524"/>
                <a:gd name="connsiteX23" fmla="*/ 485320 w 26402921"/>
                <a:gd name="connsiteY23" fmla="*/ 11942774 h 15035524"/>
                <a:gd name="connsiteX24" fmla="*/ 0 w 26402921"/>
                <a:gd name="connsiteY24" fmla="*/ 11649662 h 15035524"/>
                <a:gd name="connsiteX25" fmla="*/ 1003686 w 26402921"/>
                <a:gd name="connsiteY25" fmla="*/ 10903697 h 15035524"/>
                <a:gd name="connsiteX26" fmla="*/ 2902551 w 26402921"/>
                <a:gd name="connsiteY26" fmla="*/ 9719298 h 15035524"/>
                <a:gd name="connsiteX27" fmla="*/ 2558940 w 26402921"/>
                <a:gd name="connsiteY27" fmla="*/ 9185867 h 15035524"/>
                <a:gd name="connsiteX28" fmla="*/ 2402508 w 26402921"/>
                <a:gd name="connsiteY28" fmla="*/ 8498784 h 15035524"/>
                <a:gd name="connsiteX29" fmla="*/ 2730740 w 26402921"/>
                <a:gd name="connsiteY29" fmla="*/ 8471613 h 15035524"/>
                <a:gd name="connsiteX30" fmla="*/ 2947754 w 26402921"/>
                <a:gd name="connsiteY30" fmla="*/ 8001468 h 15035524"/>
                <a:gd name="connsiteX31" fmla="*/ 3499325 w 26402921"/>
                <a:gd name="connsiteY31" fmla="*/ 7558451 h 15035524"/>
                <a:gd name="connsiteX32" fmla="*/ 3680166 w 26402921"/>
                <a:gd name="connsiteY32" fmla="*/ 6681453 h 15035524"/>
                <a:gd name="connsiteX33" fmla="*/ 4186528 w 26402921"/>
                <a:gd name="connsiteY33" fmla="*/ 6690489 h 15035524"/>
                <a:gd name="connsiteX34" fmla="*/ 4837569 w 26402921"/>
                <a:gd name="connsiteY34" fmla="*/ 7160639 h 15035524"/>
                <a:gd name="connsiteX35" fmla="*/ 5352976 w 26402921"/>
                <a:gd name="connsiteY35" fmla="*/ 7079272 h 15035524"/>
                <a:gd name="connsiteX36" fmla="*/ 5741786 w 26402921"/>
                <a:gd name="connsiteY36" fmla="*/ 6708577 h 15035524"/>
                <a:gd name="connsiteX37" fmla="*/ 6157723 w 26402921"/>
                <a:gd name="connsiteY37" fmla="*/ 6545836 h 15035524"/>
                <a:gd name="connsiteX38" fmla="*/ 6745471 w 26402921"/>
                <a:gd name="connsiteY38" fmla="*/ 5976243 h 15035524"/>
                <a:gd name="connsiteX39" fmla="*/ 6890140 w 26402921"/>
                <a:gd name="connsiteY39" fmla="*/ 5126367 h 15035524"/>
                <a:gd name="connsiteX40" fmla="*/ 7568305 w 26402921"/>
                <a:gd name="connsiteY40" fmla="*/ 4556773 h 15035524"/>
                <a:gd name="connsiteX41" fmla="*/ 8137967 w 26402921"/>
                <a:gd name="connsiteY41" fmla="*/ 4113752 h 15035524"/>
                <a:gd name="connsiteX42" fmla="*/ 8463480 w 26402921"/>
                <a:gd name="connsiteY42" fmla="*/ 3309085 h 15035524"/>
                <a:gd name="connsiteX43" fmla="*/ 9024093 w 26402921"/>
                <a:gd name="connsiteY43" fmla="*/ 2956478 h 15035524"/>
                <a:gd name="connsiteX44" fmla="*/ 9675138 w 26402921"/>
                <a:gd name="connsiteY44" fmla="*/ 2603876 h 15035524"/>
                <a:gd name="connsiteX45" fmla="*/ 9558580 w 26402921"/>
                <a:gd name="connsiteY45" fmla="*/ 2055592 h 15035524"/>
                <a:gd name="connsiteX46" fmla="*/ 10353296 w 26402921"/>
                <a:gd name="connsiteY46" fmla="*/ 1383308 h 15035524"/>
                <a:gd name="connsiteX47" fmla="*/ 10832530 w 26402921"/>
                <a:gd name="connsiteY47" fmla="*/ 1310974 h 15035524"/>
                <a:gd name="connsiteX48" fmla="*/ 11058585 w 26402921"/>
                <a:gd name="connsiteY48" fmla="*/ 1763043 h 15035524"/>
                <a:gd name="connsiteX49" fmla="*/ 11411229 w 26402921"/>
                <a:gd name="connsiteY49" fmla="*/ 2142774 h 15035524"/>
                <a:gd name="connsiteX50" fmla="*/ 11998974 w 26402921"/>
                <a:gd name="connsiteY50" fmla="*/ 2224144 h 15035524"/>
                <a:gd name="connsiteX51" fmla="*/ 12315449 w 26402921"/>
                <a:gd name="connsiteY51" fmla="*/ 2884156 h 15035524"/>
                <a:gd name="connsiteX52" fmla="*/ 12785642 w 26402921"/>
                <a:gd name="connsiteY52" fmla="*/ 2703327 h 15035524"/>
                <a:gd name="connsiteX53" fmla="*/ 13671776 w 26402921"/>
                <a:gd name="connsiteY53" fmla="*/ 3155388 h 15035524"/>
                <a:gd name="connsiteX54" fmla="*/ 14123886 w 26402921"/>
                <a:gd name="connsiteY54" fmla="*/ 2857035 h 15035524"/>
                <a:gd name="connsiteX55" fmla="*/ 14259509 w 26402921"/>
                <a:gd name="connsiteY55" fmla="*/ 2287434 h 15035524"/>
                <a:gd name="connsiteX56" fmla="*/ 14892468 w 26402921"/>
                <a:gd name="connsiteY56" fmla="*/ 1645503 h 15035524"/>
                <a:gd name="connsiteX57" fmla="*/ 15778605 w 26402921"/>
                <a:gd name="connsiteY57" fmla="*/ 1093983 h 15035524"/>
                <a:gd name="connsiteX58" fmla="*/ 16022739 w 26402921"/>
                <a:gd name="connsiteY58" fmla="*/ 1564133 h 15035524"/>
                <a:gd name="connsiteX59" fmla="*/ 16556232 w 26402921"/>
                <a:gd name="connsiteY59" fmla="*/ 2142785 h 15035524"/>
                <a:gd name="connsiteX60" fmla="*/ 17406193 w 26402921"/>
                <a:gd name="connsiteY60" fmla="*/ 1292897 h 15035524"/>
                <a:gd name="connsiteX61" fmla="*/ 18120524 w 26402921"/>
                <a:gd name="connsiteY61" fmla="*/ 714260 h 15035524"/>
                <a:gd name="connsiteX62" fmla="*/ 18744437 w 26402921"/>
                <a:gd name="connsiteY62" fmla="*/ -1 h 15035524"/>
                <a:gd name="connsiteX63" fmla="*/ 19982300 w 26402921"/>
                <a:gd name="connsiteY63" fmla="*/ 343465 h 15035524"/>
                <a:gd name="connsiteX64" fmla="*/ 19837609 w 26402921"/>
                <a:gd name="connsiteY64" fmla="*/ 1121173 h 15035524"/>
                <a:gd name="connsiteX65" fmla="*/ 21881359 w 26402921"/>
                <a:gd name="connsiteY65" fmla="*/ 1772279 h 15035524"/>
                <a:gd name="connsiteX66" fmla="*/ 21537712 w 26402921"/>
                <a:gd name="connsiteY66" fmla="*/ 2767023 h 15035524"/>
                <a:gd name="connsiteX67" fmla="*/ 22478203 w 26402921"/>
                <a:gd name="connsiteY67" fmla="*/ 2296774 h 15035524"/>
                <a:gd name="connsiteX68" fmla="*/ 23888932 w 26402921"/>
                <a:gd name="connsiteY68" fmla="*/ 1880797 h 15035524"/>
                <a:gd name="connsiteX69" fmla="*/ 25010275 w 26402921"/>
                <a:gd name="connsiteY69" fmla="*/ 578575 h 15035524"/>
                <a:gd name="connsiteX70" fmla="*/ 26402920 w 26402921"/>
                <a:gd name="connsiteY70" fmla="*/ 759442 h 15035524"/>
                <a:gd name="connsiteX71" fmla="*/ 16362364 w 26402921"/>
                <a:gd name="connsiteY71" fmla="*/ 6360628 h 15035524"/>
                <a:gd name="connsiteX72" fmla="*/ 16682563 w 26402921"/>
                <a:gd name="connsiteY72" fmla="*/ 6798531 h 15035524"/>
                <a:gd name="connsiteX0" fmla="*/ 16682563 w 25010275"/>
                <a:gd name="connsiteY0" fmla="*/ 6798531 h 15035524"/>
                <a:gd name="connsiteX1" fmla="*/ 16432262 w 25010275"/>
                <a:gd name="connsiteY1" fmla="*/ 7825917 h 15035524"/>
                <a:gd name="connsiteX2" fmla="*/ 16106317 w 25010275"/>
                <a:gd name="connsiteY2" fmla="*/ 8367221 h 15035524"/>
                <a:gd name="connsiteX3" fmla="*/ 16305649 w 25010275"/>
                <a:gd name="connsiteY3" fmla="*/ 8754550 h 15035524"/>
                <a:gd name="connsiteX4" fmla="*/ 16287189 w 25010275"/>
                <a:gd name="connsiteY4" fmla="*/ 9151157 h 15035524"/>
                <a:gd name="connsiteX5" fmla="*/ 16372801 w 25010275"/>
                <a:gd name="connsiteY5" fmla="*/ 9717422 h 15035524"/>
                <a:gd name="connsiteX6" fmla="*/ 16070155 w 25010275"/>
                <a:gd name="connsiteY6" fmla="*/ 9937808 h 15035524"/>
                <a:gd name="connsiteX7" fmla="*/ 15805690 w 25010275"/>
                <a:gd name="connsiteY7" fmla="*/ 10431999 h 15035524"/>
                <a:gd name="connsiteX8" fmla="*/ 15195097 w 25010275"/>
                <a:gd name="connsiteY8" fmla="*/ 10093742 h 15035524"/>
                <a:gd name="connsiteX9" fmla="*/ 15011380 w 25010275"/>
                <a:gd name="connsiteY9" fmla="*/ 11048592 h 15035524"/>
                <a:gd name="connsiteX10" fmla="*/ 14908430 w 25010275"/>
                <a:gd name="connsiteY10" fmla="*/ 11937487 h 15035524"/>
                <a:gd name="connsiteX11" fmla="*/ 14904684 w 25010275"/>
                <a:gd name="connsiteY11" fmla="*/ 12760926 h 15035524"/>
                <a:gd name="connsiteX12" fmla="*/ 14929927 w 25010275"/>
                <a:gd name="connsiteY12" fmla="*/ 14391846 h 15035524"/>
                <a:gd name="connsiteX13" fmla="*/ 12952786 w 25010275"/>
                <a:gd name="connsiteY13" fmla="*/ 14842599 h 15035524"/>
                <a:gd name="connsiteX14" fmla="*/ 11934663 w 25010275"/>
                <a:gd name="connsiteY14" fmla="*/ 14890849 h 15035524"/>
                <a:gd name="connsiteX15" fmla="*/ 8506848 w 25010275"/>
                <a:gd name="connsiteY15" fmla="*/ 15035524 h 15035524"/>
                <a:gd name="connsiteX16" fmla="*/ 7985095 w 25010275"/>
                <a:gd name="connsiteY16" fmla="*/ 14390442 h 15035524"/>
                <a:gd name="connsiteX17" fmla="*/ 7400308 w 25010275"/>
                <a:gd name="connsiteY17" fmla="*/ 14360297 h 15035524"/>
                <a:gd name="connsiteX18" fmla="*/ 6972273 w 25010275"/>
                <a:gd name="connsiteY18" fmla="*/ 14631594 h 15035524"/>
                <a:gd name="connsiteX19" fmla="*/ 5181729 w 25010275"/>
                <a:gd name="connsiteY19" fmla="*/ 14547195 h 15035524"/>
                <a:gd name="connsiteX20" fmla="*/ 4397998 w 25010275"/>
                <a:gd name="connsiteY20" fmla="*/ 13914178 h 15035524"/>
                <a:gd name="connsiteX21" fmla="*/ 2908896 w 25010275"/>
                <a:gd name="connsiteY21" fmla="*/ 13106324 h 15035524"/>
                <a:gd name="connsiteX22" fmla="*/ 1263043 w 25010275"/>
                <a:gd name="connsiteY22" fmla="*/ 12394931 h 15035524"/>
                <a:gd name="connsiteX23" fmla="*/ 485320 w 25010275"/>
                <a:gd name="connsiteY23" fmla="*/ 11942774 h 15035524"/>
                <a:gd name="connsiteX24" fmla="*/ 0 w 25010275"/>
                <a:gd name="connsiteY24" fmla="*/ 11649662 h 15035524"/>
                <a:gd name="connsiteX25" fmla="*/ 1003686 w 25010275"/>
                <a:gd name="connsiteY25" fmla="*/ 10903697 h 15035524"/>
                <a:gd name="connsiteX26" fmla="*/ 2902551 w 25010275"/>
                <a:gd name="connsiteY26" fmla="*/ 9719298 h 15035524"/>
                <a:gd name="connsiteX27" fmla="*/ 2558940 w 25010275"/>
                <a:gd name="connsiteY27" fmla="*/ 9185867 h 15035524"/>
                <a:gd name="connsiteX28" fmla="*/ 2402508 w 25010275"/>
                <a:gd name="connsiteY28" fmla="*/ 8498784 h 15035524"/>
                <a:gd name="connsiteX29" fmla="*/ 2730740 w 25010275"/>
                <a:gd name="connsiteY29" fmla="*/ 8471613 h 15035524"/>
                <a:gd name="connsiteX30" fmla="*/ 2947754 w 25010275"/>
                <a:gd name="connsiteY30" fmla="*/ 8001468 h 15035524"/>
                <a:gd name="connsiteX31" fmla="*/ 3499325 w 25010275"/>
                <a:gd name="connsiteY31" fmla="*/ 7558451 h 15035524"/>
                <a:gd name="connsiteX32" fmla="*/ 3680166 w 25010275"/>
                <a:gd name="connsiteY32" fmla="*/ 6681453 h 15035524"/>
                <a:gd name="connsiteX33" fmla="*/ 4186528 w 25010275"/>
                <a:gd name="connsiteY33" fmla="*/ 6690489 h 15035524"/>
                <a:gd name="connsiteX34" fmla="*/ 4837569 w 25010275"/>
                <a:gd name="connsiteY34" fmla="*/ 7160639 h 15035524"/>
                <a:gd name="connsiteX35" fmla="*/ 5352976 w 25010275"/>
                <a:gd name="connsiteY35" fmla="*/ 7079272 h 15035524"/>
                <a:gd name="connsiteX36" fmla="*/ 5741786 w 25010275"/>
                <a:gd name="connsiteY36" fmla="*/ 6708577 h 15035524"/>
                <a:gd name="connsiteX37" fmla="*/ 6157723 w 25010275"/>
                <a:gd name="connsiteY37" fmla="*/ 6545836 h 15035524"/>
                <a:gd name="connsiteX38" fmla="*/ 6745471 w 25010275"/>
                <a:gd name="connsiteY38" fmla="*/ 5976243 h 15035524"/>
                <a:gd name="connsiteX39" fmla="*/ 6890140 w 25010275"/>
                <a:gd name="connsiteY39" fmla="*/ 5126367 h 15035524"/>
                <a:gd name="connsiteX40" fmla="*/ 7568305 w 25010275"/>
                <a:gd name="connsiteY40" fmla="*/ 4556773 h 15035524"/>
                <a:gd name="connsiteX41" fmla="*/ 8137967 w 25010275"/>
                <a:gd name="connsiteY41" fmla="*/ 4113752 h 15035524"/>
                <a:gd name="connsiteX42" fmla="*/ 8463480 w 25010275"/>
                <a:gd name="connsiteY42" fmla="*/ 3309085 h 15035524"/>
                <a:gd name="connsiteX43" fmla="*/ 9024093 w 25010275"/>
                <a:gd name="connsiteY43" fmla="*/ 2956478 h 15035524"/>
                <a:gd name="connsiteX44" fmla="*/ 9675138 w 25010275"/>
                <a:gd name="connsiteY44" fmla="*/ 2603876 h 15035524"/>
                <a:gd name="connsiteX45" fmla="*/ 9558580 w 25010275"/>
                <a:gd name="connsiteY45" fmla="*/ 2055592 h 15035524"/>
                <a:gd name="connsiteX46" fmla="*/ 10353296 w 25010275"/>
                <a:gd name="connsiteY46" fmla="*/ 1383308 h 15035524"/>
                <a:gd name="connsiteX47" fmla="*/ 10832530 w 25010275"/>
                <a:gd name="connsiteY47" fmla="*/ 1310974 h 15035524"/>
                <a:gd name="connsiteX48" fmla="*/ 11058585 w 25010275"/>
                <a:gd name="connsiteY48" fmla="*/ 1763043 h 15035524"/>
                <a:gd name="connsiteX49" fmla="*/ 11411229 w 25010275"/>
                <a:gd name="connsiteY49" fmla="*/ 2142774 h 15035524"/>
                <a:gd name="connsiteX50" fmla="*/ 11998974 w 25010275"/>
                <a:gd name="connsiteY50" fmla="*/ 2224144 h 15035524"/>
                <a:gd name="connsiteX51" fmla="*/ 12315449 w 25010275"/>
                <a:gd name="connsiteY51" fmla="*/ 2884156 h 15035524"/>
                <a:gd name="connsiteX52" fmla="*/ 12785642 w 25010275"/>
                <a:gd name="connsiteY52" fmla="*/ 2703327 h 15035524"/>
                <a:gd name="connsiteX53" fmla="*/ 13671776 w 25010275"/>
                <a:gd name="connsiteY53" fmla="*/ 3155388 h 15035524"/>
                <a:gd name="connsiteX54" fmla="*/ 14123886 w 25010275"/>
                <a:gd name="connsiteY54" fmla="*/ 2857035 h 15035524"/>
                <a:gd name="connsiteX55" fmla="*/ 14259509 w 25010275"/>
                <a:gd name="connsiteY55" fmla="*/ 2287434 h 15035524"/>
                <a:gd name="connsiteX56" fmla="*/ 14892468 w 25010275"/>
                <a:gd name="connsiteY56" fmla="*/ 1645503 h 15035524"/>
                <a:gd name="connsiteX57" fmla="*/ 15778605 w 25010275"/>
                <a:gd name="connsiteY57" fmla="*/ 1093983 h 15035524"/>
                <a:gd name="connsiteX58" fmla="*/ 16022739 w 25010275"/>
                <a:gd name="connsiteY58" fmla="*/ 1564133 h 15035524"/>
                <a:gd name="connsiteX59" fmla="*/ 16556232 w 25010275"/>
                <a:gd name="connsiteY59" fmla="*/ 2142785 h 15035524"/>
                <a:gd name="connsiteX60" fmla="*/ 17406193 w 25010275"/>
                <a:gd name="connsiteY60" fmla="*/ 1292897 h 15035524"/>
                <a:gd name="connsiteX61" fmla="*/ 18120524 w 25010275"/>
                <a:gd name="connsiteY61" fmla="*/ 714260 h 15035524"/>
                <a:gd name="connsiteX62" fmla="*/ 18744437 w 25010275"/>
                <a:gd name="connsiteY62" fmla="*/ -1 h 15035524"/>
                <a:gd name="connsiteX63" fmla="*/ 19982300 w 25010275"/>
                <a:gd name="connsiteY63" fmla="*/ 343465 h 15035524"/>
                <a:gd name="connsiteX64" fmla="*/ 19837609 w 25010275"/>
                <a:gd name="connsiteY64" fmla="*/ 1121173 h 15035524"/>
                <a:gd name="connsiteX65" fmla="*/ 21881359 w 25010275"/>
                <a:gd name="connsiteY65" fmla="*/ 1772279 h 15035524"/>
                <a:gd name="connsiteX66" fmla="*/ 21537712 w 25010275"/>
                <a:gd name="connsiteY66" fmla="*/ 2767023 h 15035524"/>
                <a:gd name="connsiteX67" fmla="*/ 22478203 w 25010275"/>
                <a:gd name="connsiteY67" fmla="*/ 2296774 h 15035524"/>
                <a:gd name="connsiteX68" fmla="*/ 23888932 w 25010275"/>
                <a:gd name="connsiteY68" fmla="*/ 1880797 h 15035524"/>
                <a:gd name="connsiteX69" fmla="*/ 25010275 w 25010275"/>
                <a:gd name="connsiteY69" fmla="*/ 578575 h 15035524"/>
                <a:gd name="connsiteX70" fmla="*/ 14750481 w 25010275"/>
                <a:gd name="connsiteY70" fmla="*/ 5913293 h 15035524"/>
                <a:gd name="connsiteX71" fmla="*/ 16362364 w 25010275"/>
                <a:gd name="connsiteY71" fmla="*/ 6360628 h 15035524"/>
                <a:gd name="connsiteX72" fmla="*/ 16682563 w 25010275"/>
                <a:gd name="connsiteY72" fmla="*/ 6798531 h 15035524"/>
                <a:gd name="connsiteX0" fmla="*/ 16682563 w 25010275"/>
                <a:gd name="connsiteY0" fmla="*/ 6798531 h 15035524"/>
                <a:gd name="connsiteX1" fmla="*/ 16432262 w 25010275"/>
                <a:gd name="connsiteY1" fmla="*/ 7825917 h 15035524"/>
                <a:gd name="connsiteX2" fmla="*/ 16106317 w 25010275"/>
                <a:gd name="connsiteY2" fmla="*/ 8367221 h 15035524"/>
                <a:gd name="connsiteX3" fmla="*/ 16305649 w 25010275"/>
                <a:gd name="connsiteY3" fmla="*/ 8754550 h 15035524"/>
                <a:gd name="connsiteX4" fmla="*/ 16287189 w 25010275"/>
                <a:gd name="connsiteY4" fmla="*/ 9151157 h 15035524"/>
                <a:gd name="connsiteX5" fmla="*/ 16372801 w 25010275"/>
                <a:gd name="connsiteY5" fmla="*/ 9717422 h 15035524"/>
                <a:gd name="connsiteX6" fmla="*/ 16070155 w 25010275"/>
                <a:gd name="connsiteY6" fmla="*/ 9937808 h 15035524"/>
                <a:gd name="connsiteX7" fmla="*/ 15805690 w 25010275"/>
                <a:gd name="connsiteY7" fmla="*/ 10431999 h 15035524"/>
                <a:gd name="connsiteX8" fmla="*/ 15195097 w 25010275"/>
                <a:gd name="connsiteY8" fmla="*/ 10093742 h 15035524"/>
                <a:gd name="connsiteX9" fmla="*/ 15011380 w 25010275"/>
                <a:gd name="connsiteY9" fmla="*/ 11048592 h 15035524"/>
                <a:gd name="connsiteX10" fmla="*/ 14908430 w 25010275"/>
                <a:gd name="connsiteY10" fmla="*/ 11937487 h 15035524"/>
                <a:gd name="connsiteX11" fmla="*/ 14904684 w 25010275"/>
                <a:gd name="connsiteY11" fmla="*/ 12760926 h 15035524"/>
                <a:gd name="connsiteX12" fmla="*/ 14929927 w 25010275"/>
                <a:gd name="connsiteY12" fmla="*/ 14391846 h 15035524"/>
                <a:gd name="connsiteX13" fmla="*/ 12952786 w 25010275"/>
                <a:gd name="connsiteY13" fmla="*/ 14842599 h 15035524"/>
                <a:gd name="connsiteX14" fmla="*/ 11934663 w 25010275"/>
                <a:gd name="connsiteY14" fmla="*/ 14890849 h 15035524"/>
                <a:gd name="connsiteX15" fmla="*/ 8506848 w 25010275"/>
                <a:gd name="connsiteY15" fmla="*/ 15035524 h 15035524"/>
                <a:gd name="connsiteX16" fmla="*/ 7985095 w 25010275"/>
                <a:gd name="connsiteY16" fmla="*/ 14390442 h 15035524"/>
                <a:gd name="connsiteX17" fmla="*/ 7400308 w 25010275"/>
                <a:gd name="connsiteY17" fmla="*/ 14360297 h 15035524"/>
                <a:gd name="connsiteX18" fmla="*/ 6972273 w 25010275"/>
                <a:gd name="connsiteY18" fmla="*/ 14631594 h 15035524"/>
                <a:gd name="connsiteX19" fmla="*/ 5181729 w 25010275"/>
                <a:gd name="connsiteY19" fmla="*/ 14547195 h 15035524"/>
                <a:gd name="connsiteX20" fmla="*/ 4397998 w 25010275"/>
                <a:gd name="connsiteY20" fmla="*/ 13914178 h 15035524"/>
                <a:gd name="connsiteX21" fmla="*/ 2908896 w 25010275"/>
                <a:gd name="connsiteY21" fmla="*/ 13106324 h 15035524"/>
                <a:gd name="connsiteX22" fmla="*/ 1263043 w 25010275"/>
                <a:gd name="connsiteY22" fmla="*/ 12394931 h 15035524"/>
                <a:gd name="connsiteX23" fmla="*/ 485320 w 25010275"/>
                <a:gd name="connsiteY23" fmla="*/ 11942774 h 15035524"/>
                <a:gd name="connsiteX24" fmla="*/ 0 w 25010275"/>
                <a:gd name="connsiteY24" fmla="*/ 11649662 h 15035524"/>
                <a:gd name="connsiteX25" fmla="*/ 1003686 w 25010275"/>
                <a:gd name="connsiteY25" fmla="*/ 10903697 h 15035524"/>
                <a:gd name="connsiteX26" fmla="*/ 2902551 w 25010275"/>
                <a:gd name="connsiteY26" fmla="*/ 9719298 h 15035524"/>
                <a:gd name="connsiteX27" fmla="*/ 2558940 w 25010275"/>
                <a:gd name="connsiteY27" fmla="*/ 9185867 h 15035524"/>
                <a:gd name="connsiteX28" fmla="*/ 2402508 w 25010275"/>
                <a:gd name="connsiteY28" fmla="*/ 8498784 h 15035524"/>
                <a:gd name="connsiteX29" fmla="*/ 2730740 w 25010275"/>
                <a:gd name="connsiteY29" fmla="*/ 8471613 h 15035524"/>
                <a:gd name="connsiteX30" fmla="*/ 2947754 w 25010275"/>
                <a:gd name="connsiteY30" fmla="*/ 8001468 h 15035524"/>
                <a:gd name="connsiteX31" fmla="*/ 3499325 w 25010275"/>
                <a:gd name="connsiteY31" fmla="*/ 7558451 h 15035524"/>
                <a:gd name="connsiteX32" fmla="*/ 3680166 w 25010275"/>
                <a:gd name="connsiteY32" fmla="*/ 6681453 h 15035524"/>
                <a:gd name="connsiteX33" fmla="*/ 4186528 w 25010275"/>
                <a:gd name="connsiteY33" fmla="*/ 6690489 h 15035524"/>
                <a:gd name="connsiteX34" fmla="*/ 4837569 w 25010275"/>
                <a:gd name="connsiteY34" fmla="*/ 7160639 h 15035524"/>
                <a:gd name="connsiteX35" fmla="*/ 5352976 w 25010275"/>
                <a:gd name="connsiteY35" fmla="*/ 7079272 h 15035524"/>
                <a:gd name="connsiteX36" fmla="*/ 5741786 w 25010275"/>
                <a:gd name="connsiteY36" fmla="*/ 6708577 h 15035524"/>
                <a:gd name="connsiteX37" fmla="*/ 6157723 w 25010275"/>
                <a:gd name="connsiteY37" fmla="*/ 6545836 h 15035524"/>
                <a:gd name="connsiteX38" fmla="*/ 6745471 w 25010275"/>
                <a:gd name="connsiteY38" fmla="*/ 5976243 h 15035524"/>
                <a:gd name="connsiteX39" fmla="*/ 6890140 w 25010275"/>
                <a:gd name="connsiteY39" fmla="*/ 5126367 h 15035524"/>
                <a:gd name="connsiteX40" fmla="*/ 7568305 w 25010275"/>
                <a:gd name="connsiteY40" fmla="*/ 4556773 h 15035524"/>
                <a:gd name="connsiteX41" fmla="*/ 8137967 w 25010275"/>
                <a:gd name="connsiteY41" fmla="*/ 4113752 h 15035524"/>
                <a:gd name="connsiteX42" fmla="*/ 8463480 w 25010275"/>
                <a:gd name="connsiteY42" fmla="*/ 3309085 h 15035524"/>
                <a:gd name="connsiteX43" fmla="*/ 9024093 w 25010275"/>
                <a:gd name="connsiteY43" fmla="*/ 2956478 h 15035524"/>
                <a:gd name="connsiteX44" fmla="*/ 9675138 w 25010275"/>
                <a:gd name="connsiteY44" fmla="*/ 2603876 h 15035524"/>
                <a:gd name="connsiteX45" fmla="*/ 9558580 w 25010275"/>
                <a:gd name="connsiteY45" fmla="*/ 2055592 h 15035524"/>
                <a:gd name="connsiteX46" fmla="*/ 10353296 w 25010275"/>
                <a:gd name="connsiteY46" fmla="*/ 1383308 h 15035524"/>
                <a:gd name="connsiteX47" fmla="*/ 10832530 w 25010275"/>
                <a:gd name="connsiteY47" fmla="*/ 1310974 h 15035524"/>
                <a:gd name="connsiteX48" fmla="*/ 11058585 w 25010275"/>
                <a:gd name="connsiteY48" fmla="*/ 1763043 h 15035524"/>
                <a:gd name="connsiteX49" fmla="*/ 11411229 w 25010275"/>
                <a:gd name="connsiteY49" fmla="*/ 2142774 h 15035524"/>
                <a:gd name="connsiteX50" fmla="*/ 11998974 w 25010275"/>
                <a:gd name="connsiteY50" fmla="*/ 2224144 h 15035524"/>
                <a:gd name="connsiteX51" fmla="*/ 12315449 w 25010275"/>
                <a:gd name="connsiteY51" fmla="*/ 2884156 h 15035524"/>
                <a:gd name="connsiteX52" fmla="*/ 12785642 w 25010275"/>
                <a:gd name="connsiteY52" fmla="*/ 2703327 h 15035524"/>
                <a:gd name="connsiteX53" fmla="*/ 13671776 w 25010275"/>
                <a:gd name="connsiteY53" fmla="*/ 3155388 h 15035524"/>
                <a:gd name="connsiteX54" fmla="*/ 14123886 w 25010275"/>
                <a:gd name="connsiteY54" fmla="*/ 2857035 h 15035524"/>
                <a:gd name="connsiteX55" fmla="*/ 14259509 w 25010275"/>
                <a:gd name="connsiteY55" fmla="*/ 2287434 h 15035524"/>
                <a:gd name="connsiteX56" fmla="*/ 14892468 w 25010275"/>
                <a:gd name="connsiteY56" fmla="*/ 1645503 h 15035524"/>
                <a:gd name="connsiteX57" fmla="*/ 15778605 w 25010275"/>
                <a:gd name="connsiteY57" fmla="*/ 1093983 h 15035524"/>
                <a:gd name="connsiteX58" fmla="*/ 16022739 w 25010275"/>
                <a:gd name="connsiteY58" fmla="*/ 1564133 h 15035524"/>
                <a:gd name="connsiteX59" fmla="*/ 16556232 w 25010275"/>
                <a:gd name="connsiteY59" fmla="*/ 2142785 h 15035524"/>
                <a:gd name="connsiteX60" fmla="*/ 17406193 w 25010275"/>
                <a:gd name="connsiteY60" fmla="*/ 1292897 h 15035524"/>
                <a:gd name="connsiteX61" fmla="*/ 18120524 w 25010275"/>
                <a:gd name="connsiteY61" fmla="*/ 714260 h 15035524"/>
                <a:gd name="connsiteX62" fmla="*/ 18744437 w 25010275"/>
                <a:gd name="connsiteY62" fmla="*/ -1 h 15035524"/>
                <a:gd name="connsiteX63" fmla="*/ 19982300 w 25010275"/>
                <a:gd name="connsiteY63" fmla="*/ 343465 h 15035524"/>
                <a:gd name="connsiteX64" fmla="*/ 19837609 w 25010275"/>
                <a:gd name="connsiteY64" fmla="*/ 1121173 h 15035524"/>
                <a:gd name="connsiteX65" fmla="*/ 21881359 w 25010275"/>
                <a:gd name="connsiteY65" fmla="*/ 1772279 h 15035524"/>
                <a:gd name="connsiteX66" fmla="*/ 21537712 w 25010275"/>
                <a:gd name="connsiteY66" fmla="*/ 2767023 h 15035524"/>
                <a:gd name="connsiteX67" fmla="*/ 22478203 w 25010275"/>
                <a:gd name="connsiteY67" fmla="*/ 2296774 h 15035524"/>
                <a:gd name="connsiteX68" fmla="*/ 23888932 w 25010275"/>
                <a:gd name="connsiteY68" fmla="*/ 1880797 h 15035524"/>
                <a:gd name="connsiteX69" fmla="*/ 25010275 w 25010275"/>
                <a:gd name="connsiteY69" fmla="*/ 578575 h 15035524"/>
                <a:gd name="connsiteX70" fmla="*/ 16350939 w 25010275"/>
                <a:gd name="connsiteY70" fmla="*/ 6053348 h 15035524"/>
                <a:gd name="connsiteX71" fmla="*/ 16362364 w 25010275"/>
                <a:gd name="connsiteY71" fmla="*/ 6360628 h 15035524"/>
                <a:gd name="connsiteX72" fmla="*/ 16682563 w 25010275"/>
                <a:gd name="connsiteY72" fmla="*/ 6798531 h 15035524"/>
                <a:gd name="connsiteX0" fmla="*/ 16682563 w 23888933"/>
                <a:gd name="connsiteY0" fmla="*/ 6798531 h 15035524"/>
                <a:gd name="connsiteX1" fmla="*/ 16432262 w 23888933"/>
                <a:gd name="connsiteY1" fmla="*/ 7825917 h 15035524"/>
                <a:gd name="connsiteX2" fmla="*/ 16106317 w 23888933"/>
                <a:gd name="connsiteY2" fmla="*/ 8367221 h 15035524"/>
                <a:gd name="connsiteX3" fmla="*/ 16305649 w 23888933"/>
                <a:gd name="connsiteY3" fmla="*/ 8754550 h 15035524"/>
                <a:gd name="connsiteX4" fmla="*/ 16287189 w 23888933"/>
                <a:gd name="connsiteY4" fmla="*/ 9151157 h 15035524"/>
                <a:gd name="connsiteX5" fmla="*/ 16372801 w 23888933"/>
                <a:gd name="connsiteY5" fmla="*/ 9717422 h 15035524"/>
                <a:gd name="connsiteX6" fmla="*/ 16070155 w 23888933"/>
                <a:gd name="connsiteY6" fmla="*/ 9937808 h 15035524"/>
                <a:gd name="connsiteX7" fmla="*/ 15805690 w 23888933"/>
                <a:gd name="connsiteY7" fmla="*/ 10431999 h 15035524"/>
                <a:gd name="connsiteX8" fmla="*/ 15195097 w 23888933"/>
                <a:gd name="connsiteY8" fmla="*/ 10093742 h 15035524"/>
                <a:gd name="connsiteX9" fmla="*/ 15011380 w 23888933"/>
                <a:gd name="connsiteY9" fmla="*/ 11048592 h 15035524"/>
                <a:gd name="connsiteX10" fmla="*/ 14908430 w 23888933"/>
                <a:gd name="connsiteY10" fmla="*/ 11937487 h 15035524"/>
                <a:gd name="connsiteX11" fmla="*/ 14904684 w 23888933"/>
                <a:gd name="connsiteY11" fmla="*/ 12760926 h 15035524"/>
                <a:gd name="connsiteX12" fmla="*/ 14929927 w 23888933"/>
                <a:gd name="connsiteY12" fmla="*/ 14391846 h 15035524"/>
                <a:gd name="connsiteX13" fmla="*/ 12952786 w 23888933"/>
                <a:gd name="connsiteY13" fmla="*/ 14842599 h 15035524"/>
                <a:gd name="connsiteX14" fmla="*/ 11934663 w 23888933"/>
                <a:gd name="connsiteY14" fmla="*/ 14890849 h 15035524"/>
                <a:gd name="connsiteX15" fmla="*/ 8506848 w 23888933"/>
                <a:gd name="connsiteY15" fmla="*/ 15035524 h 15035524"/>
                <a:gd name="connsiteX16" fmla="*/ 7985095 w 23888933"/>
                <a:gd name="connsiteY16" fmla="*/ 14390442 h 15035524"/>
                <a:gd name="connsiteX17" fmla="*/ 7400308 w 23888933"/>
                <a:gd name="connsiteY17" fmla="*/ 14360297 h 15035524"/>
                <a:gd name="connsiteX18" fmla="*/ 6972273 w 23888933"/>
                <a:gd name="connsiteY18" fmla="*/ 14631594 h 15035524"/>
                <a:gd name="connsiteX19" fmla="*/ 5181729 w 23888933"/>
                <a:gd name="connsiteY19" fmla="*/ 14547195 h 15035524"/>
                <a:gd name="connsiteX20" fmla="*/ 4397998 w 23888933"/>
                <a:gd name="connsiteY20" fmla="*/ 13914178 h 15035524"/>
                <a:gd name="connsiteX21" fmla="*/ 2908896 w 23888933"/>
                <a:gd name="connsiteY21" fmla="*/ 13106324 h 15035524"/>
                <a:gd name="connsiteX22" fmla="*/ 1263043 w 23888933"/>
                <a:gd name="connsiteY22" fmla="*/ 12394931 h 15035524"/>
                <a:gd name="connsiteX23" fmla="*/ 485320 w 23888933"/>
                <a:gd name="connsiteY23" fmla="*/ 11942774 h 15035524"/>
                <a:gd name="connsiteX24" fmla="*/ 0 w 23888933"/>
                <a:gd name="connsiteY24" fmla="*/ 11649662 h 15035524"/>
                <a:gd name="connsiteX25" fmla="*/ 1003686 w 23888933"/>
                <a:gd name="connsiteY25" fmla="*/ 10903697 h 15035524"/>
                <a:gd name="connsiteX26" fmla="*/ 2902551 w 23888933"/>
                <a:gd name="connsiteY26" fmla="*/ 9719298 h 15035524"/>
                <a:gd name="connsiteX27" fmla="*/ 2558940 w 23888933"/>
                <a:gd name="connsiteY27" fmla="*/ 9185867 h 15035524"/>
                <a:gd name="connsiteX28" fmla="*/ 2402508 w 23888933"/>
                <a:gd name="connsiteY28" fmla="*/ 8498784 h 15035524"/>
                <a:gd name="connsiteX29" fmla="*/ 2730740 w 23888933"/>
                <a:gd name="connsiteY29" fmla="*/ 8471613 h 15035524"/>
                <a:gd name="connsiteX30" fmla="*/ 2947754 w 23888933"/>
                <a:gd name="connsiteY30" fmla="*/ 8001468 h 15035524"/>
                <a:gd name="connsiteX31" fmla="*/ 3499325 w 23888933"/>
                <a:gd name="connsiteY31" fmla="*/ 7558451 h 15035524"/>
                <a:gd name="connsiteX32" fmla="*/ 3680166 w 23888933"/>
                <a:gd name="connsiteY32" fmla="*/ 6681453 h 15035524"/>
                <a:gd name="connsiteX33" fmla="*/ 4186528 w 23888933"/>
                <a:gd name="connsiteY33" fmla="*/ 6690489 h 15035524"/>
                <a:gd name="connsiteX34" fmla="*/ 4837569 w 23888933"/>
                <a:gd name="connsiteY34" fmla="*/ 7160639 h 15035524"/>
                <a:gd name="connsiteX35" fmla="*/ 5352976 w 23888933"/>
                <a:gd name="connsiteY35" fmla="*/ 7079272 h 15035524"/>
                <a:gd name="connsiteX36" fmla="*/ 5741786 w 23888933"/>
                <a:gd name="connsiteY36" fmla="*/ 6708577 h 15035524"/>
                <a:gd name="connsiteX37" fmla="*/ 6157723 w 23888933"/>
                <a:gd name="connsiteY37" fmla="*/ 6545836 h 15035524"/>
                <a:gd name="connsiteX38" fmla="*/ 6745471 w 23888933"/>
                <a:gd name="connsiteY38" fmla="*/ 5976243 h 15035524"/>
                <a:gd name="connsiteX39" fmla="*/ 6890140 w 23888933"/>
                <a:gd name="connsiteY39" fmla="*/ 5126367 h 15035524"/>
                <a:gd name="connsiteX40" fmla="*/ 7568305 w 23888933"/>
                <a:gd name="connsiteY40" fmla="*/ 4556773 h 15035524"/>
                <a:gd name="connsiteX41" fmla="*/ 8137967 w 23888933"/>
                <a:gd name="connsiteY41" fmla="*/ 4113752 h 15035524"/>
                <a:gd name="connsiteX42" fmla="*/ 8463480 w 23888933"/>
                <a:gd name="connsiteY42" fmla="*/ 3309085 h 15035524"/>
                <a:gd name="connsiteX43" fmla="*/ 9024093 w 23888933"/>
                <a:gd name="connsiteY43" fmla="*/ 2956478 h 15035524"/>
                <a:gd name="connsiteX44" fmla="*/ 9675138 w 23888933"/>
                <a:gd name="connsiteY44" fmla="*/ 2603876 h 15035524"/>
                <a:gd name="connsiteX45" fmla="*/ 9558580 w 23888933"/>
                <a:gd name="connsiteY45" fmla="*/ 2055592 h 15035524"/>
                <a:gd name="connsiteX46" fmla="*/ 10353296 w 23888933"/>
                <a:gd name="connsiteY46" fmla="*/ 1383308 h 15035524"/>
                <a:gd name="connsiteX47" fmla="*/ 10832530 w 23888933"/>
                <a:gd name="connsiteY47" fmla="*/ 1310974 h 15035524"/>
                <a:gd name="connsiteX48" fmla="*/ 11058585 w 23888933"/>
                <a:gd name="connsiteY48" fmla="*/ 1763043 h 15035524"/>
                <a:gd name="connsiteX49" fmla="*/ 11411229 w 23888933"/>
                <a:gd name="connsiteY49" fmla="*/ 2142774 h 15035524"/>
                <a:gd name="connsiteX50" fmla="*/ 11998974 w 23888933"/>
                <a:gd name="connsiteY50" fmla="*/ 2224144 h 15035524"/>
                <a:gd name="connsiteX51" fmla="*/ 12315449 w 23888933"/>
                <a:gd name="connsiteY51" fmla="*/ 2884156 h 15035524"/>
                <a:gd name="connsiteX52" fmla="*/ 12785642 w 23888933"/>
                <a:gd name="connsiteY52" fmla="*/ 2703327 h 15035524"/>
                <a:gd name="connsiteX53" fmla="*/ 13671776 w 23888933"/>
                <a:gd name="connsiteY53" fmla="*/ 3155388 h 15035524"/>
                <a:gd name="connsiteX54" fmla="*/ 14123886 w 23888933"/>
                <a:gd name="connsiteY54" fmla="*/ 2857035 h 15035524"/>
                <a:gd name="connsiteX55" fmla="*/ 14259509 w 23888933"/>
                <a:gd name="connsiteY55" fmla="*/ 2287434 h 15035524"/>
                <a:gd name="connsiteX56" fmla="*/ 14892468 w 23888933"/>
                <a:gd name="connsiteY56" fmla="*/ 1645503 h 15035524"/>
                <a:gd name="connsiteX57" fmla="*/ 15778605 w 23888933"/>
                <a:gd name="connsiteY57" fmla="*/ 1093983 h 15035524"/>
                <a:gd name="connsiteX58" fmla="*/ 16022739 w 23888933"/>
                <a:gd name="connsiteY58" fmla="*/ 1564133 h 15035524"/>
                <a:gd name="connsiteX59" fmla="*/ 16556232 w 23888933"/>
                <a:gd name="connsiteY59" fmla="*/ 2142785 h 15035524"/>
                <a:gd name="connsiteX60" fmla="*/ 17406193 w 23888933"/>
                <a:gd name="connsiteY60" fmla="*/ 1292897 h 15035524"/>
                <a:gd name="connsiteX61" fmla="*/ 18120524 w 23888933"/>
                <a:gd name="connsiteY61" fmla="*/ 714260 h 15035524"/>
                <a:gd name="connsiteX62" fmla="*/ 18744437 w 23888933"/>
                <a:gd name="connsiteY62" fmla="*/ -1 h 15035524"/>
                <a:gd name="connsiteX63" fmla="*/ 19982300 w 23888933"/>
                <a:gd name="connsiteY63" fmla="*/ 343465 h 15035524"/>
                <a:gd name="connsiteX64" fmla="*/ 19837609 w 23888933"/>
                <a:gd name="connsiteY64" fmla="*/ 1121173 h 15035524"/>
                <a:gd name="connsiteX65" fmla="*/ 21881359 w 23888933"/>
                <a:gd name="connsiteY65" fmla="*/ 1772279 h 15035524"/>
                <a:gd name="connsiteX66" fmla="*/ 21537712 w 23888933"/>
                <a:gd name="connsiteY66" fmla="*/ 2767023 h 15035524"/>
                <a:gd name="connsiteX67" fmla="*/ 22478203 w 23888933"/>
                <a:gd name="connsiteY67" fmla="*/ 2296774 h 15035524"/>
                <a:gd name="connsiteX68" fmla="*/ 23888932 w 23888933"/>
                <a:gd name="connsiteY68" fmla="*/ 1880797 h 15035524"/>
                <a:gd name="connsiteX69" fmla="*/ 17541488 w 23888933"/>
                <a:gd name="connsiteY69" fmla="*/ 3715695 h 15035524"/>
                <a:gd name="connsiteX70" fmla="*/ 16350939 w 23888933"/>
                <a:gd name="connsiteY70" fmla="*/ 6053348 h 15035524"/>
                <a:gd name="connsiteX71" fmla="*/ 16362364 w 23888933"/>
                <a:gd name="connsiteY71" fmla="*/ 6360628 h 15035524"/>
                <a:gd name="connsiteX72" fmla="*/ 16682563 w 23888933"/>
                <a:gd name="connsiteY72" fmla="*/ 6798531 h 15035524"/>
                <a:gd name="connsiteX0" fmla="*/ 16682563 w 23888933"/>
                <a:gd name="connsiteY0" fmla="*/ 6798531 h 15035524"/>
                <a:gd name="connsiteX1" fmla="*/ 16432262 w 23888933"/>
                <a:gd name="connsiteY1" fmla="*/ 7825917 h 15035524"/>
                <a:gd name="connsiteX2" fmla="*/ 16106317 w 23888933"/>
                <a:gd name="connsiteY2" fmla="*/ 8367221 h 15035524"/>
                <a:gd name="connsiteX3" fmla="*/ 16305649 w 23888933"/>
                <a:gd name="connsiteY3" fmla="*/ 8754550 h 15035524"/>
                <a:gd name="connsiteX4" fmla="*/ 16287189 w 23888933"/>
                <a:gd name="connsiteY4" fmla="*/ 9151157 h 15035524"/>
                <a:gd name="connsiteX5" fmla="*/ 16372801 w 23888933"/>
                <a:gd name="connsiteY5" fmla="*/ 9717422 h 15035524"/>
                <a:gd name="connsiteX6" fmla="*/ 16070155 w 23888933"/>
                <a:gd name="connsiteY6" fmla="*/ 9937808 h 15035524"/>
                <a:gd name="connsiteX7" fmla="*/ 15805690 w 23888933"/>
                <a:gd name="connsiteY7" fmla="*/ 10431999 h 15035524"/>
                <a:gd name="connsiteX8" fmla="*/ 15195097 w 23888933"/>
                <a:gd name="connsiteY8" fmla="*/ 10093742 h 15035524"/>
                <a:gd name="connsiteX9" fmla="*/ 15011380 w 23888933"/>
                <a:gd name="connsiteY9" fmla="*/ 11048592 h 15035524"/>
                <a:gd name="connsiteX10" fmla="*/ 14908430 w 23888933"/>
                <a:gd name="connsiteY10" fmla="*/ 11937487 h 15035524"/>
                <a:gd name="connsiteX11" fmla="*/ 14904684 w 23888933"/>
                <a:gd name="connsiteY11" fmla="*/ 12760926 h 15035524"/>
                <a:gd name="connsiteX12" fmla="*/ 14929927 w 23888933"/>
                <a:gd name="connsiteY12" fmla="*/ 14391846 h 15035524"/>
                <a:gd name="connsiteX13" fmla="*/ 12952786 w 23888933"/>
                <a:gd name="connsiteY13" fmla="*/ 14842599 h 15035524"/>
                <a:gd name="connsiteX14" fmla="*/ 11934663 w 23888933"/>
                <a:gd name="connsiteY14" fmla="*/ 14890849 h 15035524"/>
                <a:gd name="connsiteX15" fmla="*/ 8506848 w 23888933"/>
                <a:gd name="connsiteY15" fmla="*/ 15035524 h 15035524"/>
                <a:gd name="connsiteX16" fmla="*/ 7985095 w 23888933"/>
                <a:gd name="connsiteY16" fmla="*/ 14390442 h 15035524"/>
                <a:gd name="connsiteX17" fmla="*/ 7400308 w 23888933"/>
                <a:gd name="connsiteY17" fmla="*/ 14360297 h 15035524"/>
                <a:gd name="connsiteX18" fmla="*/ 6972273 w 23888933"/>
                <a:gd name="connsiteY18" fmla="*/ 14631594 h 15035524"/>
                <a:gd name="connsiteX19" fmla="*/ 5181729 w 23888933"/>
                <a:gd name="connsiteY19" fmla="*/ 14547195 h 15035524"/>
                <a:gd name="connsiteX20" fmla="*/ 4397998 w 23888933"/>
                <a:gd name="connsiteY20" fmla="*/ 13914178 h 15035524"/>
                <a:gd name="connsiteX21" fmla="*/ 2908896 w 23888933"/>
                <a:gd name="connsiteY21" fmla="*/ 13106324 h 15035524"/>
                <a:gd name="connsiteX22" fmla="*/ 1263043 w 23888933"/>
                <a:gd name="connsiteY22" fmla="*/ 12394931 h 15035524"/>
                <a:gd name="connsiteX23" fmla="*/ 485320 w 23888933"/>
                <a:gd name="connsiteY23" fmla="*/ 11942774 h 15035524"/>
                <a:gd name="connsiteX24" fmla="*/ 0 w 23888933"/>
                <a:gd name="connsiteY24" fmla="*/ 11649662 h 15035524"/>
                <a:gd name="connsiteX25" fmla="*/ 1003686 w 23888933"/>
                <a:gd name="connsiteY25" fmla="*/ 10903697 h 15035524"/>
                <a:gd name="connsiteX26" fmla="*/ 2902551 w 23888933"/>
                <a:gd name="connsiteY26" fmla="*/ 9719298 h 15035524"/>
                <a:gd name="connsiteX27" fmla="*/ 2558940 w 23888933"/>
                <a:gd name="connsiteY27" fmla="*/ 9185867 h 15035524"/>
                <a:gd name="connsiteX28" fmla="*/ 2402508 w 23888933"/>
                <a:gd name="connsiteY28" fmla="*/ 8498784 h 15035524"/>
                <a:gd name="connsiteX29" fmla="*/ 2730740 w 23888933"/>
                <a:gd name="connsiteY29" fmla="*/ 8471613 h 15035524"/>
                <a:gd name="connsiteX30" fmla="*/ 2947754 w 23888933"/>
                <a:gd name="connsiteY30" fmla="*/ 8001468 h 15035524"/>
                <a:gd name="connsiteX31" fmla="*/ 3499325 w 23888933"/>
                <a:gd name="connsiteY31" fmla="*/ 7558451 h 15035524"/>
                <a:gd name="connsiteX32" fmla="*/ 3680166 w 23888933"/>
                <a:gd name="connsiteY32" fmla="*/ 6681453 h 15035524"/>
                <a:gd name="connsiteX33" fmla="*/ 4186528 w 23888933"/>
                <a:gd name="connsiteY33" fmla="*/ 6690489 h 15035524"/>
                <a:gd name="connsiteX34" fmla="*/ 4837569 w 23888933"/>
                <a:gd name="connsiteY34" fmla="*/ 7160639 h 15035524"/>
                <a:gd name="connsiteX35" fmla="*/ 5352976 w 23888933"/>
                <a:gd name="connsiteY35" fmla="*/ 7079272 h 15035524"/>
                <a:gd name="connsiteX36" fmla="*/ 5741786 w 23888933"/>
                <a:gd name="connsiteY36" fmla="*/ 6708577 h 15035524"/>
                <a:gd name="connsiteX37" fmla="*/ 6157723 w 23888933"/>
                <a:gd name="connsiteY37" fmla="*/ 6545836 h 15035524"/>
                <a:gd name="connsiteX38" fmla="*/ 6745471 w 23888933"/>
                <a:gd name="connsiteY38" fmla="*/ 5976243 h 15035524"/>
                <a:gd name="connsiteX39" fmla="*/ 6890140 w 23888933"/>
                <a:gd name="connsiteY39" fmla="*/ 5126367 h 15035524"/>
                <a:gd name="connsiteX40" fmla="*/ 7568305 w 23888933"/>
                <a:gd name="connsiteY40" fmla="*/ 4556773 h 15035524"/>
                <a:gd name="connsiteX41" fmla="*/ 8137967 w 23888933"/>
                <a:gd name="connsiteY41" fmla="*/ 4113752 h 15035524"/>
                <a:gd name="connsiteX42" fmla="*/ 8463480 w 23888933"/>
                <a:gd name="connsiteY42" fmla="*/ 3309085 h 15035524"/>
                <a:gd name="connsiteX43" fmla="*/ 9024093 w 23888933"/>
                <a:gd name="connsiteY43" fmla="*/ 2956478 h 15035524"/>
                <a:gd name="connsiteX44" fmla="*/ 9675138 w 23888933"/>
                <a:gd name="connsiteY44" fmla="*/ 2603876 h 15035524"/>
                <a:gd name="connsiteX45" fmla="*/ 9558580 w 23888933"/>
                <a:gd name="connsiteY45" fmla="*/ 2055592 h 15035524"/>
                <a:gd name="connsiteX46" fmla="*/ 10353296 w 23888933"/>
                <a:gd name="connsiteY46" fmla="*/ 1383308 h 15035524"/>
                <a:gd name="connsiteX47" fmla="*/ 10832530 w 23888933"/>
                <a:gd name="connsiteY47" fmla="*/ 1310974 h 15035524"/>
                <a:gd name="connsiteX48" fmla="*/ 11058585 w 23888933"/>
                <a:gd name="connsiteY48" fmla="*/ 1763043 h 15035524"/>
                <a:gd name="connsiteX49" fmla="*/ 11411229 w 23888933"/>
                <a:gd name="connsiteY49" fmla="*/ 2142774 h 15035524"/>
                <a:gd name="connsiteX50" fmla="*/ 11998974 w 23888933"/>
                <a:gd name="connsiteY50" fmla="*/ 2224144 h 15035524"/>
                <a:gd name="connsiteX51" fmla="*/ 12315449 w 23888933"/>
                <a:gd name="connsiteY51" fmla="*/ 2884156 h 15035524"/>
                <a:gd name="connsiteX52" fmla="*/ 12785642 w 23888933"/>
                <a:gd name="connsiteY52" fmla="*/ 2703327 h 15035524"/>
                <a:gd name="connsiteX53" fmla="*/ 13671776 w 23888933"/>
                <a:gd name="connsiteY53" fmla="*/ 3155388 h 15035524"/>
                <a:gd name="connsiteX54" fmla="*/ 14123886 w 23888933"/>
                <a:gd name="connsiteY54" fmla="*/ 2857035 h 15035524"/>
                <a:gd name="connsiteX55" fmla="*/ 14259509 w 23888933"/>
                <a:gd name="connsiteY55" fmla="*/ 2287434 h 15035524"/>
                <a:gd name="connsiteX56" fmla="*/ 14892468 w 23888933"/>
                <a:gd name="connsiteY56" fmla="*/ 1645503 h 15035524"/>
                <a:gd name="connsiteX57" fmla="*/ 15778605 w 23888933"/>
                <a:gd name="connsiteY57" fmla="*/ 1093983 h 15035524"/>
                <a:gd name="connsiteX58" fmla="*/ 16022739 w 23888933"/>
                <a:gd name="connsiteY58" fmla="*/ 1564133 h 15035524"/>
                <a:gd name="connsiteX59" fmla="*/ 16556232 w 23888933"/>
                <a:gd name="connsiteY59" fmla="*/ 2142785 h 15035524"/>
                <a:gd name="connsiteX60" fmla="*/ 17406193 w 23888933"/>
                <a:gd name="connsiteY60" fmla="*/ 1292897 h 15035524"/>
                <a:gd name="connsiteX61" fmla="*/ 18120524 w 23888933"/>
                <a:gd name="connsiteY61" fmla="*/ 714260 h 15035524"/>
                <a:gd name="connsiteX62" fmla="*/ 18744437 w 23888933"/>
                <a:gd name="connsiteY62" fmla="*/ -1 h 15035524"/>
                <a:gd name="connsiteX63" fmla="*/ 19982300 w 23888933"/>
                <a:gd name="connsiteY63" fmla="*/ 343465 h 15035524"/>
                <a:gd name="connsiteX64" fmla="*/ 19837609 w 23888933"/>
                <a:gd name="connsiteY64" fmla="*/ 1121173 h 15035524"/>
                <a:gd name="connsiteX65" fmla="*/ 21881359 w 23888933"/>
                <a:gd name="connsiteY65" fmla="*/ 1772279 h 15035524"/>
                <a:gd name="connsiteX66" fmla="*/ 21537712 w 23888933"/>
                <a:gd name="connsiteY66" fmla="*/ 2767023 h 15035524"/>
                <a:gd name="connsiteX67" fmla="*/ 22478203 w 23888933"/>
                <a:gd name="connsiteY67" fmla="*/ 2296774 h 15035524"/>
                <a:gd name="connsiteX68" fmla="*/ 23888932 w 23888933"/>
                <a:gd name="connsiteY68" fmla="*/ 1880797 h 15035524"/>
                <a:gd name="connsiteX69" fmla="*/ 14031723 w 23888933"/>
                <a:gd name="connsiteY69" fmla="*/ 5592368 h 15035524"/>
                <a:gd name="connsiteX70" fmla="*/ 16350939 w 23888933"/>
                <a:gd name="connsiteY70" fmla="*/ 6053348 h 15035524"/>
                <a:gd name="connsiteX71" fmla="*/ 16362364 w 23888933"/>
                <a:gd name="connsiteY71" fmla="*/ 6360628 h 15035524"/>
                <a:gd name="connsiteX72" fmla="*/ 16682563 w 23888933"/>
                <a:gd name="connsiteY72" fmla="*/ 6798531 h 15035524"/>
                <a:gd name="connsiteX0" fmla="*/ 16682563 w 23888933"/>
                <a:gd name="connsiteY0" fmla="*/ 6798531 h 15035524"/>
                <a:gd name="connsiteX1" fmla="*/ 16432262 w 23888933"/>
                <a:gd name="connsiteY1" fmla="*/ 7825917 h 15035524"/>
                <a:gd name="connsiteX2" fmla="*/ 16106317 w 23888933"/>
                <a:gd name="connsiteY2" fmla="*/ 8367221 h 15035524"/>
                <a:gd name="connsiteX3" fmla="*/ 16305649 w 23888933"/>
                <a:gd name="connsiteY3" fmla="*/ 8754550 h 15035524"/>
                <a:gd name="connsiteX4" fmla="*/ 16287189 w 23888933"/>
                <a:gd name="connsiteY4" fmla="*/ 9151157 h 15035524"/>
                <a:gd name="connsiteX5" fmla="*/ 16372801 w 23888933"/>
                <a:gd name="connsiteY5" fmla="*/ 9717422 h 15035524"/>
                <a:gd name="connsiteX6" fmla="*/ 16070155 w 23888933"/>
                <a:gd name="connsiteY6" fmla="*/ 9937808 h 15035524"/>
                <a:gd name="connsiteX7" fmla="*/ 15805690 w 23888933"/>
                <a:gd name="connsiteY7" fmla="*/ 10431999 h 15035524"/>
                <a:gd name="connsiteX8" fmla="*/ 15195097 w 23888933"/>
                <a:gd name="connsiteY8" fmla="*/ 10093742 h 15035524"/>
                <a:gd name="connsiteX9" fmla="*/ 15011380 w 23888933"/>
                <a:gd name="connsiteY9" fmla="*/ 11048592 h 15035524"/>
                <a:gd name="connsiteX10" fmla="*/ 14908430 w 23888933"/>
                <a:gd name="connsiteY10" fmla="*/ 11937487 h 15035524"/>
                <a:gd name="connsiteX11" fmla="*/ 14904684 w 23888933"/>
                <a:gd name="connsiteY11" fmla="*/ 12760926 h 15035524"/>
                <a:gd name="connsiteX12" fmla="*/ 14929927 w 23888933"/>
                <a:gd name="connsiteY12" fmla="*/ 14391846 h 15035524"/>
                <a:gd name="connsiteX13" fmla="*/ 12952786 w 23888933"/>
                <a:gd name="connsiteY13" fmla="*/ 14842599 h 15035524"/>
                <a:gd name="connsiteX14" fmla="*/ 11934663 w 23888933"/>
                <a:gd name="connsiteY14" fmla="*/ 14890849 h 15035524"/>
                <a:gd name="connsiteX15" fmla="*/ 8506848 w 23888933"/>
                <a:gd name="connsiteY15" fmla="*/ 15035524 h 15035524"/>
                <a:gd name="connsiteX16" fmla="*/ 7985095 w 23888933"/>
                <a:gd name="connsiteY16" fmla="*/ 14390442 h 15035524"/>
                <a:gd name="connsiteX17" fmla="*/ 7400308 w 23888933"/>
                <a:gd name="connsiteY17" fmla="*/ 14360297 h 15035524"/>
                <a:gd name="connsiteX18" fmla="*/ 6972273 w 23888933"/>
                <a:gd name="connsiteY18" fmla="*/ 14631594 h 15035524"/>
                <a:gd name="connsiteX19" fmla="*/ 5181729 w 23888933"/>
                <a:gd name="connsiteY19" fmla="*/ 14547195 h 15035524"/>
                <a:gd name="connsiteX20" fmla="*/ 4397998 w 23888933"/>
                <a:gd name="connsiteY20" fmla="*/ 13914178 h 15035524"/>
                <a:gd name="connsiteX21" fmla="*/ 2908896 w 23888933"/>
                <a:gd name="connsiteY21" fmla="*/ 13106324 h 15035524"/>
                <a:gd name="connsiteX22" fmla="*/ 1263043 w 23888933"/>
                <a:gd name="connsiteY22" fmla="*/ 12394931 h 15035524"/>
                <a:gd name="connsiteX23" fmla="*/ 485320 w 23888933"/>
                <a:gd name="connsiteY23" fmla="*/ 11942774 h 15035524"/>
                <a:gd name="connsiteX24" fmla="*/ 0 w 23888933"/>
                <a:gd name="connsiteY24" fmla="*/ 11649662 h 15035524"/>
                <a:gd name="connsiteX25" fmla="*/ 1003686 w 23888933"/>
                <a:gd name="connsiteY25" fmla="*/ 10903697 h 15035524"/>
                <a:gd name="connsiteX26" fmla="*/ 2902551 w 23888933"/>
                <a:gd name="connsiteY26" fmla="*/ 9719298 h 15035524"/>
                <a:gd name="connsiteX27" fmla="*/ 2558940 w 23888933"/>
                <a:gd name="connsiteY27" fmla="*/ 9185867 h 15035524"/>
                <a:gd name="connsiteX28" fmla="*/ 2402508 w 23888933"/>
                <a:gd name="connsiteY28" fmla="*/ 8498784 h 15035524"/>
                <a:gd name="connsiteX29" fmla="*/ 2730740 w 23888933"/>
                <a:gd name="connsiteY29" fmla="*/ 8471613 h 15035524"/>
                <a:gd name="connsiteX30" fmla="*/ 2947754 w 23888933"/>
                <a:gd name="connsiteY30" fmla="*/ 8001468 h 15035524"/>
                <a:gd name="connsiteX31" fmla="*/ 3499325 w 23888933"/>
                <a:gd name="connsiteY31" fmla="*/ 7558451 h 15035524"/>
                <a:gd name="connsiteX32" fmla="*/ 3680166 w 23888933"/>
                <a:gd name="connsiteY32" fmla="*/ 6681453 h 15035524"/>
                <a:gd name="connsiteX33" fmla="*/ 4186528 w 23888933"/>
                <a:gd name="connsiteY33" fmla="*/ 6690489 h 15035524"/>
                <a:gd name="connsiteX34" fmla="*/ 4837569 w 23888933"/>
                <a:gd name="connsiteY34" fmla="*/ 7160639 h 15035524"/>
                <a:gd name="connsiteX35" fmla="*/ 5352976 w 23888933"/>
                <a:gd name="connsiteY35" fmla="*/ 7079272 h 15035524"/>
                <a:gd name="connsiteX36" fmla="*/ 5741786 w 23888933"/>
                <a:gd name="connsiteY36" fmla="*/ 6708577 h 15035524"/>
                <a:gd name="connsiteX37" fmla="*/ 6157723 w 23888933"/>
                <a:gd name="connsiteY37" fmla="*/ 6545836 h 15035524"/>
                <a:gd name="connsiteX38" fmla="*/ 6745471 w 23888933"/>
                <a:gd name="connsiteY38" fmla="*/ 5976243 h 15035524"/>
                <a:gd name="connsiteX39" fmla="*/ 6890140 w 23888933"/>
                <a:gd name="connsiteY39" fmla="*/ 5126367 h 15035524"/>
                <a:gd name="connsiteX40" fmla="*/ 7568305 w 23888933"/>
                <a:gd name="connsiteY40" fmla="*/ 4556773 h 15035524"/>
                <a:gd name="connsiteX41" fmla="*/ 8137967 w 23888933"/>
                <a:gd name="connsiteY41" fmla="*/ 4113752 h 15035524"/>
                <a:gd name="connsiteX42" fmla="*/ 8463480 w 23888933"/>
                <a:gd name="connsiteY42" fmla="*/ 3309085 h 15035524"/>
                <a:gd name="connsiteX43" fmla="*/ 9024093 w 23888933"/>
                <a:gd name="connsiteY43" fmla="*/ 2956478 h 15035524"/>
                <a:gd name="connsiteX44" fmla="*/ 9675138 w 23888933"/>
                <a:gd name="connsiteY44" fmla="*/ 2603876 h 15035524"/>
                <a:gd name="connsiteX45" fmla="*/ 9558580 w 23888933"/>
                <a:gd name="connsiteY45" fmla="*/ 2055592 h 15035524"/>
                <a:gd name="connsiteX46" fmla="*/ 10353296 w 23888933"/>
                <a:gd name="connsiteY46" fmla="*/ 1383308 h 15035524"/>
                <a:gd name="connsiteX47" fmla="*/ 10832530 w 23888933"/>
                <a:gd name="connsiteY47" fmla="*/ 1310974 h 15035524"/>
                <a:gd name="connsiteX48" fmla="*/ 11058585 w 23888933"/>
                <a:gd name="connsiteY48" fmla="*/ 1763043 h 15035524"/>
                <a:gd name="connsiteX49" fmla="*/ 11411229 w 23888933"/>
                <a:gd name="connsiteY49" fmla="*/ 2142774 h 15035524"/>
                <a:gd name="connsiteX50" fmla="*/ 11998974 w 23888933"/>
                <a:gd name="connsiteY50" fmla="*/ 2224144 h 15035524"/>
                <a:gd name="connsiteX51" fmla="*/ 12315449 w 23888933"/>
                <a:gd name="connsiteY51" fmla="*/ 2884156 h 15035524"/>
                <a:gd name="connsiteX52" fmla="*/ 12785642 w 23888933"/>
                <a:gd name="connsiteY52" fmla="*/ 2703327 h 15035524"/>
                <a:gd name="connsiteX53" fmla="*/ 13671776 w 23888933"/>
                <a:gd name="connsiteY53" fmla="*/ 3155388 h 15035524"/>
                <a:gd name="connsiteX54" fmla="*/ 14123886 w 23888933"/>
                <a:gd name="connsiteY54" fmla="*/ 2857035 h 15035524"/>
                <a:gd name="connsiteX55" fmla="*/ 14259509 w 23888933"/>
                <a:gd name="connsiteY55" fmla="*/ 2287434 h 15035524"/>
                <a:gd name="connsiteX56" fmla="*/ 14892468 w 23888933"/>
                <a:gd name="connsiteY56" fmla="*/ 1645503 h 15035524"/>
                <a:gd name="connsiteX57" fmla="*/ 15778605 w 23888933"/>
                <a:gd name="connsiteY57" fmla="*/ 1093983 h 15035524"/>
                <a:gd name="connsiteX58" fmla="*/ 16022739 w 23888933"/>
                <a:gd name="connsiteY58" fmla="*/ 1564133 h 15035524"/>
                <a:gd name="connsiteX59" fmla="*/ 16556232 w 23888933"/>
                <a:gd name="connsiteY59" fmla="*/ 2142785 h 15035524"/>
                <a:gd name="connsiteX60" fmla="*/ 17406193 w 23888933"/>
                <a:gd name="connsiteY60" fmla="*/ 1292897 h 15035524"/>
                <a:gd name="connsiteX61" fmla="*/ 18120524 w 23888933"/>
                <a:gd name="connsiteY61" fmla="*/ 714260 h 15035524"/>
                <a:gd name="connsiteX62" fmla="*/ 18744437 w 23888933"/>
                <a:gd name="connsiteY62" fmla="*/ -1 h 15035524"/>
                <a:gd name="connsiteX63" fmla="*/ 19982300 w 23888933"/>
                <a:gd name="connsiteY63" fmla="*/ 343465 h 15035524"/>
                <a:gd name="connsiteX64" fmla="*/ 19837609 w 23888933"/>
                <a:gd name="connsiteY64" fmla="*/ 1121173 h 15035524"/>
                <a:gd name="connsiteX65" fmla="*/ 21881359 w 23888933"/>
                <a:gd name="connsiteY65" fmla="*/ 1772279 h 15035524"/>
                <a:gd name="connsiteX66" fmla="*/ 21537712 w 23888933"/>
                <a:gd name="connsiteY66" fmla="*/ 2767023 h 15035524"/>
                <a:gd name="connsiteX67" fmla="*/ 22478203 w 23888933"/>
                <a:gd name="connsiteY67" fmla="*/ 2296774 h 15035524"/>
                <a:gd name="connsiteX68" fmla="*/ 23888932 w 23888933"/>
                <a:gd name="connsiteY68" fmla="*/ 1880797 h 15035524"/>
                <a:gd name="connsiteX69" fmla="*/ 15323320 w 23888933"/>
                <a:gd name="connsiteY69" fmla="*/ 5928489 h 15035524"/>
                <a:gd name="connsiteX70" fmla="*/ 16350939 w 23888933"/>
                <a:gd name="connsiteY70" fmla="*/ 6053348 h 15035524"/>
                <a:gd name="connsiteX71" fmla="*/ 16362364 w 23888933"/>
                <a:gd name="connsiteY71" fmla="*/ 6360628 h 15035524"/>
                <a:gd name="connsiteX72" fmla="*/ 16682563 w 23888933"/>
                <a:gd name="connsiteY72" fmla="*/ 6798531 h 15035524"/>
                <a:gd name="connsiteX0" fmla="*/ 16682563 w 22478203"/>
                <a:gd name="connsiteY0" fmla="*/ 6798531 h 15035524"/>
                <a:gd name="connsiteX1" fmla="*/ 16432262 w 22478203"/>
                <a:gd name="connsiteY1" fmla="*/ 7825917 h 15035524"/>
                <a:gd name="connsiteX2" fmla="*/ 16106317 w 22478203"/>
                <a:gd name="connsiteY2" fmla="*/ 8367221 h 15035524"/>
                <a:gd name="connsiteX3" fmla="*/ 16305649 w 22478203"/>
                <a:gd name="connsiteY3" fmla="*/ 8754550 h 15035524"/>
                <a:gd name="connsiteX4" fmla="*/ 16287189 w 22478203"/>
                <a:gd name="connsiteY4" fmla="*/ 9151157 h 15035524"/>
                <a:gd name="connsiteX5" fmla="*/ 16372801 w 22478203"/>
                <a:gd name="connsiteY5" fmla="*/ 9717422 h 15035524"/>
                <a:gd name="connsiteX6" fmla="*/ 16070155 w 22478203"/>
                <a:gd name="connsiteY6" fmla="*/ 9937808 h 15035524"/>
                <a:gd name="connsiteX7" fmla="*/ 15805690 w 22478203"/>
                <a:gd name="connsiteY7" fmla="*/ 10431999 h 15035524"/>
                <a:gd name="connsiteX8" fmla="*/ 15195097 w 22478203"/>
                <a:gd name="connsiteY8" fmla="*/ 10093742 h 15035524"/>
                <a:gd name="connsiteX9" fmla="*/ 15011380 w 22478203"/>
                <a:gd name="connsiteY9" fmla="*/ 11048592 h 15035524"/>
                <a:gd name="connsiteX10" fmla="*/ 14908430 w 22478203"/>
                <a:gd name="connsiteY10" fmla="*/ 11937487 h 15035524"/>
                <a:gd name="connsiteX11" fmla="*/ 14904684 w 22478203"/>
                <a:gd name="connsiteY11" fmla="*/ 12760926 h 15035524"/>
                <a:gd name="connsiteX12" fmla="*/ 14929927 w 22478203"/>
                <a:gd name="connsiteY12" fmla="*/ 14391846 h 15035524"/>
                <a:gd name="connsiteX13" fmla="*/ 12952786 w 22478203"/>
                <a:gd name="connsiteY13" fmla="*/ 14842599 h 15035524"/>
                <a:gd name="connsiteX14" fmla="*/ 11934663 w 22478203"/>
                <a:gd name="connsiteY14" fmla="*/ 14890849 h 15035524"/>
                <a:gd name="connsiteX15" fmla="*/ 8506848 w 22478203"/>
                <a:gd name="connsiteY15" fmla="*/ 15035524 h 15035524"/>
                <a:gd name="connsiteX16" fmla="*/ 7985095 w 22478203"/>
                <a:gd name="connsiteY16" fmla="*/ 14390442 h 15035524"/>
                <a:gd name="connsiteX17" fmla="*/ 7400308 w 22478203"/>
                <a:gd name="connsiteY17" fmla="*/ 14360297 h 15035524"/>
                <a:gd name="connsiteX18" fmla="*/ 6972273 w 22478203"/>
                <a:gd name="connsiteY18" fmla="*/ 14631594 h 15035524"/>
                <a:gd name="connsiteX19" fmla="*/ 5181729 w 22478203"/>
                <a:gd name="connsiteY19" fmla="*/ 14547195 h 15035524"/>
                <a:gd name="connsiteX20" fmla="*/ 4397998 w 22478203"/>
                <a:gd name="connsiteY20" fmla="*/ 13914178 h 15035524"/>
                <a:gd name="connsiteX21" fmla="*/ 2908896 w 22478203"/>
                <a:gd name="connsiteY21" fmla="*/ 13106324 h 15035524"/>
                <a:gd name="connsiteX22" fmla="*/ 1263043 w 22478203"/>
                <a:gd name="connsiteY22" fmla="*/ 12394931 h 15035524"/>
                <a:gd name="connsiteX23" fmla="*/ 485320 w 22478203"/>
                <a:gd name="connsiteY23" fmla="*/ 11942774 h 15035524"/>
                <a:gd name="connsiteX24" fmla="*/ 0 w 22478203"/>
                <a:gd name="connsiteY24" fmla="*/ 11649662 h 15035524"/>
                <a:gd name="connsiteX25" fmla="*/ 1003686 w 22478203"/>
                <a:gd name="connsiteY25" fmla="*/ 10903697 h 15035524"/>
                <a:gd name="connsiteX26" fmla="*/ 2902551 w 22478203"/>
                <a:gd name="connsiteY26" fmla="*/ 9719298 h 15035524"/>
                <a:gd name="connsiteX27" fmla="*/ 2558940 w 22478203"/>
                <a:gd name="connsiteY27" fmla="*/ 9185867 h 15035524"/>
                <a:gd name="connsiteX28" fmla="*/ 2402508 w 22478203"/>
                <a:gd name="connsiteY28" fmla="*/ 8498784 h 15035524"/>
                <a:gd name="connsiteX29" fmla="*/ 2730740 w 22478203"/>
                <a:gd name="connsiteY29" fmla="*/ 8471613 h 15035524"/>
                <a:gd name="connsiteX30" fmla="*/ 2947754 w 22478203"/>
                <a:gd name="connsiteY30" fmla="*/ 8001468 h 15035524"/>
                <a:gd name="connsiteX31" fmla="*/ 3499325 w 22478203"/>
                <a:gd name="connsiteY31" fmla="*/ 7558451 h 15035524"/>
                <a:gd name="connsiteX32" fmla="*/ 3680166 w 22478203"/>
                <a:gd name="connsiteY32" fmla="*/ 6681453 h 15035524"/>
                <a:gd name="connsiteX33" fmla="*/ 4186528 w 22478203"/>
                <a:gd name="connsiteY33" fmla="*/ 6690489 h 15035524"/>
                <a:gd name="connsiteX34" fmla="*/ 4837569 w 22478203"/>
                <a:gd name="connsiteY34" fmla="*/ 7160639 h 15035524"/>
                <a:gd name="connsiteX35" fmla="*/ 5352976 w 22478203"/>
                <a:gd name="connsiteY35" fmla="*/ 7079272 h 15035524"/>
                <a:gd name="connsiteX36" fmla="*/ 5741786 w 22478203"/>
                <a:gd name="connsiteY36" fmla="*/ 6708577 h 15035524"/>
                <a:gd name="connsiteX37" fmla="*/ 6157723 w 22478203"/>
                <a:gd name="connsiteY37" fmla="*/ 6545836 h 15035524"/>
                <a:gd name="connsiteX38" fmla="*/ 6745471 w 22478203"/>
                <a:gd name="connsiteY38" fmla="*/ 5976243 h 15035524"/>
                <a:gd name="connsiteX39" fmla="*/ 6890140 w 22478203"/>
                <a:gd name="connsiteY39" fmla="*/ 5126367 h 15035524"/>
                <a:gd name="connsiteX40" fmla="*/ 7568305 w 22478203"/>
                <a:gd name="connsiteY40" fmla="*/ 4556773 h 15035524"/>
                <a:gd name="connsiteX41" fmla="*/ 8137967 w 22478203"/>
                <a:gd name="connsiteY41" fmla="*/ 4113752 h 15035524"/>
                <a:gd name="connsiteX42" fmla="*/ 8463480 w 22478203"/>
                <a:gd name="connsiteY42" fmla="*/ 3309085 h 15035524"/>
                <a:gd name="connsiteX43" fmla="*/ 9024093 w 22478203"/>
                <a:gd name="connsiteY43" fmla="*/ 2956478 h 15035524"/>
                <a:gd name="connsiteX44" fmla="*/ 9675138 w 22478203"/>
                <a:gd name="connsiteY44" fmla="*/ 2603876 h 15035524"/>
                <a:gd name="connsiteX45" fmla="*/ 9558580 w 22478203"/>
                <a:gd name="connsiteY45" fmla="*/ 2055592 h 15035524"/>
                <a:gd name="connsiteX46" fmla="*/ 10353296 w 22478203"/>
                <a:gd name="connsiteY46" fmla="*/ 1383308 h 15035524"/>
                <a:gd name="connsiteX47" fmla="*/ 10832530 w 22478203"/>
                <a:gd name="connsiteY47" fmla="*/ 1310974 h 15035524"/>
                <a:gd name="connsiteX48" fmla="*/ 11058585 w 22478203"/>
                <a:gd name="connsiteY48" fmla="*/ 1763043 h 15035524"/>
                <a:gd name="connsiteX49" fmla="*/ 11411229 w 22478203"/>
                <a:gd name="connsiteY49" fmla="*/ 2142774 h 15035524"/>
                <a:gd name="connsiteX50" fmla="*/ 11998974 w 22478203"/>
                <a:gd name="connsiteY50" fmla="*/ 2224144 h 15035524"/>
                <a:gd name="connsiteX51" fmla="*/ 12315449 w 22478203"/>
                <a:gd name="connsiteY51" fmla="*/ 2884156 h 15035524"/>
                <a:gd name="connsiteX52" fmla="*/ 12785642 w 22478203"/>
                <a:gd name="connsiteY52" fmla="*/ 2703327 h 15035524"/>
                <a:gd name="connsiteX53" fmla="*/ 13671776 w 22478203"/>
                <a:gd name="connsiteY53" fmla="*/ 3155388 h 15035524"/>
                <a:gd name="connsiteX54" fmla="*/ 14123886 w 22478203"/>
                <a:gd name="connsiteY54" fmla="*/ 2857035 h 15035524"/>
                <a:gd name="connsiteX55" fmla="*/ 14259509 w 22478203"/>
                <a:gd name="connsiteY55" fmla="*/ 2287434 h 15035524"/>
                <a:gd name="connsiteX56" fmla="*/ 14892468 w 22478203"/>
                <a:gd name="connsiteY56" fmla="*/ 1645503 h 15035524"/>
                <a:gd name="connsiteX57" fmla="*/ 15778605 w 22478203"/>
                <a:gd name="connsiteY57" fmla="*/ 1093983 h 15035524"/>
                <a:gd name="connsiteX58" fmla="*/ 16022739 w 22478203"/>
                <a:gd name="connsiteY58" fmla="*/ 1564133 h 15035524"/>
                <a:gd name="connsiteX59" fmla="*/ 16556232 w 22478203"/>
                <a:gd name="connsiteY59" fmla="*/ 2142785 h 15035524"/>
                <a:gd name="connsiteX60" fmla="*/ 17406193 w 22478203"/>
                <a:gd name="connsiteY60" fmla="*/ 1292897 h 15035524"/>
                <a:gd name="connsiteX61" fmla="*/ 18120524 w 22478203"/>
                <a:gd name="connsiteY61" fmla="*/ 714260 h 15035524"/>
                <a:gd name="connsiteX62" fmla="*/ 18744437 w 22478203"/>
                <a:gd name="connsiteY62" fmla="*/ -1 h 15035524"/>
                <a:gd name="connsiteX63" fmla="*/ 19982300 w 22478203"/>
                <a:gd name="connsiteY63" fmla="*/ 343465 h 15035524"/>
                <a:gd name="connsiteX64" fmla="*/ 19837609 w 22478203"/>
                <a:gd name="connsiteY64" fmla="*/ 1121173 h 15035524"/>
                <a:gd name="connsiteX65" fmla="*/ 21881359 w 22478203"/>
                <a:gd name="connsiteY65" fmla="*/ 1772279 h 15035524"/>
                <a:gd name="connsiteX66" fmla="*/ 21537712 w 22478203"/>
                <a:gd name="connsiteY66" fmla="*/ 2767023 h 15035524"/>
                <a:gd name="connsiteX67" fmla="*/ 22478203 w 22478203"/>
                <a:gd name="connsiteY67" fmla="*/ 2296774 h 15035524"/>
                <a:gd name="connsiteX68" fmla="*/ 14960077 w 22478203"/>
                <a:gd name="connsiteY68" fmla="*/ 5017927 h 15035524"/>
                <a:gd name="connsiteX69" fmla="*/ 15323320 w 22478203"/>
                <a:gd name="connsiteY69" fmla="*/ 5928489 h 15035524"/>
                <a:gd name="connsiteX70" fmla="*/ 16350939 w 22478203"/>
                <a:gd name="connsiteY70" fmla="*/ 6053348 h 15035524"/>
                <a:gd name="connsiteX71" fmla="*/ 16362364 w 22478203"/>
                <a:gd name="connsiteY71" fmla="*/ 6360628 h 15035524"/>
                <a:gd name="connsiteX72" fmla="*/ 16682563 w 22478203"/>
                <a:gd name="connsiteY72" fmla="*/ 6798531 h 15035524"/>
                <a:gd name="connsiteX0" fmla="*/ 16682563 w 22478203"/>
                <a:gd name="connsiteY0" fmla="*/ 6798531 h 15035524"/>
                <a:gd name="connsiteX1" fmla="*/ 16432262 w 22478203"/>
                <a:gd name="connsiteY1" fmla="*/ 7825917 h 15035524"/>
                <a:gd name="connsiteX2" fmla="*/ 16106317 w 22478203"/>
                <a:gd name="connsiteY2" fmla="*/ 8367221 h 15035524"/>
                <a:gd name="connsiteX3" fmla="*/ 16305649 w 22478203"/>
                <a:gd name="connsiteY3" fmla="*/ 8754550 h 15035524"/>
                <a:gd name="connsiteX4" fmla="*/ 16287189 w 22478203"/>
                <a:gd name="connsiteY4" fmla="*/ 9151157 h 15035524"/>
                <a:gd name="connsiteX5" fmla="*/ 16372801 w 22478203"/>
                <a:gd name="connsiteY5" fmla="*/ 9717422 h 15035524"/>
                <a:gd name="connsiteX6" fmla="*/ 16070155 w 22478203"/>
                <a:gd name="connsiteY6" fmla="*/ 9937808 h 15035524"/>
                <a:gd name="connsiteX7" fmla="*/ 15805690 w 22478203"/>
                <a:gd name="connsiteY7" fmla="*/ 10431999 h 15035524"/>
                <a:gd name="connsiteX8" fmla="*/ 15195097 w 22478203"/>
                <a:gd name="connsiteY8" fmla="*/ 10093742 h 15035524"/>
                <a:gd name="connsiteX9" fmla="*/ 15011380 w 22478203"/>
                <a:gd name="connsiteY9" fmla="*/ 11048592 h 15035524"/>
                <a:gd name="connsiteX10" fmla="*/ 14908430 w 22478203"/>
                <a:gd name="connsiteY10" fmla="*/ 11937487 h 15035524"/>
                <a:gd name="connsiteX11" fmla="*/ 14904684 w 22478203"/>
                <a:gd name="connsiteY11" fmla="*/ 12760926 h 15035524"/>
                <a:gd name="connsiteX12" fmla="*/ 14929927 w 22478203"/>
                <a:gd name="connsiteY12" fmla="*/ 14391846 h 15035524"/>
                <a:gd name="connsiteX13" fmla="*/ 12952786 w 22478203"/>
                <a:gd name="connsiteY13" fmla="*/ 14842599 h 15035524"/>
                <a:gd name="connsiteX14" fmla="*/ 11934663 w 22478203"/>
                <a:gd name="connsiteY14" fmla="*/ 14890849 h 15035524"/>
                <a:gd name="connsiteX15" fmla="*/ 8506848 w 22478203"/>
                <a:gd name="connsiteY15" fmla="*/ 15035524 h 15035524"/>
                <a:gd name="connsiteX16" fmla="*/ 7985095 w 22478203"/>
                <a:gd name="connsiteY16" fmla="*/ 14390442 h 15035524"/>
                <a:gd name="connsiteX17" fmla="*/ 7400308 w 22478203"/>
                <a:gd name="connsiteY17" fmla="*/ 14360297 h 15035524"/>
                <a:gd name="connsiteX18" fmla="*/ 6972273 w 22478203"/>
                <a:gd name="connsiteY18" fmla="*/ 14631594 h 15035524"/>
                <a:gd name="connsiteX19" fmla="*/ 5181729 w 22478203"/>
                <a:gd name="connsiteY19" fmla="*/ 14547195 h 15035524"/>
                <a:gd name="connsiteX20" fmla="*/ 4397998 w 22478203"/>
                <a:gd name="connsiteY20" fmla="*/ 13914178 h 15035524"/>
                <a:gd name="connsiteX21" fmla="*/ 2908896 w 22478203"/>
                <a:gd name="connsiteY21" fmla="*/ 13106324 h 15035524"/>
                <a:gd name="connsiteX22" fmla="*/ 1263043 w 22478203"/>
                <a:gd name="connsiteY22" fmla="*/ 12394931 h 15035524"/>
                <a:gd name="connsiteX23" fmla="*/ 485320 w 22478203"/>
                <a:gd name="connsiteY23" fmla="*/ 11942774 h 15035524"/>
                <a:gd name="connsiteX24" fmla="*/ 0 w 22478203"/>
                <a:gd name="connsiteY24" fmla="*/ 11649662 h 15035524"/>
                <a:gd name="connsiteX25" fmla="*/ 1003686 w 22478203"/>
                <a:gd name="connsiteY25" fmla="*/ 10903697 h 15035524"/>
                <a:gd name="connsiteX26" fmla="*/ 2902551 w 22478203"/>
                <a:gd name="connsiteY26" fmla="*/ 9719298 h 15035524"/>
                <a:gd name="connsiteX27" fmla="*/ 2558940 w 22478203"/>
                <a:gd name="connsiteY27" fmla="*/ 9185867 h 15035524"/>
                <a:gd name="connsiteX28" fmla="*/ 2402508 w 22478203"/>
                <a:gd name="connsiteY28" fmla="*/ 8498784 h 15035524"/>
                <a:gd name="connsiteX29" fmla="*/ 2730740 w 22478203"/>
                <a:gd name="connsiteY29" fmla="*/ 8471613 h 15035524"/>
                <a:gd name="connsiteX30" fmla="*/ 2947754 w 22478203"/>
                <a:gd name="connsiteY30" fmla="*/ 8001468 h 15035524"/>
                <a:gd name="connsiteX31" fmla="*/ 3499325 w 22478203"/>
                <a:gd name="connsiteY31" fmla="*/ 7558451 h 15035524"/>
                <a:gd name="connsiteX32" fmla="*/ 3680166 w 22478203"/>
                <a:gd name="connsiteY32" fmla="*/ 6681453 h 15035524"/>
                <a:gd name="connsiteX33" fmla="*/ 4186528 w 22478203"/>
                <a:gd name="connsiteY33" fmla="*/ 6690489 h 15035524"/>
                <a:gd name="connsiteX34" fmla="*/ 4837569 w 22478203"/>
                <a:gd name="connsiteY34" fmla="*/ 7160639 h 15035524"/>
                <a:gd name="connsiteX35" fmla="*/ 5352976 w 22478203"/>
                <a:gd name="connsiteY35" fmla="*/ 7079272 h 15035524"/>
                <a:gd name="connsiteX36" fmla="*/ 5741786 w 22478203"/>
                <a:gd name="connsiteY36" fmla="*/ 6708577 h 15035524"/>
                <a:gd name="connsiteX37" fmla="*/ 6157723 w 22478203"/>
                <a:gd name="connsiteY37" fmla="*/ 6545836 h 15035524"/>
                <a:gd name="connsiteX38" fmla="*/ 6745471 w 22478203"/>
                <a:gd name="connsiteY38" fmla="*/ 5976243 h 15035524"/>
                <a:gd name="connsiteX39" fmla="*/ 6890140 w 22478203"/>
                <a:gd name="connsiteY39" fmla="*/ 5126367 h 15035524"/>
                <a:gd name="connsiteX40" fmla="*/ 7568305 w 22478203"/>
                <a:gd name="connsiteY40" fmla="*/ 4556773 h 15035524"/>
                <a:gd name="connsiteX41" fmla="*/ 8137967 w 22478203"/>
                <a:gd name="connsiteY41" fmla="*/ 4113752 h 15035524"/>
                <a:gd name="connsiteX42" fmla="*/ 8463480 w 22478203"/>
                <a:gd name="connsiteY42" fmla="*/ 3309085 h 15035524"/>
                <a:gd name="connsiteX43" fmla="*/ 9024093 w 22478203"/>
                <a:gd name="connsiteY43" fmla="*/ 2956478 h 15035524"/>
                <a:gd name="connsiteX44" fmla="*/ 9675138 w 22478203"/>
                <a:gd name="connsiteY44" fmla="*/ 2603876 h 15035524"/>
                <a:gd name="connsiteX45" fmla="*/ 9558580 w 22478203"/>
                <a:gd name="connsiteY45" fmla="*/ 2055592 h 15035524"/>
                <a:gd name="connsiteX46" fmla="*/ 10353296 w 22478203"/>
                <a:gd name="connsiteY46" fmla="*/ 1383308 h 15035524"/>
                <a:gd name="connsiteX47" fmla="*/ 10832530 w 22478203"/>
                <a:gd name="connsiteY47" fmla="*/ 1310974 h 15035524"/>
                <a:gd name="connsiteX48" fmla="*/ 11058585 w 22478203"/>
                <a:gd name="connsiteY48" fmla="*/ 1763043 h 15035524"/>
                <a:gd name="connsiteX49" fmla="*/ 11411229 w 22478203"/>
                <a:gd name="connsiteY49" fmla="*/ 2142774 h 15035524"/>
                <a:gd name="connsiteX50" fmla="*/ 11998974 w 22478203"/>
                <a:gd name="connsiteY50" fmla="*/ 2224144 h 15035524"/>
                <a:gd name="connsiteX51" fmla="*/ 12315449 w 22478203"/>
                <a:gd name="connsiteY51" fmla="*/ 2884156 h 15035524"/>
                <a:gd name="connsiteX52" fmla="*/ 12785642 w 22478203"/>
                <a:gd name="connsiteY52" fmla="*/ 2703327 h 15035524"/>
                <a:gd name="connsiteX53" fmla="*/ 13671776 w 22478203"/>
                <a:gd name="connsiteY53" fmla="*/ 3155388 h 15035524"/>
                <a:gd name="connsiteX54" fmla="*/ 14123886 w 22478203"/>
                <a:gd name="connsiteY54" fmla="*/ 2857035 h 15035524"/>
                <a:gd name="connsiteX55" fmla="*/ 14259509 w 22478203"/>
                <a:gd name="connsiteY55" fmla="*/ 2287434 h 15035524"/>
                <a:gd name="connsiteX56" fmla="*/ 14892468 w 22478203"/>
                <a:gd name="connsiteY56" fmla="*/ 1645503 h 15035524"/>
                <a:gd name="connsiteX57" fmla="*/ 15778605 w 22478203"/>
                <a:gd name="connsiteY57" fmla="*/ 1093983 h 15035524"/>
                <a:gd name="connsiteX58" fmla="*/ 16022739 w 22478203"/>
                <a:gd name="connsiteY58" fmla="*/ 1564133 h 15035524"/>
                <a:gd name="connsiteX59" fmla="*/ 16556232 w 22478203"/>
                <a:gd name="connsiteY59" fmla="*/ 2142785 h 15035524"/>
                <a:gd name="connsiteX60" fmla="*/ 17406193 w 22478203"/>
                <a:gd name="connsiteY60" fmla="*/ 1292897 h 15035524"/>
                <a:gd name="connsiteX61" fmla="*/ 18120524 w 22478203"/>
                <a:gd name="connsiteY61" fmla="*/ 714260 h 15035524"/>
                <a:gd name="connsiteX62" fmla="*/ 18744437 w 22478203"/>
                <a:gd name="connsiteY62" fmla="*/ -1 h 15035524"/>
                <a:gd name="connsiteX63" fmla="*/ 19982300 w 22478203"/>
                <a:gd name="connsiteY63" fmla="*/ 343465 h 15035524"/>
                <a:gd name="connsiteX64" fmla="*/ 19837609 w 22478203"/>
                <a:gd name="connsiteY64" fmla="*/ 1121173 h 15035524"/>
                <a:gd name="connsiteX65" fmla="*/ 21881359 w 22478203"/>
                <a:gd name="connsiteY65" fmla="*/ 1772279 h 15035524"/>
                <a:gd name="connsiteX66" fmla="*/ 21537712 w 22478203"/>
                <a:gd name="connsiteY66" fmla="*/ 2767023 h 15035524"/>
                <a:gd name="connsiteX67" fmla="*/ 22478203 w 22478203"/>
                <a:gd name="connsiteY67" fmla="*/ 2296774 h 15035524"/>
                <a:gd name="connsiteX68" fmla="*/ 13387695 w 22478203"/>
                <a:gd name="connsiteY68" fmla="*/ 5998279 h 15035524"/>
                <a:gd name="connsiteX69" fmla="*/ 15323320 w 22478203"/>
                <a:gd name="connsiteY69" fmla="*/ 5928489 h 15035524"/>
                <a:gd name="connsiteX70" fmla="*/ 16350939 w 22478203"/>
                <a:gd name="connsiteY70" fmla="*/ 6053348 h 15035524"/>
                <a:gd name="connsiteX71" fmla="*/ 16362364 w 22478203"/>
                <a:gd name="connsiteY71" fmla="*/ 6360628 h 15035524"/>
                <a:gd name="connsiteX72" fmla="*/ 16682563 w 22478203"/>
                <a:gd name="connsiteY72" fmla="*/ 6798531 h 15035524"/>
                <a:gd name="connsiteX0" fmla="*/ 16682563 w 22478203"/>
                <a:gd name="connsiteY0" fmla="*/ 6798531 h 15035524"/>
                <a:gd name="connsiteX1" fmla="*/ 16432262 w 22478203"/>
                <a:gd name="connsiteY1" fmla="*/ 7825917 h 15035524"/>
                <a:gd name="connsiteX2" fmla="*/ 16106317 w 22478203"/>
                <a:gd name="connsiteY2" fmla="*/ 8367221 h 15035524"/>
                <a:gd name="connsiteX3" fmla="*/ 16305649 w 22478203"/>
                <a:gd name="connsiteY3" fmla="*/ 8754550 h 15035524"/>
                <a:gd name="connsiteX4" fmla="*/ 16287189 w 22478203"/>
                <a:gd name="connsiteY4" fmla="*/ 9151157 h 15035524"/>
                <a:gd name="connsiteX5" fmla="*/ 16372801 w 22478203"/>
                <a:gd name="connsiteY5" fmla="*/ 9717422 h 15035524"/>
                <a:gd name="connsiteX6" fmla="*/ 16070155 w 22478203"/>
                <a:gd name="connsiteY6" fmla="*/ 9937808 h 15035524"/>
                <a:gd name="connsiteX7" fmla="*/ 15805690 w 22478203"/>
                <a:gd name="connsiteY7" fmla="*/ 10431999 h 15035524"/>
                <a:gd name="connsiteX8" fmla="*/ 15195097 w 22478203"/>
                <a:gd name="connsiteY8" fmla="*/ 10093742 h 15035524"/>
                <a:gd name="connsiteX9" fmla="*/ 15011380 w 22478203"/>
                <a:gd name="connsiteY9" fmla="*/ 11048592 h 15035524"/>
                <a:gd name="connsiteX10" fmla="*/ 14908430 w 22478203"/>
                <a:gd name="connsiteY10" fmla="*/ 11937487 h 15035524"/>
                <a:gd name="connsiteX11" fmla="*/ 14904684 w 22478203"/>
                <a:gd name="connsiteY11" fmla="*/ 12760926 h 15035524"/>
                <a:gd name="connsiteX12" fmla="*/ 14929927 w 22478203"/>
                <a:gd name="connsiteY12" fmla="*/ 14391846 h 15035524"/>
                <a:gd name="connsiteX13" fmla="*/ 12952786 w 22478203"/>
                <a:gd name="connsiteY13" fmla="*/ 14842599 h 15035524"/>
                <a:gd name="connsiteX14" fmla="*/ 11934663 w 22478203"/>
                <a:gd name="connsiteY14" fmla="*/ 14890849 h 15035524"/>
                <a:gd name="connsiteX15" fmla="*/ 8506848 w 22478203"/>
                <a:gd name="connsiteY15" fmla="*/ 15035524 h 15035524"/>
                <a:gd name="connsiteX16" fmla="*/ 7985095 w 22478203"/>
                <a:gd name="connsiteY16" fmla="*/ 14390442 h 15035524"/>
                <a:gd name="connsiteX17" fmla="*/ 7400308 w 22478203"/>
                <a:gd name="connsiteY17" fmla="*/ 14360297 h 15035524"/>
                <a:gd name="connsiteX18" fmla="*/ 6972273 w 22478203"/>
                <a:gd name="connsiteY18" fmla="*/ 14631594 h 15035524"/>
                <a:gd name="connsiteX19" fmla="*/ 5181729 w 22478203"/>
                <a:gd name="connsiteY19" fmla="*/ 14547195 h 15035524"/>
                <a:gd name="connsiteX20" fmla="*/ 4397998 w 22478203"/>
                <a:gd name="connsiteY20" fmla="*/ 13914178 h 15035524"/>
                <a:gd name="connsiteX21" fmla="*/ 2908896 w 22478203"/>
                <a:gd name="connsiteY21" fmla="*/ 13106324 h 15035524"/>
                <a:gd name="connsiteX22" fmla="*/ 1263043 w 22478203"/>
                <a:gd name="connsiteY22" fmla="*/ 12394931 h 15035524"/>
                <a:gd name="connsiteX23" fmla="*/ 485320 w 22478203"/>
                <a:gd name="connsiteY23" fmla="*/ 11942774 h 15035524"/>
                <a:gd name="connsiteX24" fmla="*/ 0 w 22478203"/>
                <a:gd name="connsiteY24" fmla="*/ 11649662 h 15035524"/>
                <a:gd name="connsiteX25" fmla="*/ 1003686 w 22478203"/>
                <a:gd name="connsiteY25" fmla="*/ 10903697 h 15035524"/>
                <a:gd name="connsiteX26" fmla="*/ 2902551 w 22478203"/>
                <a:gd name="connsiteY26" fmla="*/ 9719298 h 15035524"/>
                <a:gd name="connsiteX27" fmla="*/ 2558940 w 22478203"/>
                <a:gd name="connsiteY27" fmla="*/ 9185867 h 15035524"/>
                <a:gd name="connsiteX28" fmla="*/ 2402508 w 22478203"/>
                <a:gd name="connsiteY28" fmla="*/ 8498784 h 15035524"/>
                <a:gd name="connsiteX29" fmla="*/ 2730740 w 22478203"/>
                <a:gd name="connsiteY29" fmla="*/ 8471613 h 15035524"/>
                <a:gd name="connsiteX30" fmla="*/ 2947754 w 22478203"/>
                <a:gd name="connsiteY30" fmla="*/ 8001468 h 15035524"/>
                <a:gd name="connsiteX31" fmla="*/ 3499325 w 22478203"/>
                <a:gd name="connsiteY31" fmla="*/ 7558451 h 15035524"/>
                <a:gd name="connsiteX32" fmla="*/ 3680166 w 22478203"/>
                <a:gd name="connsiteY32" fmla="*/ 6681453 h 15035524"/>
                <a:gd name="connsiteX33" fmla="*/ 4186528 w 22478203"/>
                <a:gd name="connsiteY33" fmla="*/ 6690489 h 15035524"/>
                <a:gd name="connsiteX34" fmla="*/ 4837569 w 22478203"/>
                <a:gd name="connsiteY34" fmla="*/ 7160639 h 15035524"/>
                <a:gd name="connsiteX35" fmla="*/ 5352976 w 22478203"/>
                <a:gd name="connsiteY35" fmla="*/ 7079272 h 15035524"/>
                <a:gd name="connsiteX36" fmla="*/ 5741786 w 22478203"/>
                <a:gd name="connsiteY36" fmla="*/ 6708577 h 15035524"/>
                <a:gd name="connsiteX37" fmla="*/ 6157723 w 22478203"/>
                <a:gd name="connsiteY37" fmla="*/ 6545836 h 15035524"/>
                <a:gd name="connsiteX38" fmla="*/ 6745471 w 22478203"/>
                <a:gd name="connsiteY38" fmla="*/ 5976243 h 15035524"/>
                <a:gd name="connsiteX39" fmla="*/ 6890140 w 22478203"/>
                <a:gd name="connsiteY39" fmla="*/ 5126367 h 15035524"/>
                <a:gd name="connsiteX40" fmla="*/ 7568305 w 22478203"/>
                <a:gd name="connsiteY40" fmla="*/ 4556773 h 15035524"/>
                <a:gd name="connsiteX41" fmla="*/ 8137967 w 22478203"/>
                <a:gd name="connsiteY41" fmla="*/ 4113752 h 15035524"/>
                <a:gd name="connsiteX42" fmla="*/ 8463480 w 22478203"/>
                <a:gd name="connsiteY42" fmla="*/ 3309085 h 15035524"/>
                <a:gd name="connsiteX43" fmla="*/ 9024093 w 22478203"/>
                <a:gd name="connsiteY43" fmla="*/ 2956478 h 15035524"/>
                <a:gd name="connsiteX44" fmla="*/ 9675138 w 22478203"/>
                <a:gd name="connsiteY44" fmla="*/ 2603876 h 15035524"/>
                <a:gd name="connsiteX45" fmla="*/ 9558580 w 22478203"/>
                <a:gd name="connsiteY45" fmla="*/ 2055592 h 15035524"/>
                <a:gd name="connsiteX46" fmla="*/ 10353296 w 22478203"/>
                <a:gd name="connsiteY46" fmla="*/ 1383308 h 15035524"/>
                <a:gd name="connsiteX47" fmla="*/ 10832530 w 22478203"/>
                <a:gd name="connsiteY47" fmla="*/ 1310974 h 15035524"/>
                <a:gd name="connsiteX48" fmla="*/ 11058585 w 22478203"/>
                <a:gd name="connsiteY48" fmla="*/ 1763043 h 15035524"/>
                <a:gd name="connsiteX49" fmla="*/ 11411229 w 22478203"/>
                <a:gd name="connsiteY49" fmla="*/ 2142774 h 15035524"/>
                <a:gd name="connsiteX50" fmla="*/ 11998974 w 22478203"/>
                <a:gd name="connsiteY50" fmla="*/ 2224144 h 15035524"/>
                <a:gd name="connsiteX51" fmla="*/ 12315449 w 22478203"/>
                <a:gd name="connsiteY51" fmla="*/ 2884156 h 15035524"/>
                <a:gd name="connsiteX52" fmla="*/ 12785642 w 22478203"/>
                <a:gd name="connsiteY52" fmla="*/ 2703327 h 15035524"/>
                <a:gd name="connsiteX53" fmla="*/ 13671776 w 22478203"/>
                <a:gd name="connsiteY53" fmla="*/ 3155388 h 15035524"/>
                <a:gd name="connsiteX54" fmla="*/ 14123886 w 22478203"/>
                <a:gd name="connsiteY54" fmla="*/ 2857035 h 15035524"/>
                <a:gd name="connsiteX55" fmla="*/ 14259509 w 22478203"/>
                <a:gd name="connsiteY55" fmla="*/ 2287434 h 15035524"/>
                <a:gd name="connsiteX56" fmla="*/ 14892468 w 22478203"/>
                <a:gd name="connsiteY56" fmla="*/ 1645503 h 15035524"/>
                <a:gd name="connsiteX57" fmla="*/ 15778605 w 22478203"/>
                <a:gd name="connsiteY57" fmla="*/ 1093983 h 15035524"/>
                <a:gd name="connsiteX58" fmla="*/ 16022739 w 22478203"/>
                <a:gd name="connsiteY58" fmla="*/ 1564133 h 15035524"/>
                <a:gd name="connsiteX59" fmla="*/ 16556232 w 22478203"/>
                <a:gd name="connsiteY59" fmla="*/ 2142785 h 15035524"/>
                <a:gd name="connsiteX60" fmla="*/ 17406193 w 22478203"/>
                <a:gd name="connsiteY60" fmla="*/ 1292897 h 15035524"/>
                <a:gd name="connsiteX61" fmla="*/ 18120524 w 22478203"/>
                <a:gd name="connsiteY61" fmla="*/ 714260 h 15035524"/>
                <a:gd name="connsiteX62" fmla="*/ 18744437 w 22478203"/>
                <a:gd name="connsiteY62" fmla="*/ -1 h 15035524"/>
                <a:gd name="connsiteX63" fmla="*/ 19982300 w 22478203"/>
                <a:gd name="connsiteY63" fmla="*/ 343465 h 15035524"/>
                <a:gd name="connsiteX64" fmla="*/ 19837609 w 22478203"/>
                <a:gd name="connsiteY64" fmla="*/ 1121173 h 15035524"/>
                <a:gd name="connsiteX65" fmla="*/ 21881359 w 22478203"/>
                <a:gd name="connsiteY65" fmla="*/ 1772279 h 15035524"/>
                <a:gd name="connsiteX66" fmla="*/ 21537712 w 22478203"/>
                <a:gd name="connsiteY66" fmla="*/ 2767023 h 15035524"/>
                <a:gd name="connsiteX67" fmla="*/ 22478203 w 22478203"/>
                <a:gd name="connsiteY67" fmla="*/ 2296774 h 15035524"/>
                <a:gd name="connsiteX68" fmla="*/ 14370431 w 22478203"/>
                <a:gd name="connsiteY68" fmla="*/ 5830216 h 15035524"/>
                <a:gd name="connsiteX69" fmla="*/ 15323320 w 22478203"/>
                <a:gd name="connsiteY69" fmla="*/ 5928489 h 15035524"/>
                <a:gd name="connsiteX70" fmla="*/ 16350939 w 22478203"/>
                <a:gd name="connsiteY70" fmla="*/ 6053348 h 15035524"/>
                <a:gd name="connsiteX71" fmla="*/ 16362364 w 22478203"/>
                <a:gd name="connsiteY71" fmla="*/ 6360628 h 15035524"/>
                <a:gd name="connsiteX72" fmla="*/ 16682563 w 22478203"/>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21537712 w 21881361"/>
                <a:gd name="connsiteY66" fmla="*/ 2767023 h 15035524"/>
                <a:gd name="connsiteX67" fmla="*/ 15879834 w 21881361"/>
                <a:gd name="connsiteY67" fmla="*/ 3669271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21537712 w 21881361"/>
                <a:gd name="connsiteY66" fmla="*/ 2767023 h 15035524"/>
                <a:gd name="connsiteX67" fmla="*/ 12791242 w 21881361"/>
                <a:gd name="connsiteY67" fmla="*/ 4145446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21537712 w 21881361"/>
                <a:gd name="connsiteY66" fmla="*/ 2767023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9351795 w 21881361"/>
                <a:gd name="connsiteY66" fmla="*/ 5483998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8537524 w 21881361"/>
                <a:gd name="connsiteY66" fmla="*/ 7052559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8481365 w 21881361"/>
                <a:gd name="connsiteY66" fmla="*/ 9209329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13844296 w 21881361"/>
                <a:gd name="connsiteY66" fmla="*/ 6156232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9583129 w 19982300"/>
                <a:gd name="connsiteY65" fmla="*/ 5329554 h 15035524"/>
                <a:gd name="connsiteX66" fmla="*/ 13844296 w 19982300"/>
                <a:gd name="connsiteY66" fmla="*/ 6156232 h 15035524"/>
                <a:gd name="connsiteX67" fmla="*/ 14195152 w 19982300"/>
                <a:gd name="connsiteY67" fmla="*/ 5489927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0818567 w 19982300"/>
                <a:gd name="connsiteY65" fmla="*/ 7094187 h 15035524"/>
                <a:gd name="connsiteX66" fmla="*/ 13844296 w 19982300"/>
                <a:gd name="connsiteY66" fmla="*/ 6156232 h 15035524"/>
                <a:gd name="connsiteX67" fmla="*/ 14195152 w 19982300"/>
                <a:gd name="connsiteY67" fmla="*/ 5489927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0818567 w 19982300"/>
                <a:gd name="connsiteY65" fmla="*/ 709418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0902797 w 19982300"/>
                <a:gd name="connsiteY65" fmla="*/ 8634739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1717061 w 19982300"/>
                <a:gd name="connsiteY65" fmla="*/ 9643106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2531332 w 19982300"/>
                <a:gd name="connsiteY65" fmla="*/ 10399372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1239741 w 19982300"/>
                <a:gd name="connsiteY65" fmla="*/ 10035244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0537783 w 19982300"/>
                <a:gd name="connsiteY65" fmla="*/ 9419026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9358504 w 19982300"/>
                <a:gd name="connsiteY65" fmla="*/ 12556148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5820656 w 19982300"/>
                <a:gd name="connsiteY65" fmla="*/ 12276045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2868275 w 19982300"/>
                <a:gd name="connsiteY65" fmla="*/ 675806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9926023 w 19982300"/>
                <a:gd name="connsiteY64" fmla="*/ 5238645 h 15035524"/>
                <a:gd name="connsiteX65" fmla="*/ 12868275 w 19982300"/>
                <a:gd name="connsiteY65" fmla="*/ 675806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8353647 w 19982300"/>
                <a:gd name="connsiteY64" fmla="*/ 9412143 h 15035524"/>
                <a:gd name="connsiteX65" fmla="*/ 12868275 w 19982300"/>
                <a:gd name="connsiteY65" fmla="*/ 675806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1919572 w 19982300"/>
                <a:gd name="connsiteY64" fmla="*/ 7003278 h 15035524"/>
                <a:gd name="connsiteX65" fmla="*/ 12868275 w 19982300"/>
                <a:gd name="connsiteY65" fmla="*/ 675806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8744436"/>
                <a:gd name="connsiteY0" fmla="*/ 6798531 h 15035524"/>
                <a:gd name="connsiteX1" fmla="*/ 16432262 w 18744436"/>
                <a:gd name="connsiteY1" fmla="*/ 7825917 h 15035524"/>
                <a:gd name="connsiteX2" fmla="*/ 16106317 w 18744436"/>
                <a:gd name="connsiteY2" fmla="*/ 8367221 h 15035524"/>
                <a:gd name="connsiteX3" fmla="*/ 16305649 w 18744436"/>
                <a:gd name="connsiteY3" fmla="*/ 8754550 h 15035524"/>
                <a:gd name="connsiteX4" fmla="*/ 16287189 w 18744436"/>
                <a:gd name="connsiteY4" fmla="*/ 9151157 h 15035524"/>
                <a:gd name="connsiteX5" fmla="*/ 16372801 w 18744436"/>
                <a:gd name="connsiteY5" fmla="*/ 9717422 h 15035524"/>
                <a:gd name="connsiteX6" fmla="*/ 16070155 w 18744436"/>
                <a:gd name="connsiteY6" fmla="*/ 9937808 h 15035524"/>
                <a:gd name="connsiteX7" fmla="*/ 15805690 w 18744436"/>
                <a:gd name="connsiteY7" fmla="*/ 10431999 h 15035524"/>
                <a:gd name="connsiteX8" fmla="*/ 15195097 w 18744436"/>
                <a:gd name="connsiteY8" fmla="*/ 10093742 h 15035524"/>
                <a:gd name="connsiteX9" fmla="*/ 15011380 w 18744436"/>
                <a:gd name="connsiteY9" fmla="*/ 11048592 h 15035524"/>
                <a:gd name="connsiteX10" fmla="*/ 14908430 w 18744436"/>
                <a:gd name="connsiteY10" fmla="*/ 11937487 h 15035524"/>
                <a:gd name="connsiteX11" fmla="*/ 14904684 w 18744436"/>
                <a:gd name="connsiteY11" fmla="*/ 12760926 h 15035524"/>
                <a:gd name="connsiteX12" fmla="*/ 14929927 w 18744436"/>
                <a:gd name="connsiteY12" fmla="*/ 14391846 h 15035524"/>
                <a:gd name="connsiteX13" fmla="*/ 12952786 w 18744436"/>
                <a:gd name="connsiteY13" fmla="*/ 14842599 h 15035524"/>
                <a:gd name="connsiteX14" fmla="*/ 11934663 w 18744436"/>
                <a:gd name="connsiteY14" fmla="*/ 14890849 h 15035524"/>
                <a:gd name="connsiteX15" fmla="*/ 8506848 w 18744436"/>
                <a:gd name="connsiteY15" fmla="*/ 15035524 h 15035524"/>
                <a:gd name="connsiteX16" fmla="*/ 7985095 w 18744436"/>
                <a:gd name="connsiteY16" fmla="*/ 14390442 h 15035524"/>
                <a:gd name="connsiteX17" fmla="*/ 7400308 w 18744436"/>
                <a:gd name="connsiteY17" fmla="*/ 14360297 h 15035524"/>
                <a:gd name="connsiteX18" fmla="*/ 6972273 w 18744436"/>
                <a:gd name="connsiteY18" fmla="*/ 14631594 h 15035524"/>
                <a:gd name="connsiteX19" fmla="*/ 5181729 w 18744436"/>
                <a:gd name="connsiteY19" fmla="*/ 14547195 h 15035524"/>
                <a:gd name="connsiteX20" fmla="*/ 4397998 w 18744436"/>
                <a:gd name="connsiteY20" fmla="*/ 13914178 h 15035524"/>
                <a:gd name="connsiteX21" fmla="*/ 2908896 w 18744436"/>
                <a:gd name="connsiteY21" fmla="*/ 13106324 h 15035524"/>
                <a:gd name="connsiteX22" fmla="*/ 1263043 w 18744436"/>
                <a:gd name="connsiteY22" fmla="*/ 12394931 h 15035524"/>
                <a:gd name="connsiteX23" fmla="*/ 485320 w 18744436"/>
                <a:gd name="connsiteY23" fmla="*/ 11942774 h 15035524"/>
                <a:gd name="connsiteX24" fmla="*/ 0 w 18744436"/>
                <a:gd name="connsiteY24" fmla="*/ 11649662 h 15035524"/>
                <a:gd name="connsiteX25" fmla="*/ 1003686 w 18744436"/>
                <a:gd name="connsiteY25" fmla="*/ 10903697 h 15035524"/>
                <a:gd name="connsiteX26" fmla="*/ 2902551 w 18744436"/>
                <a:gd name="connsiteY26" fmla="*/ 9719298 h 15035524"/>
                <a:gd name="connsiteX27" fmla="*/ 2558940 w 18744436"/>
                <a:gd name="connsiteY27" fmla="*/ 9185867 h 15035524"/>
                <a:gd name="connsiteX28" fmla="*/ 2402508 w 18744436"/>
                <a:gd name="connsiteY28" fmla="*/ 8498784 h 15035524"/>
                <a:gd name="connsiteX29" fmla="*/ 2730740 w 18744436"/>
                <a:gd name="connsiteY29" fmla="*/ 8471613 h 15035524"/>
                <a:gd name="connsiteX30" fmla="*/ 2947754 w 18744436"/>
                <a:gd name="connsiteY30" fmla="*/ 8001468 h 15035524"/>
                <a:gd name="connsiteX31" fmla="*/ 3499325 w 18744436"/>
                <a:gd name="connsiteY31" fmla="*/ 7558451 h 15035524"/>
                <a:gd name="connsiteX32" fmla="*/ 3680166 w 18744436"/>
                <a:gd name="connsiteY32" fmla="*/ 6681453 h 15035524"/>
                <a:gd name="connsiteX33" fmla="*/ 4186528 w 18744436"/>
                <a:gd name="connsiteY33" fmla="*/ 6690489 h 15035524"/>
                <a:gd name="connsiteX34" fmla="*/ 4837569 w 18744436"/>
                <a:gd name="connsiteY34" fmla="*/ 7160639 h 15035524"/>
                <a:gd name="connsiteX35" fmla="*/ 5352976 w 18744436"/>
                <a:gd name="connsiteY35" fmla="*/ 7079272 h 15035524"/>
                <a:gd name="connsiteX36" fmla="*/ 5741786 w 18744436"/>
                <a:gd name="connsiteY36" fmla="*/ 6708577 h 15035524"/>
                <a:gd name="connsiteX37" fmla="*/ 6157723 w 18744436"/>
                <a:gd name="connsiteY37" fmla="*/ 6545836 h 15035524"/>
                <a:gd name="connsiteX38" fmla="*/ 6745471 w 18744436"/>
                <a:gd name="connsiteY38" fmla="*/ 5976243 h 15035524"/>
                <a:gd name="connsiteX39" fmla="*/ 6890140 w 18744436"/>
                <a:gd name="connsiteY39" fmla="*/ 5126367 h 15035524"/>
                <a:gd name="connsiteX40" fmla="*/ 7568305 w 18744436"/>
                <a:gd name="connsiteY40" fmla="*/ 4556773 h 15035524"/>
                <a:gd name="connsiteX41" fmla="*/ 8137967 w 18744436"/>
                <a:gd name="connsiteY41" fmla="*/ 4113752 h 15035524"/>
                <a:gd name="connsiteX42" fmla="*/ 8463480 w 18744436"/>
                <a:gd name="connsiteY42" fmla="*/ 3309085 h 15035524"/>
                <a:gd name="connsiteX43" fmla="*/ 9024093 w 18744436"/>
                <a:gd name="connsiteY43" fmla="*/ 2956478 h 15035524"/>
                <a:gd name="connsiteX44" fmla="*/ 9675138 w 18744436"/>
                <a:gd name="connsiteY44" fmla="*/ 2603876 h 15035524"/>
                <a:gd name="connsiteX45" fmla="*/ 9558580 w 18744436"/>
                <a:gd name="connsiteY45" fmla="*/ 2055592 h 15035524"/>
                <a:gd name="connsiteX46" fmla="*/ 10353296 w 18744436"/>
                <a:gd name="connsiteY46" fmla="*/ 1383308 h 15035524"/>
                <a:gd name="connsiteX47" fmla="*/ 10832530 w 18744436"/>
                <a:gd name="connsiteY47" fmla="*/ 1310974 h 15035524"/>
                <a:gd name="connsiteX48" fmla="*/ 11058585 w 18744436"/>
                <a:gd name="connsiteY48" fmla="*/ 1763043 h 15035524"/>
                <a:gd name="connsiteX49" fmla="*/ 11411229 w 18744436"/>
                <a:gd name="connsiteY49" fmla="*/ 2142774 h 15035524"/>
                <a:gd name="connsiteX50" fmla="*/ 11998974 w 18744436"/>
                <a:gd name="connsiteY50" fmla="*/ 2224144 h 15035524"/>
                <a:gd name="connsiteX51" fmla="*/ 12315449 w 18744436"/>
                <a:gd name="connsiteY51" fmla="*/ 2884156 h 15035524"/>
                <a:gd name="connsiteX52" fmla="*/ 12785642 w 18744436"/>
                <a:gd name="connsiteY52" fmla="*/ 2703327 h 15035524"/>
                <a:gd name="connsiteX53" fmla="*/ 13671776 w 18744436"/>
                <a:gd name="connsiteY53" fmla="*/ 3155388 h 15035524"/>
                <a:gd name="connsiteX54" fmla="*/ 14123886 w 18744436"/>
                <a:gd name="connsiteY54" fmla="*/ 2857035 h 15035524"/>
                <a:gd name="connsiteX55" fmla="*/ 14259509 w 18744436"/>
                <a:gd name="connsiteY55" fmla="*/ 2287434 h 15035524"/>
                <a:gd name="connsiteX56" fmla="*/ 14892468 w 18744436"/>
                <a:gd name="connsiteY56" fmla="*/ 1645503 h 15035524"/>
                <a:gd name="connsiteX57" fmla="*/ 15778605 w 18744436"/>
                <a:gd name="connsiteY57" fmla="*/ 1093983 h 15035524"/>
                <a:gd name="connsiteX58" fmla="*/ 16022739 w 18744436"/>
                <a:gd name="connsiteY58" fmla="*/ 1564133 h 15035524"/>
                <a:gd name="connsiteX59" fmla="*/ 16556232 w 18744436"/>
                <a:gd name="connsiteY59" fmla="*/ 2142785 h 15035524"/>
                <a:gd name="connsiteX60" fmla="*/ 17406193 w 18744436"/>
                <a:gd name="connsiteY60" fmla="*/ 1292897 h 15035524"/>
                <a:gd name="connsiteX61" fmla="*/ 18120524 w 18744436"/>
                <a:gd name="connsiteY61" fmla="*/ 714260 h 15035524"/>
                <a:gd name="connsiteX62" fmla="*/ 18744437 w 18744436"/>
                <a:gd name="connsiteY62" fmla="*/ -1 h 15035524"/>
                <a:gd name="connsiteX63" fmla="*/ 3500421 w 18744436"/>
                <a:gd name="connsiteY63" fmla="*/ 4096811 h 15035524"/>
                <a:gd name="connsiteX64" fmla="*/ 11919572 w 18744436"/>
                <a:gd name="connsiteY64" fmla="*/ 7003278 h 15035524"/>
                <a:gd name="connsiteX65" fmla="*/ 12868275 w 18744436"/>
                <a:gd name="connsiteY65" fmla="*/ 6758067 h 15035524"/>
                <a:gd name="connsiteX66" fmla="*/ 13844296 w 18744436"/>
                <a:gd name="connsiteY66" fmla="*/ 6156232 h 15035524"/>
                <a:gd name="connsiteX67" fmla="*/ 13886291 w 18744436"/>
                <a:gd name="connsiteY67" fmla="*/ 5321864 h 15035524"/>
                <a:gd name="connsiteX68" fmla="*/ 14370431 w 18744436"/>
                <a:gd name="connsiteY68" fmla="*/ 5830216 h 15035524"/>
                <a:gd name="connsiteX69" fmla="*/ 15323320 w 18744436"/>
                <a:gd name="connsiteY69" fmla="*/ 5928489 h 15035524"/>
                <a:gd name="connsiteX70" fmla="*/ 16350939 w 18744436"/>
                <a:gd name="connsiteY70" fmla="*/ 6053348 h 15035524"/>
                <a:gd name="connsiteX71" fmla="*/ 16362364 w 18744436"/>
                <a:gd name="connsiteY71" fmla="*/ 6360628 h 15035524"/>
                <a:gd name="connsiteX72" fmla="*/ 16682563 w 18744436"/>
                <a:gd name="connsiteY72" fmla="*/ 6798531 h 15035524"/>
                <a:gd name="connsiteX0" fmla="*/ 16682563 w 18744436"/>
                <a:gd name="connsiteY0" fmla="*/ 6798531 h 15035524"/>
                <a:gd name="connsiteX1" fmla="*/ 16432262 w 18744436"/>
                <a:gd name="connsiteY1" fmla="*/ 7825917 h 15035524"/>
                <a:gd name="connsiteX2" fmla="*/ 16106317 w 18744436"/>
                <a:gd name="connsiteY2" fmla="*/ 8367221 h 15035524"/>
                <a:gd name="connsiteX3" fmla="*/ 16305649 w 18744436"/>
                <a:gd name="connsiteY3" fmla="*/ 8754550 h 15035524"/>
                <a:gd name="connsiteX4" fmla="*/ 16287189 w 18744436"/>
                <a:gd name="connsiteY4" fmla="*/ 9151157 h 15035524"/>
                <a:gd name="connsiteX5" fmla="*/ 16372801 w 18744436"/>
                <a:gd name="connsiteY5" fmla="*/ 9717422 h 15035524"/>
                <a:gd name="connsiteX6" fmla="*/ 16070155 w 18744436"/>
                <a:gd name="connsiteY6" fmla="*/ 9937808 h 15035524"/>
                <a:gd name="connsiteX7" fmla="*/ 15805690 w 18744436"/>
                <a:gd name="connsiteY7" fmla="*/ 10431999 h 15035524"/>
                <a:gd name="connsiteX8" fmla="*/ 15195097 w 18744436"/>
                <a:gd name="connsiteY8" fmla="*/ 10093742 h 15035524"/>
                <a:gd name="connsiteX9" fmla="*/ 15011380 w 18744436"/>
                <a:gd name="connsiteY9" fmla="*/ 11048592 h 15035524"/>
                <a:gd name="connsiteX10" fmla="*/ 14908430 w 18744436"/>
                <a:gd name="connsiteY10" fmla="*/ 11937487 h 15035524"/>
                <a:gd name="connsiteX11" fmla="*/ 14904684 w 18744436"/>
                <a:gd name="connsiteY11" fmla="*/ 12760926 h 15035524"/>
                <a:gd name="connsiteX12" fmla="*/ 14929927 w 18744436"/>
                <a:gd name="connsiteY12" fmla="*/ 14391846 h 15035524"/>
                <a:gd name="connsiteX13" fmla="*/ 12952786 w 18744436"/>
                <a:gd name="connsiteY13" fmla="*/ 14842599 h 15035524"/>
                <a:gd name="connsiteX14" fmla="*/ 11934663 w 18744436"/>
                <a:gd name="connsiteY14" fmla="*/ 14890849 h 15035524"/>
                <a:gd name="connsiteX15" fmla="*/ 8506848 w 18744436"/>
                <a:gd name="connsiteY15" fmla="*/ 15035524 h 15035524"/>
                <a:gd name="connsiteX16" fmla="*/ 7985095 w 18744436"/>
                <a:gd name="connsiteY16" fmla="*/ 14390442 h 15035524"/>
                <a:gd name="connsiteX17" fmla="*/ 7400308 w 18744436"/>
                <a:gd name="connsiteY17" fmla="*/ 14360297 h 15035524"/>
                <a:gd name="connsiteX18" fmla="*/ 6972273 w 18744436"/>
                <a:gd name="connsiteY18" fmla="*/ 14631594 h 15035524"/>
                <a:gd name="connsiteX19" fmla="*/ 5181729 w 18744436"/>
                <a:gd name="connsiteY19" fmla="*/ 14547195 h 15035524"/>
                <a:gd name="connsiteX20" fmla="*/ 4397998 w 18744436"/>
                <a:gd name="connsiteY20" fmla="*/ 13914178 h 15035524"/>
                <a:gd name="connsiteX21" fmla="*/ 2908896 w 18744436"/>
                <a:gd name="connsiteY21" fmla="*/ 13106324 h 15035524"/>
                <a:gd name="connsiteX22" fmla="*/ 1263043 w 18744436"/>
                <a:gd name="connsiteY22" fmla="*/ 12394931 h 15035524"/>
                <a:gd name="connsiteX23" fmla="*/ 485320 w 18744436"/>
                <a:gd name="connsiteY23" fmla="*/ 11942774 h 15035524"/>
                <a:gd name="connsiteX24" fmla="*/ 0 w 18744436"/>
                <a:gd name="connsiteY24" fmla="*/ 11649662 h 15035524"/>
                <a:gd name="connsiteX25" fmla="*/ 1003686 w 18744436"/>
                <a:gd name="connsiteY25" fmla="*/ 10903697 h 15035524"/>
                <a:gd name="connsiteX26" fmla="*/ 2902551 w 18744436"/>
                <a:gd name="connsiteY26" fmla="*/ 9719298 h 15035524"/>
                <a:gd name="connsiteX27" fmla="*/ 2558940 w 18744436"/>
                <a:gd name="connsiteY27" fmla="*/ 9185867 h 15035524"/>
                <a:gd name="connsiteX28" fmla="*/ 2402508 w 18744436"/>
                <a:gd name="connsiteY28" fmla="*/ 8498784 h 15035524"/>
                <a:gd name="connsiteX29" fmla="*/ 2730740 w 18744436"/>
                <a:gd name="connsiteY29" fmla="*/ 8471613 h 15035524"/>
                <a:gd name="connsiteX30" fmla="*/ 2947754 w 18744436"/>
                <a:gd name="connsiteY30" fmla="*/ 8001468 h 15035524"/>
                <a:gd name="connsiteX31" fmla="*/ 3499325 w 18744436"/>
                <a:gd name="connsiteY31" fmla="*/ 7558451 h 15035524"/>
                <a:gd name="connsiteX32" fmla="*/ 3680166 w 18744436"/>
                <a:gd name="connsiteY32" fmla="*/ 6681453 h 15035524"/>
                <a:gd name="connsiteX33" fmla="*/ 4186528 w 18744436"/>
                <a:gd name="connsiteY33" fmla="*/ 6690489 h 15035524"/>
                <a:gd name="connsiteX34" fmla="*/ 4837569 w 18744436"/>
                <a:gd name="connsiteY34" fmla="*/ 7160639 h 15035524"/>
                <a:gd name="connsiteX35" fmla="*/ 5352976 w 18744436"/>
                <a:gd name="connsiteY35" fmla="*/ 7079272 h 15035524"/>
                <a:gd name="connsiteX36" fmla="*/ 5741786 w 18744436"/>
                <a:gd name="connsiteY36" fmla="*/ 6708577 h 15035524"/>
                <a:gd name="connsiteX37" fmla="*/ 6157723 w 18744436"/>
                <a:gd name="connsiteY37" fmla="*/ 6545836 h 15035524"/>
                <a:gd name="connsiteX38" fmla="*/ 6745471 w 18744436"/>
                <a:gd name="connsiteY38" fmla="*/ 5976243 h 15035524"/>
                <a:gd name="connsiteX39" fmla="*/ 6890140 w 18744436"/>
                <a:gd name="connsiteY39" fmla="*/ 5126367 h 15035524"/>
                <a:gd name="connsiteX40" fmla="*/ 7568305 w 18744436"/>
                <a:gd name="connsiteY40" fmla="*/ 4556773 h 15035524"/>
                <a:gd name="connsiteX41" fmla="*/ 8137967 w 18744436"/>
                <a:gd name="connsiteY41" fmla="*/ 4113752 h 15035524"/>
                <a:gd name="connsiteX42" fmla="*/ 8463480 w 18744436"/>
                <a:gd name="connsiteY42" fmla="*/ 3309085 h 15035524"/>
                <a:gd name="connsiteX43" fmla="*/ 9024093 w 18744436"/>
                <a:gd name="connsiteY43" fmla="*/ 2956478 h 15035524"/>
                <a:gd name="connsiteX44" fmla="*/ 9675138 w 18744436"/>
                <a:gd name="connsiteY44" fmla="*/ 2603876 h 15035524"/>
                <a:gd name="connsiteX45" fmla="*/ 9558580 w 18744436"/>
                <a:gd name="connsiteY45" fmla="*/ 2055592 h 15035524"/>
                <a:gd name="connsiteX46" fmla="*/ 10353296 w 18744436"/>
                <a:gd name="connsiteY46" fmla="*/ 1383308 h 15035524"/>
                <a:gd name="connsiteX47" fmla="*/ 10832530 w 18744436"/>
                <a:gd name="connsiteY47" fmla="*/ 1310974 h 15035524"/>
                <a:gd name="connsiteX48" fmla="*/ 11058585 w 18744436"/>
                <a:gd name="connsiteY48" fmla="*/ 1763043 h 15035524"/>
                <a:gd name="connsiteX49" fmla="*/ 11411229 w 18744436"/>
                <a:gd name="connsiteY49" fmla="*/ 2142774 h 15035524"/>
                <a:gd name="connsiteX50" fmla="*/ 11998974 w 18744436"/>
                <a:gd name="connsiteY50" fmla="*/ 2224144 h 15035524"/>
                <a:gd name="connsiteX51" fmla="*/ 12315449 w 18744436"/>
                <a:gd name="connsiteY51" fmla="*/ 2884156 h 15035524"/>
                <a:gd name="connsiteX52" fmla="*/ 12785642 w 18744436"/>
                <a:gd name="connsiteY52" fmla="*/ 2703327 h 15035524"/>
                <a:gd name="connsiteX53" fmla="*/ 13671776 w 18744436"/>
                <a:gd name="connsiteY53" fmla="*/ 3155388 h 15035524"/>
                <a:gd name="connsiteX54" fmla="*/ 14123886 w 18744436"/>
                <a:gd name="connsiteY54" fmla="*/ 2857035 h 15035524"/>
                <a:gd name="connsiteX55" fmla="*/ 14259509 w 18744436"/>
                <a:gd name="connsiteY55" fmla="*/ 2287434 h 15035524"/>
                <a:gd name="connsiteX56" fmla="*/ 14892468 w 18744436"/>
                <a:gd name="connsiteY56" fmla="*/ 1645503 h 15035524"/>
                <a:gd name="connsiteX57" fmla="*/ 15778605 w 18744436"/>
                <a:gd name="connsiteY57" fmla="*/ 1093983 h 15035524"/>
                <a:gd name="connsiteX58" fmla="*/ 16022739 w 18744436"/>
                <a:gd name="connsiteY58" fmla="*/ 1564133 h 15035524"/>
                <a:gd name="connsiteX59" fmla="*/ 16556232 w 18744436"/>
                <a:gd name="connsiteY59" fmla="*/ 2142785 h 15035524"/>
                <a:gd name="connsiteX60" fmla="*/ 17406193 w 18744436"/>
                <a:gd name="connsiteY60" fmla="*/ 1292897 h 15035524"/>
                <a:gd name="connsiteX61" fmla="*/ 18120524 w 18744436"/>
                <a:gd name="connsiteY61" fmla="*/ 714260 h 15035524"/>
                <a:gd name="connsiteX62" fmla="*/ 18744437 w 18744436"/>
                <a:gd name="connsiteY62" fmla="*/ -1 h 15035524"/>
                <a:gd name="connsiteX63" fmla="*/ 496059 w 18744436"/>
                <a:gd name="connsiteY63" fmla="*/ 6029507 h 15035524"/>
                <a:gd name="connsiteX64" fmla="*/ 11919572 w 18744436"/>
                <a:gd name="connsiteY64" fmla="*/ 7003278 h 15035524"/>
                <a:gd name="connsiteX65" fmla="*/ 12868275 w 18744436"/>
                <a:gd name="connsiteY65" fmla="*/ 6758067 h 15035524"/>
                <a:gd name="connsiteX66" fmla="*/ 13844296 w 18744436"/>
                <a:gd name="connsiteY66" fmla="*/ 6156232 h 15035524"/>
                <a:gd name="connsiteX67" fmla="*/ 13886291 w 18744436"/>
                <a:gd name="connsiteY67" fmla="*/ 5321864 h 15035524"/>
                <a:gd name="connsiteX68" fmla="*/ 14370431 w 18744436"/>
                <a:gd name="connsiteY68" fmla="*/ 5830216 h 15035524"/>
                <a:gd name="connsiteX69" fmla="*/ 15323320 w 18744436"/>
                <a:gd name="connsiteY69" fmla="*/ 5928489 h 15035524"/>
                <a:gd name="connsiteX70" fmla="*/ 16350939 w 18744436"/>
                <a:gd name="connsiteY70" fmla="*/ 6053348 h 15035524"/>
                <a:gd name="connsiteX71" fmla="*/ 16362364 w 18744436"/>
                <a:gd name="connsiteY71" fmla="*/ 6360628 h 15035524"/>
                <a:gd name="connsiteX72" fmla="*/ 16682563 w 18744436"/>
                <a:gd name="connsiteY72" fmla="*/ 6798531 h 15035524"/>
                <a:gd name="connsiteX0" fmla="*/ 16682563 w 18744436"/>
                <a:gd name="connsiteY0" fmla="*/ 6798531 h 15035524"/>
                <a:gd name="connsiteX1" fmla="*/ 16432262 w 18744436"/>
                <a:gd name="connsiteY1" fmla="*/ 7825917 h 15035524"/>
                <a:gd name="connsiteX2" fmla="*/ 16106317 w 18744436"/>
                <a:gd name="connsiteY2" fmla="*/ 8367221 h 15035524"/>
                <a:gd name="connsiteX3" fmla="*/ 16305649 w 18744436"/>
                <a:gd name="connsiteY3" fmla="*/ 8754550 h 15035524"/>
                <a:gd name="connsiteX4" fmla="*/ 16287189 w 18744436"/>
                <a:gd name="connsiteY4" fmla="*/ 9151157 h 15035524"/>
                <a:gd name="connsiteX5" fmla="*/ 16372801 w 18744436"/>
                <a:gd name="connsiteY5" fmla="*/ 9717422 h 15035524"/>
                <a:gd name="connsiteX6" fmla="*/ 16070155 w 18744436"/>
                <a:gd name="connsiteY6" fmla="*/ 9937808 h 15035524"/>
                <a:gd name="connsiteX7" fmla="*/ 15805690 w 18744436"/>
                <a:gd name="connsiteY7" fmla="*/ 10431999 h 15035524"/>
                <a:gd name="connsiteX8" fmla="*/ 15195097 w 18744436"/>
                <a:gd name="connsiteY8" fmla="*/ 10093742 h 15035524"/>
                <a:gd name="connsiteX9" fmla="*/ 15011380 w 18744436"/>
                <a:gd name="connsiteY9" fmla="*/ 11048592 h 15035524"/>
                <a:gd name="connsiteX10" fmla="*/ 14908430 w 18744436"/>
                <a:gd name="connsiteY10" fmla="*/ 11937487 h 15035524"/>
                <a:gd name="connsiteX11" fmla="*/ 14904684 w 18744436"/>
                <a:gd name="connsiteY11" fmla="*/ 12760926 h 15035524"/>
                <a:gd name="connsiteX12" fmla="*/ 14929927 w 18744436"/>
                <a:gd name="connsiteY12" fmla="*/ 14391846 h 15035524"/>
                <a:gd name="connsiteX13" fmla="*/ 12952786 w 18744436"/>
                <a:gd name="connsiteY13" fmla="*/ 14842599 h 15035524"/>
                <a:gd name="connsiteX14" fmla="*/ 11934663 w 18744436"/>
                <a:gd name="connsiteY14" fmla="*/ 14890849 h 15035524"/>
                <a:gd name="connsiteX15" fmla="*/ 8506848 w 18744436"/>
                <a:gd name="connsiteY15" fmla="*/ 15035524 h 15035524"/>
                <a:gd name="connsiteX16" fmla="*/ 7985095 w 18744436"/>
                <a:gd name="connsiteY16" fmla="*/ 14390442 h 15035524"/>
                <a:gd name="connsiteX17" fmla="*/ 7400308 w 18744436"/>
                <a:gd name="connsiteY17" fmla="*/ 14360297 h 15035524"/>
                <a:gd name="connsiteX18" fmla="*/ 6972273 w 18744436"/>
                <a:gd name="connsiteY18" fmla="*/ 14631594 h 15035524"/>
                <a:gd name="connsiteX19" fmla="*/ 5181729 w 18744436"/>
                <a:gd name="connsiteY19" fmla="*/ 14547195 h 15035524"/>
                <a:gd name="connsiteX20" fmla="*/ 4397998 w 18744436"/>
                <a:gd name="connsiteY20" fmla="*/ 13914178 h 15035524"/>
                <a:gd name="connsiteX21" fmla="*/ 2908896 w 18744436"/>
                <a:gd name="connsiteY21" fmla="*/ 13106324 h 15035524"/>
                <a:gd name="connsiteX22" fmla="*/ 1263043 w 18744436"/>
                <a:gd name="connsiteY22" fmla="*/ 12394931 h 15035524"/>
                <a:gd name="connsiteX23" fmla="*/ 485320 w 18744436"/>
                <a:gd name="connsiteY23" fmla="*/ 11942774 h 15035524"/>
                <a:gd name="connsiteX24" fmla="*/ 0 w 18744436"/>
                <a:gd name="connsiteY24" fmla="*/ 11649662 h 15035524"/>
                <a:gd name="connsiteX25" fmla="*/ 1003686 w 18744436"/>
                <a:gd name="connsiteY25" fmla="*/ 10903697 h 15035524"/>
                <a:gd name="connsiteX26" fmla="*/ 2902551 w 18744436"/>
                <a:gd name="connsiteY26" fmla="*/ 9719298 h 15035524"/>
                <a:gd name="connsiteX27" fmla="*/ 2558940 w 18744436"/>
                <a:gd name="connsiteY27" fmla="*/ 9185867 h 15035524"/>
                <a:gd name="connsiteX28" fmla="*/ 2402508 w 18744436"/>
                <a:gd name="connsiteY28" fmla="*/ 8498784 h 15035524"/>
                <a:gd name="connsiteX29" fmla="*/ 2730740 w 18744436"/>
                <a:gd name="connsiteY29" fmla="*/ 8471613 h 15035524"/>
                <a:gd name="connsiteX30" fmla="*/ 2947754 w 18744436"/>
                <a:gd name="connsiteY30" fmla="*/ 8001468 h 15035524"/>
                <a:gd name="connsiteX31" fmla="*/ 3499325 w 18744436"/>
                <a:gd name="connsiteY31" fmla="*/ 7558451 h 15035524"/>
                <a:gd name="connsiteX32" fmla="*/ 3680166 w 18744436"/>
                <a:gd name="connsiteY32" fmla="*/ 6681453 h 15035524"/>
                <a:gd name="connsiteX33" fmla="*/ 4186528 w 18744436"/>
                <a:gd name="connsiteY33" fmla="*/ 6690489 h 15035524"/>
                <a:gd name="connsiteX34" fmla="*/ 4837569 w 18744436"/>
                <a:gd name="connsiteY34" fmla="*/ 7160639 h 15035524"/>
                <a:gd name="connsiteX35" fmla="*/ 5352976 w 18744436"/>
                <a:gd name="connsiteY35" fmla="*/ 7079272 h 15035524"/>
                <a:gd name="connsiteX36" fmla="*/ 5741786 w 18744436"/>
                <a:gd name="connsiteY36" fmla="*/ 6708577 h 15035524"/>
                <a:gd name="connsiteX37" fmla="*/ 6157723 w 18744436"/>
                <a:gd name="connsiteY37" fmla="*/ 6545836 h 15035524"/>
                <a:gd name="connsiteX38" fmla="*/ 6745471 w 18744436"/>
                <a:gd name="connsiteY38" fmla="*/ 5976243 h 15035524"/>
                <a:gd name="connsiteX39" fmla="*/ 6890140 w 18744436"/>
                <a:gd name="connsiteY39" fmla="*/ 5126367 h 15035524"/>
                <a:gd name="connsiteX40" fmla="*/ 7568305 w 18744436"/>
                <a:gd name="connsiteY40" fmla="*/ 4556773 h 15035524"/>
                <a:gd name="connsiteX41" fmla="*/ 8137967 w 18744436"/>
                <a:gd name="connsiteY41" fmla="*/ 4113752 h 15035524"/>
                <a:gd name="connsiteX42" fmla="*/ 8463480 w 18744436"/>
                <a:gd name="connsiteY42" fmla="*/ 3309085 h 15035524"/>
                <a:gd name="connsiteX43" fmla="*/ 9024093 w 18744436"/>
                <a:gd name="connsiteY43" fmla="*/ 2956478 h 15035524"/>
                <a:gd name="connsiteX44" fmla="*/ 9675138 w 18744436"/>
                <a:gd name="connsiteY44" fmla="*/ 2603876 h 15035524"/>
                <a:gd name="connsiteX45" fmla="*/ 9558580 w 18744436"/>
                <a:gd name="connsiteY45" fmla="*/ 2055592 h 15035524"/>
                <a:gd name="connsiteX46" fmla="*/ 10353296 w 18744436"/>
                <a:gd name="connsiteY46" fmla="*/ 1383308 h 15035524"/>
                <a:gd name="connsiteX47" fmla="*/ 10832530 w 18744436"/>
                <a:gd name="connsiteY47" fmla="*/ 1310974 h 15035524"/>
                <a:gd name="connsiteX48" fmla="*/ 11058585 w 18744436"/>
                <a:gd name="connsiteY48" fmla="*/ 1763043 h 15035524"/>
                <a:gd name="connsiteX49" fmla="*/ 11411229 w 18744436"/>
                <a:gd name="connsiteY49" fmla="*/ 2142774 h 15035524"/>
                <a:gd name="connsiteX50" fmla="*/ 11998974 w 18744436"/>
                <a:gd name="connsiteY50" fmla="*/ 2224144 h 15035524"/>
                <a:gd name="connsiteX51" fmla="*/ 12315449 w 18744436"/>
                <a:gd name="connsiteY51" fmla="*/ 2884156 h 15035524"/>
                <a:gd name="connsiteX52" fmla="*/ 12785642 w 18744436"/>
                <a:gd name="connsiteY52" fmla="*/ 2703327 h 15035524"/>
                <a:gd name="connsiteX53" fmla="*/ 13671776 w 18744436"/>
                <a:gd name="connsiteY53" fmla="*/ 3155388 h 15035524"/>
                <a:gd name="connsiteX54" fmla="*/ 14123886 w 18744436"/>
                <a:gd name="connsiteY54" fmla="*/ 2857035 h 15035524"/>
                <a:gd name="connsiteX55" fmla="*/ 14259509 w 18744436"/>
                <a:gd name="connsiteY55" fmla="*/ 2287434 h 15035524"/>
                <a:gd name="connsiteX56" fmla="*/ 14892468 w 18744436"/>
                <a:gd name="connsiteY56" fmla="*/ 1645503 h 15035524"/>
                <a:gd name="connsiteX57" fmla="*/ 15778605 w 18744436"/>
                <a:gd name="connsiteY57" fmla="*/ 1093983 h 15035524"/>
                <a:gd name="connsiteX58" fmla="*/ 16022739 w 18744436"/>
                <a:gd name="connsiteY58" fmla="*/ 1564133 h 15035524"/>
                <a:gd name="connsiteX59" fmla="*/ 16556232 w 18744436"/>
                <a:gd name="connsiteY59" fmla="*/ 2142785 h 15035524"/>
                <a:gd name="connsiteX60" fmla="*/ 17406193 w 18744436"/>
                <a:gd name="connsiteY60" fmla="*/ 1292897 h 15035524"/>
                <a:gd name="connsiteX61" fmla="*/ 18120524 w 18744436"/>
                <a:gd name="connsiteY61" fmla="*/ 714260 h 15035524"/>
                <a:gd name="connsiteX62" fmla="*/ 18744437 w 18744436"/>
                <a:gd name="connsiteY62" fmla="*/ -1 h 15035524"/>
                <a:gd name="connsiteX63" fmla="*/ 271434 w 18744436"/>
                <a:gd name="connsiteY63" fmla="*/ 7065877 h 15035524"/>
                <a:gd name="connsiteX64" fmla="*/ 11919572 w 18744436"/>
                <a:gd name="connsiteY64" fmla="*/ 7003278 h 15035524"/>
                <a:gd name="connsiteX65" fmla="*/ 12868275 w 18744436"/>
                <a:gd name="connsiteY65" fmla="*/ 6758067 h 15035524"/>
                <a:gd name="connsiteX66" fmla="*/ 13844296 w 18744436"/>
                <a:gd name="connsiteY66" fmla="*/ 6156232 h 15035524"/>
                <a:gd name="connsiteX67" fmla="*/ 13886291 w 18744436"/>
                <a:gd name="connsiteY67" fmla="*/ 5321864 h 15035524"/>
                <a:gd name="connsiteX68" fmla="*/ 14370431 w 18744436"/>
                <a:gd name="connsiteY68" fmla="*/ 5830216 h 15035524"/>
                <a:gd name="connsiteX69" fmla="*/ 15323320 w 18744436"/>
                <a:gd name="connsiteY69" fmla="*/ 5928489 h 15035524"/>
                <a:gd name="connsiteX70" fmla="*/ 16350939 w 18744436"/>
                <a:gd name="connsiteY70" fmla="*/ 6053348 h 15035524"/>
                <a:gd name="connsiteX71" fmla="*/ 16362364 w 18744436"/>
                <a:gd name="connsiteY71" fmla="*/ 6360628 h 15035524"/>
                <a:gd name="connsiteX72" fmla="*/ 16682563 w 18744436"/>
                <a:gd name="connsiteY72" fmla="*/ 6798531 h 15035524"/>
                <a:gd name="connsiteX0" fmla="*/ 16682563 w 18744436"/>
                <a:gd name="connsiteY0" fmla="*/ 6798531 h 15035524"/>
                <a:gd name="connsiteX1" fmla="*/ 16432262 w 18744436"/>
                <a:gd name="connsiteY1" fmla="*/ 7825917 h 15035524"/>
                <a:gd name="connsiteX2" fmla="*/ 16106317 w 18744436"/>
                <a:gd name="connsiteY2" fmla="*/ 8367221 h 15035524"/>
                <a:gd name="connsiteX3" fmla="*/ 16305649 w 18744436"/>
                <a:gd name="connsiteY3" fmla="*/ 8754550 h 15035524"/>
                <a:gd name="connsiteX4" fmla="*/ 16287189 w 18744436"/>
                <a:gd name="connsiteY4" fmla="*/ 9151157 h 15035524"/>
                <a:gd name="connsiteX5" fmla="*/ 16372801 w 18744436"/>
                <a:gd name="connsiteY5" fmla="*/ 9717422 h 15035524"/>
                <a:gd name="connsiteX6" fmla="*/ 16070155 w 18744436"/>
                <a:gd name="connsiteY6" fmla="*/ 9937808 h 15035524"/>
                <a:gd name="connsiteX7" fmla="*/ 15805690 w 18744436"/>
                <a:gd name="connsiteY7" fmla="*/ 10431999 h 15035524"/>
                <a:gd name="connsiteX8" fmla="*/ 15195097 w 18744436"/>
                <a:gd name="connsiteY8" fmla="*/ 10093742 h 15035524"/>
                <a:gd name="connsiteX9" fmla="*/ 15011380 w 18744436"/>
                <a:gd name="connsiteY9" fmla="*/ 11048592 h 15035524"/>
                <a:gd name="connsiteX10" fmla="*/ 14908430 w 18744436"/>
                <a:gd name="connsiteY10" fmla="*/ 11937487 h 15035524"/>
                <a:gd name="connsiteX11" fmla="*/ 14904684 w 18744436"/>
                <a:gd name="connsiteY11" fmla="*/ 12760926 h 15035524"/>
                <a:gd name="connsiteX12" fmla="*/ 14929927 w 18744436"/>
                <a:gd name="connsiteY12" fmla="*/ 14391846 h 15035524"/>
                <a:gd name="connsiteX13" fmla="*/ 12952786 w 18744436"/>
                <a:gd name="connsiteY13" fmla="*/ 14842599 h 15035524"/>
                <a:gd name="connsiteX14" fmla="*/ 11934663 w 18744436"/>
                <a:gd name="connsiteY14" fmla="*/ 14890849 h 15035524"/>
                <a:gd name="connsiteX15" fmla="*/ 8506848 w 18744436"/>
                <a:gd name="connsiteY15" fmla="*/ 15035524 h 15035524"/>
                <a:gd name="connsiteX16" fmla="*/ 7985095 w 18744436"/>
                <a:gd name="connsiteY16" fmla="*/ 14390442 h 15035524"/>
                <a:gd name="connsiteX17" fmla="*/ 7400308 w 18744436"/>
                <a:gd name="connsiteY17" fmla="*/ 14360297 h 15035524"/>
                <a:gd name="connsiteX18" fmla="*/ 6972273 w 18744436"/>
                <a:gd name="connsiteY18" fmla="*/ 14631594 h 15035524"/>
                <a:gd name="connsiteX19" fmla="*/ 5181729 w 18744436"/>
                <a:gd name="connsiteY19" fmla="*/ 14547195 h 15035524"/>
                <a:gd name="connsiteX20" fmla="*/ 4397998 w 18744436"/>
                <a:gd name="connsiteY20" fmla="*/ 13914178 h 15035524"/>
                <a:gd name="connsiteX21" fmla="*/ 2908896 w 18744436"/>
                <a:gd name="connsiteY21" fmla="*/ 13106324 h 15035524"/>
                <a:gd name="connsiteX22" fmla="*/ 1263043 w 18744436"/>
                <a:gd name="connsiteY22" fmla="*/ 12394931 h 15035524"/>
                <a:gd name="connsiteX23" fmla="*/ 485320 w 18744436"/>
                <a:gd name="connsiteY23" fmla="*/ 11942774 h 15035524"/>
                <a:gd name="connsiteX24" fmla="*/ 0 w 18744436"/>
                <a:gd name="connsiteY24" fmla="*/ 11649662 h 15035524"/>
                <a:gd name="connsiteX25" fmla="*/ 1003686 w 18744436"/>
                <a:gd name="connsiteY25" fmla="*/ 10903697 h 15035524"/>
                <a:gd name="connsiteX26" fmla="*/ 2902551 w 18744436"/>
                <a:gd name="connsiteY26" fmla="*/ 9719298 h 15035524"/>
                <a:gd name="connsiteX27" fmla="*/ 2558940 w 18744436"/>
                <a:gd name="connsiteY27" fmla="*/ 9185867 h 15035524"/>
                <a:gd name="connsiteX28" fmla="*/ 2402508 w 18744436"/>
                <a:gd name="connsiteY28" fmla="*/ 8498784 h 15035524"/>
                <a:gd name="connsiteX29" fmla="*/ 2730740 w 18744436"/>
                <a:gd name="connsiteY29" fmla="*/ 8471613 h 15035524"/>
                <a:gd name="connsiteX30" fmla="*/ 2947754 w 18744436"/>
                <a:gd name="connsiteY30" fmla="*/ 8001468 h 15035524"/>
                <a:gd name="connsiteX31" fmla="*/ 3499325 w 18744436"/>
                <a:gd name="connsiteY31" fmla="*/ 7558451 h 15035524"/>
                <a:gd name="connsiteX32" fmla="*/ 3680166 w 18744436"/>
                <a:gd name="connsiteY32" fmla="*/ 6681453 h 15035524"/>
                <a:gd name="connsiteX33" fmla="*/ 4186528 w 18744436"/>
                <a:gd name="connsiteY33" fmla="*/ 6690489 h 15035524"/>
                <a:gd name="connsiteX34" fmla="*/ 4837569 w 18744436"/>
                <a:gd name="connsiteY34" fmla="*/ 7160639 h 15035524"/>
                <a:gd name="connsiteX35" fmla="*/ 5352976 w 18744436"/>
                <a:gd name="connsiteY35" fmla="*/ 7079272 h 15035524"/>
                <a:gd name="connsiteX36" fmla="*/ 5741786 w 18744436"/>
                <a:gd name="connsiteY36" fmla="*/ 6708577 h 15035524"/>
                <a:gd name="connsiteX37" fmla="*/ 6157723 w 18744436"/>
                <a:gd name="connsiteY37" fmla="*/ 6545836 h 15035524"/>
                <a:gd name="connsiteX38" fmla="*/ 6745471 w 18744436"/>
                <a:gd name="connsiteY38" fmla="*/ 5976243 h 15035524"/>
                <a:gd name="connsiteX39" fmla="*/ 6890140 w 18744436"/>
                <a:gd name="connsiteY39" fmla="*/ 5126367 h 15035524"/>
                <a:gd name="connsiteX40" fmla="*/ 7568305 w 18744436"/>
                <a:gd name="connsiteY40" fmla="*/ 4556773 h 15035524"/>
                <a:gd name="connsiteX41" fmla="*/ 8137967 w 18744436"/>
                <a:gd name="connsiteY41" fmla="*/ 4113752 h 15035524"/>
                <a:gd name="connsiteX42" fmla="*/ 8463480 w 18744436"/>
                <a:gd name="connsiteY42" fmla="*/ 3309085 h 15035524"/>
                <a:gd name="connsiteX43" fmla="*/ 9024093 w 18744436"/>
                <a:gd name="connsiteY43" fmla="*/ 2956478 h 15035524"/>
                <a:gd name="connsiteX44" fmla="*/ 9675138 w 18744436"/>
                <a:gd name="connsiteY44" fmla="*/ 2603876 h 15035524"/>
                <a:gd name="connsiteX45" fmla="*/ 9558580 w 18744436"/>
                <a:gd name="connsiteY45" fmla="*/ 2055592 h 15035524"/>
                <a:gd name="connsiteX46" fmla="*/ 10353296 w 18744436"/>
                <a:gd name="connsiteY46" fmla="*/ 1383308 h 15035524"/>
                <a:gd name="connsiteX47" fmla="*/ 10832530 w 18744436"/>
                <a:gd name="connsiteY47" fmla="*/ 1310974 h 15035524"/>
                <a:gd name="connsiteX48" fmla="*/ 11058585 w 18744436"/>
                <a:gd name="connsiteY48" fmla="*/ 1763043 h 15035524"/>
                <a:gd name="connsiteX49" fmla="*/ 11411229 w 18744436"/>
                <a:gd name="connsiteY49" fmla="*/ 2142774 h 15035524"/>
                <a:gd name="connsiteX50" fmla="*/ 11998974 w 18744436"/>
                <a:gd name="connsiteY50" fmla="*/ 2224144 h 15035524"/>
                <a:gd name="connsiteX51" fmla="*/ 12315449 w 18744436"/>
                <a:gd name="connsiteY51" fmla="*/ 2884156 h 15035524"/>
                <a:gd name="connsiteX52" fmla="*/ 12785642 w 18744436"/>
                <a:gd name="connsiteY52" fmla="*/ 2703327 h 15035524"/>
                <a:gd name="connsiteX53" fmla="*/ 13671776 w 18744436"/>
                <a:gd name="connsiteY53" fmla="*/ 3155388 h 15035524"/>
                <a:gd name="connsiteX54" fmla="*/ 14123886 w 18744436"/>
                <a:gd name="connsiteY54" fmla="*/ 2857035 h 15035524"/>
                <a:gd name="connsiteX55" fmla="*/ 14259509 w 18744436"/>
                <a:gd name="connsiteY55" fmla="*/ 2287434 h 15035524"/>
                <a:gd name="connsiteX56" fmla="*/ 14892468 w 18744436"/>
                <a:gd name="connsiteY56" fmla="*/ 1645503 h 15035524"/>
                <a:gd name="connsiteX57" fmla="*/ 15778605 w 18744436"/>
                <a:gd name="connsiteY57" fmla="*/ 1093983 h 15035524"/>
                <a:gd name="connsiteX58" fmla="*/ 16022739 w 18744436"/>
                <a:gd name="connsiteY58" fmla="*/ 1564133 h 15035524"/>
                <a:gd name="connsiteX59" fmla="*/ 16556232 w 18744436"/>
                <a:gd name="connsiteY59" fmla="*/ 2142785 h 15035524"/>
                <a:gd name="connsiteX60" fmla="*/ 17406193 w 18744436"/>
                <a:gd name="connsiteY60" fmla="*/ 1292897 h 15035524"/>
                <a:gd name="connsiteX61" fmla="*/ 18120524 w 18744436"/>
                <a:gd name="connsiteY61" fmla="*/ 714260 h 15035524"/>
                <a:gd name="connsiteX62" fmla="*/ 18744437 w 18744436"/>
                <a:gd name="connsiteY62" fmla="*/ -1 h 15035524"/>
                <a:gd name="connsiteX63" fmla="*/ 11109603 w 18744436"/>
                <a:gd name="connsiteY63" fmla="*/ 6729756 h 15035524"/>
                <a:gd name="connsiteX64" fmla="*/ 11919572 w 18744436"/>
                <a:gd name="connsiteY64" fmla="*/ 7003278 h 15035524"/>
                <a:gd name="connsiteX65" fmla="*/ 12868275 w 18744436"/>
                <a:gd name="connsiteY65" fmla="*/ 6758067 h 15035524"/>
                <a:gd name="connsiteX66" fmla="*/ 13844296 w 18744436"/>
                <a:gd name="connsiteY66" fmla="*/ 6156232 h 15035524"/>
                <a:gd name="connsiteX67" fmla="*/ 13886291 w 18744436"/>
                <a:gd name="connsiteY67" fmla="*/ 5321864 h 15035524"/>
                <a:gd name="connsiteX68" fmla="*/ 14370431 w 18744436"/>
                <a:gd name="connsiteY68" fmla="*/ 5830216 h 15035524"/>
                <a:gd name="connsiteX69" fmla="*/ 15323320 w 18744436"/>
                <a:gd name="connsiteY69" fmla="*/ 5928489 h 15035524"/>
                <a:gd name="connsiteX70" fmla="*/ 16350939 w 18744436"/>
                <a:gd name="connsiteY70" fmla="*/ 6053348 h 15035524"/>
                <a:gd name="connsiteX71" fmla="*/ 16362364 w 18744436"/>
                <a:gd name="connsiteY71" fmla="*/ 6360628 h 15035524"/>
                <a:gd name="connsiteX72" fmla="*/ 16682563 w 18744436"/>
                <a:gd name="connsiteY72" fmla="*/ 6798531 h 15035524"/>
                <a:gd name="connsiteX0" fmla="*/ 16682563 w 18120523"/>
                <a:gd name="connsiteY0" fmla="*/ 6084269 h 14321262"/>
                <a:gd name="connsiteX1" fmla="*/ 16432262 w 18120523"/>
                <a:gd name="connsiteY1" fmla="*/ 7111655 h 14321262"/>
                <a:gd name="connsiteX2" fmla="*/ 16106317 w 18120523"/>
                <a:gd name="connsiteY2" fmla="*/ 7652959 h 14321262"/>
                <a:gd name="connsiteX3" fmla="*/ 16305649 w 18120523"/>
                <a:gd name="connsiteY3" fmla="*/ 8040288 h 14321262"/>
                <a:gd name="connsiteX4" fmla="*/ 16287189 w 18120523"/>
                <a:gd name="connsiteY4" fmla="*/ 8436895 h 14321262"/>
                <a:gd name="connsiteX5" fmla="*/ 16372801 w 18120523"/>
                <a:gd name="connsiteY5" fmla="*/ 9003160 h 14321262"/>
                <a:gd name="connsiteX6" fmla="*/ 16070155 w 18120523"/>
                <a:gd name="connsiteY6" fmla="*/ 9223546 h 14321262"/>
                <a:gd name="connsiteX7" fmla="*/ 15805690 w 18120523"/>
                <a:gd name="connsiteY7" fmla="*/ 9717737 h 14321262"/>
                <a:gd name="connsiteX8" fmla="*/ 15195097 w 18120523"/>
                <a:gd name="connsiteY8" fmla="*/ 9379480 h 14321262"/>
                <a:gd name="connsiteX9" fmla="*/ 15011380 w 18120523"/>
                <a:gd name="connsiteY9" fmla="*/ 10334330 h 14321262"/>
                <a:gd name="connsiteX10" fmla="*/ 14908430 w 18120523"/>
                <a:gd name="connsiteY10" fmla="*/ 11223225 h 14321262"/>
                <a:gd name="connsiteX11" fmla="*/ 14904684 w 18120523"/>
                <a:gd name="connsiteY11" fmla="*/ 12046664 h 14321262"/>
                <a:gd name="connsiteX12" fmla="*/ 14929927 w 18120523"/>
                <a:gd name="connsiteY12" fmla="*/ 13677584 h 14321262"/>
                <a:gd name="connsiteX13" fmla="*/ 12952786 w 18120523"/>
                <a:gd name="connsiteY13" fmla="*/ 14128337 h 14321262"/>
                <a:gd name="connsiteX14" fmla="*/ 11934663 w 18120523"/>
                <a:gd name="connsiteY14" fmla="*/ 14176587 h 14321262"/>
                <a:gd name="connsiteX15" fmla="*/ 8506848 w 18120523"/>
                <a:gd name="connsiteY15" fmla="*/ 14321262 h 14321262"/>
                <a:gd name="connsiteX16" fmla="*/ 7985095 w 18120523"/>
                <a:gd name="connsiteY16" fmla="*/ 13676180 h 14321262"/>
                <a:gd name="connsiteX17" fmla="*/ 7400308 w 18120523"/>
                <a:gd name="connsiteY17" fmla="*/ 13646035 h 14321262"/>
                <a:gd name="connsiteX18" fmla="*/ 6972273 w 18120523"/>
                <a:gd name="connsiteY18" fmla="*/ 13917332 h 14321262"/>
                <a:gd name="connsiteX19" fmla="*/ 5181729 w 18120523"/>
                <a:gd name="connsiteY19" fmla="*/ 13832933 h 14321262"/>
                <a:gd name="connsiteX20" fmla="*/ 4397998 w 18120523"/>
                <a:gd name="connsiteY20" fmla="*/ 13199916 h 14321262"/>
                <a:gd name="connsiteX21" fmla="*/ 2908896 w 18120523"/>
                <a:gd name="connsiteY21" fmla="*/ 12392062 h 14321262"/>
                <a:gd name="connsiteX22" fmla="*/ 1263043 w 18120523"/>
                <a:gd name="connsiteY22" fmla="*/ 11680669 h 14321262"/>
                <a:gd name="connsiteX23" fmla="*/ 485320 w 18120523"/>
                <a:gd name="connsiteY23" fmla="*/ 11228512 h 14321262"/>
                <a:gd name="connsiteX24" fmla="*/ 0 w 18120523"/>
                <a:gd name="connsiteY24" fmla="*/ 10935400 h 14321262"/>
                <a:gd name="connsiteX25" fmla="*/ 1003686 w 18120523"/>
                <a:gd name="connsiteY25" fmla="*/ 10189435 h 14321262"/>
                <a:gd name="connsiteX26" fmla="*/ 2902551 w 18120523"/>
                <a:gd name="connsiteY26" fmla="*/ 9005036 h 14321262"/>
                <a:gd name="connsiteX27" fmla="*/ 2558940 w 18120523"/>
                <a:gd name="connsiteY27" fmla="*/ 8471605 h 14321262"/>
                <a:gd name="connsiteX28" fmla="*/ 2402508 w 18120523"/>
                <a:gd name="connsiteY28" fmla="*/ 7784522 h 14321262"/>
                <a:gd name="connsiteX29" fmla="*/ 2730740 w 18120523"/>
                <a:gd name="connsiteY29" fmla="*/ 7757351 h 14321262"/>
                <a:gd name="connsiteX30" fmla="*/ 2947754 w 18120523"/>
                <a:gd name="connsiteY30" fmla="*/ 7287206 h 14321262"/>
                <a:gd name="connsiteX31" fmla="*/ 3499325 w 18120523"/>
                <a:gd name="connsiteY31" fmla="*/ 6844189 h 14321262"/>
                <a:gd name="connsiteX32" fmla="*/ 3680166 w 18120523"/>
                <a:gd name="connsiteY32" fmla="*/ 5967191 h 14321262"/>
                <a:gd name="connsiteX33" fmla="*/ 4186528 w 18120523"/>
                <a:gd name="connsiteY33" fmla="*/ 5976227 h 14321262"/>
                <a:gd name="connsiteX34" fmla="*/ 4837569 w 18120523"/>
                <a:gd name="connsiteY34" fmla="*/ 6446377 h 14321262"/>
                <a:gd name="connsiteX35" fmla="*/ 5352976 w 18120523"/>
                <a:gd name="connsiteY35" fmla="*/ 6365010 h 14321262"/>
                <a:gd name="connsiteX36" fmla="*/ 5741786 w 18120523"/>
                <a:gd name="connsiteY36" fmla="*/ 5994315 h 14321262"/>
                <a:gd name="connsiteX37" fmla="*/ 6157723 w 18120523"/>
                <a:gd name="connsiteY37" fmla="*/ 5831574 h 14321262"/>
                <a:gd name="connsiteX38" fmla="*/ 6745471 w 18120523"/>
                <a:gd name="connsiteY38" fmla="*/ 5261981 h 14321262"/>
                <a:gd name="connsiteX39" fmla="*/ 6890140 w 18120523"/>
                <a:gd name="connsiteY39" fmla="*/ 4412105 h 14321262"/>
                <a:gd name="connsiteX40" fmla="*/ 7568305 w 18120523"/>
                <a:gd name="connsiteY40" fmla="*/ 3842511 h 14321262"/>
                <a:gd name="connsiteX41" fmla="*/ 8137967 w 18120523"/>
                <a:gd name="connsiteY41" fmla="*/ 3399490 h 14321262"/>
                <a:gd name="connsiteX42" fmla="*/ 8463480 w 18120523"/>
                <a:gd name="connsiteY42" fmla="*/ 2594823 h 14321262"/>
                <a:gd name="connsiteX43" fmla="*/ 9024093 w 18120523"/>
                <a:gd name="connsiteY43" fmla="*/ 2242216 h 14321262"/>
                <a:gd name="connsiteX44" fmla="*/ 9675138 w 18120523"/>
                <a:gd name="connsiteY44" fmla="*/ 1889614 h 14321262"/>
                <a:gd name="connsiteX45" fmla="*/ 9558580 w 18120523"/>
                <a:gd name="connsiteY45" fmla="*/ 1341330 h 14321262"/>
                <a:gd name="connsiteX46" fmla="*/ 10353296 w 18120523"/>
                <a:gd name="connsiteY46" fmla="*/ 669046 h 14321262"/>
                <a:gd name="connsiteX47" fmla="*/ 10832530 w 18120523"/>
                <a:gd name="connsiteY47" fmla="*/ 596712 h 14321262"/>
                <a:gd name="connsiteX48" fmla="*/ 11058585 w 18120523"/>
                <a:gd name="connsiteY48" fmla="*/ 1048781 h 14321262"/>
                <a:gd name="connsiteX49" fmla="*/ 11411229 w 18120523"/>
                <a:gd name="connsiteY49" fmla="*/ 1428512 h 14321262"/>
                <a:gd name="connsiteX50" fmla="*/ 11998974 w 18120523"/>
                <a:gd name="connsiteY50" fmla="*/ 1509882 h 14321262"/>
                <a:gd name="connsiteX51" fmla="*/ 12315449 w 18120523"/>
                <a:gd name="connsiteY51" fmla="*/ 2169894 h 14321262"/>
                <a:gd name="connsiteX52" fmla="*/ 12785642 w 18120523"/>
                <a:gd name="connsiteY52" fmla="*/ 1989065 h 14321262"/>
                <a:gd name="connsiteX53" fmla="*/ 13671776 w 18120523"/>
                <a:gd name="connsiteY53" fmla="*/ 2441126 h 14321262"/>
                <a:gd name="connsiteX54" fmla="*/ 14123886 w 18120523"/>
                <a:gd name="connsiteY54" fmla="*/ 2142773 h 14321262"/>
                <a:gd name="connsiteX55" fmla="*/ 14259509 w 18120523"/>
                <a:gd name="connsiteY55" fmla="*/ 1573172 h 14321262"/>
                <a:gd name="connsiteX56" fmla="*/ 14892468 w 18120523"/>
                <a:gd name="connsiteY56" fmla="*/ 931241 h 14321262"/>
                <a:gd name="connsiteX57" fmla="*/ 15778605 w 18120523"/>
                <a:gd name="connsiteY57" fmla="*/ 379721 h 14321262"/>
                <a:gd name="connsiteX58" fmla="*/ 16022739 w 18120523"/>
                <a:gd name="connsiteY58" fmla="*/ 849871 h 14321262"/>
                <a:gd name="connsiteX59" fmla="*/ 16556232 w 18120523"/>
                <a:gd name="connsiteY59" fmla="*/ 1428523 h 14321262"/>
                <a:gd name="connsiteX60" fmla="*/ 17406193 w 18120523"/>
                <a:gd name="connsiteY60" fmla="*/ 578635 h 14321262"/>
                <a:gd name="connsiteX61" fmla="*/ 18120524 w 18120523"/>
                <a:gd name="connsiteY61" fmla="*/ -2 h 14321262"/>
                <a:gd name="connsiteX62" fmla="*/ 7035843 w 18120523"/>
                <a:gd name="connsiteY62" fmla="*/ 6484324 h 14321262"/>
                <a:gd name="connsiteX63" fmla="*/ 11109603 w 18120523"/>
                <a:gd name="connsiteY63" fmla="*/ 6015494 h 14321262"/>
                <a:gd name="connsiteX64" fmla="*/ 11919572 w 18120523"/>
                <a:gd name="connsiteY64" fmla="*/ 6289016 h 14321262"/>
                <a:gd name="connsiteX65" fmla="*/ 12868275 w 18120523"/>
                <a:gd name="connsiteY65" fmla="*/ 6043805 h 14321262"/>
                <a:gd name="connsiteX66" fmla="*/ 13844296 w 18120523"/>
                <a:gd name="connsiteY66" fmla="*/ 5441970 h 14321262"/>
                <a:gd name="connsiteX67" fmla="*/ 13886291 w 18120523"/>
                <a:gd name="connsiteY67" fmla="*/ 4607602 h 14321262"/>
                <a:gd name="connsiteX68" fmla="*/ 14370431 w 18120523"/>
                <a:gd name="connsiteY68" fmla="*/ 5115954 h 14321262"/>
                <a:gd name="connsiteX69" fmla="*/ 15323320 w 18120523"/>
                <a:gd name="connsiteY69" fmla="*/ 5214227 h 14321262"/>
                <a:gd name="connsiteX70" fmla="*/ 16350939 w 18120523"/>
                <a:gd name="connsiteY70" fmla="*/ 5339086 h 14321262"/>
                <a:gd name="connsiteX71" fmla="*/ 16362364 w 18120523"/>
                <a:gd name="connsiteY71" fmla="*/ 5646366 h 14321262"/>
                <a:gd name="connsiteX72" fmla="*/ 16682563 w 18120523"/>
                <a:gd name="connsiteY72" fmla="*/ 6084269 h 14321262"/>
                <a:gd name="connsiteX0" fmla="*/ 16682563 w 18120523"/>
                <a:gd name="connsiteY0" fmla="*/ 6084269 h 14321262"/>
                <a:gd name="connsiteX1" fmla="*/ 16432262 w 18120523"/>
                <a:gd name="connsiteY1" fmla="*/ 7111655 h 14321262"/>
                <a:gd name="connsiteX2" fmla="*/ 16106317 w 18120523"/>
                <a:gd name="connsiteY2" fmla="*/ 7652959 h 14321262"/>
                <a:gd name="connsiteX3" fmla="*/ 16305649 w 18120523"/>
                <a:gd name="connsiteY3" fmla="*/ 8040288 h 14321262"/>
                <a:gd name="connsiteX4" fmla="*/ 16287189 w 18120523"/>
                <a:gd name="connsiteY4" fmla="*/ 8436895 h 14321262"/>
                <a:gd name="connsiteX5" fmla="*/ 16372801 w 18120523"/>
                <a:gd name="connsiteY5" fmla="*/ 9003160 h 14321262"/>
                <a:gd name="connsiteX6" fmla="*/ 16070155 w 18120523"/>
                <a:gd name="connsiteY6" fmla="*/ 9223546 h 14321262"/>
                <a:gd name="connsiteX7" fmla="*/ 15805690 w 18120523"/>
                <a:gd name="connsiteY7" fmla="*/ 9717737 h 14321262"/>
                <a:gd name="connsiteX8" fmla="*/ 15195097 w 18120523"/>
                <a:gd name="connsiteY8" fmla="*/ 9379480 h 14321262"/>
                <a:gd name="connsiteX9" fmla="*/ 15011380 w 18120523"/>
                <a:gd name="connsiteY9" fmla="*/ 10334330 h 14321262"/>
                <a:gd name="connsiteX10" fmla="*/ 14908430 w 18120523"/>
                <a:gd name="connsiteY10" fmla="*/ 11223225 h 14321262"/>
                <a:gd name="connsiteX11" fmla="*/ 14904684 w 18120523"/>
                <a:gd name="connsiteY11" fmla="*/ 12046664 h 14321262"/>
                <a:gd name="connsiteX12" fmla="*/ 14929927 w 18120523"/>
                <a:gd name="connsiteY12" fmla="*/ 13677584 h 14321262"/>
                <a:gd name="connsiteX13" fmla="*/ 12952786 w 18120523"/>
                <a:gd name="connsiteY13" fmla="*/ 14128337 h 14321262"/>
                <a:gd name="connsiteX14" fmla="*/ 11934663 w 18120523"/>
                <a:gd name="connsiteY14" fmla="*/ 14176587 h 14321262"/>
                <a:gd name="connsiteX15" fmla="*/ 8506848 w 18120523"/>
                <a:gd name="connsiteY15" fmla="*/ 14321262 h 14321262"/>
                <a:gd name="connsiteX16" fmla="*/ 7985095 w 18120523"/>
                <a:gd name="connsiteY16" fmla="*/ 13676180 h 14321262"/>
                <a:gd name="connsiteX17" fmla="*/ 7400308 w 18120523"/>
                <a:gd name="connsiteY17" fmla="*/ 13646035 h 14321262"/>
                <a:gd name="connsiteX18" fmla="*/ 6972273 w 18120523"/>
                <a:gd name="connsiteY18" fmla="*/ 13917332 h 14321262"/>
                <a:gd name="connsiteX19" fmla="*/ 5181729 w 18120523"/>
                <a:gd name="connsiteY19" fmla="*/ 13832933 h 14321262"/>
                <a:gd name="connsiteX20" fmla="*/ 4397998 w 18120523"/>
                <a:gd name="connsiteY20" fmla="*/ 13199916 h 14321262"/>
                <a:gd name="connsiteX21" fmla="*/ 2908896 w 18120523"/>
                <a:gd name="connsiteY21" fmla="*/ 12392062 h 14321262"/>
                <a:gd name="connsiteX22" fmla="*/ 1263043 w 18120523"/>
                <a:gd name="connsiteY22" fmla="*/ 11680669 h 14321262"/>
                <a:gd name="connsiteX23" fmla="*/ 485320 w 18120523"/>
                <a:gd name="connsiteY23" fmla="*/ 11228512 h 14321262"/>
                <a:gd name="connsiteX24" fmla="*/ 0 w 18120523"/>
                <a:gd name="connsiteY24" fmla="*/ 10935400 h 14321262"/>
                <a:gd name="connsiteX25" fmla="*/ 1003686 w 18120523"/>
                <a:gd name="connsiteY25" fmla="*/ 10189435 h 14321262"/>
                <a:gd name="connsiteX26" fmla="*/ 2902551 w 18120523"/>
                <a:gd name="connsiteY26" fmla="*/ 9005036 h 14321262"/>
                <a:gd name="connsiteX27" fmla="*/ 2558940 w 18120523"/>
                <a:gd name="connsiteY27" fmla="*/ 8471605 h 14321262"/>
                <a:gd name="connsiteX28" fmla="*/ 2402508 w 18120523"/>
                <a:gd name="connsiteY28" fmla="*/ 7784522 h 14321262"/>
                <a:gd name="connsiteX29" fmla="*/ 2730740 w 18120523"/>
                <a:gd name="connsiteY29" fmla="*/ 7757351 h 14321262"/>
                <a:gd name="connsiteX30" fmla="*/ 2947754 w 18120523"/>
                <a:gd name="connsiteY30" fmla="*/ 7287206 h 14321262"/>
                <a:gd name="connsiteX31" fmla="*/ 3499325 w 18120523"/>
                <a:gd name="connsiteY31" fmla="*/ 6844189 h 14321262"/>
                <a:gd name="connsiteX32" fmla="*/ 3680166 w 18120523"/>
                <a:gd name="connsiteY32" fmla="*/ 5967191 h 14321262"/>
                <a:gd name="connsiteX33" fmla="*/ 4186528 w 18120523"/>
                <a:gd name="connsiteY33" fmla="*/ 5976227 h 14321262"/>
                <a:gd name="connsiteX34" fmla="*/ 4837569 w 18120523"/>
                <a:gd name="connsiteY34" fmla="*/ 6446377 h 14321262"/>
                <a:gd name="connsiteX35" fmla="*/ 5352976 w 18120523"/>
                <a:gd name="connsiteY35" fmla="*/ 6365010 h 14321262"/>
                <a:gd name="connsiteX36" fmla="*/ 5741786 w 18120523"/>
                <a:gd name="connsiteY36" fmla="*/ 5994315 h 14321262"/>
                <a:gd name="connsiteX37" fmla="*/ 6157723 w 18120523"/>
                <a:gd name="connsiteY37" fmla="*/ 5831574 h 14321262"/>
                <a:gd name="connsiteX38" fmla="*/ 6745471 w 18120523"/>
                <a:gd name="connsiteY38" fmla="*/ 5261981 h 14321262"/>
                <a:gd name="connsiteX39" fmla="*/ 6890140 w 18120523"/>
                <a:gd name="connsiteY39" fmla="*/ 4412105 h 14321262"/>
                <a:gd name="connsiteX40" fmla="*/ 7568305 w 18120523"/>
                <a:gd name="connsiteY40" fmla="*/ 3842511 h 14321262"/>
                <a:gd name="connsiteX41" fmla="*/ 8137967 w 18120523"/>
                <a:gd name="connsiteY41" fmla="*/ 3399490 h 14321262"/>
                <a:gd name="connsiteX42" fmla="*/ 8463480 w 18120523"/>
                <a:gd name="connsiteY42" fmla="*/ 2594823 h 14321262"/>
                <a:gd name="connsiteX43" fmla="*/ 9024093 w 18120523"/>
                <a:gd name="connsiteY43" fmla="*/ 2242216 h 14321262"/>
                <a:gd name="connsiteX44" fmla="*/ 9675138 w 18120523"/>
                <a:gd name="connsiteY44" fmla="*/ 1889614 h 14321262"/>
                <a:gd name="connsiteX45" fmla="*/ 9558580 w 18120523"/>
                <a:gd name="connsiteY45" fmla="*/ 1341330 h 14321262"/>
                <a:gd name="connsiteX46" fmla="*/ 10353296 w 18120523"/>
                <a:gd name="connsiteY46" fmla="*/ 669046 h 14321262"/>
                <a:gd name="connsiteX47" fmla="*/ 10832530 w 18120523"/>
                <a:gd name="connsiteY47" fmla="*/ 596712 h 14321262"/>
                <a:gd name="connsiteX48" fmla="*/ 11058585 w 18120523"/>
                <a:gd name="connsiteY48" fmla="*/ 1048781 h 14321262"/>
                <a:gd name="connsiteX49" fmla="*/ 11411229 w 18120523"/>
                <a:gd name="connsiteY49" fmla="*/ 1428512 h 14321262"/>
                <a:gd name="connsiteX50" fmla="*/ 11998974 w 18120523"/>
                <a:gd name="connsiteY50" fmla="*/ 1509882 h 14321262"/>
                <a:gd name="connsiteX51" fmla="*/ 12315449 w 18120523"/>
                <a:gd name="connsiteY51" fmla="*/ 2169894 h 14321262"/>
                <a:gd name="connsiteX52" fmla="*/ 12785642 w 18120523"/>
                <a:gd name="connsiteY52" fmla="*/ 1989065 h 14321262"/>
                <a:gd name="connsiteX53" fmla="*/ 13671776 w 18120523"/>
                <a:gd name="connsiteY53" fmla="*/ 2441126 h 14321262"/>
                <a:gd name="connsiteX54" fmla="*/ 14123886 w 18120523"/>
                <a:gd name="connsiteY54" fmla="*/ 2142773 h 14321262"/>
                <a:gd name="connsiteX55" fmla="*/ 14259509 w 18120523"/>
                <a:gd name="connsiteY55" fmla="*/ 1573172 h 14321262"/>
                <a:gd name="connsiteX56" fmla="*/ 14892468 w 18120523"/>
                <a:gd name="connsiteY56" fmla="*/ 931241 h 14321262"/>
                <a:gd name="connsiteX57" fmla="*/ 15778605 w 18120523"/>
                <a:gd name="connsiteY57" fmla="*/ 379721 h 14321262"/>
                <a:gd name="connsiteX58" fmla="*/ 16022739 w 18120523"/>
                <a:gd name="connsiteY58" fmla="*/ 849871 h 14321262"/>
                <a:gd name="connsiteX59" fmla="*/ 16556232 w 18120523"/>
                <a:gd name="connsiteY59" fmla="*/ 1428523 h 14321262"/>
                <a:gd name="connsiteX60" fmla="*/ 17406193 w 18120523"/>
                <a:gd name="connsiteY60" fmla="*/ 578635 h 14321262"/>
                <a:gd name="connsiteX61" fmla="*/ 18120524 w 18120523"/>
                <a:gd name="connsiteY61" fmla="*/ -2 h 14321262"/>
                <a:gd name="connsiteX62" fmla="*/ 10152517 w 18120523"/>
                <a:gd name="connsiteY62" fmla="*/ 5644020 h 14321262"/>
                <a:gd name="connsiteX63" fmla="*/ 11109603 w 18120523"/>
                <a:gd name="connsiteY63" fmla="*/ 6015494 h 14321262"/>
                <a:gd name="connsiteX64" fmla="*/ 11919572 w 18120523"/>
                <a:gd name="connsiteY64" fmla="*/ 6289016 h 14321262"/>
                <a:gd name="connsiteX65" fmla="*/ 12868275 w 18120523"/>
                <a:gd name="connsiteY65" fmla="*/ 6043805 h 14321262"/>
                <a:gd name="connsiteX66" fmla="*/ 13844296 w 18120523"/>
                <a:gd name="connsiteY66" fmla="*/ 5441970 h 14321262"/>
                <a:gd name="connsiteX67" fmla="*/ 13886291 w 18120523"/>
                <a:gd name="connsiteY67" fmla="*/ 4607602 h 14321262"/>
                <a:gd name="connsiteX68" fmla="*/ 14370431 w 18120523"/>
                <a:gd name="connsiteY68" fmla="*/ 5115954 h 14321262"/>
                <a:gd name="connsiteX69" fmla="*/ 15323320 w 18120523"/>
                <a:gd name="connsiteY69" fmla="*/ 5214227 h 14321262"/>
                <a:gd name="connsiteX70" fmla="*/ 16350939 w 18120523"/>
                <a:gd name="connsiteY70" fmla="*/ 5339086 h 14321262"/>
                <a:gd name="connsiteX71" fmla="*/ 16362364 w 18120523"/>
                <a:gd name="connsiteY71" fmla="*/ 5646366 h 14321262"/>
                <a:gd name="connsiteX72" fmla="*/ 16682563 w 18120523"/>
                <a:gd name="connsiteY72" fmla="*/ 6084269 h 14321262"/>
                <a:gd name="connsiteX0" fmla="*/ 16682563 w 17406190"/>
                <a:gd name="connsiteY0" fmla="*/ 5704551 h 13941544"/>
                <a:gd name="connsiteX1" fmla="*/ 16432262 w 17406190"/>
                <a:gd name="connsiteY1" fmla="*/ 6731937 h 13941544"/>
                <a:gd name="connsiteX2" fmla="*/ 16106317 w 17406190"/>
                <a:gd name="connsiteY2" fmla="*/ 7273241 h 13941544"/>
                <a:gd name="connsiteX3" fmla="*/ 16305649 w 17406190"/>
                <a:gd name="connsiteY3" fmla="*/ 7660570 h 13941544"/>
                <a:gd name="connsiteX4" fmla="*/ 16287189 w 17406190"/>
                <a:gd name="connsiteY4" fmla="*/ 8057177 h 13941544"/>
                <a:gd name="connsiteX5" fmla="*/ 16372801 w 17406190"/>
                <a:gd name="connsiteY5" fmla="*/ 8623442 h 13941544"/>
                <a:gd name="connsiteX6" fmla="*/ 16070155 w 17406190"/>
                <a:gd name="connsiteY6" fmla="*/ 8843828 h 13941544"/>
                <a:gd name="connsiteX7" fmla="*/ 15805690 w 17406190"/>
                <a:gd name="connsiteY7" fmla="*/ 9338019 h 13941544"/>
                <a:gd name="connsiteX8" fmla="*/ 15195097 w 17406190"/>
                <a:gd name="connsiteY8" fmla="*/ 8999762 h 13941544"/>
                <a:gd name="connsiteX9" fmla="*/ 15011380 w 17406190"/>
                <a:gd name="connsiteY9" fmla="*/ 9954612 h 13941544"/>
                <a:gd name="connsiteX10" fmla="*/ 14908430 w 17406190"/>
                <a:gd name="connsiteY10" fmla="*/ 10843507 h 13941544"/>
                <a:gd name="connsiteX11" fmla="*/ 14904684 w 17406190"/>
                <a:gd name="connsiteY11" fmla="*/ 11666946 h 13941544"/>
                <a:gd name="connsiteX12" fmla="*/ 14929927 w 17406190"/>
                <a:gd name="connsiteY12" fmla="*/ 13297866 h 13941544"/>
                <a:gd name="connsiteX13" fmla="*/ 12952786 w 17406190"/>
                <a:gd name="connsiteY13" fmla="*/ 13748619 h 13941544"/>
                <a:gd name="connsiteX14" fmla="*/ 11934663 w 17406190"/>
                <a:gd name="connsiteY14" fmla="*/ 13796869 h 13941544"/>
                <a:gd name="connsiteX15" fmla="*/ 8506848 w 17406190"/>
                <a:gd name="connsiteY15" fmla="*/ 13941544 h 13941544"/>
                <a:gd name="connsiteX16" fmla="*/ 7985095 w 17406190"/>
                <a:gd name="connsiteY16" fmla="*/ 13296462 h 13941544"/>
                <a:gd name="connsiteX17" fmla="*/ 7400308 w 17406190"/>
                <a:gd name="connsiteY17" fmla="*/ 13266317 h 13941544"/>
                <a:gd name="connsiteX18" fmla="*/ 6972273 w 17406190"/>
                <a:gd name="connsiteY18" fmla="*/ 13537614 h 13941544"/>
                <a:gd name="connsiteX19" fmla="*/ 5181729 w 17406190"/>
                <a:gd name="connsiteY19" fmla="*/ 13453215 h 13941544"/>
                <a:gd name="connsiteX20" fmla="*/ 4397998 w 17406190"/>
                <a:gd name="connsiteY20" fmla="*/ 12820198 h 13941544"/>
                <a:gd name="connsiteX21" fmla="*/ 2908896 w 17406190"/>
                <a:gd name="connsiteY21" fmla="*/ 12012344 h 13941544"/>
                <a:gd name="connsiteX22" fmla="*/ 1263043 w 17406190"/>
                <a:gd name="connsiteY22" fmla="*/ 11300951 h 13941544"/>
                <a:gd name="connsiteX23" fmla="*/ 485320 w 17406190"/>
                <a:gd name="connsiteY23" fmla="*/ 10848794 h 13941544"/>
                <a:gd name="connsiteX24" fmla="*/ 0 w 17406190"/>
                <a:gd name="connsiteY24" fmla="*/ 10555682 h 13941544"/>
                <a:gd name="connsiteX25" fmla="*/ 1003686 w 17406190"/>
                <a:gd name="connsiteY25" fmla="*/ 9809717 h 13941544"/>
                <a:gd name="connsiteX26" fmla="*/ 2902551 w 17406190"/>
                <a:gd name="connsiteY26" fmla="*/ 8625318 h 13941544"/>
                <a:gd name="connsiteX27" fmla="*/ 2558940 w 17406190"/>
                <a:gd name="connsiteY27" fmla="*/ 8091887 h 13941544"/>
                <a:gd name="connsiteX28" fmla="*/ 2402508 w 17406190"/>
                <a:gd name="connsiteY28" fmla="*/ 7404804 h 13941544"/>
                <a:gd name="connsiteX29" fmla="*/ 2730740 w 17406190"/>
                <a:gd name="connsiteY29" fmla="*/ 7377633 h 13941544"/>
                <a:gd name="connsiteX30" fmla="*/ 2947754 w 17406190"/>
                <a:gd name="connsiteY30" fmla="*/ 6907488 h 13941544"/>
                <a:gd name="connsiteX31" fmla="*/ 3499325 w 17406190"/>
                <a:gd name="connsiteY31" fmla="*/ 6464471 h 13941544"/>
                <a:gd name="connsiteX32" fmla="*/ 3680166 w 17406190"/>
                <a:gd name="connsiteY32" fmla="*/ 5587473 h 13941544"/>
                <a:gd name="connsiteX33" fmla="*/ 4186528 w 17406190"/>
                <a:gd name="connsiteY33" fmla="*/ 5596509 h 13941544"/>
                <a:gd name="connsiteX34" fmla="*/ 4837569 w 17406190"/>
                <a:gd name="connsiteY34" fmla="*/ 6066659 h 13941544"/>
                <a:gd name="connsiteX35" fmla="*/ 5352976 w 17406190"/>
                <a:gd name="connsiteY35" fmla="*/ 5985292 h 13941544"/>
                <a:gd name="connsiteX36" fmla="*/ 5741786 w 17406190"/>
                <a:gd name="connsiteY36" fmla="*/ 5614597 h 13941544"/>
                <a:gd name="connsiteX37" fmla="*/ 6157723 w 17406190"/>
                <a:gd name="connsiteY37" fmla="*/ 5451856 h 13941544"/>
                <a:gd name="connsiteX38" fmla="*/ 6745471 w 17406190"/>
                <a:gd name="connsiteY38" fmla="*/ 4882263 h 13941544"/>
                <a:gd name="connsiteX39" fmla="*/ 6890140 w 17406190"/>
                <a:gd name="connsiteY39" fmla="*/ 4032387 h 13941544"/>
                <a:gd name="connsiteX40" fmla="*/ 7568305 w 17406190"/>
                <a:gd name="connsiteY40" fmla="*/ 3462793 h 13941544"/>
                <a:gd name="connsiteX41" fmla="*/ 8137967 w 17406190"/>
                <a:gd name="connsiteY41" fmla="*/ 3019772 h 13941544"/>
                <a:gd name="connsiteX42" fmla="*/ 8463480 w 17406190"/>
                <a:gd name="connsiteY42" fmla="*/ 2215105 h 13941544"/>
                <a:gd name="connsiteX43" fmla="*/ 9024093 w 17406190"/>
                <a:gd name="connsiteY43" fmla="*/ 1862498 h 13941544"/>
                <a:gd name="connsiteX44" fmla="*/ 9675138 w 17406190"/>
                <a:gd name="connsiteY44" fmla="*/ 1509896 h 13941544"/>
                <a:gd name="connsiteX45" fmla="*/ 9558580 w 17406190"/>
                <a:gd name="connsiteY45" fmla="*/ 961612 h 13941544"/>
                <a:gd name="connsiteX46" fmla="*/ 10353296 w 17406190"/>
                <a:gd name="connsiteY46" fmla="*/ 289328 h 13941544"/>
                <a:gd name="connsiteX47" fmla="*/ 10832530 w 17406190"/>
                <a:gd name="connsiteY47" fmla="*/ 216994 h 13941544"/>
                <a:gd name="connsiteX48" fmla="*/ 11058585 w 17406190"/>
                <a:gd name="connsiteY48" fmla="*/ 669063 h 13941544"/>
                <a:gd name="connsiteX49" fmla="*/ 11411229 w 17406190"/>
                <a:gd name="connsiteY49" fmla="*/ 1048794 h 13941544"/>
                <a:gd name="connsiteX50" fmla="*/ 11998974 w 17406190"/>
                <a:gd name="connsiteY50" fmla="*/ 1130164 h 13941544"/>
                <a:gd name="connsiteX51" fmla="*/ 12315449 w 17406190"/>
                <a:gd name="connsiteY51" fmla="*/ 1790176 h 13941544"/>
                <a:gd name="connsiteX52" fmla="*/ 12785642 w 17406190"/>
                <a:gd name="connsiteY52" fmla="*/ 1609347 h 13941544"/>
                <a:gd name="connsiteX53" fmla="*/ 13671776 w 17406190"/>
                <a:gd name="connsiteY53" fmla="*/ 2061408 h 13941544"/>
                <a:gd name="connsiteX54" fmla="*/ 14123886 w 17406190"/>
                <a:gd name="connsiteY54" fmla="*/ 1763055 h 13941544"/>
                <a:gd name="connsiteX55" fmla="*/ 14259509 w 17406190"/>
                <a:gd name="connsiteY55" fmla="*/ 1193454 h 13941544"/>
                <a:gd name="connsiteX56" fmla="*/ 14892468 w 17406190"/>
                <a:gd name="connsiteY56" fmla="*/ 551523 h 13941544"/>
                <a:gd name="connsiteX57" fmla="*/ 15778605 w 17406190"/>
                <a:gd name="connsiteY57" fmla="*/ 3 h 13941544"/>
                <a:gd name="connsiteX58" fmla="*/ 16022739 w 17406190"/>
                <a:gd name="connsiteY58" fmla="*/ 470153 h 13941544"/>
                <a:gd name="connsiteX59" fmla="*/ 16556232 w 17406190"/>
                <a:gd name="connsiteY59" fmla="*/ 1048805 h 13941544"/>
                <a:gd name="connsiteX60" fmla="*/ 17406193 w 17406190"/>
                <a:gd name="connsiteY60" fmla="*/ 198917 h 13941544"/>
                <a:gd name="connsiteX61" fmla="*/ 10152517 w 17406190"/>
                <a:gd name="connsiteY61" fmla="*/ 5264302 h 13941544"/>
                <a:gd name="connsiteX62" fmla="*/ 11109603 w 17406190"/>
                <a:gd name="connsiteY62" fmla="*/ 5635776 h 13941544"/>
                <a:gd name="connsiteX63" fmla="*/ 11919572 w 17406190"/>
                <a:gd name="connsiteY63" fmla="*/ 5909298 h 13941544"/>
                <a:gd name="connsiteX64" fmla="*/ 12868275 w 17406190"/>
                <a:gd name="connsiteY64" fmla="*/ 5664087 h 13941544"/>
                <a:gd name="connsiteX65" fmla="*/ 13844296 w 17406190"/>
                <a:gd name="connsiteY65" fmla="*/ 5062252 h 13941544"/>
                <a:gd name="connsiteX66" fmla="*/ 13886291 w 17406190"/>
                <a:gd name="connsiteY66" fmla="*/ 4227884 h 13941544"/>
                <a:gd name="connsiteX67" fmla="*/ 14370431 w 17406190"/>
                <a:gd name="connsiteY67" fmla="*/ 4736236 h 13941544"/>
                <a:gd name="connsiteX68" fmla="*/ 15323320 w 17406190"/>
                <a:gd name="connsiteY68" fmla="*/ 4834509 h 13941544"/>
                <a:gd name="connsiteX69" fmla="*/ 16350939 w 17406190"/>
                <a:gd name="connsiteY69" fmla="*/ 4959368 h 13941544"/>
                <a:gd name="connsiteX70" fmla="*/ 16362364 w 17406190"/>
                <a:gd name="connsiteY70" fmla="*/ 5266648 h 13941544"/>
                <a:gd name="connsiteX71" fmla="*/ 16682563 w 17406190"/>
                <a:gd name="connsiteY71" fmla="*/ 5704551 h 13941544"/>
                <a:gd name="connsiteX0" fmla="*/ 16682563 w 16682562"/>
                <a:gd name="connsiteY0" fmla="*/ 5704551 h 13941544"/>
                <a:gd name="connsiteX1" fmla="*/ 16432262 w 16682562"/>
                <a:gd name="connsiteY1" fmla="*/ 6731937 h 13941544"/>
                <a:gd name="connsiteX2" fmla="*/ 16106317 w 16682562"/>
                <a:gd name="connsiteY2" fmla="*/ 7273241 h 13941544"/>
                <a:gd name="connsiteX3" fmla="*/ 16305649 w 16682562"/>
                <a:gd name="connsiteY3" fmla="*/ 7660570 h 13941544"/>
                <a:gd name="connsiteX4" fmla="*/ 16287189 w 16682562"/>
                <a:gd name="connsiteY4" fmla="*/ 8057177 h 13941544"/>
                <a:gd name="connsiteX5" fmla="*/ 16372801 w 16682562"/>
                <a:gd name="connsiteY5" fmla="*/ 8623442 h 13941544"/>
                <a:gd name="connsiteX6" fmla="*/ 16070155 w 16682562"/>
                <a:gd name="connsiteY6" fmla="*/ 8843828 h 13941544"/>
                <a:gd name="connsiteX7" fmla="*/ 15805690 w 16682562"/>
                <a:gd name="connsiteY7" fmla="*/ 9338019 h 13941544"/>
                <a:gd name="connsiteX8" fmla="*/ 15195097 w 16682562"/>
                <a:gd name="connsiteY8" fmla="*/ 8999762 h 13941544"/>
                <a:gd name="connsiteX9" fmla="*/ 15011380 w 16682562"/>
                <a:gd name="connsiteY9" fmla="*/ 9954612 h 13941544"/>
                <a:gd name="connsiteX10" fmla="*/ 14908430 w 16682562"/>
                <a:gd name="connsiteY10" fmla="*/ 10843507 h 13941544"/>
                <a:gd name="connsiteX11" fmla="*/ 14904684 w 16682562"/>
                <a:gd name="connsiteY11" fmla="*/ 11666946 h 13941544"/>
                <a:gd name="connsiteX12" fmla="*/ 14929927 w 16682562"/>
                <a:gd name="connsiteY12" fmla="*/ 13297866 h 13941544"/>
                <a:gd name="connsiteX13" fmla="*/ 12952786 w 16682562"/>
                <a:gd name="connsiteY13" fmla="*/ 13748619 h 13941544"/>
                <a:gd name="connsiteX14" fmla="*/ 11934663 w 16682562"/>
                <a:gd name="connsiteY14" fmla="*/ 13796869 h 13941544"/>
                <a:gd name="connsiteX15" fmla="*/ 8506848 w 16682562"/>
                <a:gd name="connsiteY15" fmla="*/ 13941544 h 13941544"/>
                <a:gd name="connsiteX16" fmla="*/ 7985095 w 16682562"/>
                <a:gd name="connsiteY16" fmla="*/ 13296462 h 13941544"/>
                <a:gd name="connsiteX17" fmla="*/ 7400308 w 16682562"/>
                <a:gd name="connsiteY17" fmla="*/ 13266317 h 13941544"/>
                <a:gd name="connsiteX18" fmla="*/ 6972273 w 16682562"/>
                <a:gd name="connsiteY18" fmla="*/ 13537614 h 13941544"/>
                <a:gd name="connsiteX19" fmla="*/ 5181729 w 16682562"/>
                <a:gd name="connsiteY19" fmla="*/ 13453215 h 13941544"/>
                <a:gd name="connsiteX20" fmla="*/ 4397998 w 16682562"/>
                <a:gd name="connsiteY20" fmla="*/ 12820198 h 13941544"/>
                <a:gd name="connsiteX21" fmla="*/ 2908896 w 16682562"/>
                <a:gd name="connsiteY21" fmla="*/ 12012344 h 13941544"/>
                <a:gd name="connsiteX22" fmla="*/ 1263043 w 16682562"/>
                <a:gd name="connsiteY22" fmla="*/ 11300951 h 13941544"/>
                <a:gd name="connsiteX23" fmla="*/ 485320 w 16682562"/>
                <a:gd name="connsiteY23" fmla="*/ 10848794 h 13941544"/>
                <a:gd name="connsiteX24" fmla="*/ 0 w 16682562"/>
                <a:gd name="connsiteY24" fmla="*/ 10555682 h 13941544"/>
                <a:gd name="connsiteX25" fmla="*/ 1003686 w 16682562"/>
                <a:gd name="connsiteY25" fmla="*/ 9809717 h 13941544"/>
                <a:gd name="connsiteX26" fmla="*/ 2902551 w 16682562"/>
                <a:gd name="connsiteY26" fmla="*/ 8625318 h 13941544"/>
                <a:gd name="connsiteX27" fmla="*/ 2558940 w 16682562"/>
                <a:gd name="connsiteY27" fmla="*/ 8091887 h 13941544"/>
                <a:gd name="connsiteX28" fmla="*/ 2402508 w 16682562"/>
                <a:gd name="connsiteY28" fmla="*/ 7404804 h 13941544"/>
                <a:gd name="connsiteX29" fmla="*/ 2730740 w 16682562"/>
                <a:gd name="connsiteY29" fmla="*/ 7377633 h 13941544"/>
                <a:gd name="connsiteX30" fmla="*/ 2947754 w 16682562"/>
                <a:gd name="connsiteY30" fmla="*/ 6907488 h 13941544"/>
                <a:gd name="connsiteX31" fmla="*/ 3499325 w 16682562"/>
                <a:gd name="connsiteY31" fmla="*/ 6464471 h 13941544"/>
                <a:gd name="connsiteX32" fmla="*/ 3680166 w 16682562"/>
                <a:gd name="connsiteY32" fmla="*/ 5587473 h 13941544"/>
                <a:gd name="connsiteX33" fmla="*/ 4186528 w 16682562"/>
                <a:gd name="connsiteY33" fmla="*/ 5596509 h 13941544"/>
                <a:gd name="connsiteX34" fmla="*/ 4837569 w 16682562"/>
                <a:gd name="connsiteY34" fmla="*/ 6066659 h 13941544"/>
                <a:gd name="connsiteX35" fmla="*/ 5352976 w 16682562"/>
                <a:gd name="connsiteY35" fmla="*/ 5985292 h 13941544"/>
                <a:gd name="connsiteX36" fmla="*/ 5741786 w 16682562"/>
                <a:gd name="connsiteY36" fmla="*/ 5614597 h 13941544"/>
                <a:gd name="connsiteX37" fmla="*/ 6157723 w 16682562"/>
                <a:gd name="connsiteY37" fmla="*/ 5451856 h 13941544"/>
                <a:gd name="connsiteX38" fmla="*/ 6745471 w 16682562"/>
                <a:gd name="connsiteY38" fmla="*/ 4882263 h 13941544"/>
                <a:gd name="connsiteX39" fmla="*/ 6890140 w 16682562"/>
                <a:gd name="connsiteY39" fmla="*/ 4032387 h 13941544"/>
                <a:gd name="connsiteX40" fmla="*/ 7568305 w 16682562"/>
                <a:gd name="connsiteY40" fmla="*/ 3462793 h 13941544"/>
                <a:gd name="connsiteX41" fmla="*/ 8137967 w 16682562"/>
                <a:gd name="connsiteY41" fmla="*/ 3019772 h 13941544"/>
                <a:gd name="connsiteX42" fmla="*/ 8463480 w 16682562"/>
                <a:gd name="connsiteY42" fmla="*/ 2215105 h 13941544"/>
                <a:gd name="connsiteX43" fmla="*/ 9024093 w 16682562"/>
                <a:gd name="connsiteY43" fmla="*/ 1862498 h 13941544"/>
                <a:gd name="connsiteX44" fmla="*/ 9675138 w 16682562"/>
                <a:gd name="connsiteY44" fmla="*/ 1509896 h 13941544"/>
                <a:gd name="connsiteX45" fmla="*/ 9558580 w 16682562"/>
                <a:gd name="connsiteY45" fmla="*/ 961612 h 13941544"/>
                <a:gd name="connsiteX46" fmla="*/ 10353296 w 16682562"/>
                <a:gd name="connsiteY46" fmla="*/ 289328 h 13941544"/>
                <a:gd name="connsiteX47" fmla="*/ 10832530 w 16682562"/>
                <a:gd name="connsiteY47" fmla="*/ 216994 h 13941544"/>
                <a:gd name="connsiteX48" fmla="*/ 11058585 w 16682562"/>
                <a:gd name="connsiteY48" fmla="*/ 669063 h 13941544"/>
                <a:gd name="connsiteX49" fmla="*/ 11411229 w 16682562"/>
                <a:gd name="connsiteY49" fmla="*/ 1048794 h 13941544"/>
                <a:gd name="connsiteX50" fmla="*/ 11998974 w 16682562"/>
                <a:gd name="connsiteY50" fmla="*/ 1130164 h 13941544"/>
                <a:gd name="connsiteX51" fmla="*/ 12315449 w 16682562"/>
                <a:gd name="connsiteY51" fmla="*/ 1790176 h 13941544"/>
                <a:gd name="connsiteX52" fmla="*/ 12785642 w 16682562"/>
                <a:gd name="connsiteY52" fmla="*/ 1609347 h 13941544"/>
                <a:gd name="connsiteX53" fmla="*/ 13671776 w 16682562"/>
                <a:gd name="connsiteY53" fmla="*/ 2061408 h 13941544"/>
                <a:gd name="connsiteX54" fmla="*/ 14123886 w 16682562"/>
                <a:gd name="connsiteY54" fmla="*/ 1763055 h 13941544"/>
                <a:gd name="connsiteX55" fmla="*/ 14259509 w 16682562"/>
                <a:gd name="connsiteY55" fmla="*/ 1193454 h 13941544"/>
                <a:gd name="connsiteX56" fmla="*/ 14892468 w 16682562"/>
                <a:gd name="connsiteY56" fmla="*/ 551523 h 13941544"/>
                <a:gd name="connsiteX57" fmla="*/ 15778605 w 16682562"/>
                <a:gd name="connsiteY57" fmla="*/ 3 h 13941544"/>
                <a:gd name="connsiteX58" fmla="*/ 16022739 w 16682562"/>
                <a:gd name="connsiteY58" fmla="*/ 470153 h 13941544"/>
                <a:gd name="connsiteX59" fmla="*/ 16556232 w 16682562"/>
                <a:gd name="connsiteY59" fmla="*/ 1048805 h 13941544"/>
                <a:gd name="connsiteX60" fmla="*/ 10152517 w 16682562"/>
                <a:gd name="connsiteY60" fmla="*/ 5264302 h 13941544"/>
                <a:gd name="connsiteX61" fmla="*/ 11109603 w 16682562"/>
                <a:gd name="connsiteY61" fmla="*/ 5635776 h 13941544"/>
                <a:gd name="connsiteX62" fmla="*/ 11919572 w 16682562"/>
                <a:gd name="connsiteY62" fmla="*/ 5909298 h 13941544"/>
                <a:gd name="connsiteX63" fmla="*/ 12868275 w 16682562"/>
                <a:gd name="connsiteY63" fmla="*/ 5664087 h 13941544"/>
                <a:gd name="connsiteX64" fmla="*/ 13844296 w 16682562"/>
                <a:gd name="connsiteY64" fmla="*/ 5062252 h 13941544"/>
                <a:gd name="connsiteX65" fmla="*/ 13886291 w 16682562"/>
                <a:gd name="connsiteY65" fmla="*/ 4227884 h 13941544"/>
                <a:gd name="connsiteX66" fmla="*/ 14370431 w 16682562"/>
                <a:gd name="connsiteY66" fmla="*/ 4736236 h 13941544"/>
                <a:gd name="connsiteX67" fmla="*/ 15323320 w 16682562"/>
                <a:gd name="connsiteY67" fmla="*/ 4834509 h 13941544"/>
                <a:gd name="connsiteX68" fmla="*/ 16350939 w 16682562"/>
                <a:gd name="connsiteY68" fmla="*/ 4959368 h 13941544"/>
                <a:gd name="connsiteX69" fmla="*/ 16362364 w 16682562"/>
                <a:gd name="connsiteY69" fmla="*/ 5266648 h 13941544"/>
                <a:gd name="connsiteX70" fmla="*/ 16682563 w 16682562"/>
                <a:gd name="connsiteY70" fmla="*/ 5704551 h 13941544"/>
                <a:gd name="connsiteX0" fmla="*/ 16682563 w 16682562"/>
                <a:gd name="connsiteY0" fmla="*/ 5704551 h 13941544"/>
                <a:gd name="connsiteX1" fmla="*/ 16432262 w 16682562"/>
                <a:gd name="connsiteY1" fmla="*/ 6731937 h 13941544"/>
                <a:gd name="connsiteX2" fmla="*/ 16106317 w 16682562"/>
                <a:gd name="connsiteY2" fmla="*/ 7273241 h 13941544"/>
                <a:gd name="connsiteX3" fmla="*/ 16305649 w 16682562"/>
                <a:gd name="connsiteY3" fmla="*/ 7660570 h 13941544"/>
                <a:gd name="connsiteX4" fmla="*/ 16287189 w 16682562"/>
                <a:gd name="connsiteY4" fmla="*/ 8057177 h 13941544"/>
                <a:gd name="connsiteX5" fmla="*/ 16372801 w 16682562"/>
                <a:gd name="connsiteY5" fmla="*/ 8623442 h 13941544"/>
                <a:gd name="connsiteX6" fmla="*/ 16070155 w 16682562"/>
                <a:gd name="connsiteY6" fmla="*/ 8843828 h 13941544"/>
                <a:gd name="connsiteX7" fmla="*/ 15805690 w 16682562"/>
                <a:gd name="connsiteY7" fmla="*/ 9338019 h 13941544"/>
                <a:gd name="connsiteX8" fmla="*/ 15195097 w 16682562"/>
                <a:gd name="connsiteY8" fmla="*/ 8999762 h 13941544"/>
                <a:gd name="connsiteX9" fmla="*/ 15011380 w 16682562"/>
                <a:gd name="connsiteY9" fmla="*/ 9954612 h 13941544"/>
                <a:gd name="connsiteX10" fmla="*/ 14908430 w 16682562"/>
                <a:gd name="connsiteY10" fmla="*/ 10843507 h 13941544"/>
                <a:gd name="connsiteX11" fmla="*/ 14904684 w 16682562"/>
                <a:gd name="connsiteY11" fmla="*/ 11666946 h 13941544"/>
                <a:gd name="connsiteX12" fmla="*/ 14929927 w 16682562"/>
                <a:gd name="connsiteY12" fmla="*/ 13297866 h 13941544"/>
                <a:gd name="connsiteX13" fmla="*/ 12952786 w 16682562"/>
                <a:gd name="connsiteY13" fmla="*/ 13748619 h 13941544"/>
                <a:gd name="connsiteX14" fmla="*/ 11934663 w 16682562"/>
                <a:gd name="connsiteY14" fmla="*/ 13796869 h 13941544"/>
                <a:gd name="connsiteX15" fmla="*/ 8506848 w 16682562"/>
                <a:gd name="connsiteY15" fmla="*/ 13941544 h 13941544"/>
                <a:gd name="connsiteX16" fmla="*/ 7985095 w 16682562"/>
                <a:gd name="connsiteY16" fmla="*/ 13296462 h 13941544"/>
                <a:gd name="connsiteX17" fmla="*/ 7400308 w 16682562"/>
                <a:gd name="connsiteY17" fmla="*/ 13266317 h 13941544"/>
                <a:gd name="connsiteX18" fmla="*/ 6972273 w 16682562"/>
                <a:gd name="connsiteY18" fmla="*/ 13537614 h 13941544"/>
                <a:gd name="connsiteX19" fmla="*/ 5181729 w 16682562"/>
                <a:gd name="connsiteY19" fmla="*/ 13453215 h 13941544"/>
                <a:gd name="connsiteX20" fmla="*/ 4397998 w 16682562"/>
                <a:gd name="connsiteY20" fmla="*/ 12820198 h 13941544"/>
                <a:gd name="connsiteX21" fmla="*/ 2908896 w 16682562"/>
                <a:gd name="connsiteY21" fmla="*/ 12012344 h 13941544"/>
                <a:gd name="connsiteX22" fmla="*/ 1263043 w 16682562"/>
                <a:gd name="connsiteY22" fmla="*/ 11300951 h 13941544"/>
                <a:gd name="connsiteX23" fmla="*/ 485320 w 16682562"/>
                <a:gd name="connsiteY23" fmla="*/ 10848794 h 13941544"/>
                <a:gd name="connsiteX24" fmla="*/ 0 w 16682562"/>
                <a:gd name="connsiteY24" fmla="*/ 10555682 h 13941544"/>
                <a:gd name="connsiteX25" fmla="*/ 1003686 w 16682562"/>
                <a:gd name="connsiteY25" fmla="*/ 9809717 h 13941544"/>
                <a:gd name="connsiteX26" fmla="*/ 2902551 w 16682562"/>
                <a:gd name="connsiteY26" fmla="*/ 8625318 h 13941544"/>
                <a:gd name="connsiteX27" fmla="*/ 2558940 w 16682562"/>
                <a:gd name="connsiteY27" fmla="*/ 8091887 h 13941544"/>
                <a:gd name="connsiteX28" fmla="*/ 2402508 w 16682562"/>
                <a:gd name="connsiteY28" fmla="*/ 7404804 h 13941544"/>
                <a:gd name="connsiteX29" fmla="*/ 2730740 w 16682562"/>
                <a:gd name="connsiteY29" fmla="*/ 7377633 h 13941544"/>
                <a:gd name="connsiteX30" fmla="*/ 2947754 w 16682562"/>
                <a:gd name="connsiteY30" fmla="*/ 6907488 h 13941544"/>
                <a:gd name="connsiteX31" fmla="*/ 3499325 w 16682562"/>
                <a:gd name="connsiteY31" fmla="*/ 6464471 h 13941544"/>
                <a:gd name="connsiteX32" fmla="*/ 3680166 w 16682562"/>
                <a:gd name="connsiteY32" fmla="*/ 5587473 h 13941544"/>
                <a:gd name="connsiteX33" fmla="*/ 4186528 w 16682562"/>
                <a:gd name="connsiteY33" fmla="*/ 5596509 h 13941544"/>
                <a:gd name="connsiteX34" fmla="*/ 4837569 w 16682562"/>
                <a:gd name="connsiteY34" fmla="*/ 6066659 h 13941544"/>
                <a:gd name="connsiteX35" fmla="*/ 5352976 w 16682562"/>
                <a:gd name="connsiteY35" fmla="*/ 5985292 h 13941544"/>
                <a:gd name="connsiteX36" fmla="*/ 5741786 w 16682562"/>
                <a:gd name="connsiteY36" fmla="*/ 5614597 h 13941544"/>
                <a:gd name="connsiteX37" fmla="*/ 6157723 w 16682562"/>
                <a:gd name="connsiteY37" fmla="*/ 5451856 h 13941544"/>
                <a:gd name="connsiteX38" fmla="*/ 6745471 w 16682562"/>
                <a:gd name="connsiteY38" fmla="*/ 4882263 h 13941544"/>
                <a:gd name="connsiteX39" fmla="*/ 6890140 w 16682562"/>
                <a:gd name="connsiteY39" fmla="*/ 4032387 h 13941544"/>
                <a:gd name="connsiteX40" fmla="*/ 7568305 w 16682562"/>
                <a:gd name="connsiteY40" fmla="*/ 3462793 h 13941544"/>
                <a:gd name="connsiteX41" fmla="*/ 8137967 w 16682562"/>
                <a:gd name="connsiteY41" fmla="*/ 3019772 h 13941544"/>
                <a:gd name="connsiteX42" fmla="*/ 8463480 w 16682562"/>
                <a:gd name="connsiteY42" fmla="*/ 2215105 h 13941544"/>
                <a:gd name="connsiteX43" fmla="*/ 9024093 w 16682562"/>
                <a:gd name="connsiteY43" fmla="*/ 1862498 h 13941544"/>
                <a:gd name="connsiteX44" fmla="*/ 9675138 w 16682562"/>
                <a:gd name="connsiteY44" fmla="*/ 1509896 h 13941544"/>
                <a:gd name="connsiteX45" fmla="*/ 9558580 w 16682562"/>
                <a:gd name="connsiteY45" fmla="*/ 961612 h 13941544"/>
                <a:gd name="connsiteX46" fmla="*/ 10353296 w 16682562"/>
                <a:gd name="connsiteY46" fmla="*/ 289328 h 13941544"/>
                <a:gd name="connsiteX47" fmla="*/ 10832530 w 16682562"/>
                <a:gd name="connsiteY47" fmla="*/ 216994 h 13941544"/>
                <a:gd name="connsiteX48" fmla="*/ 11058585 w 16682562"/>
                <a:gd name="connsiteY48" fmla="*/ 669063 h 13941544"/>
                <a:gd name="connsiteX49" fmla="*/ 11411229 w 16682562"/>
                <a:gd name="connsiteY49" fmla="*/ 1048794 h 13941544"/>
                <a:gd name="connsiteX50" fmla="*/ 11998974 w 16682562"/>
                <a:gd name="connsiteY50" fmla="*/ 1130164 h 13941544"/>
                <a:gd name="connsiteX51" fmla="*/ 12315449 w 16682562"/>
                <a:gd name="connsiteY51" fmla="*/ 1790176 h 13941544"/>
                <a:gd name="connsiteX52" fmla="*/ 12785642 w 16682562"/>
                <a:gd name="connsiteY52" fmla="*/ 1609347 h 13941544"/>
                <a:gd name="connsiteX53" fmla="*/ 13671776 w 16682562"/>
                <a:gd name="connsiteY53" fmla="*/ 2061408 h 13941544"/>
                <a:gd name="connsiteX54" fmla="*/ 14123886 w 16682562"/>
                <a:gd name="connsiteY54" fmla="*/ 1763055 h 13941544"/>
                <a:gd name="connsiteX55" fmla="*/ 14259509 w 16682562"/>
                <a:gd name="connsiteY55" fmla="*/ 1193454 h 13941544"/>
                <a:gd name="connsiteX56" fmla="*/ 14892468 w 16682562"/>
                <a:gd name="connsiteY56" fmla="*/ 551523 h 13941544"/>
                <a:gd name="connsiteX57" fmla="*/ 15778605 w 16682562"/>
                <a:gd name="connsiteY57" fmla="*/ 3 h 13941544"/>
                <a:gd name="connsiteX58" fmla="*/ 16022739 w 16682562"/>
                <a:gd name="connsiteY58" fmla="*/ 470153 h 13941544"/>
                <a:gd name="connsiteX59" fmla="*/ 9312071 w 16682562"/>
                <a:gd name="connsiteY59" fmla="*/ 4353992 h 13941544"/>
                <a:gd name="connsiteX60" fmla="*/ 10152517 w 16682562"/>
                <a:gd name="connsiteY60" fmla="*/ 5264302 h 13941544"/>
                <a:gd name="connsiteX61" fmla="*/ 11109603 w 16682562"/>
                <a:gd name="connsiteY61" fmla="*/ 5635776 h 13941544"/>
                <a:gd name="connsiteX62" fmla="*/ 11919572 w 16682562"/>
                <a:gd name="connsiteY62" fmla="*/ 5909298 h 13941544"/>
                <a:gd name="connsiteX63" fmla="*/ 12868275 w 16682562"/>
                <a:gd name="connsiteY63" fmla="*/ 5664087 h 13941544"/>
                <a:gd name="connsiteX64" fmla="*/ 13844296 w 16682562"/>
                <a:gd name="connsiteY64" fmla="*/ 5062252 h 13941544"/>
                <a:gd name="connsiteX65" fmla="*/ 13886291 w 16682562"/>
                <a:gd name="connsiteY65" fmla="*/ 4227884 h 13941544"/>
                <a:gd name="connsiteX66" fmla="*/ 14370431 w 16682562"/>
                <a:gd name="connsiteY66" fmla="*/ 4736236 h 13941544"/>
                <a:gd name="connsiteX67" fmla="*/ 15323320 w 16682562"/>
                <a:gd name="connsiteY67" fmla="*/ 4834509 h 13941544"/>
                <a:gd name="connsiteX68" fmla="*/ 16350939 w 16682562"/>
                <a:gd name="connsiteY68" fmla="*/ 4959368 h 13941544"/>
                <a:gd name="connsiteX69" fmla="*/ 16362364 w 16682562"/>
                <a:gd name="connsiteY69" fmla="*/ 5266648 h 13941544"/>
                <a:gd name="connsiteX70" fmla="*/ 16682563 w 16682562"/>
                <a:gd name="connsiteY70" fmla="*/ 5704551 h 13941544"/>
                <a:gd name="connsiteX0" fmla="*/ 16682563 w 16682562"/>
                <a:gd name="connsiteY0" fmla="*/ 5704551 h 13941544"/>
                <a:gd name="connsiteX1" fmla="*/ 16432262 w 16682562"/>
                <a:gd name="connsiteY1" fmla="*/ 6731937 h 13941544"/>
                <a:gd name="connsiteX2" fmla="*/ 16106317 w 16682562"/>
                <a:gd name="connsiteY2" fmla="*/ 7273241 h 13941544"/>
                <a:gd name="connsiteX3" fmla="*/ 16305649 w 16682562"/>
                <a:gd name="connsiteY3" fmla="*/ 7660570 h 13941544"/>
                <a:gd name="connsiteX4" fmla="*/ 16287189 w 16682562"/>
                <a:gd name="connsiteY4" fmla="*/ 8057177 h 13941544"/>
                <a:gd name="connsiteX5" fmla="*/ 16372801 w 16682562"/>
                <a:gd name="connsiteY5" fmla="*/ 8623442 h 13941544"/>
                <a:gd name="connsiteX6" fmla="*/ 16070155 w 16682562"/>
                <a:gd name="connsiteY6" fmla="*/ 8843828 h 13941544"/>
                <a:gd name="connsiteX7" fmla="*/ 15805690 w 16682562"/>
                <a:gd name="connsiteY7" fmla="*/ 9338019 h 13941544"/>
                <a:gd name="connsiteX8" fmla="*/ 15195097 w 16682562"/>
                <a:gd name="connsiteY8" fmla="*/ 8999762 h 13941544"/>
                <a:gd name="connsiteX9" fmla="*/ 15011380 w 16682562"/>
                <a:gd name="connsiteY9" fmla="*/ 9954612 h 13941544"/>
                <a:gd name="connsiteX10" fmla="*/ 14908430 w 16682562"/>
                <a:gd name="connsiteY10" fmla="*/ 10843507 h 13941544"/>
                <a:gd name="connsiteX11" fmla="*/ 14904684 w 16682562"/>
                <a:gd name="connsiteY11" fmla="*/ 11666946 h 13941544"/>
                <a:gd name="connsiteX12" fmla="*/ 14929927 w 16682562"/>
                <a:gd name="connsiteY12" fmla="*/ 13297866 h 13941544"/>
                <a:gd name="connsiteX13" fmla="*/ 12952786 w 16682562"/>
                <a:gd name="connsiteY13" fmla="*/ 13748619 h 13941544"/>
                <a:gd name="connsiteX14" fmla="*/ 11934663 w 16682562"/>
                <a:gd name="connsiteY14" fmla="*/ 13796869 h 13941544"/>
                <a:gd name="connsiteX15" fmla="*/ 8506848 w 16682562"/>
                <a:gd name="connsiteY15" fmla="*/ 13941544 h 13941544"/>
                <a:gd name="connsiteX16" fmla="*/ 7985095 w 16682562"/>
                <a:gd name="connsiteY16" fmla="*/ 13296462 h 13941544"/>
                <a:gd name="connsiteX17" fmla="*/ 7400308 w 16682562"/>
                <a:gd name="connsiteY17" fmla="*/ 13266317 h 13941544"/>
                <a:gd name="connsiteX18" fmla="*/ 6972273 w 16682562"/>
                <a:gd name="connsiteY18" fmla="*/ 13537614 h 13941544"/>
                <a:gd name="connsiteX19" fmla="*/ 5181729 w 16682562"/>
                <a:gd name="connsiteY19" fmla="*/ 13453215 h 13941544"/>
                <a:gd name="connsiteX20" fmla="*/ 4397998 w 16682562"/>
                <a:gd name="connsiteY20" fmla="*/ 12820198 h 13941544"/>
                <a:gd name="connsiteX21" fmla="*/ 2908896 w 16682562"/>
                <a:gd name="connsiteY21" fmla="*/ 12012344 h 13941544"/>
                <a:gd name="connsiteX22" fmla="*/ 1263043 w 16682562"/>
                <a:gd name="connsiteY22" fmla="*/ 11300951 h 13941544"/>
                <a:gd name="connsiteX23" fmla="*/ 485320 w 16682562"/>
                <a:gd name="connsiteY23" fmla="*/ 10848794 h 13941544"/>
                <a:gd name="connsiteX24" fmla="*/ 0 w 16682562"/>
                <a:gd name="connsiteY24" fmla="*/ 10555682 h 13941544"/>
                <a:gd name="connsiteX25" fmla="*/ 1003686 w 16682562"/>
                <a:gd name="connsiteY25" fmla="*/ 9809717 h 13941544"/>
                <a:gd name="connsiteX26" fmla="*/ 2902551 w 16682562"/>
                <a:gd name="connsiteY26" fmla="*/ 8625318 h 13941544"/>
                <a:gd name="connsiteX27" fmla="*/ 2558940 w 16682562"/>
                <a:gd name="connsiteY27" fmla="*/ 8091887 h 13941544"/>
                <a:gd name="connsiteX28" fmla="*/ 2402508 w 16682562"/>
                <a:gd name="connsiteY28" fmla="*/ 7404804 h 13941544"/>
                <a:gd name="connsiteX29" fmla="*/ 2730740 w 16682562"/>
                <a:gd name="connsiteY29" fmla="*/ 7377633 h 13941544"/>
                <a:gd name="connsiteX30" fmla="*/ 2947754 w 16682562"/>
                <a:gd name="connsiteY30" fmla="*/ 6907488 h 13941544"/>
                <a:gd name="connsiteX31" fmla="*/ 3499325 w 16682562"/>
                <a:gd name="connsiteY31" fmla="*/ 6464471 h 13941544"/>
                <a:gd name="connsiteX32" fmla="*/ 3680166 w 16682562"/>
                <a:gd name="connsiteY32" fmla="*/ 5587473 h 13941544"/>
                <a:gd name="connsiteX33" fmla="*/ 4186528 w 16682562"/>
                <a:gd name="connsiteY33" fmla="*/ 5596509 h 13941544"/>
                <a:gd name="connsiteX34" fmla="*/ 4837569 w 16682562"/>
                <a:gd name="connsiteY34" fmla="*/ 6066659 h 13941544"/>
                <a:gd name="connsiteX35" fmla="*/ 5352976 w 16682562"/>
                <a:gd name="connsiteY35" fmla="*/ 5985292 h 13941544"/>
                <a:gd name="connsiteX36" fmla="*/ 5741786 w 16682562"/>
                <a:gd name="connsiteY36" fmla="*/ 5614597 h 13941544"/>
                <a:gd name="connsiteX37" fmla="*/ 6157723 w 16682562"/>
                <a:gd name="connsiteY37" fmla="*/ 5451856 h 13941544"/>
                <a:gd name="connsiteX38" fmla="*/ 6745471 w 16682562"/>
                <a:gd name="connsiteY38" fmla="*/ 4882263 h 13941544"/>
                <a:gd name="connsiteX39" fmla="*/ 6890140 w 16682562"/>
                <a:gd name="connsiteY39" fmla="*/ 4032387 h 13941544"/>
                <a:gd name="connsiteX40" fmla="*/ 7568305 w 16682562"/>
                <a:gd name="connsiteY40" fmla="*/ 3462793 h 13941544"/>
                <a:gd name="connsiteX41" fmla="*/ 8137967 w 16682562"/>
                <a:gd name="connsiteY41" fmla="*/ 3019772 h 13941544"/>
                <a:gd name="connsiteX42" fmla="*/ 8463480 w 16682562"/>
                <a:gd name="connsiteY42" fmla="*/ 2215105 h 13941544"/>
                <a:gd name="connsiteX43" fmla="*/ 9024093 w 16682562"/>
                <a:gd name="connsiteY43" fmla="*/ 1862498 h 13941544"/>
                <a:gd name="connsiteX44" fmla="*/ 9675138 w 16682562"/>
                <a:gd name="connsiteY44" fmla="*/ 1509896 h 13941544"/>
                <a:gd name="connsiteX45" fmla="*/ 9558580 w 16682562"/>
                <a:gd name="connsiteY45" fmla="*/ 961612 h 13941544"/>
                <a:gd name="connsiteX46" fmla="*/ 10353296 w 16682562"/>
                <a:gd name="connsiteY46" fmla="*/ 289328 h 13941544"/>
                <a:gd name="connsiteX47" fmla="*/ 10832530 w 16682562"/>
                <a:gd name="connsiteY47" fmla="*/ 216994 h 13941544"/>
                <a:gd name="connsiteX48" fmla="*/ 11058585 w 16682562"/>
                <a:gd name="connsiteY48" fmla="*/ 669063 h 13941544"/>
                <a:gd name="connsiteX49" fmla="*/ 11411229 w 16682562"/>
                <a:gd name="connsiteY49" fmla="*/ 1048794 h 13941544"/>
                <a:gd name="connsiteX50" fmla="*/ 11998974 w 16682562"/>
                <a:gd name="connsiteY50" fmla="*/ 1130164 h 13941544"/>
                <a:gd name="connsiteX51" fmla="*/ 12315449 w 16682562"/>
                <a:gd name="connsiteY51" fmla="*/ 1790176 h 13941544"/>
                <a:gd name="connsiteX52" fmla="*/ 12785642 w 16682562"/>
                <a:gd name="connsiteY52" fmla="*/ 1609347 h 13941544"/>
                <a:gd name="connsiteX53" fmla="*/ 13671776 w 16682562"/>
                <a:gd name="connsiteY53" fmla="*/ 2061408 h 13941544"/>
                <a:gd name="connsiteX54" fmla="*/ 14123886 w 16682562"/>
                <a:gd name="connsiteY54" fmla="*/ 1763055 h 13941544"/>
                <a:gd name="connsiteX55" fmla="*/ 14259509 w 16682562"/>
                <a:gd name="connsiteY55" fmla="*/ 1193454 h 13941544"/>
                <a:gd name="connsiteX56" fmla="*/ 14892468 w 16682562"/>
                <a:gd name="connsiteY56" fmla="*/ 551523 h 13941544"/>
                <a:gd name="connsiteX57" fmla="*/ 15778605 w 16682562"/>
                <a:gd name="connsiteY57" fmla="*/ 3 h 13941544"/>
                <a:gd name="connsiteX58" fmla="*/ 16022739 w 16682562"/>
                <a:gd name="connsiteY58" fmla="*/ 470153 h 13941544"/>
                <a:gd name="connsiteX59" fmla="*/ 9761321 w 16682562"/>
                <a:gd name="connsiteY59" fmla="*/ 4466032 h 13941544"/>
                <a:gd name="connsiteX60" fmla="*/ 10152517 w 16682562"/>
                <a:gd name="connsiteY60" fmla="*/ 5264302 h 13941544"/>
                <a:gd name="connsiteX61" fmla="*/ 11109603 w 16682562"/>
                <a:gd name="connsiteY61" fmla="*/ 5635776 h 13941544"/>
                <a:gd name="connsiteX62" fmla="*/ 11919572 w 16682562"/>
                <a:gd name="connsiteY62" fmla="*/ 5909298 h 13941544"/>
                <a:gd name="connsiteX63" fmla="*/ 12868275 w 16682562"/>
                <a:gd name="connsiteY63" fmla="*/ 5664087 h 13941544"/>
                <a:gd name="connsiteX64" fmla="*/ 13844296 w 16682562"/>
                <a:gd name="connsiteY64" fmla="*/ 5062252 h 13941544"/>
                <a:gd name="connsiteX65" fmla="*/ 13886291 w 16682562"/>
                <a:gd name="connsiteY65" fmla="*/ 4227884 h 13941544"/>
                <a:gd name="connsiteX66" fmla="*/ 14370431 w 16682562"/>
                <a:gd name="connsiteY66" fmla="*/ 4736236 h 13941544"/>
                <a:gd name="connsiteX67" fmla="*/ 15323320 w 16682562"/>
                <a:gd name="connsiteY67" fmla="*/ 4834509 h 13941544"/>
                <a:gd name="connsiteX68" fmla="*/ 16350939 w 16682562"/>
                <a:gd name="connsiteY68" fmla="*/ 4959368 h 13941544"/>
                <a:gd name="connsiteX69" fmla="*/ 16362364 w 16682562"/>
                <a:gd name="connsiteY69" fmla="*/ 5266648 h 13941544"/>
                <a:gd name="connsiteX70" fmla="*/ 16682563 w 16682562"/>
                <a:gd name="connsiteY70" fmla="*/ 5704551 h 13941544"/>
                <a:gd name="connsiteX0" fmla="*/ 16682563 w 16682562"/>
                <a:gd name="connsiteY0" fmla="*/ 5704551 h 13941544"/>
                <a:gd name="connsiteX1" fmla="*/ 16432262 w 16682562"/>
                <a:gd name="connsiteY1" fmla="*/ 6731937 h 13941544"/>
                <a:gd name="connsiteX2" fmla="*/ 16106317 w 16682562"/>
                <a:gd name="connsiteY2" fmla="*/ 7273241 h 13941544"/>
                <a:gd name="connsiteX3" fmla="*/ 16305649 w 16682562"/>
                <a:gd name="connsiteY3" fmla="*/ 7660570 h 13941544"/>
                <a:gd name="connsiteX4" fmla="*/ 16287189 w 16682562"/>
                <a:gd name="connsiteY4" fmla="*/ 8057177 h 13941544"/>
                <a:gd name="connsiteX5" fmla="*/ 16372801 w 16682562"/>
                <a:gd name="connsiteY5" fmla="*/ 8623442 h 13941544"/>
                <a:gd name="connsiteX6" fmla="*/ 16070155 w 16682562"/>
                <a:gd name="connsiteY6" fmla="*/ 8843828 h 13941544"/>
                <a:gd name="connsiteX7" fmla="*/ 15805690 w 16682562"/>
                <a:gd name="connsiteY7" fmla="*/ 9338019 h 13941544"/>
                <a:gd name="connsiteX8" fmla="*/ 15195097 w 16682562"/>
                <a:gd name="connsiteY8" fmla="*/ 8999762 h 13941544"/>
                <a:gd name="connsiteX9" fmla="*/ 15011380 w 16682562"/>
                <a:gd name="connsiteY9" fmla="*/ 9954612 h 13941544"/>
                <a:gd name="connsiteX10" fmla="*/ 14908430 w 16682562"/>
                <a:gd name="connsiteY10" fmla="*/ 10843507 h 13941544"/>
                <a:gd name="connsiteX11" fmla="*/ 14904684 w 16682562"/>
                <a:gd name="connsiteY11" fmla="*/ 11666946 h 13941544"/>
                <a:gd name="connsiteX12" fmla="*/ 14929927 w 16682562"/>
                <a:gd name="connsiteY12" fmla="*/ 13297866 h 13941544"/>
                <a:gd name="connsiteX13" fmla="*/ 12952786 w 16682562"/>
                <a:gd name="connsiteY13" fmla="*/ 13748619 h 13941544"/>
                <a:gd name="connsiteX14" fmla="*/ 11934663 w 16682562"/>
                <a:gd name="connsiteY14" fmla="*/ 13796869 h 13941544"/>
                <a:gd name="connsiteX15" fmla="*/ 8506848 w 16682562"/>
                <a:gd name="connsiteY15" fmla="*/ 13941544 h 13941544"/>
                <a:gd name="connsiteX16" fmla="*/ 7985095 w 16682562"/>
                <a:gd name="connsiteY16" fmla="*/ 13296462 h 13941544"/>
                <a:gd name="connsiteX17" fmla="*/ 7400308 w 16682562"/>
                <a:gd name="connsiteY17" fmla="*/ 13266317 h 13941544"/>
                <a:gd name="connsiteX18" fmla="*/ 6972273 w 16682562"/>
                <a:gd name="connsiteY18" fmla="*/ 13537614 h 13941544"/>
                <a:gd name="connsiteX19" fmla="*/ 5181729 w 16682562"/>
                <a:gd name="connsiteY19" fmla="*/ 13453215 h 13941544"/>
                <a:gd name="connsiteX20" fmla="*/ 4397998 w 16682562"/>
                <a:gd name="connsiteY20" fmla="*/ 12820198 h 13941544"/>
                <a:gd name="connsiteX21" fmla="*/ 2908896 w 16682562"/>
                <a:gd name="connsiteY21" fmla="*/ 12012344 h 13941544"/>
                <a:gd name="connsiteX22" fmla="*/ 1263043 w 16682562"/>
                <a:gd name="connsiteY22" fmla="*/ 11300951 h 13941544"/>
                <a:gd name="connsiteX23" fmla="*/ 485320 w 16682562"/>
                <a:gd name="connsiteY23" fmla="*/ 10848794 h 13941544"/>
                <a:gd name="connsiteX24" fmla="*/ 0 w 16682562"/>
                <a:gd name="connsiteY24" fmla="*/ 10555682 h 13941544"/>
                <a:gd name="connsiteX25" fmla="*/ 1003686 w 16682562"/>
                <a:gd name="connsiteY25" fmla="*/ 9809717 h 13941544"/>
                <a:gd name="connsiteX26" fmla="*/ 2902551 w 16682562"/>
                <a:gd name="connsiteY26" fmla="*/ 8625318 h 13941544"/>
                <a:gd name="connsiteX27" fmla="*/ 2558940 w 16682562"/>
                <a:gd name="connsiteY27" fmla="*/ 8091887 h 13941544"/>
                <a:gd name="connsiteX28" fmla="*/ 2402508 w 16682562"/>
                <a:gd name="connsiteY28" fmla="*/ 7404804 h 13941544"/>
                <a:gd name="connsiteX29" fmla="*/ 2730740 w 16682562"/>
                <a:gd name="connsiteY29" fmla="*/ 7377633 h 13941544"/>
                <a:gd name="connsiteX30" fmla="*/ 2947754 w 16682562"/>
                <a:gd name="connsiteY30" fmla="*/ 6907488 h 13941544"/>
                <a:gd name="connsiteX31" fmla="*/ 3499325 w 16682562"/>
                <a:gd name="connsiteY31" fmla="*/ 6464471 h 13941544"/>
                <a:gd name="connsiteX32" fmla="*/ 3680166 w 16682562"/>
                <a:gd name="connsiteY32" fmla="*/ 5587473 h 13941544"/>
                <a:gd name="connsiteX33" fmla="*/ 4186528 w 16682562"/>
                <a:gd name="connsiteY33" fmla="*/ 5596509 h 13941544"/>
                <a:gd name="connsiteX34" fmla="*/ 4837569 w 16682562"/>
                <a:gd name="connsiteY34" fmla="*/ 6066659 h 13941544"/>
                <a:gd name="connsiteX35" fmla="*/ 5352976 w 16682562"/>
                <a:gd name="connsiteY35" fmla="*/ 5985292 h 13941544"/>
                <a:gd name="connsiteX36" fmla="*/ 5741786 w 16682562"/>
                <a:gd name="connsiteY36" fmla="*/ 5614597 h 13941544"/>
                <a:gd name="connsiteX37" fmla="*/ 6157723 w 16682562"/>
                <a:gd name="connsiteY37" fmla="*/ 5451856 h 13941544"/>
                <a:gd name="connsiteX38" fmla="*/ 6745471 w 16682562"/>
                <a:gd name="connsiteY38" fmla="*/ 4882263 h 13941544"/>
                <a:gd name="connsiteX39" fmla="*/ 6890140 w 16682562"/>
                <a:gd name="connsiteY39" fmla="*/ 4032387 h 13941544"/>
                <a:gd name="connsiteX40" fmla="*/ 7568305 w 16682562"/>
                <a:gd name="connsiteY40" fmla="*/ 3462793 h 13941544"/>
                <a:gd name="connsiteX41" fmla="*/ 8137967 w 16682562"/>
                <a:gd name="connsiteY41" fmla="*/ 3019772 h 13941544"/>
                <a:gd name="connsiteX42" fmla="*/ 8463480 w 16682562"/>
                <a:gd name="connsiteY42" fmla="*/ 2215105 h 13941544"/>
                <a:gd name="connsiteX43" fmla="*/ 9024093 w 16682562"/>
                <a:gd name="connsiteY43" fmla="*/ 1862498 h 13941544"/>
                <a:gd name="connsiteX44" fmla="*/ 9675138 w 16682562"/>
                <a:gd name="connsiteY44" fmla="*/ 1509896 h 13941544"/>
                <a:gd name="connsiteX45" fmla="*/ 9558580 w 16682562"/>
                <a:gd name="connsiteY45" fmla="*/ 961612 h 13941544"/>
                <a:gd name="connsiteX46" fmla="*/ 10353296 w 16682562"/>
                <a:gd name="connsiteY46" fmla="*/ 289328 h 13941544"/>
                <a:gd name="connsiteX47" fmla="*/ 10832530 w 16682562"/>
                <a:gd name="connsiteY47" fmla="*/ 216994 h 13941544"/>
                <a:gd name="connsiteX48" fmla="*/ 11058585 w 16682562"/>
                <a:gd name="connsiteY48" fmla="*/ 669063 h 13941544"/>
                <a:gd name="connsiteX49" fmla="*/ 11411229 w 16682562"/>
                <a:gd name="connsiteY49" fmla="*/ 1048794 h 13941544"/>
                <a:gd name="connsiteX50" fmla="*/ 11998974 w 16682562"/>
                <a:gd name="connsiteY50" fmla="*/ 1130164 h 13941544"/>
                <a:gd name="connsiteX51" fmla="*/ 12315449 w 16682562"/>
                <a:gd name="connsiteY51" fmla="*/ 1790176 h 13941544"/>
                <a:gd name="connsiteX52" fmla="*/ 12785642 w 16682562"/>
                <a:gd name="connsiteY52" fmla="*/ 1609347 h 13941544"/>
                <a:gd name="connsiteX53" fmla="*/ 13671776 w 16682562"/>
                <a:gd name="connsiteY53" fmla="*/ 2061408 h 13941544"/>
                <a:gd name="connsiteX54" fmla="*/ 14123886 w 16682562"/>
                <a:gd name="connsiteY54" fmla="*/ 1763055 h 13941544"/>
                <a:gd name="connsiteX55" fmla="*/ 14259509 w 16682562"/>
                <a:gd name="connsiteY55" fmla="*/ 1193454 h 13941544"/>
                <a:gd name="connsiteX56" fmla="*/ 14892468 w 16682562"/>
                <a:gd name="connsiteY56" fmla="*/ 551523 h 13941544"/>
                <a:gd name="connsiteX57" fmla="*/ 15778605 w 16682562"/>
                <a:gd name="connsiteY57" fmla="*/ 3 h 13941544"/>
                <a:gd name="connsiteX58" fmla="*/ 9761321 w 16682562"/>
                <a:gd name="connsiteY58" fmla="*/ 4466032 h 13941544"/>
                <a:gd name="connsiteX59" fmla="*/ 10152517 w 16682562"/>
                <a:gd name="connsiteY59" fmla="*/ 5264302 h 13941544"/>
                <a:gd name="connsiteX60" fmla="*/ 11109603 w 16682562"/>
                <a:gd name="connsiteY60" fmla="*/ 5635776 h 13941544"/>
                <a:gd name="connsiteX61" fmla="*/ 11919572 w 16682562"/>
                <a:gd name="connsiteY61" fmla="*/ 5909298 h 13941544"/>
                <a:gd name="connsiteX62" fmla="*/ 12868275 w 16682562"/>
                <a:gd name="connsiteY62" fmla="*/ 5664087 h 13941544"/>
                <a:gd name="connsiteX63" fmla="*/ 13844296 w 16682562"/>
                <a:gd name="connsiteY63" fmla="*/ 5062252 h 13941544"/>
                <a:gd name="connsiteX64" fmla="*/ 13886291 w 16682562"/>
                <a:gd name="connsiteY64" fmla="*/ 4227884 h 13941544"/>
                <a:gd name="connsiteX65" fmla="*/ 14370431 w 16682562"/>
                <a:gd name="connsiteY65" fmla="*/ 4736236 h 13941544"/>
                <a:gd name="connsiteX66" fmla="*/ 15323320 w 16682562"/>
                <a:gd name="connsiteY66" fmla="*/ 4834509 h 13941544"/>
                <a:gd name="connsiteX67" fmla="*/ 16350939 w 16682562"/>
                <a:gd name="connsiteY67" fmla="*/ 4959368 h 13941544"/>
                <a:gd name="connsiteX68" fmla="*/ 16362364 w 16682562"/>
                <a:gd name="connsiteY68" fmla="*/ 5266648 h 13941544"/>
                <a:gd name="connsiteX69" fmla="*/ 16682563 w 16682562"/>
                <a:gd name="connsiteY69" fmla="*/ 5704551 h 13941544"/>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13671776 w 16682562"/>
                <a:gd name="connsiteY53" fmla="*/ 1844415 h 13724551"/>
                <a:gd name="connsiteX54" fmla="*/ 14123886 w 16682562"/>
                <a:gd name="connsiteY54" fmla="*/ 1546062 h 13724551"/>
                <a:gd name="connsiteX55" fmla="*/ 14259509 w 16682562"/>
                <a:gd name="connsiteY55" fmla="*/ 976461 h 13724551"/>
                <a:gd name="connsiteX56" fmla="*/ 14892468 w 16682562"/>
                <a:gd name="connsiteY56" fmla="*/ 334530 h 13724551"/>
                <a:gd name="connsiteX57" fmla="*/ 9761321 w 16682562"/>
                <a:gd name="connsiteY57" fmla="*/ 4249039 h 13724551"/>
                <a:gd name="connsiteX58" fmla="*/ 10152517 w 16682562"/>
                <a:gd name="connsiteY58" fmla="*/ 5047309 h 13724551"/>
                <a:gd name="connsiteX59" fmla="*/ 11109603 w 16682562"/>
                <a:gd name="connsiteY59" fmla="*/ 5418783 h 13724551"/>
                <a:gd name="connsiteX60" fmla="*/ 11919572 w 16682562"/>
                <a:gd name="connsiteY60" fmla="*/ 5692305 h 13724551"/>
                <a:gd name="connsiteX61" fmla="*/ 12868275 w 16682562"/>
                <a:gd name="connsiteY61" fmla="*/ 5447094 h 13724551"/>
                <a:gd name="connsiteX62" fmla="*/ 13844296 w 16682562"/>
                <a:gd name="connsiteY62" fmla="*/ 4845259 h 13724551"/>
                <a:gd name="connsiteX63" fmla="*/ 13886291 w 16682562"/>
                <a:gd name="connsiteY63" fmla="*/ 4010891 h 13724551"/>
                <a:gd name="connsiteX64" fmla="*/ 14370431 w 16682562"/>
                <a:gd name="connsiteY64" fmla="*/ 4519243 h 13724551"/>
                <a:gd name="connsiteX65" fmla="*/ 15323320 w 16682562"/>
                <a:gd name="connsiteY65" fmla="*/ 4617516 h 13724551"/>
                <a:gd name="connsiteX66" fmla="*/ 16350939 w 16682562"/>
                <a:gd name="connsiteY66" fmla="*/ 4742375 h 13724551"/>
                <a:gd name="connsiteX67" fmla="*/ 16362364 w 16682562"/>
                <a:gd name="connsiteY67" fmla="*/ 5049655 h 13724551"/>
                <a:gd name="connsiteX68" fmla="*/ 16682563 w 16682562"/>
                <a:gd name="connsiteY68"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13671776 w 16682562"/>
                <a:gd name="connsiteY53" fmla="*/ 1844415 h 13724551"/>
                <a:gd name="connsiteX54" fmla="*/ 14123886 w 16682562"/>
                <a:gd name="connsiteY54" fmla="*/ 1546062 h 13724551"/>
                <a:gd name="connsiteX55" fmla="*/ 14259509 w 16682562"/>
                <a:gd name="connsiteY55" fmla="*/ 976461 h 13724551"/>
                <a:gd name="connsiteX56" fmla="*/ 9761321 w 16682562"/>
                <a:gd name="connsiteY56" fmla="*/ 4249039 h 13724551"/>
                <a:gd name="connsiteX57" fmla="*/ 10152517 w 16682562"/>
                <a:gd name="connsiteY57" fmla="*/ 5047309 h 13724551"/>
                <a:gd name="connsiteX58" fmla="*/ 11109603 w 16682562"/>
                <a:gd name="connsiteY58" fmla="*/ 5418783 h 13724551"/>
                <a:gd name="connsiteX59" fmla="*/ 11919572 w 16682562"/>
                <a:gd name="connsiteY59" fmla="*/ 5692305 h 13724551"/>
                <a:gd name="connsiteX60" fmla="*/ 12868275 w 16682562"/>
                <a:gd name="connsiteY60" fmla="*/ 5447094 h 13724551"/>
                <a:gd name="connsiteX61" fmla="*/ 13844296 w 16682562"/>
                <a:gd name="connsiteY61" fmla="*/ 4845259 h 13724551"/>
                <a:gd name="connsiteX62" fmla="*/ 13886291 w 16682562"/>
                <a:gd name="connsiteY62" fmla="*/ 4010891 h 13724551"/>
                <a:gd name="connsiteX63" fmla="*/ 14370431 w 16682562"/>
                <a:gd name="connsiteY63" fmla="*/ 4519243 h 13724551"/>
                <a:gd name="connsiteX64" fmla="*/ 15323320 w 16682562"/>
                <a:gd name="connsiteY64" fmla="*/ 4617516 h 13724551"/>
                <a:gd name="connsiteX65" fmla="*/ 16350939 w 16682562"/>
                <a:gd name="connsiteY65" fmla="*/ 4742375 h 13724551"/>
                <a:gd name="connsiteX66" fmla="*/ 16362364 w 16682562"/>
                <a:gd name="connsiteY66" fmla="*/ 5049655 h 13724551"/>
                <a:gd name="connsiteX67" fmla="*/ 16682563 w 16682562"/>
                <a:gd name="connsiteY67"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13671776 w 16682562"/>
                <a:gd name="connsiteY53" fmla="*/ 1844415 h 13724551"/>
                <a:gd name="connsiteX54" fmla="*/ 14123886 w 16682562"/>
                <a:gd name="connsiteY54" fmla="*/ 1546062 h 13724551"/>
                <a:gd name="connsiteX55" fmla="*/ 9761321 w 16682562"/>
                <a:gd name="connsiteY55" fmla="*/ 4249039 h 13724551"/>
                <a:gd name="connsiteX56" fmla="*/ 10152517 w 16682562"/>
                <a:gd name="connsiteY56" fmla="*/ 5047309 h 13724551"/>
                <a:gd name="connsiteX57" fmla="*/ 11109603 w 16682562"/>
                <a:gd name="connsiteY57" fmla="*/ 5418783 h 13724551"/>
                <a:gd name="connsiteX58" fmla="*/ 11919572 w 16682562"/>
                <a:gd name="connsiteY58" fmla="*/ 5692305 h 13724551"/>
                <a:gd name="connsiteX59" fmla="*/ 12868275 w 16682562"/>
                <a:gd name="connsiteY59" fmla="*/ 5447094 h 13724551"/>
                <a:gd name="connsiteX60" fmla="*/ 13844296 w 16682562"/>
                <a:gd name="connsiteY60" fmla="*/ 4845259 h 13724551"/>
                <a:gd name="connsiteX61" fmla="*/ 13886291 w 16682562"/>
                <a:gd name="connsiteY61" fmla="*/ 4010891 h 13724551"/>
                <a:gd name="connsiteX62" fmla="*/ 14370431 w 16682562"/>
                <a:gd name="connsiteY62" fmla="*/ 4519243 h 13724551"/>
                <a:gd name="connsiteX63" fmla="*/ 15323320 w 16682562"/>
                <a:gd name="connsiteY63" fmla="*/ 4617516 h 13724551"/>
                <a:gd name="connsiteX64" fmla="*/ 16350939 w 16682562"/>
                <a:gd name="connsiteY64" fmla="*/ 4742375 h 13724551"/>
                <a:gd name="connsiteX65" fmla="*/ 16362364 w 16682562"/>
                <a:gd name="connsiteY65" fmla="*/ 5049655 h 13724551"/>
                <a:gd name="connsiteX66" fmla="*/ 16682563 w 16682562"/>
                <a:gd name="connsiteY66"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13671776 w 16682562"/>
                <a:gd name="connsiteY53" fmla="*/ 1844415 h 13724551"/>
                <a:gd name="connsiteX54" fmla="*/ 9761321 w 16682562"/>
                <a:gd name="connsiteY54" fmla="*/ 4249039 h 13724551"/>
                <a:gd name="connsiteX55" fmla="*/ 10152517 w 16682562"/>
                <a:gd name="connsiteY55" fmla="*/ 5047309 h 13724551"/>
                <a:gd name="connsiteX56" fmla="*/ 11109603 w 16682562"/>
                <a:gd name="connsiteY56" fmla="*/ 5418783 h 13724551"/>
                <a:gd name="connsiteX57" fmla="*/ 11919572 w 16682562"/>
                <a:gd name="connsiteY57" fmla="*/ 5692305 h 13724551"/>
                <a:gd name="connsiteX58" fmla="*/ 12868275 w 16682562"/>
                <a:gd name="connsiteY58" fmla="*/ 5447094 h 13724551"/>
                <a:gd name="connsiteX59" fmla="*/ 13844296 w 16682562"/>
                <a:gd name="connsiteY59" fmla="*/ 4845259 h 13724551"/>
                <a:gd name="connsiteX60" fmla="*/ 13886291 w 16682562"/>
                <a:gd name="connsiteY60" fmla="*/ 4010891 h 13724551"/>
                <a:gd name="connsiteX61" fmla="*/ 14370431 w 16682562"/>
                <a:gd name="connsiteY61" fmla="*/ 4519243 h 13724551"/>
                <a:gd name="connsiteX62" fmla="*/ 15323320 w 16682562"/>
                <a:gd name="connsiteY62" fmla="*/ 4617516 h 13724551"/>
                <a:gd name="connsiteX63" fmla="*/ 16350939 w 16682562"/>
                <a:gd name="connsiteY63" fmla="*/ 4742375 h 13724551"/>
                <a:gd name="connsiteX64" fmla="*/ 16362364 w 16682562"/>
                <a:gd name="connsiteY64" fmla="*/ 5049655 h 13724551"/>
                <a:gd name="connsiteX65" fmla="*/ 16682563 w 16682562"/>
                <a:gd name="connsiteY65"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9761321 w 16682562"/>
                <a:gd name="connsiteY53" fmla="*/ 4249039 h 13724551"/>
                <a:gd name="connsiteX54" fmla="*/ 10152517 w 16682562"/>
                <a:gd name="connsiteY54" fmla="*/ 5047309 h 13724551"/>
                <a:gd name="connsiteX55" fmla="*/ 11109603 w 16682562"/>
                <a:gd name="connsiteY55" fmla="*/ 5418783 h 13724551"/>
                <a:gd name="connsiteX56" fmla="*/ 11919572 w 16682562"/>
                <a:gd name="connsiteY56" fmla="*/ 5692305 h 13724551"/>
                <a:gd name="connsiteX57" fmla="*/ 12868275 w 16682562"/>
                <a:gd name="connsiteY57" fmla="*/ 5447094 h 13724551"/>
                <a:gd name="connsiteX58" fmla="*/ 13844296 w 16682562"/>
                <a:gd name="connsiteY58" fmla="*/ 4845259 h 13724551"/>
                <a:gd name="connsiteX59" fmla="*/ 13886291 w 16682562"/>
                <a:gd name="connsiteY59" fmla="*/ 4010891 h 13724551"/>
                <a:gd name="connsiteX60" fmla="*/ 14370431 w 16682562"/>
                <a:gd name="connsiteY60" fmla="*/ 4519243 h 13724551"/>
                <a:gd name="connsiteX61" fmla="*/ 15323320 w 16682562"/>
                <a:gd name="connsiteY61" fmla="*/ 4617516 h 13724551"/>
                <a:gd name="connsiteX62" fmla="*/ 16350939 w 16682562"/>
                <a:gd name="connsiteY62" fmla="*/ 4742375 h 13724551"/>
                <a:gd name="connsiteX63" fmla="*/ 16362364 w 16682562"/>
                <a:gd name="connsiteY63" fmla="*/ 5049655 h 13724551"/>
                <a:gd name="connsiteX64" fmla="*/ 16682563 w 16682562"/>
                <a:gd name="connsiteY64"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8216041 w 16682562"/>
                <a:gd name="connsiteY51" fmla="*/ 3870010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8524896 w 16682562"/>
                <a:gd name="connsiteY51" fmla="*/ 4654291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8348814 w 16682562"/>
                <a:gd name="connsiteY50" fmla="*/ 3770198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9078849 w 16682562"/>
                <a:gd name="connsiteY50" fmla="*/ 3798207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8463027 w 16682562"/>
                <a:gd name="connsiteY49" fmla="*/ 3408723 h 13724551"/>
                <a:gd name="connsiteX50" fmla="*/ 9078849 w 16682562"/>
                <a:gd name="connsiteY50" fmla="*/ 3798207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8856118 w 16682562"/>
                <a:gd name="connsiteY49" fmla="*/ 3184643 h 13724551"/>
                <a:gd name="connsiteX50" fmla="*/ 9078849 w 16682562"/>
                <a:gd name="connsiteY50" fmla="*/ 3798207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8856118 w 16682562"/>
                <a:gd name="connsiteY48" fmla="*/ 3184643 h 13724551"/>
                <a:gd name="connsiteX49" fmla="*/ 9078849 w 16682562"/>
                <a:gd name="connsiteY49" fmla="*/ 3798207 h 13724551"/>
                <a:gd name="connsiteX50" fmla="*/ 9086459 w 16682562"/>
                <a:gd name="connsiteY50" fmla="*/ 4346185 h 13724551"/>
                <a:gd name="connsiteX51" fmla="*/ 9761321 w 16682562"/>
                <a:gd name="connsiteY51" fmla="*/ 4249039 h 13724551"/>
                <a:gd name="connsiteX52" fmla="*/ 10152517 w 16682562"/>
                <a:gd name="connsiteY52" fmla="*/ 5047309 h 13724551"/>
                <a:gd name="connsiteX53" fmla="*/ 11109603 w 16682562"/>
                <a:gd name="connsiteY53" fmla="*/ 5418783 h 13724551"/>
                <a:gd name="connsiteX54" fmla="*/ 11919572 w 16682562"/>
                <a:gd name="connsiteY54" fmla="*/ 5692305 h 13724551"/>
                <a:gd name="connsiteX55" fmla="*/ 12868275 w 16682562"/>
                <a:gd name="connsiteY55" fmla="*/ 5447094 h 13724551"/>
                <a:gd name="connsiteX56" fmla="*/ 13844296 w 16682562"/>
                <a:gd name="connsiteY56" fmla="*/ 4845259 h 13724551"/>
                <a:gd name="connsiteX57" fmla="*/ 13886291 w 16682562"/>
                <a:gd name="connsiteY57" fmla="*/ 4010891 h 13724551"/>
                <a:gd name="connsiteX58" fmla="*/ 14370431 w 16682562"/>
                <a:gd name="connsiteY58" fmla="*/ 4519243 h 13724551"/>
                <a:gd name="connsiteX59" fmla="*/ 15323320 w 16682562"/>
                <a:gd name="connsiteY59" fmla="*/ 4617516 h 13724551"/>
                <a:gd name="connsiteX60" fmla="*/ 16350939 w 16682562"/>
                <a:gd name="connsiteY60" fmla="*/ 4742375 h 13724551"/>
                <a:gd name="connsiteX61" fmla="*/ 16362364 w 16682562"/>
                <a:gd name="connsiteY61" fmla="*/ 5049655 h 13724551"/>
                <a:gd name="connsiteX62" fmla="*/ 16682563 w 16682562"/>
                <a:gd name="connsiteY62" fmla="*/ 5487558 h 13724551"/>
                <a:gd name="connsiteX0" fmla="*/ 16682563 w 16682562"/>
                <a:gd name="connsiteY0" fmla="*/ 5415225 h 13652218"/>
                <a:gd name="connsiteX1" fmla="*/ 16432262 w 16682562"/>
                <a:gd name="connsiteY1" fmla="*/ 6442611 h 13652218"/>
                <a:gd name="connsiteX2" fmla="*/ 16106317 w 16682562"/>
                <a:gd name="connsiteY2" fmla="*/ 6983915 h 13652218"/>
                <a:gd name="connsiteX3" fmla="*/ 16305649 w 16682562"/>
                <a:gd name="connsiteY3" fmla="*/ 7371244 h 13652218"/>
                <a:gd name="connsiteX4" fmla="*/ 16287189 w 16682562"/>
                <a:gd name="connsiteY4" fmla="*/ 7767851 h 13652218"/>
                <a:gd name="connsiteX5" fmla="*/ 16372801 w 16682562"/>
                <a:gd name="connsiteY5" fmla="*/ 8334116 h 13652218"/>
                <a:gd name="connsiteX6" fmla="*/ 16070155 w 16682562"/>
                <a:gd name="connsiteY6" fmla="*/ 8554502 h 13652218"/>
                <a:gd name="connsiteX7" fmla="*/ 15805690 w 16682562"/>
                <a:gd name="connsiteY7" fmla="*/ 9048693 h 13652218"/>
                <a:gd name="connsiteX8" fmla="*/ 15195097 w 16682562"/>
                <a:gd name="connsiteY8" fmla="*/ 8710436 h 13652218"/>
                <a:gd name="connsiteX9" fmla="*/ 15011380 w 16682562"/>
                <a:gd name="connsiteY9" fmla="*/ 9665286 h 13652218"/>
                <a:gd name="connsiteX10" fmla="*/ 14908430 w 16682562"/>
                <a:gd name="connsiteY10" fmla="*/ 10554181 h 13652218"/>
                <a:gd name="connsiteX11" fmla="*/ 14904684 w 16682562"/>
                <a:gd name="connsiteY11" fmla="*/ 11377620 h 13652218"/>
                <a:gd name="connsiteX12" fmla="*/ 14929927 w 16682562"/>
                <a:gd name="connsiteY12" fmla="*/ 13008540 h 13652218"/>
                <a:gd name="connsiteX13" fmla="*/ 12952786 w 16682562"/>
                <a:gd name="connsiteY13" fmla="*/ 13459293 h 13652218"/>
                <a:gd name="connsiteX14" fmla="*/ 11934663 w 16682562"/>
                <a:gd name="connsiteY14" fmla="*/ 13507543 h 13652218"/>
                <a:gd name="connsiteX15" fmla="*/ 8506848 w 16682562"/>
                <a:gd name="connsiteY15" fmla="*/ 13652218 h 13652218"/>
                <a:gd name="connsiteX16" fmla="*/ 7985095 w 16682562"/>
                <a:gd name="connsiteY16" fmla="*/ 13007136 h 13652218"/>
                <a:gd name="connsiteX17" fmla="*/ 7400308 w 16682562"/>
                <a:gd name="connsiteY17" fmla="*/ 12976991 h 13652218"/>
                <a:gd name="connsiteX18" fmla="*/ 6972273 w 16682562"/>
                <a:gd name="connsiteY18" fmla="*/ 13248288 h 13652218"/>
                <a:gd name="connsiteX19" fmla="*/ 5181729 w 16682562"/>
                <a:gd name="connsiteY19" fmla="*/ 13163889 h 13652218"/>
                <a:gd name="connsiteX20" fmla="*/ 4397998 w 16682562"/>
                <a:gd name="connsiteY20" fmla="*/ 12530872 h 13652218"/>
                <a:gd name="connsiteX21" fmla="*/ 2908896 w 16682562"/>
                <a:gd name="connsiteY21" fmla="*/ 11723018 h 13652218"/>
                <a:gd name="connsiteX22" fmla="*/ 1263043 w 16682562"/>
                <a:gd name="connsiteY22" fmla="*/ 11011625 h 13652218"/>
                <a:gd name="connsiteX23" fmla="*/ 485320 w 16682562"/>
                <a:gd name="connsiteY23" fmla="*/ 10559468 h 13652218"/>
                <a:gd name="connsiteX24" fmla="*/ 0 w 16682562"/>
                <a:gd name="connsiteY24" fmla="*/ 10266356 h 13652218"/>
                <a:gd name="connsiteX25" fmla="*/ 1003686 w 16682562"/>
                <a:gd name="connsiteY25" fmla="*/ 9520391 h 13652218"/>
                <a:gd name="connsiteX26" fmla="*/ 2902551 w 16682562"/>
                <a:gd name="connsiteY26" fmla="*/ 8335992 h 13652218"/>
                <a:gd name="connsiteX27" fmla="*/ 2558940 w 16682562"/>
                <a:gd name="connsiteY27" fmla="*/ 7802561 h 13652218"/>
                <a:gd name="connsiteX28" fmla="*/ 2402508 w 16682562"/>
                <a:gd name="connsiteY28" fmla="*/ 7115478 h 13652218"/>
                <a:gd name="connsiteX29" fmla="*/ 2730740 w 16682562"/>
                <a:gd name="connsiteY29" fmla="*/ 7088307 h 13652218"/>
                <a:gd name="connsiteX30" fmla="*/ 2947754 w 16682562"/>
                <a:gd name="connsiteY30" fmla="*/ 6618162 h 13652218"/>
                <a:gd name="connsiteX31" fmla="*/ 3499325 w 16682562"/>
                <a:gd name="connsiteY31" fmla="*/ 6175145 h 13652218"/>
                <a:gd name="connsiteX32" fmla="*/ 3680166 w 16682562"/>
                <a:gd name="connsiteY32" fmla="*/ 5298147 h 13652218"/>
                <a:gd name="connsiteX33" fmla="*/ 4186528 w 16682562"/>
                <a:gd name="connsiteY33" fmla="*/ 5307183 h 13652218"/>
                <a:gd name="connsiteX34" fmla="*/ 4837569 w 16682562"/>
                <a:gd name="connsiteY34" fmla="*/ 5777333 h 13652218"/>
                <a:gd name="connsiteX35" fmla="*/ 5352976 w 16682562"/>
                <a:gd name="connsiteY35" fmla="*/ 5695966 h 13652218"/>
                <a:gd name="connsiteX36" fmla="*/ 5741786 w 16682562"/>
                <a:gd name="connsiteY36" fmla="*/ 5325271 h 13652218"/>
                <a:gd name="connsiteX37" fmla="*/ 6157723 w 16682562"/>
                <a:gd name="connsiteY37" fmla="*/ 5162530 h 13652218"/>
                <a:gd name="connsiteX38" fmla="*/ 6745471 w 16682562"/>
                <a:gd name="connsiteY38" fmla="*/ 4592937 h 13652218"/>
                <a:gd name="connsiteX39" fmla="*/ 6890140 w 16682562"/>
                <a:gd name="connsiteY39" fmla="*/ 3743061 h 13652218"/>
                <a:gd name="connsiteX40" fmla="*/ 7568305 w 16682562"/>
                <a:gd name="connsiteY40" fmla="*/ 3173467 h 13652218"/>
                <a:gd name="connsiteX41" fmla="*/ 8137967 w 16682562"/>
                <a:gd name="connsiteY41" fmla="*/ 2730446 h 13652218"/>
                <a:gd name="connsiteX42" fmla="*/ 8463480 w 16682562"/>
                <a:gd name="connsiteY42" fmla="*/ 1925779 h 13652218"/>
                <a:gd name="connsiteX43" fmla="*/ 9024093 w 16682562"/>
                <a:gd name="connsiteY43" fmla="*/ 1573172 h 13652218"/>
                <a:gd name="connsiteX44" fmla="*/ 9675138 w 16682562"/>
                <a:gd name="connsiteY44" fmla="*/ 1220570 h 13652218"/>
                <a:gd name="connsiteX45" fmla="*/ 9558580 w 16682562"/>
                <a:gd name="connsiteY45" fmla="*/ 672286 h 13652218"/>
                <a:gd name="connsiteX46" fmla="*/ 10353296 w 16682562"/>
                <a:gd name="connsiteY46" fmla="*/ 2 h 13652218"/>
                <a:gd name="connsiteX47" fmla="*/ 8856118 w 16682562"/>
                <a:gd name="connsiteY47" fmla="*/ 3112310 h 13652218"/>
                <a:gd name="connsiteX48" fmla="*/ 9078849 w 16682562"/>
                <a:gd name="connsiteY48" fmla="*/ 3725874 h 13652218"/>
                <a:gd name="connsiteX49" fmla="*/ 9086459 w 16682562"/>
                <a:gd name="connsiteY49" fmla="*/ 4273852 h 13652218"/>
                <a:gd name="connsiteX50" fmla="*/ 9761321 w 16682562"/>
                <a:gd name="connsiteY50" fmla="*/ 4176706 h 13652218"/>
                <a:gd name="connsiteX51" fmla="*/ 10152517 w 16682562"/>
                <a:gd name="connsiteY51" fmla="*/ 4974976 h 13652218"/>
                <a:gd name="connsiteX52" fmla="*/ 11109603 w 16682562"/>
                <a:gd name="connsiteY52" fmla="*/ 5346450 h 13652218"/>
                <a:gd name="connsiteX53" fmla="*/ 11919572 w 16682562"/>
                <a:gd name="connsiteY53" fmla="*/ 5619972 h 13652218"/>
                <a:gd name="connsiteX54" fmla="*/ 12868275 w 16682562"/>
                <a:gd name="connsiteY54" fmla="*/ 5374761 h 13652218"/>
                <a:gd name="connsiteX55" fmla="*/ 13844296 w 16682562"/>
                <a:gd name="connsiteY55" fmla="*/ 4772926 h 13652218"/>
                <a:gd name="connsiteX56" fmla="*/ 13886291 w 16682562"/>
                <a:gd name="connsiteY56" fmla="*/ 3938558 h 13652218"/>
                <a:gd name="connsiteX57" fmla="*/ 14370431 w 16682562"/>
                <a:gd name="connsiteY57" fmla="*/ 4446910 h 13652218"/>
                <a:gd name="connsiteX58" fmla="*/ 15323320 w 16682562"/>
                <a:gd name="connsiteY58" fmla="*/ 4545183 h 13652218"/>
                <a:gd name="connsiteX59" fmla="*/ 16350939 w 16682562"/>
                <a:gd name="connsiteY59" fmla="*/ 4670042 h 13652218"/>
                <a:gd name="connsiteX60" fmla="*/ 16362364 w 16682562"/>
                <a:gd name="connsiteY60" fmla="*/ 4977322 h 13652218"/>
                <a:gd name="connsiteX61" fmla="*/ 16682563 w 16682562"/>
                <a:gd name="connsiteY61" fmla="*/ 5415225 h 13652218"/>
                <a:gd name="connsiteX0" fmla="*/ 16682563 w 16682562"/>
                <a:gd name="connsiteY0" fmla="*/ 4742941 h 12979934"/>
                <a:gd name="connsiteX1" fmla="*/ 16432262 w 16682562"/>
                <a:gd name="connsiteY1" fmla="*/ 5770327 h 12979934"/>
                <a:gd name="connsiteX2" fmla="*/ 16106317 w 16682562"/>
                <a:gd name="connsiteY2" fmla="*/ 6311631 h 12979934"/>
                <a:gd name="connsiteX3" fmla="*/ 16305649 w 16682562"/>
                <a:gd name="connsiteY3" fmla="*/ 6698960 h 12979934"/>
                <a:gd name="connsiteX4" fmla="*/ 16287189 w 16682562"/>
                <a:gd name="connsiteY4" fmla="*/ 7095567 h 12979934"/>
                <a:gd name="connsiteX5" fmla="*/ 16372801 w 16682562"/>
                <a:gd name="connsiteY5" fmla="*/ 7661832 h 12979934"/>
                <a:gd name="connsiteX6" fmla="*/ 16070155 w 16682562"/>
                <a:gd name="connsiteY6" fmla="*/ 7882218 h 12979934"/>
                <a:gd name="connsiteX7" fmla="*/ 15805690 w 16682562"/>
                <a:gd name="connsiteY7" fmla="*/ 8376409 h 12979934"/>
                <a:gd name="connsiteX8" fmla="*/ 15195097 w 16682562"/>
                <a:gd name="connsiteY8" fmla="*/ 8038152 h 12979934"/>
                <a:gd name="connsiteX9" fmla="*/ 15011380 w 16682562"/>
                <a:gd name="connsiteY9" fmla="*/ 8993002 h 12979934"/>
                <a:gd name="connsiteX10" fmla="*/ 14908430 w 16682562"/>
                <a:gd name="connsiteY10" fmla="*/ 9881897 h 12979934"/>
                <a:gd name="connsiteX11" fmla="*/ 14904684 w 16682562"/>
                <a:gd name="connsiteY11" fmla="*/ 10705336 h 12979934"/>
                <a:gd name="connsiteX12" fmla="*/ 14929927 w 16682562"/>
                <a:gd name="connsiteY12" fmla="*/ 12336256 h 12979934"/>
                <a:gd name="connsiteX13" fmla="*/ 12952786 w 16682562"/>
                <a:gd name="connsiteY13" fmla="*/ 12787009 h 12979934"/>
                <a:gd name="connsiteX14" fmla="*/ 11934663 w 16682562"/>
                <a:gd name="connsiteY14" fmla="*/ 12835259 h 12979934"/>
                <a:gd name="connsiteX15" fmla="*/ 8506848 w 16682562"/>
                <a:gd name="connsiteY15" fmla="*/ 12979934 h 12979934"/>
                <a:gd name="connsiteX16" fmla="*/ 7985095 w 16682562"/>
                <a:gd name="connsiteY16" fmla="*/ 12334852 h 12979934"/>
                <a:gd name="connsiteX17" fmla="*/ 7400308 w 16682562"/>
                <a:gd name="connsiteY17" fmla="*/ 12304707 h 12979934"/>
                <a:gd name="connsiteX18" fmla="*/ 6972273 w 16682562"/>
                <a:gd name="connsiteY18" fmla="*/ 12576004 h 12979934"/>
                <a:gd name="connsiteX19" fmla="*/ 5181729 w 16682562"/>
                <a:gd name="connsiteY19" fmla="*/ 12491605 h 12979934"/>
                <a:gd name="connsiteX20" fmla="*/ 4397998 w 16682562"/>
                <a:gd name="connsiteY20" fmla="*/ 11858588 h 12979934"/>
                <a:gd name="connsiteX21" fmla="*/ 2908896 w 16682562"/>
                <a:gd name="connsiteY21" fmla="*/ 11050734 h 12979934"/>
                <a:gd name="connsiteX22" fmla="*/ 1263043 w 16682562"/>
                <a:gd name="connsiteY22" fmla="*/ 10339341 h 12979934"/>
                <a:gd name="connsiteX23" fmla="*/ 485320 w 16682562"/>
                <a:gd name="connsiteY23" fmla="*/ 9887184 h 12979934"/>
                <a:gd name="connsiteX24" fmla="*/ 0 w 16682562"/>
                <a:gd name="connsiteY24" fmla="*/ 9594072 h 12979934"/>
                <a:gd name="connsiteX25" fmla="*/ 1003686 w 16682562"/>
                <a:gd name="connsiteY25" fmla="*/ 8848107 h 12979934"/>
                <a:gd name="connsiteX26" fmla="*/ 2902551 w 16682562"/>
                <a:gd name="connsiteY26" fmla="*/ 7663708 h 12979934"/>
                <a:gd name="connsiteX27" fmla="*/ 2558940 w 16682562"/>
                <a:gd name="connsiteY27" fmla="*/ 7130277 h 12979934"/>
                <a:gd name="connsiteX28" fmla="*/ 2402508 w 16682562"/>
                <a:gd name="connsiteY28" fmla="*/ 6443194 h 12979934"/>
                <a:gd name="connsiteX29" fmla="*/ 2730740 w 16682562"/>
                <a:gd name="connsiteY29" fmla="*/ 6416023 h 12979934"/>
                <a:gd name="connsiteX30" fmla="*/ 2947754 w 16682562"/>
                <a:gd name="connsiteY30" fmla="*/ 5945878 h 12979934"/>
                <a:gd name="connsiteX31" fmla="*/ 3499325 w 16682562"/>
                <a:gd name="connsiteY31" fmla="*/ 5502861 h 12979934"/>
                <a:gd name="connsiteX32" fmla="*/ 3680166 w 16682562"/>
                <a:gd name="connsiteY32" fmla="*/ 4625863 h 12979934"/>
                <a:gd name="connsiteX33" fmla="*/ 4186528 w 16682562"/>
                <a:gd name="connsiteY33" fmla="*/ 4634899 h 12979934"/>
                <a:gd name="connsiteX34" fmla="*/ 4837569 w 16682562"/>
                <a:gd name="connsiteY34" fmla="*/ 5105049 h 12979934"/>
                <a:gd name="connsiteX35" fmla="*/ 5352976 w 16682562"/>
                <a:gd name="connsiteY35" fmla="*/ 5023682 h 12979934"/>
                <a:gd name="connsiteX36" fmla="*/ 5741786 w 16682562"/>
                <a:gd name="connsiteY36" fmla="*/ 4652987 h 12979934"/>
                <a:gd name="connsiteX37" fmla="*/ 6157723 w 16682562"/>
                <a:gd name="connsiteY37" fmla="*/ 4490246 h 12979934"/>
                <a:gd name="connsiteX38" fmla="*/ 6745471 w 16682562"/>
                <a:gd name="connsiteY38" fmla="*/ 3920653 h 12979934"/>
                <a:gd name="connsiteX39" fmla="*/ 6890140 w 16682562"/>
                <a:gd name="connsiteY39" fmla="*/ 3070777 h 12979934"/>
                <a:gd name="connsiteX40" fmla="*/ 7568305 w 16682562"/>
                <a:gd name="connsiteY40" fmla="*/ 2501183 h 12979934"/>
                <a:gd name="connsiteX41" fmla="*/ 8137967 w 16682562"/>
                <a:gd name="connsiteY41" fmla="*/ 2058162 h 12979934"/>
                <a:gd name="connsiteX42" fmla="*/ 8463480 w 16682562"/>
                <a:gd name="connsiteY42" fmla="*/ 1253495 h 12979934"/>
                <a:gd name="connsiteX43" fmla="*/ 9024093 w 16682562"/>
                <a:gd name="connsiteY43" fmla="*/ 900888 h 12979934"/>
                <a:gd name="connsiteX44" fmla="*/ 9675138 w 16682562"/>
                <a:gd name="connsiteY44" fmla="*/ 548286 h 12979934"/>
                <a:gd name="connsiteX45" fmla="*/ 9558580 w 16682562"/>
                <a:gd name="connsiteY45" fmla="*/ 2 h 12979934"/>
                <a:gd name="connsiteX46" fmla="*/ 8856118 w 16682562"/>
                <a:gd name="connsiteY46" fmla="*/ 2440026 h 12979934"/>
                <a:gd name="connsiteX47" fmla="*/ 9078849 w 16682562"/>
                <a:gd name="connsiteY47" fmla="*/ 3053590 h 12979934"/>
                <a:gd name="connsiteX48" fmla="*/ 9086459 w 16682562"/>
                <a:gd name="connsiteY48" fmla="*/ 3601568 h 12979934"/>
                <a:gd name="connsiteX49" fmla="*/ 9761321 w 16682562"/>
                <a:gd name="connsiteY49" fmla="*/ 3504422 h 12979934"/>
                <a:gd name="connsiteX50" fmla="*/ 10152517 w 16682562"/>
                <a:gd name="connsiteY50" fmla="*/ 4302692 h 12979934"/>
                <a:gd name="connsiteX51" fmla="*/ 11109603 w 16682562"/>
                <a:gd name="connsiteY51" fmla="*/ 4674166 h 12979934"/>
                <a:gd name="connsiteX52" fmla="*/ 11919572 w 16682562"/>
                <a:gd name="connsiteY52" fmla="*/ 4947688 h 12979934"/>
                <a:gd name="connsiteX53" fmla="*/ 12868275 w 16682562"/>
                <a:gd name="connsiteY53" fmla="*/ 4702477 h 12979934"/>
                <a:gd name="connsiteX54" fmla="*/ 13844296 w 16682562"/>
                <a:gd name="connsiteY54" fmla="*/ 4100642 h 12979934"/>
                <a:gd name="connsiteX55" fmla="*/ 13886291 w 16682562"/>
                <a:gd name="connsiteY55" fmla="*/ 3266274 h 12979934"/>
                <a:gd name="connsiteX56" fmla="*/ 14370431 w 16682562"/>
                <a:gd name="connsiteY56" fmla="*/ 3774626 h 12979934"/>
                <a:gd name="connsiteX57" fmla="*/ 15323320 w 16682562"/>
                <a:gd name="connsiteY57" fmla="*/ 3872899 h 12979934"/>
                <a:gd name="connsiteX58" fmla="*/ 16350939 w 16682562"/>
                <a:gd name="connsiteY58" fmla="*/ 3997758 h 12979934"/>
                <a:gd name="connsiteX59" fmla="*/ 16362364 w 16682562"/>
                <a:gd name="connsiteY59" fmla="*/ 4305038 h 12979934"/>
                <a:gd name="connsiteX60" fmla="*/ 16682563 w 16682562"/>
                <a:gd name="connsiteY60" fmla="*/ 4742941 h 12979934"/>
                <a:gd name="connsiteX0" fmla="*/ 16682563 w 16682562"/>
                <a:gd name="connsiteY0" fmla="*/ 4194654 h 12431647"/>
                <a:gd name="connsiteX1" fmla="*/ 16432262 w 16682562"/>
                <a:gd name="connsiteY1" fmla="*/ 5222040 h 12431647"/>
                <a:gd name="connsiteX2" fmla="*/ 16106317 w 16682562"/>
                <a:gd name="connsiteY2" fmla="*/ 5763344 h 12431647"/>
                <a:gd name="connsiteX3" fmla="*/ 16305649 w 16682562"/>
                <a:gd name="connsiteY3" fmla="*/ 6150673 h 12431647"/>
                <a:gd name="connsiteX4" fmla="*/ 16287189 w 16682562"/>
                <a:gd name="connsiteY4" fmla="*/ 6547280 h 12431647"/>
                <a:gd name="connsiteX5" fmla="*/ 16372801 w 16682562"/>
                <a:gd name="connsiteY5" fmla="*/ 7113545 h 12431647"/>
                <a:gd name="connsiteX6" fmla="*/ 16070155 w 16682562"/>
                <a:gd name="connsiteY6" fmla="*/ 7333931 h 12431647"/>
                <a:gd name="connsiteX7" fmla="*/ 15805690 w 16682562"/>
                <a:gd name="connsiteY7" fmla="*/ 7828122 h 12431647"/>
                <a:gd name="connsiteX8" fmla="*/ 15195097 w 16682562"/>
                <a:gd name="connsiteY8" fmla="*/ 7489865 h 12431647"/>
                <a:gd name="connsiteX9" fmla="*/ 15011380 w 16682562"/>
                <a:gd name="connsiteY9" fmla="*/ 8444715 h 12431647"/>
                <a:gd name="connsiteX10" fmla="*/ 14908430 w 16682562"/>
                <a:gd name="connsiteY10" fmla="*/ 9333610 h 12431647"/>
                <a:gd name="connsiteX11" fmla="*/ 14904684 w 16682562"/>
                <a:gd name="connsiteY11" fmla="*/ 10157049 h 12431647"/>
                <a:gd name="connsiteX12" fmla="*/ 14929927 w 16682562"/>
                <a:gd name="connsiteY12" fmla="*/ 11787969 h 12431647"/>
                <a:gd name="connsiteX13" fmla="*/ 12952786 w 16682562"/>
                <a:gd name="connsiteY13" fmla="*/ 12238722 h 12431647"/>
                <a:gd name="connsiteX14" fmla="*/ 11934663 w 16682562"/>
                <a:gd name="connsiteY14" fmla="*/ 12286972 h 12431647"/>
                <a:gd name="connsiteX15" fmla="*/ 8506848 w 16682562"/>
                <a:gd name="connsiteY15" fmla="*/ 12431647 h 12431647"/>
                <a:gd name="connsiteX16" fmla="*/ 7985095 w 16682562"/>
                <a:gd name="connsiteY16" fmla="*/ 11786565 h 12431647"/>
                <a:gd name="connsiteX17" fmla="*/ 7400308 w 16682562"/>
                <a:gd name="connsiteY17" fmla="*/ 11756420 h 12431647"/>
                <a:gd name="connsiteX18" fmla="*/ 6972273 w 16682562"/>
                <a:gd name="connsiteY18" fmla="*/ 12027717 h 12431647"/>
                <a:gd name="connsiteX19" fmla="*/ 5181729 w 16682562"/>
                <a:gd name="connsiteY19" fmla="*/ 11943318 h 12431647"/>
                <a:gd name="connsiteX20" fmla="*/ 4397998 w 16682562"/>
                <a:gd name="connsiteY20" fmla="*/ 11310301 h 12431647"/>
                <a:gd name="connsiteX21" fmla="*/ 2908896 w 16682562"/>
                <a:gd name="connsiteY21" fmla="*/ 10502447 h 12431647"/>
                <a:gd name="connsiteX22" fmla="*/ 1263043 w 16682562"/>
                <a:gd name="connsiteY22" fmla="*/ 9791054 h 12431647"/>
                <a:gd name="connsiteX23" fmla="*/ 485320 w 16682562"/>
                <a:gd name="connsiteY23" fmla="*/ 9338897 h 12431647"/>
                <a:gd name="connsiteX24" fmla="*/ 0 w 16682562"/>
                <a:gd name="connsiteY24" fmla="*/ 9045785 h 12431647"/>
                <a:gd name="connsiteX25" fmla="*/ 1003686 w 16682562"/>
                <a:gd name="connsiteY25" fmla="*/ 8299820 h 12431647"/>
                <a:gd name="connsiteX26" fmla="*/ 2902551 w 16682562"/>
                <a:gd name="connsiteY26" fmla="*/ 7115421 h 12431647"/>
                <a:gd name="connsiteX27" fmla="*/ 2558940 w 16682562"/>
                <a:gd name="connsiteY27" fmla="*/ 6581990 h 12431647"/>
                <a:gd name="connsiteX28" fmla="*/ 2402508 w 16682562"/>
                <a:gd name="connsiteY28" fmla="*/ 5894907 h 12431647"/>
                <a:gd name="connsiteX29" fmla="*/ 2730740 w 16682562"/>
                <a:gd name="connsiteY29" fmla="*/ 5867736 h 12431647"/>
                <a:gd name="connsiteX30" fmla="*/ 2947754 w 16682562"/>
                <a:gd name="connsiteY30" fmla="*/ 5397591 h 12431647"/>
                <a:gd name="connsiteX31" fmla="*/ 3499325 w 16682562"/>
                <a:gd name="connsiteY31" fmla="*/ 4954574 h 12431647"/>
                <a:gd name="connsiteX32" fmla="*/ 3680166 w 16682562"/>
                <a:gd name="connsiteY32" fmla="*/ 4077576 h 12431647"/>
                <a:gd name="connsiteX33" fmla="*/ 4186528 w 16682562"/>
                <a:gd name="connsiteY33" fmla="*/ 4086612 h 12431647"/>
                <a:gd name="connsiteX34" fmla="*/ 4837569 w 16682562"/>
                <a:gd name="connsiteY34" fmla="*/ 4556762 h 12431647"/>
                <a:gd name="connsiteX35" fmla="*/ 5352976 w 16682562"/>
                <a:gd name="connsiteY35" fmla="*/ 4475395 h 12431647"/>
                <a:gd name="connsiteX36" fmla="*/ 5741786 w 16682562"/>
                <a:gd name="connsiteY36" fmla="*/ 4104700 h 12431647"/>
                <a:gd name="connsiteX37" fmla="*/ 6157723 w 16682562"/>
                <a:gd name="connsiteY37" fmla="*/ 3941959 h 12431647"/>
                <a:gd name="connsiteX38" fmla="*/ 6745471 w 16682562"/>
                <a:gd name="connsiteY38" fmla="*/ 3372366 h 12431647"/>
                <a:gd name="connsiteX39" fmla="*/ 6890140 w 16682562"/>
                <a:gd name="connsiteY39" fmla="*/ 2522490 h 12431647"/>
                <a:gd name="connsiteX40" fmla="*/ 7568305 w 16682562"/>
                <a:gd name="connsiteY40" fmla="*/ 1952896 h 12431647"/>
                <a:gd name="connsiteX41" fmla="*/ 8137967 w 16682562"/>
                <a:gd name="connsiteY41" fmla="*/ 1509875 h 12431647"/>
                <a:gd name="connsiteX42" fmla="*/ 8463480 w 16682562"/>
                <a:gd name="connsiteY42" fmla="*/ 705208 h 12431647"/>
                <a:gd name="connsiteX43" fmla="*/ 9024093 w 16682562"/>
                <a:gd name="connsiteY43" fmla="*/ 352601 h 12431647"/>
                <a:gd name="connsiteX44" fmla="*/ 9675138 w 16682562"/>
                <a:gd name="connsiteY44" fmla="*/ -1 h 12431647"/>
                <a:gd name="connsiteX45" fmla="*/ 8856118 w 16682562"/>
                <a:gd name="connsiteY45" fmla="*/ 1891739 h 12431647"/>
                <a:gd name="connsiteX46" fmla="*/ 9078849 w 16682562"/>
                <a:gd name="connsiteY46" fmla="*/ 2505303 h 12431647"/>
                <a:gd name="connsiteX47" fmla="*/ 9086459 w 16682562"/>
                <a:gd name="connsiteY47" fmla="*/ 3053281 h 12431647"/>
                <a:gd name="connsiteX48" fmla="*/ 9761321 w 16682562"/>
                <a:gd name="connsiteY48" fmla="*/ 2956135 h 12431647"/>
                <a:gd name="connsiteX49" fmla="*/ 10152517 w 16682562"/>
                <a:gd name="connsiteY49" fmla="*/ 3754405 h 12431647"/>
                <a:gd name="connsiteX50" fmla="*/ 11109603 w 16682562"/>
                <a:gd name="connsiteY50" fmla="*/ 4125879 h 12431647"/>
                <a:gd name="connsiteX51" fmla="*/ 11919572 w 16682562"/>
                <a:gd name="connsiteY51" fmla="*/ 4399401 h 12431647"/>
                <a:gd name="connsiteX52" fmla="*/ 12868275 w 16682562"/>
                <a:gd name="connsiteY52" fmla="*/ 4154190 h 12431647"/>
                <a:gd name="connsiteX53" fmla="*/ 13844296 w 16682562"/>
                <a:gd name="connsiteY53" fmla="*/ 3552355 h 12431647"/>
                <a:gd name="connsiteX54" fmla="*/ 13886291 w 16682562"/>
                <a:gd name="connsiteY54" fmla="*/ 2717987 h 12431647"/>
                <a:gd name="connsiteX55" fmla="*/ 14370431 w 16682562"/>
                <a:gd name="connsiteY55" fmla="*/ 3226339 h 12431647"/>
                <a:gd name="connsiteX56" fmla="*/ 15323320 w 16682562"/>
                <a:gd name="connsiteY56" fmla="*/ 3324612 h 12431647"/>
                <a:gd name="connsiteX57" fmla="*/ 16350939 w 16682562"/>
                <a:gd name="connsiteY57" fmla="*/ 3449471 h 12431647"/>
                <a:gd name="connsiteX58" fmla="*/ 16362364 w 16682562"/>
                <a:gd name="connsiteY58" fmla="*/ 3756751 h 12431647"/>
                <a:gd name="connsiteX59" fmla="*/ 16682563 w 16682562"/>
                <a:gd name="connsiteY59" fmla="*/ 4194654 h 12431647"/>
                <a:gd name="connsiteX0" fmla="*/ 16682563 w 16682562"/>
                <a:gd name="connsiteY0" fmla="*/ 3842051 h 12079044"/>
                <a:gd name="connsiteX1" fmla="*/ 16432262 w 16682562"/>
                <a:gd name="connsiteY1" fmla="*/ 4869437 h 12079044"/>
                <a:gd name="connsiteX2" fmla="*/ 16106317 w 16682562"/>
                <a:gd name="connsiteY2" fmla="*/ 5410741 h 12079044"/>
                <a:gd name="connsiteX3" fmla="*/ 16305649 w 16682562"/>
                <a:gd name="connsiteY3" fmla="*/ 5798070 h 12079044"/>
                <a:gd name="connsiteX4" fmla="*/ 16287189 w 16682562"/>
                <a:gd name="connsiteY4" fmla="*/ 6194677 h 12079044"/>
                <a:gd name="connsiteX5" fmla="*/ 16372801 w 16682562"/>
                <a:gd name="connsiteY5" fmla="*/ 6760942 h 12079044"/>
                <a:gd name="connsiteX6" fmla="*/ 16070155 w 16682562"/>
                <a:gd name="connsiteY6" fmla="*/ 6981328 h 12079044"/>
                <a:gd name="connsiteX7" fmla="*/ 15805690 w 16682562"/>
                <a:gd name="connsiteY7" fmla="*/ 7475519 h 12079044"/>
                <a:gd name="connsiteX8" fmla="*/ 15195097 w 16682562"/>
                <a:gd name="connsiteY8" fmla="*/ 7137262 h 12079044"/>
                <a:gd name="connsiteX9" fmla="*/ 15011380 w 16682562"/>
                <a:gd name="connsiteY9" fmla="*/ 8092112 h 12079044"/>
                <a:gd name="connsiteX10" fmla="*/ 14908430 w 16682562"/>
                <a:gd name="connsiteY10" fmla="*/ 8981007 h 12079044"/>
                <a:gd name="connsiteX11" fmla="*/ 14904684 w 16682562"/>
                <a:gd name="connsiteY11" fmla="*/ 9804446 h 12079044"/>
                <a:gd name="connsiteX12" fmla="*/ 14929927 w 16682562"/>
                <a:gd name="connsiteY12" fmla="*/ 11435366 h 12079044"/>
                <a:gd name="connsiteX13" fmla="*/ 12952786 w 16682562"/>
                <a:gd name="connsiteY13" fmla="*/ 11886119 h 12079044"/>
                <a:gd name="connsiteX14" fmla="*/ 11934663 w 16682562"/>
                <a:gd name="connsiteY14" fmla="*/ 11934369 h 12079044"/>
                <a:gd name="connsiteX15" fmla="*/ 8506848 w 16682562"/>
                <a:gd name="connsiteY15" fmla="*/ 12079044 h 12079044"/>
                <a:gd name="connsiteX16" fmla="*/ 7985095 w 16682562"/>
                <a:gd name="connsiteY16" fmla="*/ 11433962 h 12079044"/>
                <a:gd name="connsiteX17" fmla="*/ 7400308 w 16682562"/>
                <a:gd name="connsiteY17" fmla="*/ 11403817 h 12079044"/>
                <a:gd name="connsiteX18" fmla="*/ 6972273 w 16682562"/>
                <a:gd name="connsiteY18" fmla="*/ 11675114 h 12079044"/>
                <a:gd name="connsiteX19" fmla="*/ 5181729 w 16682562"/>
                <a:gd name="connsiteY19" fmla="*/ 11590715 h 12079044"/>
                <a:gd name="connsiteX20" fmla="*/ 4397998 w 16682562"/>
                <a:gd name="connsiteY20" fmla="*/ 10957698 h 12079044"/>
                <a:gd name="connsiteX21" fmla="*/ 2908896 w 16682562"/>
                <a:gd name="connsiteY21" fmla="*/ 10149844 h 12079044"/>
                <a:gd name="connsiteX22" fmla="*/ 1263043 w 16682562"/>
                <a:gd name="connsiteY22" fmla="*/ 9438451 h 12079044"/>
                <a:gd name="connsiteX23" fmla="*/ 485320 w 16682562"/>
                <a:gd name="connsiteY23" fmla="*/ 8986294 h 12079044"/>
                <a:gd name="connsiteX24" fmla="*/ 0 w 16682562"/>
                <a:gd name="connsiteY24" fmla="*/ 8693182 h 12079044"/>
                <a:gd name="connsiteX25" fmla="*/ 1003686 w 16682562"/>
                <a:gd name="connsiteY25" fmla="*/ 7947217 h 12079044"/>
                <a:gd name="connsiteX26" fmla="*/ 2902551 w 16682562"/>
                <a:gd name="connsiteY26" fmla="*/ 6762818 h 12079044"/>
                <a:gd name="connsiteX27" fmla="*/ 2558940 w 16682562"/>
                <a:gd name="connsiteY27" fmla="*/ 6229387 h 12079044"/>
                <a:gd name="connsiteX28" fmla="*/ 2402508 w 16682562"/>
                <a:gd name="connsiteY28" fmla="*/ 5542304 h 12079044"/>
                <a:gd name="connsiteX29" fmla="*/ 2730740 w 16682562"/>
                <a:gd name="connsiteY29" fmla="*/ 5515133 h 12079044"/>
                <a:gd name="connsiteX30" fmla="*/ 2947754 w 16682562"/>
                <a:gd name="connsiteY30" fmla="*/ 5044988 h 12079044"/>
                <a:gd name="connsiteX31" fmla="*/ 3499325 w 16682562"/>
                <a:gd name="connsiteY31" fmla="*/ 4601971 h 12079044"/>
                <a:gd name="connsiteX32" fmla="*/ 3680166 w 16682562"/>
                <a:gd name="connsiteY32" fmla="*/ 3724973 h 12079044"/>
                <a:gd name="connsiteX33" fmla="*/ 4186528 w 16682562"/>
                <a:gd name="connsiteY33" fmla="*/ 3734009 h 12079044"/>
                <a:gd name="connsiteX34" fmla="*/ 4837569 w 16682562"/>
                <a:gd name="connsiteY34" fmla="*/ 4204159 h 12079044"/>
                <a:gd name="connsiteX35" fmla="*/ 5352976 w 16682562"/>
                <a:gd name="connsiteY35" fmla="*/ 4122792 h 12079044"/>
                <a:gd name="connsiteX36" fmla="*/ 5741786 w 16682562"/>
                <a:gd name="connsiteY36" fmla="*/ 3752097 h 12079044"/>
                <a:gd name="connsiteX37" fmla="*/ 6157723 w 16682562"/>
                <a:gd name="connsiteY37" fmla="*/ 3589356 h 12079044"/>
                <a:gd name="connsiteX38" fmla="*/ 6745471 w 16682562"/>
                <a:gd name="connsiteY38" fmla="*/ 3019763 h 12079044"/>
                <a:gd name="connsiteX39" fmla="*/ 6890140 w 16682562"/>
                <a:gd name="connsiteY39" fmla="*/ 2169887 h 12079044"/>
                <a:gd name="connsiteX40" fmla="*/ 7568305 w 16682562"/>
                <a:gd name="connsiteY40" fmla="*/ 1600293 h 12079044"/>
                <a:gd name="connsiteX41" fmla="*/ 8137967 w 16682562"/>
                <a:gd name="connsiteY41" fmla="*/ 1157272 h 12079044"/>
                <a:gd name="connsiteX42" fmla="*/ 8463480 w 16682562"/>
                <a:gd name="connsiteY42" fmla="*/ 352605 h 12079044"/>
                <a:gd name="connsiteX43" fmla="*/ 9024093 w 16682562"/>
                <a:gd name="connsiteY43" fmla="*/ -2 h 12079044"/>
                <a:gd name="connsiteX44" fmla="*/ 8856118 w 16682562"/>
                <a:gd name="connsiteY44" fmla="*/ 1539136 h 12079044"/>
                <a:gd name="connsiteX45" fmla="*/ 9078849 w 16682562"/>
                <a:gd name="connsiteY45" fmla="*/ 2152700 h 12079044"/>
                <a:gd name="connsiteX46" fmla="*/ 9086459 w 16682562"/>
                <a:gd name="connsiteY46" fmla="*/ 2700678 h 12079044"/>
                <a:gd name="connsiteX47" fmla="*/ 9761321 w 16682562"/>
                <a:gd name="connsiteY47" fmla="*/ 2603532 h 12079044"/>
                <a:gd name="connsiteX48" fmla="*/ 10152517 w 16682562"/>
                <a:gd name="connsiteY48" fmla="*/ 3401802 h 12079044"/>
                <a:gd name="connsiteX49" fmla="*/ 11109603 w 16682562"/>
                <a:gd name="connsiteY49" fmla="*/ 3773276 h 12079044"/>
                <a:gd name="connsiteX50" fmla="*/ 11919572 w 16682562"/>
                <a:gd name="connsiteY50" fmla="*/ 4046798 h 12079044"/>
                <a:gd name="connsiteX51" fmla="*/ 12868275 w 16682562"/>
                <a:gd name="connsiteY51" fmla="*/ 3801587 h 12079044"/>
                <a:gd name="connsiteX52" fmla="*/ 13844296 w 16682562"/>
                <a:gd name="connsiteY52" fmla="*/ 3199752 h 12079044"/>
                <a:gd name="connsiteX53" fmla="*/ 13886291 w 16682562"/>
                <a:gd name="connsiteY53" fmla="*/ 2365384 h 12079044"/>
                <a:gd name="connsiteX54" fmla="*/ 14370431 w 16682562"/>
                <a:gd name="connsiteY54" fmla="*/ 2873736 h 12079044"/>
                <a:gd name="connsiteX55" fmla="*/ 15323320 w 16682562"/>
                <a:gd name="connsiteY55" fmla="*/ 2972009 h 12079044"/>
                <a:gd name="connsiteX56" fmla="*/ 16350939 w 16682562"/>
                <a:gd name="connsiteY56" fmla="*/ 3096868 h 12079044"/>
                <a:gd name="connsiteX57" fmla="*/ 16362364 w 16682562"/>
                <a:gd name="connsiteY57" fmla="*/ 3404148 h 12079044"/>
                <a:gd name="connsiteX58" fmla="*/ 16682563 w 16682562"/>
                <a:gd name="connsiteY58" fmla="*/ 3842051 h 12079044"/>
                <a:gd name="connsiteX0" fmla="*/ 16682563 w 16682562"/>
                <a:gd name="connsiteY0" fmla="*/ 3489448 h 11726441"/>
                <a:gd name="connsiteX1" fmla="*/ 16432262 w 16682562"/>
                <a:gd name="connsiteY1" fmla="*/ 4516834 h 11726441"/>
                <a:gd name="connsiteX2" fmla="*/ 16106317 w 16682562"/>
                <a:gd name="connsiteY2" fmla="*/ 5058138 h 11726441"/>
                <a:gd name="connsiteX3" fmla="*/ 16305649 w 16682562"/>
                <a:gd name="connsiteY3" fmla="*/ 5445467 h 11726441"/>
                <a:gd name="connsiteX4" fmla="*/ 16287189 w 16682562"/>
                <a:gd name="connsiteY4" fmla="*/ 5842074 h 11726441"/>
                <a:gd name="connsiteX5" fmla="*/ 16372801 w 16682562"/>
                <a:gd name="connsiteY5" fmla="*/ 6408339 h 11726441"/>
                <a:gd name="connsiteX6" fmla="*/ 16070155 w 16682562"/>
                <a:gd name="connsiteY6" fmla="*/ 6628725 h 11726441"/>
                <a:gd name="connsiteX7" fmla="*/ 15805690 w 16682562"/>
                <a:gd name="connsiteY7" fmla="*/ 7122916 h 11726441"/>
                <a:gd name="connsiteX8" fmla="*/ 15195097 w 16682562"/>
                <a:gd name="connsiteY8" fmla="*/ 6784659 h 11726441"/>
                <a:gd name="connsiteX9" fmla="*/ 15011380 w 16682562"/>
                <a:gd name="connsiteY9" fmla="*/ 7739509 h 11726441"/>
                <a:gd name="connsiteX10" fmla="*/ 14908430 w 16682562"/>
                <a:gd name="connsiteY10" fmla="*/ 8628404 h 11726441"/>
                <a:gd name="connsiteX11" fmla="*/ 14904684 w 16682562"/>
                <a:gd name="connsiteY11" fmla="*/ 9451843 h 11726441"/>
                <a:gd name="connsiteX12" fmla="*/ 14929927 w 16682562"/>
                <a:gd name="connsiteY12" fmla="*/ 11082763 h 11726441"/>
                <a:gd name="connsiteX13" fmla="*/ 12952786 w 16682562"/>
                <a:gd name="connsiteY13" fmla="*/ 11533516 h 11726441"/>
                <a:gd name="connsiteX14" fmla="*/ 11934663 w 16682562"/>
                <a:gd name="connsiteY14" fmla="*/ 11581766 h 11726441"/>
                <a:gd name="connsiteX15" fmla="*/ 8506848 w 16682562"/>
                <a:gd name="connsiteY15" fmla="*/ 11726441 h 11726441"/>
                <a:gd name="connsiteX16" fmla="*/ 7985095 w 16682562"/>
                <a:gd name="connsiteY16" fmla="*/ 11081359 h 11726441"/>
                <a:gd name="connsiteX17" fmla="*/ 7400308 w 16682562"/>
                <a:gd name="connsiteY17" fmla="*/ 11051214 h 11726441"/>
                <a:gd name="connsiteX18" fmla="*/ 6972273 w 16682562"/>
                <a:gd name="connsiteY18" fmla="*/ 11322511 h 11726441"/>
                <a:gd name="connsiteX19" fmla="*/ 5181729 w 16682562"/>
                <a:gd name="connsiteY19" fmla="*/ 11238112 h 11726441"/>
                <a:gd name="connsiteX20" fmla="*/ 4397998 w 16682562"/>
                <a:gd name="connsiteY20" fmla="*/ 10605095 h 11726441"/>
                <a:gd name="connsiteX21" fmla="*/ 2908896 w 16682562"/>
                <a:gd name="connsiteY21" fmla="*/ 9797241 h 11726441"/>
                <a:gd name="connsiteX22" fmla="*/ 1263043 w 16682562"/>
                <a:gd name="connsiteY22" fmla="*/ 9085848 h 11726441"/>
                <a:gd name="connsiteX23" fmla="*/ 485320 w 16682562"/>
                <a:gd name="connsiteY23" fmla="*/ 8633691 h 11726441"/>
                <a:gd name="connsiteX24" fmla="*/ 0 w 16682562"/>
                <a:gd name="connsiteY24" fmla="*/ 8340579 h 11726441"/>
                <a:gd name="connsiteX25" fmla="*/ 1003686 w 16682562"/>
                <a:gd name="connsiteY25" fmla="*/ 7594614 h 11726441"/>
                <a:gd name="connsiteX26" fmla="*/ 2902551 w 16682562"/>
                <a:gd name="connsiteY26" fmla="*/ 6410215 h 11726441"/>
                <a:gd name="connsiteX27" fmla="*/ 2558940 w 16682562"/>
                <a:gd name="connsiteY27" fmla="*/ 5876784 h 11726441"/>
                <a:gd name="connsiteX28" fmla="*/ 2402508 w 16682562"/>
                <a:gd name="connsiteY28" fmla="*/ 5189701 h 11726441"/>
                <a:gd name="connsiteX29" fmla="*/ 2730740 w 16682562"/>
                <a:gd name="connsiteY29" fmla="*/ 5162530 h 11726441"/>
                <a:gd name="connsiteX30" fmla="*/ 2947754 w 16682562"/>
                <a:gd name="connsiteY30" fmla="*/ 4692385 h 11726441"/>
                <a:gd name="connsiteX31" fmla="*/ 3499325 w 16682562"/>
                <a:gd name="connsiteY31" fmla="*/ 4249368 h 11726441"/>
                <a:gd name="connsiteX32" fmla="*/ 3680166 w 16682562"/>
                <a:gd name="connsiteY32" fmla="*/ 3372370 h 11726441"/>
                <a:gd name="connsiteX33" fmla="*/ 4186528 w 16682562"/>
                <a:gd name="connsiteY33" fmla="*/ 3381406 h 11726441"/>
                <a:gd name="connsiteX34" fmla="*/ 4837569 w 16682562"/>
                <a:gd name="connsiteY34" fmla="*/ 3851556 h 11726441"/>
                <a:gd name="connsiteX35" fmla="*/ 5352976 w 16682562"/>
                <a:gd name="connsiteY35" fmla="*/ 3770189 h 11726441"/>
                <a:gd name="connsiteX36" fmla="*/ 5741786 w 16682562"/>
                <a:gd name="connsiteY36" fmla="*/ 3399494 h 11726441"/>
                <a:gd name="connsiteX37" fmla="*/ 6157723 w 16682562"/>
                <a:gd name="connsiteY37" fmla="*/ 3236753 h 11726441"/>
                <a:gd name="connsiteX38" fmla="*/ 6745471 w 16682562"/>
                <a:gd name="connsiteY38" fmla="*/ 2667160 h 11726441"/>
                <a:gd name="connsiteX39" fmla="*/ 6890140 w 16682562"/>
                <a:gd name="connsiteY39" fmla="*/ 1817284 h 11726441"/>
                <a:gd name="connsiteX40" fmla="*/ 7568305 w 16682562"/>
                <a:gd name="connsiteY40" fmla="*/ 1247690 h 11726441"/>
                <a:gd name="connsiteX41" fmla="*/ 8137967 w 16682562"/>
                <a:gd name="connsiteY41" fmla="*/ 804669 h 11726441"/>
                <a:gd name="connsiteX42" fmla="*/ 8463480 w 16682562"/>
                <a:gd name="connsiteY42" fmla="*/ 2 h 11726441"/>
                <a:gd name="connsiteX43" fmla="*/ 8856118 w 16682562"/>
                <a:gd name="connsiteY43" fmla="*/ 1186533 h 11726441"/>
                <a:gd name="connsiteX44" fmla="*/ 9078849 w 16682562"/>
                <a:gd name="connsiteY44" fmla="*/ 1800097 h 11726441"/>
                <a:gd name="connsiteX45" fmla="*/ 9086459 w 16682562"/>
                <a:gd name="connsiteY45" fmla="*/ 2348075 h 11726441"/>
                <a:gd name="connsiteX46" fmla="*/ 9761321 w 16682562"/>
                <a:gd name="connsiteY46" fmla="*/ 2250929 h 11726441"/>
                <a:gd name="connsiteX47" fmla="*/ 10152517 w 16682562"/>
                <a:gd name="connsiteY47" fmla="*/ 3049199 h 11726441"/>
                <a:gd name="connsiteX48" fmla="*/ 11109603 w 16682562"/>
                <a:gd name="connsiteY48" fmla="*/ 3420673 h 11726441"/>
                <a:gd name="connsiteX49" fmla="*/ 11919572 w 16682562"/>
                <a:gd name="connsiteY49" fmla="*/ 3694195 h 11726441"/>
                <a:gd name="connsiteX50" fmla="*/ 12868275 w 16682562"/>
                <a:gd name="connsiteY50" fmla="*/ 3448984 h 11726441"/>
                <a:gd name="connsiteX51" fmla="*/ 13844296 w 16682562"/>
                <a:gd name="connsiteY51" fmla="*/ 2847149 h 11726441"/>
                <a:gd name="connsiteX52" fmla="*/ 13886291 w 16682562"/>
                <a:gd name="connsiteY52" fmla="*/ 2012781 h 11726441"/>
                <a:gd name="connsiteX53" fmla="*/ 14370431 w 16682562"/>
                <a:gd name="connsiteY53" fmla="*/ 2521133 h 11726441"/>
                <a:gd name="connsiteX54" fmla="*/ 15323320 w 16682562"/>
                <a:gd name="connsiteY54" fmla="*/ 2619406 h 11726441"/>
                <a:gd name="connsiteX55" fmla="*/ 16350939 w 16682562"/>
                <a:gd name="connsiteY55" fmla="*/ 2744265 h 11726441"/>
                <a:gd name="connsiteX56" fmla="*/ 16362364 w 16682562"/>
                <a:gd name="connsiteY56" fmla="*/ 3051545 h 11726441"/>
                <a:gd name="connsiteX57" fmla="*/ 16682563 w 16682562"/>
                <a:gd name="connsiteY57" fmla="*/ 3489448 h 11726441"/>
                <a:gd name="connsiteX0" fmla="*/ 16682563 w 16682562"/>
                <a:gd name="connsiteY0" fmla="*/ 2684781 h 10921774"/>
                <a:gd name="connsiteX1" fmla="*/ 16432262 w 16682562"/>
                <a:gd name="connsiteY1" fmla="*/ 3712167 h 10921774"/>
                <a:gd name="connsiteX2" fmla="*/ 16106317 w 16682562"/>
                <a:gd name="connsiteY2" fmla="*/ 4253471 h 10921774"/>
                <a:gd name="connsiteX3" fmla="*/ 16305649 w 16682562"/>
                <a:gd name="connsiteY3" fmla="*/ 4640800 h 10921774"/>
                <a:gd name="connsiteX4" fmla="*/ 16287189 w 16682562"/>
                <a:gd name="connsiteY4" fmla="*/ 5037407 h 10921774"/>
                <a:gd name="connsiteX5" fmla="*/ 16372801 w 16682562"/>
                <a:gd name="connsiteY5" fmla="*/ 5603672 h 10921774"/>
                <a:gd name="connsiteX6" fmla="*/ 16070155 w 16682562"/>
                <a:gd name="connsiteY6" fmla="*/ 5824058 h 10921774"/>
                <a:gd name="connsiteX7" fmla="*/ 15805690 w 16682562"/>
                <a:gd name="connsiteY7" fmla="*/ 6318249 h 10921774"/>
                <a:gd name="connsiteX8" fmla="*/ 15195097 w 16682562"/>
                <a:gd name="connsiteY8" fmla="*/ 5979992 h 10921774"/>
                <a:gd name="connsiteX9" fmla="*/ 15011380 w 16682562"/>
                <a:gd name="connsiteY9" fmla="*/ 6934842 h 10921774"/>
                <a:gd name="connsiteX10" fmla="*/ 14908430 w 16682562"/>
                <a:gd name="connsiteY10" fmla="*/ 7823737 h 10921774"/>
                <a:gd name="connsiteX11" fmla="*/ 14904684 w 16682562"/>
                <a:gd name="connsiteY11" fmla="*/ 8647176 h 10921774"/>
                <a:gd name="connsiteX12" fmla="*/ 14929927 w 16682562"/>
                <a:gd name="connsiteY12" fmla="*/ 10278096 h 10921774"/>
                <a:gd name="connsiteX13" fmla="*/ 12952786 w 16682562"/>
                <a:gd name="connsiteY13" fmla="*/ 10728849 h 10921774"/>
                <a:gd name="connsiteX14" fmla="*/ 11934663 w 16682562"/>
                <a:gd name="connsiteY14" fmla="*/ 10777099 h 10921774"/>
                <a:gd name="connsiteX15" fmla="*/ 8506848 w 16682562"/>
                <a:gd name="connsiteY15" fmla="*/ 10921774 h 10921774"/>
                <a:gd name="connsiteX16" fmla="*/ 7985095 w 16682562"/>
                <a:gd name="connsiteY16" fmla="*/ 10276692 h 10921774"/>
                <a:gd name="connsiteX17" fmla="*/ 7400308 w 16682562"/>
                <a:gd name="connsiteY17" fmla="*/ 10246547 h 10921774"/>
                <a:gd name="connsiteX18" fmla="*/ 6972273 w 16682562"/>
                <a:gd name="connsiteY18" fmla="*/ 10517844 h 10921774"/>
                <a:gd name="connsiteX19" fmla="*/ 5181729 w 16682562"/>
                <a:gd name="connsiteY19" fmla="*/ 10433445 h 10921774"/>
                <a:gd name="connsiteX20" fmla="*/ 4397998 w 16682562"/>
                <a:gd name="connsiteY20" fmla="*/ 9800428 h 10921774"/>
                <a:gd name="connsiteX21" fmla="*/ 2908896 w 16682562"/>
                <a:gd name="connsiteY21" fmla="*/ 8992574 h 10921774"/>
                <a:gd name="connsiteX22" fmla="*/ 1263043 w 16682562"/>
                <a:gd name="connsiteY22" fmla="*/ 8281181 h 10921774"/>
                <a:gd name="connsiteX23" fmla="*/ 485320 w 16682562"/>
                <a:gd name="connsiteY23" fmla="*/ 7829024 h 10921774"/>
                <a:gd name="connsiteX24" fmla="*/ 0 w 16682562"/>
                <a:gd name="connsiteY24" fmla="*/ 7535912 h 10921774"/>
                <a:gd name="connsiteX25" fmla="*/ 1003686 w 16682562"/>
                <a:gd name="connsiteY25" fmla="*/ 6789947 h 10921774"/>
                <a:gd name="connsiteX26" fmla="*/ 2902551 w 16682562"/>
                <a:gd name="connsiteY26" fmla="*/ 5605548 h 10921774"/>
                <a:gd name="connsiteX27" fmla="*/ 2558940 w 16682562"/>
                <a:gd name="connsiteY27" fmla="*/ 5072117 h 10921774"/>
                <a:gd name="connsiteX28" fmla="*/ 2402508 w 16682562"/>
                <a:gd name="connsiteY28" fmla="*/ 4385034 h 10921774"/>
                <a:gd name="connsiteX29" fmla="*/ 2730740 w 16682562"/>
                <a:gd name="connsiteY29" fmla="*/ 4357863 h 10921774"/>
                <a:gd name="connsiteX30" fmla="*/ 2947754 w 16682562"/>
                <a:gd name="connsiteY30" fmla="*/ 3887718 h 10921774"/>
                <a:gd name="connsiteX31" fmla="*/ 3499325 w 16682562"/>
                <a:gd name="connsiteY31" fmla="*/ 3444701 h 10921774"/>
                <a:gd name="connsiteX32" fmla="*/ 3680166 w 16682562"/>
                <a:gd name="connsiteY32" fmla="*/ 2567703 h 10921774"/>
                <a:gd name="connsiteX33" fmla="*/ 4186528 w 16682562"/>
                <a:gd name="connsiteY33" fmla="*/ 2576739 h 10921774"/>
                <a:gd name="connsiteX34" fmla="*/ 4837569 w 16682562"/>
                <a:gd name="connsiteY34" fmla="*/ 3046889 h 10921774"/>
                <a:gd name="connsiteX35" fmla="*/ 5352976 w 16682562"/>
                <a:gd name="connsiteY35" fmla="*/ 2965522 h 10921774"/>
                <a:gd name="connsiteX36" fmla="*/ 5741786 w 16682562"/>
                <a:gd name="connsiteY36" fmla="*/ 2594827 h 10921774"/>
                <a:gd name="connsiteX37" fmla="*/ 6157723 w 16682562"/>
                <a:gd name="connsiteY37" fmla="*/ 2432086 h 10921774"/>
                <a:gd name="connsiteX38" fmla="*/ 6745471 w 16682562"/>
                <a:gd name="connsiteY38" fmla="*/ 1862493 h 10921774"/>
                <a:gd name="connsiteX39" fmla="*/ 6890140 w 16682562"/>
                <a:gd name="connsiteY39" fmla="*/ 1012617 h 10921774"/>
                <a:gd name="connsiteX40" fmla="*/ 7568305 w 16682562"/>
                <a:gd name="connsiteY40" fmla="*/ 443023 h 10921774"/>
                <a:gd name="connsiteX41" fmla="*/ 8137967 w 16682562"/>
                <a:gd name="connsiteY41" fmla="*/ 2 h 10921774"/>
                <a:gd name="connsiteX42" fmla="*/ 8856118 w 16682562"/>
                <a:gd name="connsiteY42" fmla="*/ 381866 h 10921774"/>
                <a:gd name="connsiteX43" fmla="*/ 9078849 w 16682562"/>
                <a:gd name="connsiteY43" fmla="*/ 995430 h 10921774"/>
                <a:gd name="connsiteX44" fmla="*/ 9086459 w 16682562"/>
                <a:gd name="connsiteY44" fmla="*/ 1543408 h 10921774"/>
                <a:gd name="connsiteX45" fmla="*/ 9761321 w 16682562"/>
                <a:gd name="connsiteY45" fmla="*/ 1446262 h 10921774"/>
                <a:gd name="connsiteX46" fmla="*/ 10152517 w 16682562"/>
                <a:gd name="connsiteY46" fmla="*/ 2244532 h 10921774"/>
                <a:gd name="connsiteX47" fmla="*/ 11109603 w 16682562"/>
                <a:gd name="connsiteY47" fmla="*/ 2616006 h 10921774"/>
                <a:gd name="connsiteX48" fmla="*/ 11919572 w 16682562"/>
                <a:gd name="connsiteY48" fmla="*/ 2889528 h 10921774"/>
                <a:gd name="connsiteX49" fmla="*/ 12868275 w 16682562"/>
                <a:gd name="connsiteY49" fmla="*/ 2644317 h 10921774"/>
                <a:gd name="connsiteX50" fmla="*/ 13844296 w 16682562"/>
                <a:gd name="connsiteY50" fmla="*/ 2042482 h 10921774"/>
                <a:gd name="connsiteX51" fmla="*/ 13886291 w 16682562"/>
                <a:gd name="connsiteY51" fmla="*/ 1208114 h 10921774"/>
                <a:gd name="connsiteX52" fmla="*/ 14370431 w 16682562"/>
                <a:gd name="connsiteY52" fmla="*/ 1716466 h 10921774"/>
                <a:gd name="connsiteX53" fmla="*/ 15323320 w 16682562"/>
                <a:gd name="connsiteY53" fmla="*/ 1814739 h 10921774"/>
                <a:gd name="connsiteX54" fmla="*/ 16350939 w 16682562"/>
                <a:gd name="connsiteY54" fmla="*/ 1939598 h 10921774"/>
                <a:gd name="connsiteX55" fmla="*/ 16362364 w 16682562"/>
                <a:gd name="connsiteY55" fmla="*/ 2246878 h 10921774"/>
                <a:gd name="connsiteX56" fmla="*/ 16682563 w 16682562"/>
                <a:gd name="connsiteY56" fmla="*/ 2684781 h 10921774"/>
                <a:gd name="connsiteX0" fmla="*/ 16682563 w 16682562"/>
                <a:gd name="connsiteY0" fmla="*/ 2908861 h 11145854"/>
                <a:gd name="connsiteX1" fmla="*/ 16432262 w 16682562"/>
                <a:gd name="connsiteY1" fmla="*/ 3936247 h 11145854"/>
                <a:gd name="connsiteX2" fmla="*/ 16106317 w 16682562"/>
                <a:gd name="connsiteY2" fmla="*/ 4477551 h 11145854"/>
                <a:gd name="connsiteX3" fmla="*/ 16305649 w 16682562"/>
                <a:gd name="connsiteY3" fmla="*/ 4864880 h 11145854"/>
                <a:gd name="connsiteX4" fmla="*/ 16287189 w 16682562"/>
                <a:gd name="connsiteY4" fmla="*/ 5261487 h 11145854"/>
                <a:gd name="connsiteX5" fmla="*/ 16372801 w 16682562"/>
                <a:gd name="connsiteY5" fmla="*/ 5827752 h 11145854"/>
                <a:gd name="connsiteX6" fmla="*/ 16070155 w 16682562"/>
                <a:gd name="connsiteY6" fmla="*/ 6048138 h 11145854"/>
                <a:gd name="connsiteX7" fmla="*/ 15805690 w 16682562"/>
                <a:gd name="connsiteY7" fmla="*/ 6542329 h 11145854"/>
                <a:gd name="connsiteX8" fmla="*/ 15195097 w 16682562"/>
                <a:gd name="connsiteY8" fmla="*/ 6204072 h 11145854"/>
                <a:gd name="connsiteX9" fmla="*/ 15011380 w 16682562"/>
                <a:gd name="connsiteY9" fmla="*/ 7158922 h 11145854"/>
                <a:gd name="connsiteX10" fmla="*/ 14908430 w 16682562"/>
                <a:gd name="connsiteY10" fmla="*/ 8047817 h 11145854"/>
                <a:gd name="connsiteX11" fmla="*/ 14904684 w 16682562"/>
                <a:gd name="connsiteY11" fmla="*/ 8871256 h 11145854"/>
                <a:gd name="connsiteX12" fmla="*/ 14929927 w 16682562"/>
                <a:gd name="connsiteY12" fmla="*/ 10502176 h 11145854"/>
                <a:gd name="connsiteX13" fmla="*/ 12952786 w 16682562"/>
                <a:gd name="connsiteY13" fmla="*/ 10952929 h 11145854"/>
                <a:gd name="connsiteX14" fmla="*/ 11934663 w 16682562"/>
                <a:gd name="connsiteY14" fmla="*/ 11001179 h 11145854"/>
                <a:gd name="connsiteX15" fmla="*/ 8506848 w 16682562"/>
                <a:gd name="connsiteY15" fmla="*/ 11145854 h 11145854"/>
                <a:gd name="connsiteX16" fmla="*/ 7985095 w 16682562"/>
                <a:gd name="connsiteY16" fmla="*/ 10500772 h 11145854"/>
                <a:gd name="connsiteX17" fmla="*/ 7400308 w 16682562"/>
                <a:gd name="connsiteY17" fmla="*/ 10470627 h 11145854"/>
                <a:gd name="connsiteX18" fmla="*/ 6972273 w 16682562"/>
                <a:gd name="connsiteY18" fmla="*/ 10741924 h 11145854"/>
                <a:gd name="connsiteX19" fmla="*/ 5181729 w 16682562"/>
                <a:gd name="connsiteY19" fmla="*/ 10657525 h 11145854"/>
                <a:gd name="connsiteX20" fmla="*/ 4397998 w 16682562"/>
                <a:gd name="connsiteY20" fmla="*/ 10024508 h 11145854"/>
                <a:gd name="connsiteX21" fmla="*/ 2908896 w 16682562"/>
                <a:gd name="connsiteY21" fmla="*/ 9216654 h 11145854"/>
                <a:gd name="connsiteX22" fmla="*/ 1263043 w 16682562"/>
                <a:gd name="connsiteY22" fmla="*/ 8505261 h 11145854"/>
                <a:gd name="connsiteX23" fmla="*/ 485320 w 16682562"/>
                <a:gd name="connsiteY23" fmla="*/ 8053104 h 11145854"/>
                <a:gd name="connsiteX24" fmla="*/ 0 w 16682562"/>
                <a:gd name="connsiteY24" fmla="*/ 7759992 h 11145854"/>
                <a:gd name="connsiteX25" fmla="*/ 1003686 w 16682562"/>
                <a:gd name="connsiteY25" fmla="*/ 7014027 h 11145854"/>
                <a:gd name="connsiteX26" fmla="*/ 2902551 w 16682562"/>
                <a:gd name="connsiteY26" fmla="*/ 5829628 h 11145854"/>
                <a:gd name="connsiteX27" fmla="*/ 2558940 w 16682562"/>
                <a:gd name="connsiteY27" fmla="*/ 5296197 h 11145854"/>
                <a:gd name="connsiteX28" fmla="*/ 2402508 w 16682562"/>
                <a:gd name="connsiteY28" fmla="*/ 4609114 h 11145854"/>
                <a:gd name="connsiteX29" fmla="*/ 2730740 w 16682562"/>
                <a:gd name="connsiteY29" fmla="*/ 4581943 h 11145854"/>
                <a:gd name="connsiteX30" fmla="*/ 2947754 w 16682562"/>
                <a:gd name="connsiteY30" fmla="*/ 4111798 h 11145854"/>
                <a:gd name="connsiteX31" fmla="*/ 3499325 w 16682562"/>
                <a:gd name="connsiteY31" fmla="*/ 3668781 h 11145854"/>
                <a:gd name="connsiteX32" fmla="*/ 3680166 w 16682562"/>
                <a:gd name="connsiteY32" fmla="*/ 2791783 h 11145854"/>
                <a:gd name="connsiteX33" fmla="*/ 4186528 w 16682562"/>
                <a:gd name="connsiteY33" fmla="*/ 2800819 h 11145854"/>
                <a:gd name="connsiteX34" fmla="*/ 4837569 w 16682562"/>
                <a:gd name="connsiteY34" fmla="*/ 3270969 h 11145854"/>
                <a:gd name="connsiteX35" fmla="*/ 5352976 w 16682562"/>
                <a:gd name="connsiteY35" fmla="*/ 3189602 h 11145854"/>
                <a:gd name="connsiteX36" fmla="*/ 5741786 w 16682562"/>
                <a:gd name="connsiteY36" fmla="*/ 2818907 h 11145854"/>
                <a:gd name="connsiteX37" fmla="*/ 6157723 w 16682562"/>
                <a:gd name="connsiteY37" fmla="*/ 2656166 h 11145854"/>
                <a:gd name="connsiteX38" fmla="*/ 6745471 w 16682562"/>
                <a:gd name="connsiteY38" fmla="*/ 2086573 h 11145854"/>
                <a:gd name="connsiteX39" fmla="*/ 6890140 w 16682562"/>
                <a:gd name="connsiteY39" fmla="*/ 1236697 h 11145854"/>
                <a:gd name="connsiteX40" fmla="*/ 7568305 w 16682562"/>
                <a:gd name="connsiteY40" fmla="*/ 667103 h 11145854"/>
                <a:gd name="connsiteX41" fmla="*/ 8502979 w 16682562"/>
                <a:gd name="connsiteY41" fmla="*/ 0 h 11145854"/>
                <a:gd name="connsiteX42" fmla="*/ 8856118 w 16682562"/>
                <a:gd name="connsiteY42" fmla="*/ 605946 h 11145854"/>
                <a:gd name="connsiteX43" fmla="*/ 9078849 w 16682562"/>
                <a:gd name="connsiteY43" fmla="*/ 1219510 h 11145854"/>
                <a:gd name="connsiteX44" fmla="*/ 9086459 w 16682562"/>
                <a:gd name="connsiteY44" fmla="*/ 1767488 h 11145854"/>
                <a:gd name="connsiteX45" fmla="*/ 9761321 w 16682562"/>
                <a:gd name="connsiteY45" fmla="*/ 1670342 h 11145854"/>
                <a:gd name="connsiteX46" fmla="*/ 10152517 w 16682562"/>
                <a:gd name="connsiteY46" fmla="*/ 2468612 h 11145854"/>
                <a:gd name="connsiteX47" fmla="*/ 11109603 w 16682562"/>
                <a:gd name="connsiteY47" fmla="*/ 2840086 h 11145854"/>
                <a:gd name="connsiteX48" fmla="*/ 11919572 w 16682562"/>
                <a:gd name="connsiteY48" fmla="*/ 3113608 h 11145854"/>
                <a:gd name="connsiteX49" fmla="*/ 12868275 w 16682562"/>
                <a:gd name="connsiteY49" fmla="*/ 2868397 h 11145854"/>
                <a:gd name="connsiteX50" fmla="*/ 13844296 w 16682562"/>
                <a:gd name="connsiteY50" fmla="*/ 2266562 h 11145854"/>
                <a:gd name="connsiteX51" fmla="*/ 13886291 w 16682562"/>
                <a:gd name="connsiteY51" fmla="*/ 1432194 h 11145854"/>
                <a:gd name="connsiteX52" fmla="*/ 14370431 w 16682562"/>
                <a:gd name="connsiteY52" fmla="*/ 1940546 h 11145854"/>
                <a:gd name="connsiteX53" fmla="*/ 15323320 w 16682562"/>
                <a:gd name="connsiteY53" fmla="*/ 2038819 h 11145854"/>
                <a:gd name="connsiteX54" fmla="*/ 16350939 w 16682562"/>
                <a:gd name="connsiteY54" fmla="*/ 2163678 h 11145854"/>
                <a:gd name="connsiteX55" fmla="*/ 16362364 w 16682562"/>
                <a:gd name="connsiteY55" fmla="*/ 2470958 h 11145854"/>
                <a:gd name="connsiteX56" fmla="*/ 16682563 w 16682562"/>
                <a:gd name="connsiteY56" fmla="*/ 2908861 h 11145854"/>
                <a:gd name="connsiteX0" fmla="*/ 16682563 w 16682562"/>
                <a:gd name="connsiteY0" fmla="*/ 2908861 h 11145854"/>
                <a:gd name="connsiteX1" fmla="*/ 16432262 w 16682562"/>
                <a:gd name="connsiteY1" fmla="*/ 3936247 h 11145854"/>
                <a:gd name="connsiteX2" fmla="*/ 16106317 w 16682562"/>
                <a:gd name="connsiteY2" fmla="*/ 4477551 h 11145854"/>
                <a:gd name="connsiteX3" fmla="*/ 16305649 w 16682562"/>
                <a:gd name="connsiteY3" fmla="*/ 4864880 h 11145854"/>
                <a:gd name="connsiteX4" fmla="*/ 16287189 w 16682562"/>
                <a:gd name="connsiteY4" fmla="*/ 5261487 h 11145854"/>
                <a:gd name="connsiteX5" fmla="*/ 16372801 w 16682562"/>
                <a:gd name="connsiteY5" fmla="*/ 5827752 h 11145854"/>
                <a:gd name="connsiteX6" fmla="*/ 16070155 w 16682562"/>
                <a:gd name="connsiteY6" fmla="*/ 6048138 h 11145854"/>
                <a:gd name="connsiteX7" fmla="*/ 15805690 w 16682562"/>
                <a:gd name="connsiteY7" fmla="*/ 6542329 h 11145854"/>
                <a:gd name="connsiteX8" fmla="*/ 15195097 w 16682562"/>
                <a:gd name="connsiteY8" fmla="*/ 6204072 h 11145854"/>
                <a:gd name="connsiteX9" fmla="*/ 15011380 w 16682562"/>
                <a:gd name="connsiteY9" fmla="*/ 7158922 h 11145854"/>
                <a:gd name="connsiteX10" fmla="*/ 14908430 w 16682562"/>
                <a:gd name="connsiteY10" fmla="*/ 8047817 h 11145854"/>
                <a:gd name="connsiteX11" fmla="*/ 14904684 w 16682562"/>
                <a:gd name="connsiteY11" fmla="*/ 8871256 h 11145854"/>
                <a:gd name="connsiteX12" fmla="*/ 14962237 w 16682562"/>
                <a:gd name="connsiteY12" fmla="*/ 10899713 h 11145854"/>
                <a:gd name="connsiteX13" fmla="*/ 12952786 w 16682562"/>
                <a:gd name="connsiteY13" fmla="*/ 10952929 h 11145854"/>
                <a:gd name="connsiteX14" fmla="*/ 11934663 w 16682562"/>
                <a:gd name="connsiteY14" fmla="*/ 11001179 h 11145854"/>
                <a:gd name="connsiteX15" fmla="*/ 8506848 w 16682562"/>
                <a:gd name="connsiteY15" fmla="*/ 11145854 h 11145854"/>
                <a:gd name="connsiteX16" fmla="*/ 7985095 w 16682562"/>
                <a:gd name="connsiteY16" fmla="*/ 10500772 h 11145854"/>
                <a:gd name="connsiteX17" fmla="*/ 7400308 w 16682562"/>
                <a:gd name="connsiteY17" fmla="*/ 10470627 h 11145854"/>
                <a:gd name="connsiteX18" fmla="*/ 6972273 w 16682562"/>
                <a:gd name="connsiteY18" fmla="*/ 10741924 h 11145854"/>
                <a:gd name="connsiteX19" fmla="*/ 5181729 w 16682562"/>
                <a:gd name="connsiteY19" fmla="*/ 10657525 h 11145854"/>
                <a:gd name="connsiteX20" fmla="*/ 4397998 w 16682562"/>
                <a:gd name="connsiteY20" fmla="*/ 10024508 h 11145854"/>
                <a:gd name="connsiteX21" fmla="*/ 2908896 w 16682562"/>
                <a:gd name="connsiteY21" fmla="*/ 9216654 h 11145854"/>
                <a:gd name="connsiteX22" fmla="*/ 1263043 w 16682562"/>
                <a:gd name="connsiteY22" fmla="*/ 8505261 h 11145854"/>
                <a:gd name="connsiteX23" fmla="*/ 485320 w 16682562"/>
                <a:gd name="connsiteY23" fmla="*/ 8053104 h 11145854"/>
                <a:gd name="connsiteX24" fmla="*/ 0 w 16682562"/>
                <a:gd name="connsiteY24" fmla="*/ 7759992 h 11145854"/>
                <a:gd name="connsiteX25" fmla="*/ 1003686 w 16682562"/>
                <a:gd name="connsiteY25" fmla="*/ 7014027 h 11145854"/>
                <a:gd name="connsiteX26" fmla="*/ 2902551 w 16682562"/>
                <a:gd name="connsiteY26" fmla="*/ 5829628 h 11145854"/>
                <a:gd name="connsiteX27" fmla="*/ 2558940 w 16682562"/>
                <a:gd name="connsiteY27" fmla="*/ 5296197 h 11145854"/>
                <a:gd name="connsiteX28" fmla="*/ 2402508 w 16682562"/>
                <a:gd name="connsiteY28" fmla="*/ 4609114 h 11145854"/>
                <a:gd name="connsiteX29" fmla="*/ 2730740 w 16682562"/>
                <a:gd name="connsiteY29" fmla="*/ 4581943 h 11145854"/>
                <a:gd name="connsiteX30" fmla="*/ 2947754 w 16682562"/>
                <a:gd name="connsiteY30" fmla="*/ 4111798 h 11145854"/>
                <a:gd name="connsiteX31" fmla="*/ 3499325 w 16682562"/>
                <a:gd name="connsiteY31" fmla="*/ 3668781 h 11145854"/>
                <a:gd name="connsiteX32" fmla="*/ 3680166 w 16682562"/>
                <a:gd name="connsiteY32" fmla="*/ 2791783 h 11145854"/>
                <a:gd name="connsiteX33" fmla="*/ 4186528 w 16682562"/>
                <a:gd name="connsiteY33" fmla="*/ 2800819 h 11145854"/>
                <a:gd name="connsiteX34" fmla="*/ 4837569 w 16682562"/>
                <a:gd name="connsiteY34" fmla="*/ 3270969 h 11145854"/>
                <a:gd name="connsiteX35" fmla="*/ 5352976 w 16682562"/>
                <a:gd name="connsiteY35" fmla="*/ 3189602 h 11145854"/>
                <a:gd name="connsiteX36" fmla="*/ 5741786 w 16682562"/>
                <a:gd name="connsiteY36" fmla="*/ 2818907 h 11145854"/>
                <a:gd name="connsiteX37" fmla="*/ 6157723 w 16682562"/>
                <a:gd name="connsiteY37" fmla="*/ 2656166 h 11145854"/>
                <a:gd name="connsiteX38" fmla="*/ 6745471 w 16682562"/>
                <a:gd name="connsiteY38" fmla="*/ 2086573 h 11145854"/>
                <a:gd name="connsiteX39" fmla="*/ 6890140 w 16682562"/>
                <a:gd name="connsiteY39" fmla="*/ 1236697 h 11145854"/>
                <a:gd name="connsiteX40" fmla="*/ 7568305 w 16682562"/>
                <a:gd name="connsiteY40" fmla="*/ 667103 h 11145854"/>
                <a:gd name="connsiteX41" fmla="*/ 8502979 w 16682562"/>
                <a:gd name="connsiteY41" fmla="*/ 0 h 11145854"/>
                <a:gd name="connsiteX42" fmla="*/ 8856118 w 16682562"/>
                <a:gd name="connsiteY42" fmla="*/ 605946 h 11145854"/>
                <a:gd name="connsiteX43" fmla="*/ 9078849 w 16682562"/>
                <a:gd name="connsiteY43" fmla="*/ 1219510 h 11145854"/>
                <a:gd name="connsiteX44" fmla="*/ 9086459 w 16682562"/>
                <a:gd name="connsiteY44" fmla="*/ 1767488 h 11145854"/>
                <a:gd name="connsiteX45" fmla="*/ 9761321 w 16682562"/>
                <a:gd name="connsiteY45" fmla="*/ 1670342 h 11145854"/>
                <a:gd name="connsiteX46" fmla="*/ 10152517 w 16682562"/>
                <a:gd name="connsiteY46" fmla="*/ 2468612 h 11145854"/>
                <a:gd name="connsiteX47" fmla="*/ 11109603 w 16682562"/>
                <a:gd name="connsiteY47" fmla="*/ 2840086 h 11145854"/>
                <a:gd name="connsiteX48" fmla="*/ 11919572 w 16682562"/>
                <a:gd name="connsiteY48" fmla="*/ 3113608 h 11145854"/>
                <a:gd name="connsiteX49" fmla="*/ 12868275 w 16682562"/>
                <a:gd name="connsiteY49" fmla="*/ 2868397 h 11145854"/>
                <a:gd name="connsiteX50" fmla="*/ 13844296 w 16682562"/>
                <a:gd name="connsiteY50" fmla="*/ 2266562 h 11145854"/>
                <a:gd name="connsiteX51" fmla="*/ 13886291 w 16682562"/>
                <a:gd name="connsiteY51" fmla="*/ 1432194 h 11145854"/>
                <a:gd name="connsiteX52" fmla="*/ 14370431 w 16682562"/>
                <a:gd name="connsiteY52" fmla="*/ 1940546 h 11145854"/>
                <a:gd name="connsiteX53" fmla="*/ 15323320 w 16682562"/>
                <a:gd name="connsiteY53" fmla="*/ 2038819 h 11145854"/>
                <a:gd name="connsiteX54" fmla="*/ 16350939 w 16682562"/>
                <a:gd name="connsiteY54" fmla="*/ 2163678 h 11145854"/>
                <a:gd name="connsiteX55" fmla="*/ 16362364 w 16682562"/>
                <a:gd name="connsiteY55" fmla="*/ 2470958 h 11145854"/>
                <a:gd name="connsiteX56" fmla="*/ 16682563 w 16682562"/>
                <a:gd name="connsiteY56" fmla="*/ 2908861 h 11145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6682562" h="11145854">
                  <a:moveTo>
                    <a:pt x="16682563" y="2908861"/>
                  </a:moveTo>
                  <a:lnTo>
                    <a:pt x="16432262" y="3936247"/>
                  </a:lnTo>
                  <a:lnTo>
                    <a:pt x="16106317" y="4477551"/>
                  </a:lnTo>
                  <a:lnTo>
                    <a:pt x="16305649" y="4864880"/>
                  </a:lnTo>
                  <a:lnTo>
                    <a:pt x="16287189" y="5261487"/>
                  </a:lnTo>
                  <a:lnTo>
                    <a:pt x="16372801" y="5827752"/>
                  </a:lnTo>
                  <a:lnTo>
                    <a:pt x="16070155" y="6048138"/>
                  </a:lnTo>
                  <a:lnTo>
                    <a:pt x="15805690" y="6542329"/>
                  </a:lnTo>
                  <a:lnTo>
                    <a:pt x="15195097" y="6204072"/>
                  </a:lnTo>
                  <a:lnTo>
                    <a:pt x="15011380" y="7158922"/>
                  </a:lnTo>
                  <a:lnTo>
                    <a:pt x="14908430" y="8047817"/>
                  </a:lnTo>
                  <a:cubicBezTo>
                    <a:pt x="14907181" y="8322297"/>
                    <a:pt x="14905933" y="8596776"/>
                    <a:pt x="14904684" y="8871256"/>
                  </a:cubicBezTo>
                  <a:lnTo>
                    <a:pt x="14962237" y="10899713"/>
                  </a:lnTo>
                  <a:lnTo>
                    <a:pt x="12952786" y="10952929"/>
                  </a:lnTo>
                  <a:lnTo>
                    <a:pt x="11934663" y="11001179"/>
                  </a:lnTo>
                  <a:lnTo>
                    <a:pt x="8506848" y="11145854"/>
                  </a:lnTo>
                  <a:lnTo>
                    <a:pt x="7985095" y="10500772"/>
                  </a:lnTo>
                  <a:lnTo>
                    <a:pt x="7400308" y="10470627"/>
                  </a:lnTo>
                  <a:lnTo>
                    <a:pt x="6972273" y="10741924"/>
                  </a:lnTo>
                  <a:lnTo>
                    <a:pt x="5181729" y="10657525"/>
                  </a:lnTo>
                  <a:lnTo>
                    <a:pt x="4397998" y="10024508"/>
                  </a:lnTo>
                  <a:lnTo>
                    <a:pt x="2908896" y="9216654"/>
                  </a:lnTo>
                  <a:lnTo>
                    <a:pt x="1263043" y="8505261"/>
                  </a:lnTo>
                  <a:lnTo>
                    <a:pt x="485320" y="8053104"/>
                  </a:lnTo>
                  <a:lnTo>
                    <a:pt x="0" y="7759992"/>
                  </a:lnTo>
                  <a:lnTo>
                    <a:pt x="1003686" y="7014027"/>
                  </a:lnTo>
                  <a:lnTo>
                    <a:pt x="2902551" y="5829628"/>
                  </a:lnTo>
                  <a:lnTo>
                    <a:pt x="2558940" y="5296197"/>
                  </a:lnTo>
                  <a:lnTo>
                    <a:pt x="2402508" y="4609114"/>
                  </a:lnTo>
                  <a:lnTo>
                    <a:pt x="2730740" y="4581943"/>
                  </a:lnTo>
                  <a:lnTo>
                    <a:pt x="2947754" y="4111798"/>
                  </a:lnTo>
                  <a:lnTo>
                    <a:pt x="3499325" y="3668781"/>
                  </a:lnTo>
                  <a:lnTo>
                    <a:pt x="3680166" y="2791783"/>
                  </a:lnTo>
                  <a:lnTo>
                    <a:pt x="4186528" y="2800819"/>
                  </a:lnTo>
                  <a:lnTo>
                    <a:pt x="4837569" y="3270969"/>
                  </a:lnTo>
                  <a:lnTo>
                    <a:pt x="5352976" y="3189602"/>
                  </a:lnTo>
                  <a:lnTo>
                    <a:pt x="5741786" y="2818907"/>
                  </a:lnTo>
                  <a:lnTo>
                    <a:pt x="6157723" y="2656166"/>
                  </a:lnTo>
                  <a:lnTo>
                    <a:pt x="6745471" y="2086573"/>
                  </a:lnTo>
                  <a:lnTo>
                    <a:pt x="6890140" y="1236697"/>
                  </a:lnTo>
                  <a:lnTo>
                    <a:pt x="7568305" y="667103"/>
                  </a:lnTo>
                  <a:lnTo>
                    <a:pt x="8502979" y="0"/>
                  </a:lnTo>
                  <a:lnTo>
                    <a:pt x="8856118" y="605946"/>
                  </a:lnTo>
                  <a:lnTo>
                    <a:pt x="9078849" y="1219510"/>
                  </a:lnTo>
                  <a:lnTo>
                    <a:pt x="9086459" y="1767488"/>
                  </a:lnTo>
                  <a:lnTo>
                    <a:pt x="9761321" y="1670342"/>
                  </a:lnTo>
                  <a:lnTo>
                    <a:pt x="10152517" y="2468612"/>
                  </a:lnTo>
                  <a:lnTo>
                    <a:pt x="11109603" y="2840086"/>
                  </a:lnTo>
                  <a:lnTo>
                    <a:pt x="11919572" y="3113608"/>
                  </a:lnTo>
                  <a:lnTo>
                    <a:pt x="12868275" y="2868397"/>
                  </a:lnTo>
                  <a:lnTo>
                    <a:pt x="13844296" y="2266562"/>
                  </a:lnTo>
                  <a:lnTo>
                    <a:pt x="13886291" y="1432194"/>
                  </a:lnTo>
                  <a:lnTo>
                    <a:pt x="14370431" y="1940546"/>
                  </a:lnTo>
                  <a:lnTo>
                    <a:pt x="15323320" y="2038819"/>
                  </a:lnTo>
                  <a:lnTo>
                    <a:pt x="16350939" y="2163678"/>
                  </a:lnTo>
                  <a:lnTo>
                    <a:pt x="16362364" y="2470958"/>
                  </a:lnTo>
                  <a:lnTo>
                    <a:pt x="16682563" y="2908861"/>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12" name="任意多边形 100">
              <a:extLst>
                <a:ext uri="{FF2B5EF4-FFF2-40B4-BE49-F238E27FC236}">
                  <a16:creationId xmlns:a16="http://schemas.microsoft.com/office/drawing/2014/main" id="{62804D7A-B4FF-C163-674F-F0BAF46E4A76}"/>
                </a:ext>
              </a:extLst>
            </p:cNvPr>
            <p:cNvSpPr>
              <a:spLocks/>
            </p:cNvSpPr>
            <p:nvPr/>
          </p:nvSpPr>
          <p:spPr bwMode="auto">
            <a:xfrm>
              <a:off x="9033346" y="1396896"/>
              <a:ext cx="1968177" cy="2589199"/>
            </a:xfrm>
            <a:custGeom>
              <a:avLst/>
              <a:gdLst>
                <a:gd name="connsiteX0" fmla="*/ 477776 w 18447968"/>
                <a:gd name="connsiteY0" fmla="*/ 7436569 h 15946069"/>
                <a:gd name="connsiteX1" fmla="*/ 271294 w 18447968"/>
                <a:gd name="connsiteY1" fmla="*/ 8060457 h 15946069"/>
                <a:gd name="connsiteX2" fmla="*/ 379812 w 18447968"/>
                <a:gd name="connsiteY2" fmla="*/ 8675382 h 15946069"/>
                <a:gd name="connsiteX3" fmla="*/ 759624 w 18447968"/>
                <a:gd name="connsiteY3" fmla="*/ 9217969 h 15946069"/>
                <a:gd name="connsiteX4" fmla="*/ 687278 w 18447968"/>
                <a:gd name="connsiteY4" fmla="*/ 9670126 h 15946069"/>
                <a:gd name="connsiteX5" fmla="*/ 144687 w 18447968"/>
                <a:gd name="connsiteY5" fmla="*/ 9941420 h 15946069"/>
                <a:gd name="connsiteX6" fmla="*/ 343643 w 18447968"/>
                <a:gd name="connsiteY6" fmla="*/ 10592536 h 15946069"/>
                <a:gd name="connsiteX7" fmla="*/ 940487 w 18447968"/>
                <a:gd name="connsiteY7" fmla="*/ 10954252 h 15946069"/>
                <a:gd name="connsiteX8" fmla="*/ 596844 w 18447968"/>
                <a:gd name="connsiteY8" fmla="*/ 11786221 h 15946069"/>
                <a:gd name="connsiteX9" fmla="*/ 633017 w 18447968"/>
                <a:gd name="connsiteY9" fmla="*/ 12780969 h 15946069"/>
                <a:gd name="connsiteX10" fmla="*/ 198944 w 18447968"/>
                <a:gd name="connsiteY10" fmla="*/ 13341645 h 15946069"/>
                <a:gd name="connsiteX11" fmla="*/ 723451 w 18447968"/>
                <a:gd name="connsiteY11" fmla="*/ 13757629 h 15946069"/>
                <a:gd name="connsiteX12" fmla="*/ 1640036 w 18447968"/>
                <a:gd name="connsiteY12" fmla="*/ 13197151 h 15946069"/>
                <a:gd name="connsiteX13" fmla="*/ 1880971 w 18447968"/>
                <a:gd name="connsiteY13" fmla="*/ 13395906 h 15946069"/>
                <a:gd name="connsiteX14" fmla="*/ 2930086 w 18447968"/>
                <a:gd name="connsiteY14" fmla="*/ 12952832 h 15946069"/>
                <a:gd name="connsiteX15" fmla="*/ 3828256 w 18447968"/>
                <a:gd name="connsiteY15" fmla="*/ 13245188 h 15946069"/>
                <a:gd name="connsiteX16" fmla="*/ 4768739 w 18447968"/>
                <a:gd name="connsiteY16" fmla="*/ 13040205 h 15946069"/>
                <a:gd name="connsiteX17" fmla="*/ 5190751 w 18447968"/>
                <a:gd name="connsiteY17" fmla="*/ 13649115 h 15946069"/>
                <a:gd name="connsiteX18" fmla="*/ 5932290 w 18447968"/>
                <a:gd name="connsiteY18" fmla="*/ 13444132 h 15946069"/>
                <a:gd name="connsiteX19" fmla="*/ 6498992 w 18447968"/>
                <a:gd name="connsiteY19" fmla="*/ 12991975 h 15946069"/>
                <a:gd name="connsiteX20" fmla="*/ 7373161 w 18447968"/>
                <a:gd name="connsiteY20" fmla="*/ 13582800 h 15946069"/>
                <a:gd name="connsiteX21" fmla="*/ 8512588 w 18447968"/>
                <a:gd name="connsiteY21" fmla="*/ 13570738 h 15946069"/>
                <a:gd name="connsiteX22" fmla="*/ 9416903 w 18447968"/>
                <a:gd name="connsiteY22" fmla="*/ 13281357 h 15946069"/>
                <a:gd name="connsiteX23" fmla="*/ 9742454 w 18447968"/>
                <a:gd name="connsiteY23" fmla="*/ 14004811 h 15946069"/>
                <a:gd name="connsiteX24" fmla="*/ 10080066 w 18447968"/>
                <a:gd name="connsiteY24" fmla="*/ 14716204 h 15946069"/>
                <a:gd name="connsiteX25" fmla="*/ 10616683 w 18447968"/>
                <a:gd name="connsiteY25" fmla="*/ 15358294 h 15946069"/>
                <a:gd name="connsiteX26" fmla="*/ 11117010 w 18447968"/>
                <a:gd name="connsiteY26" fmla="*/ 15946069 h 15946069"/>
                <a:gd name="connsiteX27" fmla="*/ 11593335 w 18447968"/>
                <a:gd name="connsiteY27" fmla="*/ 15822497 h 15946069"/>
                <a:gd name="connsiteX28" fmla="*/ 11780218 w 18447968"/>
                <a:gd name="connsiteY28" fmla="*/ 13579811 h 15946069"/>
                <a:gd name="connsiteX29" fmla="*/ 11954994 w 18447968"/>
                <a:gd name="connsiteY29" fmla="*/ 12135890 h 15946069"/>
                <a:gd name="connsiteX30" fmla="*/ 12196146 w 18447968"/>
                <a:gd name="connsiteY30" fmla="*/ 11388328 h 15946069"/>
                <a:gd name="connsiteX31" fmla="*/ 13166775 w 18447968"/>
                <a:gd name="connsiteY31" fmla="*/ 11707856 h 15946069"/>
                <a:gd name="connsiteX32" fmla="*/ 14004775 w 18447968"/>
                <a:gd name="connsiteY32" fmla="*/ 11611395 h 15946069"/>
                <a:gd name="connsiteX33" fmla="*/ 14939235 w 18447968"/>
                <a:gd name="connsiteY33" fmla="*/ 11322014 h 15946069"/>
                <a:gd name="connsiteX34" fmla="*/ 15409477 w 18447968"/>
                <a:gd name="connsiteY34" fmla="*/ 11882693 h 15946069"/>
                <a:gd name="connsiteX35" fmla="*/ 15861634 w 18447968"/>
                <a:gd name="connsiteY35" fmla="*/ 11273783 h 15946069"/>
                <a:gd name="connsiteX36" fmla="*/ 16413199 w 18447968"/>
                <a:gd name="connsiteY36" fmla="*/ 10920339 h 15946069"/>
                <a:gd name="connsiteX37" fmla="*/ 16765948 w 18447968"/>
                <a:gd name="connsiteY37" fmla="*/ 10200671 h 15946069"/>
                <a:gd name="connsiteX38" fmla="*/ 16428336 w 18447968"/>
                <a:gd name="connsiteY38" fmla="*/ 9374732 h 15946069"/>
                <a:gd name="connsiteX39" fmla="*/ 15946033 w 18447968"/>
                <a:gd name="connsiteY39" fmla="*/ 8440272 h 15946069"/>
                <a:gd name="connsiteX40" fmla="*/ 16024409 w 18447968"/>
                <a:gd name="connsiteY40" fmla="*/ 7433474 h 15946069"/>
                <a:gd name="connsiteX41" fmla="*/ 16958870 w 18447968"/>
                <a:gd name="connsiteY41" fmla="*/ 6776350 h 15946069"/>
                <a:gd name="connsiteX42" fmla="*/ 17911414 w 18447968"/>
                <a:gd name="connsiteY42" fmla="*/ 6083041 h 15946069"/>
                <a:gd name="connsiteX43" fmla="*/ 17694370 w 18447968"/>
                <a:gd name="connsiteY43" fmla="*/ 5570592 h 15946069"/>
                <a:gd name="connsiteX44" fmla="*/ 17385711 w 18447968"/>
                <a:gd name="connsiteY44" fmla="*/ 5219213 h 15946069"/>
                <a:gd name="connsiteX45" fmla="*/ 17637701 w 18447968"/>
                <a:gd name="connsiteY45" fmla="*/ 4819407 h 15946069"/>
                <a:gd name="connsiteX46" fmla="*/ 18171858 w 18447968"/>
                <a:gd name="connsiteY46" fmla="*/ 4701949 h 15946069"/>
                <a:gd name="connsiteX47" fmla="*/ 18447970 w 18447968"/>
                <a:gd name="connsiteY47" fmla="*/ 4316604 h 15946069"/>
                <a:gd name="connsiteX48" fmla="*/ 17814953 w 18447968"/>
                <a:gd name="connsiteY48" fmla="*/ 4117660 h 15946069"/>
                <a:gd name="connsiteX49" fmla="*/ 17067422 w 18447968"/>
                <a:gd name="connsiteY49" fmla="*/ 3472551 h 15946069"/>
                <a:gd name="connsiteX50" fmla="*/ 16852763 w 18447968"/>
                <a:gd name="connsiteY50" fmla="*/ 3282076 h 15946069"/>
                <a:gd name="connsiteX51" fmla="*/ 16161870 w 18447968"/>
                <a:gd name="connsiteY51" fmla="*/ 4063407 h 15946069"/>
                <a:gd name="connsiteX52" fmla="*/ 14429201 w 18447968"/>
                <a:gd name="connsiteY52" fmla="*/ 4027238 h 15946069"/>
                <a:gd name="connsiteX53" fmla="*/ 13383819 w 18447968"/>
                <a:gd name="connsiteY53" fmla="*/ 2963756 h 15946069"/>
                <a:gd name="connsiteX54" fmla="*/ 12493981 w 18447968"/>
                <a:gd name="connsiteY54" fmla="*/ 2927587 h 15946069"/>
                <a:gd name="connsiteX55" fmla="*/ 11976717 w 18447968"/>
                <a:gd name="connsiteY55" fmla="*/ 2139025 h 15946069"/>
                <a:gd name="connsiteX56" fmla="*/ 11484768 w 18447968"/>
                <a:gd name="connsiteY56" fmla="*/ 1495155 h 15946069"/>
                <a:gd name="connsiteX57" fmla="*/ 10830043 w 18447968"/>
                <a:gd name="connsiteY57" fmla="*/ 1256418 h 15946069"/>
                <a:gd name="connsiteX58" fmla="*/ 10323633 w 18447968"/>
                <a:gd name="connsiteY58" fmla="*/ 1220249 h 15946069"/>
                <a:gd name="connsiteX59" fmla="*/ 9802745 w 18447968"/>
                <a:gd name="connsiteY59" fmla="*/ 1603676 h 15946069"/>
                <a:gd name="connsiteX60" fmla="*/ 9223982 w 18447968"/>
                <a:gd name="connsiteY60" fmla="*/ 1621761 h 15946069"/>
                <a:gd name="connsiteX61" fmla="*/ 8782678 w 18447968"/>
                <a:gd name="connsiteY61" fmla="*/ 2171586 h 15946069"/>
                <a:gd name="connsiteX62" fmla="*/ 8272645 w 18447968"/>
                <a:gd name="connsiteY62" fmla="*/ 2102856 h 15946069"/>
                <a:gd name="connsiteX63" fmla="*/ 7853048 w 18447968"/>
                <a:gd name="connsiteY63" fmla="*/ 2526075 h 15946069"/>
                <a:gd name="connsiteX64" fmla="*/ 7323799 w 18447968"/>
                <a:gd name="connsiteY64" fmla="*/ 2632907 h 15946069"/>
                <a:gd name="connsiteX65" fmla="*/ 6977672 w 18447968"/>
                <a:gd name="connsiteY65" fmla="*/ 2178817 h 15946069"/>
                <a:gd name="connsiteX66" fmla="*/ 6594245 w 18447968"/>
                <a:gd name="connsiteY66" fmla="*/ 2055834 h 15946069"/>
                <a:gd name="connsiteX67" fmla="*/ 6431470 w 18447968"/>
                <a:gd name="connsiteY67" fmla="*/ 1314295 h 15946069"/>
                <a:gd name="connsiteX68" fmla="*/ 5642908 w 18447968"/>
                <a:gd name="connsiteY68" fmla="*/ 1343233 h 15946069"/>
                <a:gd name="connsiteX69" fmla="*/ 5150959 w 18447968"/>
                <a:gd name="connsiteY69" fmla="*/ 1610907 h 15946069"/>
                <a:gd name="connsiteX70" fmla="*/ 5480133 w 18447968"/>
                <a:gd name="connsiteY70" fmla="*/ 2167963 h 15946069"/>
                <a:gd name="connsiteX71" fmla="*/ 4742216 w 18447968"/>
                <a:gd name="connsiteY71" fmla="*/ 2862495 h 15946069"/>
                <a:gd name="connsiteX72" fmla="*/ 2658667 w 18447968"/>
                <a:gd name="connsiteY72" fmla="*/ 0 h 15946069"/>
                <a:gd name="connsiteX73" fmla="*/ 2658682 w 18447968"/>
                <a:gd name="connsiteY73" fmla="*/ 1018890 h 15946069"/>
                <a:gd name="connsiteX74" fmla="*/ 1850829 w 18447968"/>
                <a:gd name="connsiteY74" fmla="*/ 1730283 h 15946069"/>
                <a:gd name="connsiteX75" fmla="*/ 1404694 w 18447968"/>
                <a:gd name="connsiteY75" fmla="*/ 2272862 h 15946069"/>
                <a:gd name="connsiteX76" fmla="*/ 2351216 w 18447968"/>
                <a:gd name="connsiteY76" fmla="*/ 3388182 h 15946069"/>
                <a:gd name="connsiteX77" fmla="*/ 2658682 w 18447968"/>
                <a:gd name="connsiteY77" fmla="*/ 4286458 h 15946069"/>
                <a:gd name="connsiteX78" fmla="*/ 1935228 w 18447968"/>
                <a:gd name="connsiteY78" fmla="*/ 5220918 h 15946069"/>
                <a:gd name="connsiteX79" fmla="*/ 875281 w 18447968"/>
                <a:gd name="connsiteY79" fmla="*/ 5166646 h 15946069"/>
                <a:gd name="connsiteX80" fmla="*/ 0 w 18447968"/>
                <a:gd name="connsiteY80" fmla="*/ 5890112 h 15946069"/>
                <a:gd name="connsiteX81" fmla="*/ 72345 w 18447968"/>
                <a:gd name="connsiteY81" fmla="*/ 6921032 h 15946069"/>
                <a:gd name="connsiteX82" fmla="*/ 477776 w 18447968"/>
                <a:gd name="connsiteY82" fmla="*/ 7436569 h 15946069"/>
                <a:gd name="connsiteX0" fmla="*/ 477776 w 18447968"/>
                <a:gd name="connsiteY0" fmla="*/ 7436569 h 15946069"/>
                <a:gd name="connsiteX1" fmla="*/ 271294 w 18447968"/>
                <a:gd name="connsiteY1" fmla="*/ 8060457 h 15946069"/>
                <a:gd name="connsiteX2" fmla="*/ 379812 w 18447968"/>
                <a:gd name="connsiteY2" fmla="*/ 8675382 h 15946069"/>
                <a:gd name="connsiteX3" fmla="*/ 759624 w 18447968"/>
                <a:gd name="connsiteY3" fmla="*/ 9217969 h 15946069"/>
                <a:gd name="connsiteX4" fmla="*/ 687278 w 18447968"/>
                <a:gd name="connsiteY4" fmla="*/ 9670126 h 15946069"/>
                <a:gd name="connsiteX5" fmla="*/ 144687 w 18447968"/>
                <a:gd name="connsiteY5" fmla="*/ 9941420 h 15946069"/>
                <a:gd name="connsiteX6" fmla="*/ 343643 w 18447968"/>
                <a:gd name="connsiteY6" fmla="*/ 10592536 h 15946069"/>
                <a:gd name="connsiteX7" fmla="*/ 940487 w 18447968"/>
                <a:gd name="connsiteY7" fmla="*/ 10954252 h 15946069"/>
                <a:gd name="connsiteX8" fmla="*/ 596844 w 18447968"/>
                <a:gd name="connsiteY8" fmla="*/ 11786221 h 15946069"/>
                <a:gd name="connsiteX9" fmla="*/ 633017 w 18447968"/>
                <a:gd name="connsiteY9" fmla="*/ 12780969 h 15946069"/>
                <a:gd name="connsiteX10" fmla="*/ 198944 w 18447968"/>
                <a:gd name="connsiteY10" fmla="*/ 13341645 h 15946069"/>
                <a:gd name="connsiteX11" fmla="*/ 723451 w 18447968"/>
                <a:gd name="connsiteY11" fmla="*/ 13757629 h 15946069"/>
                <a:gd name="connsiteX12" fmla="*/ 1640036 w 18447968"/>
                <a:gd name="connsiteY12" fmla="*/ 13197151 h 15946069"/>
                <a:gd name="connsiteX13" fmla="*/ 1880971 w 18447968"/>
                <a:gd name="connsiteY13" fmla="*/ 13395906 h 15946069"/>
                <a:gd name="connsiteX14" fmla="*/ 2930086 w 18447968"/>
                <a:gd name="connsiteY14" fmla="*/ 12952832 h 15946069"/>
                <a:gd name="connsiteX15" fmla="*/ 3828256 w 18447968"/>
                <a:gd name="connsiteY15" fmla="*/ 13245188 h 15946069"/>
                <a:gd name="connsiteX16" fmla="*/ 4768739 w 18447968"/>
                <a:gd name="connsiteY16" fmla="*/ 13040205 h 15946069"/>
                <a:gd name="connsiteX17" fmla="*/ 5190751 w 18447968"/>
                <a:gd name="connsiteY17" fmla="*/ 13649115 h 15946069"/>
                <a:gd name="connsiteX18" fmla="*/ 5932290 w 18447968"/>
                <a:gd name="connsiteY18" fmla="*/ 13444132 h 15946069"/>
                <a:gd name="connsiteX19" fmla="*/ 6498992 w 18447968"/>
                <a:gd name="connsiteY19" fmla="*/ 12991975 h 15946069"/>
                <a:gd name="connsiteX20" fmla="*/ 7373161 w 18447968"/>
                <a:gd name="connsiteY20" fmla="*/ 13582800 h 15946069"/>
                <a:gd name="connsiteX21" fmla="*/ 8512588 w 18447968"/>
                <a:gd name="connsiteY21" fmla="*/ 13570738 h 15946069"/>
                <a:gd name="connsiteX22" fmla="*/ 9416903 w 18447968"/>
                <a:gd name="connsiteY22" fmla="*/ 13281357 h 15946069"/>
                <a:gd name="connsiteX23" fmla="*/ 9742454 w 18447968"/>
                <a:gd name="connsiteY23" fmla="*/ 14004811 h 15946069"/>
                <a:gd name="connsiteX24" fmla="*/ 10080066 w 18447968"/>
                <a:gd name="connsiteY24" fmla="*/ 14716204 h 15946069"/>
                <a:gd name="connsiteX25" fmla="*/ 10616683 w 18447968"/>
                <a:gd name="connsiteY25" fmla="*/ 15358294 h 15946069"/>
                <a:gd name="connsiteX26" fmla="*/ 11117010 w 18447968"/>
                <a:gd name="connsiteY26" fmla="*/ 15946069 h 15946069"/>
                <a:gd name="connsiteX27" fmla="*/ 11593335 w 18447968"/>
                <a:gd name="connsiteY27" fmla="*/ 15822497 h 15946069"/>
                <a:gd name="connsiteX28" fmla="*/ 11780218 w 18447968"/>
                <a:gd name="connsiteY28" fmla="*/ 13579811 h 15946069"/>
                <a:gd name="connsiteX29" fmla="*/ 11954994 w 18447968"/>
                <a:gd name="connsiteY29" fmla="*/ 12135890 h 15946069"/>
                <a:gd name="connsiteX30" fmla="*/ 12196146 w 18447968"/>
                <a:gd name="connsiteY30" fmla="*/ 11388328 h 15946069"/>
                <a:gd name="connsiteX31" fmla="*/ 13166775 w 18447968"/>
                <a:gd name="connsiteY31" fmla="*/ 11707856 h 15946069"/>
                <a:gd name="connsiteX32" fmla="*/ 14004775 w 18447968"/>
                <a:gd name="connsiteY32" fmla="*/ 11611395 h 15946069"/>
                <a:gd name="connsiteX33" fmla="*/ 14939235 w 18447968"/>
                <a:gd name="connsiteY33" fmla="*/ 11322014 h 15946069"/>
                <a:gd name="connsiteX34" fmla="*/ 15409477 w 18447968"/>
                <a:gd name="connsiteY34" fmla="*/ 11882693 h 15946069"/>
                <a:gd name="connsiteX35" fmla="*/ 15861634 w 18447968"/>
                <a:gd name="connsiteY35" fmla="*/ 11273783 h 15946069"/>
                <a:gd name="connsiteX36" fmla="*/ 16413199 w 18447968"/>
                <a:gd name="connsiteY36" fmla="*/ 10920339 h 15946069"/>
                <a:gd name="connsiteX37" fmla="*/ 16765948 w 18447968"/>
                <a:gd name="connsiteY37" fmla="*/ 10200671 h 15946069"/>
                <a:gd name="connsiteX38" fmla="*/ 16428336 w 18447968"/>
                <a:gd name="connsiteY38" fmla="*/ 9374732 h 15946069"/>
                <a:gd name="connsiteX39" fmla="*/ 15946033 w 18447968"/>
                <a:gd name="connsiteY39" fmla="*/ 8440272 h 15946069"/>
                <a:gd name="connsiteX40" fmla="*/ 16024409 w 18447968"/>
                <a:gd name="connsiteY40" fmla="*/ 7433474 h 15946069"/>
                <a:gd name="connsiteX41" fmla="*/ 16958870 w 18447968"/>
                <a:gd name="connsiteY41" fmla="*/ 6776350 h 15946069"/>
                <a:gd name="connsiteX42" fmla="*/ 17911414 w 18447968"/>
                <a:gd name="connsiteY42" fmla="*/ 6083041 h 15946069"/>
                <a:gd name="connsiteX43" fmla="*/ 17694370 w 18447968"/>
                <a:gd name="connsiteY43" fmla="*/ 5570592 h 15946069"/>
                <a:gd name="connsiteX44" fmla="*/ 17385711 w 18447968"/>
                <a:gd name="connsiteY44" fmla="*/ 5219213 h 15946069"/>
                <a:gd name="connsiteX45" fmla="*/ 17637701 w 18447968"/>
                <a:gd name="connsiteY45" fmla="*/ 4819407 h 15946069"/>
                <a:gd name="connsiteX46" fmla="*/ 18171858 w 18447968"/>
                <a:gd name="connsiteY46" fmla="*/ 4701949 h 15946069"/>
                <a:gd name="connsiteX47" fmla="*/ 18447970 w 18447968"/>
                <a:gd name="connsiteY47" fmla="*/ 4316604 h 15946069"/>
                <a:gd name="connsiteX48" fmla="*/ 17814953 w 18447968"/>
                <a:gd name="connsiteY48" fmla="*/ 4117660 h 15946069"/>
                <a:gd name="connsiteX49" fmla="*/ 17067422 w 18447968"/>
                <a:gd name="connsiteY49" fmla="*/ 3472551 h 15946069"/>
                <a:gd name="connsiteX50" fmla="*/ 16852763 w 18447968"/>
                <a:gd name="connsiteY50" fmla="*/ 3282076 h 15946069"/>
                <a:gd name="connsiteX51" fmla="*/ 14429201 w 18447968"/>
                <a:gd name="connsiteY51" fmla="*/ 4027238 h 15946069"/>
                <a:gd name="connsiteX52" fmla="*/ 13383819 w 18447968"/>
                <a:gd name="connsiteY52" fmla="*/ 2963756 h 15946069"/>
                <a:gd name="connsiteX53" fmla="*/ 12493981 w 18447968"/>
                <a:gd name="connsiteY53" fmla="*/ 2927587 h 15946069"/>
                <a:gd name="connsiteX54" fmla="*/ 11976717 w 18447968"/>
                <a:gd name="connsiteY54" fmla="*/ 2139025 h 15946069"/>
                <a:gd name="connsiteX55" fmla="*/ 11484768 w 18447968"/>
                <a:gd name="connsiteY55" fmla="*/ 1495155 h 15946069"/>
                <a:gd name="connsiteX56" fmla="*/ 10830043 w 18447968"/>
                <a:gd name="connsiteY56" fmla="*/ 1256418 h 15946069"/>
                <a:gd name="connsiteX57" fmla="*/ 10323633 w 18447968"/>
                <a:gd name="connsiteY57" fmla="*/ 1220249 h 15946069"/>
                <a:gd name="connsiteX58" fmla="*/ 9802745 w 18447968"/>
                <a:gd name="connsiteY58" fmla="*/ 1603676 h 15946069"/>
                <a:gd name="connsiteX59" fmla="*/ 9223982 w 18447968"/>
                <a:gd name="connsiteY59" fmla="*/ 1621761 h 15946069"/>
                <a:gd name="connsiteX60" fmla="*/ 8782678 w 18447968"/>
                <a:gd name="connsiteY60" fmla="*/ 2171586 h 15946069"/>
                <a:gd name="connsiteX61" fmla="*/ 8272645 w 18447968"/>
                <a:gd name="connsiteY61" fmla="*/ 2102856 h 15946069"/>
                <a:gd name="connsiteX62" fmla="*/ 7853048 w 18447968"/>
                <a:gd name="connsiteY62" fmla="*/ 2526075 h 15946069"/>
                <a:gd name="connsiteX63" fmla="*/ 7323799 w 18447968"/>
                <a:gd name="connsiteY63" fmla="*/ 2632907 h 15946069"/>
                <a:gd name="connsiteX64" fmla="*/ 6977672 w 18447968"/>
                <a:gd name="connsiteY64" fmla="*/ 2178817 h 15946069"/>
                <a:gd name="connsiteX65" fmla="*/ 6594245 w 18447968"/>
                <a:gd name="connsiteY65" fmla="*/ 2055834 h 15946069"/>
                <a:gd name="connsiteX66" fmla="*/ 6431470 w 18447968"/>
                <a:gd name="connsiteY66" fmla="*/ 1314295 h 15946069"/>
                <a:gd name="connsiteX67" fmla="*/ 5642908 w 18447968"/>
                <a:gd name="connsiteY67" fmla="*/ 1343233 h 15946069"/>
                <a:gd name="connsiteX68" fmla="*/ 5150959 w 18447968"/>
                <a:gd name="connsiteY68" fmla="*/ 1610907 h 15946069"/>
                <a:gd name="connsiteX69" fmla="*/ 5480133 w 18447968"/>
                <a:gd name="connsiteY69" fmla="*/ 2167963 h 15946069"/>
                <a:gd name="connsiteX70" fmla="*/ 4742216 w 18447968"/>
                <a:gd name="connsiteY70" fmla="*/ 2862495 h 15946069"/>
                <a:gd name="connsiteX71" fmla="*/ 2658667 w 18447968"/>
                <a:gd name="connsiteY71" fmla="*/ 0 h 15946069"/>
                <a:gd name="connsiteX72" fmla="*/ 2658682 w 18447968"/>
                <a:gd name="connsiteY72" fmla="*/ 1018890 h 15946069"/>
                <a:gd name="connsiteX73" fmla="*/ 1850829 w 18447968"/>
                <a:gd name="connsiteY73" fmla="*/ 1730283 h 15946069"/>
                <a:gd name="connsiteX74" fmla="*/ 1404694 w 18447968"/>
                <a:gd name="connsiteY74" fmla="*/ 2272862 h 15946069"/>
                <a:gd name="connsiteX75" fmla="*/ 2351216 w 18447968"/>
                <a:gd name="connsiteY75" fmla="*/ 3388182 h 15946069"/>
                <a:gd name="connsiteX76" fmla="*/ 2658682 w 18447968"/>
                <a:gd name="connsiteY76" fmla="*/ 4286458 h 15946069"/>
                <a:gd name="connsiteX77" fmla="*/ 1935228 w 18447968"/>
                <a:gd name="connsiteY77" fmla="*/ 5220918 h 15946069"/>
                <a:gd name="connsiteX78" fmla="*/ 875281 w 18447968"/>
                <a:gd name="connsiteY78" fmla="*/ 5166646 h 15946069"/>
                <a:gd name="connsiteX79" fmla="*/ 0 w 18447968"/>
                <a:gd name="connsiteY79" fmla="*/ 5890112 h 15946069"/>
                <a:gd name="connsiteX80" fmla="*/ 72345 w 18447968"/>
                <a:gd name="connsiteY80" fmla="*/ 6921032 h 15946069"/>
                <a:gd name="connsiteX81" fmla="*/ 477776 w 18447968"/>
                <a:gd name="connsiteY81" fmla="*/ 7436569 h 15946069"/>
                <a:gd name="connsiteX0" fmla="*/ 477776 w 18447968"/>
                <a:gd name="connsiteY0" fmla="*/ 7436569 h 15946069"/>
                <a:gd name="connsiteX1" fmla="*/ 271294 w 18447968"/>
                <a:gd name="connsiteY1" fmla="*/ 8060457 h 15946069"/>
                <a:gd name="connsiteX2" fmla="*/ 379812 w 18447968"/>
                <a:gd name="connsiteY2" fmla="*/ 8675382 h 15946069"/>
                <a:gd name="connsiteX3" fmla="*/ 759624 w 18447968"/>
                <a:gd name="connsiteY3" fmla="*/ 9217969 h 15946069"/>
                <a:gd name="connsiteX4" fmla="*/ 687278 w 18447968"/>
                <a:gd name="connsiteY4" fmla="*/ 9670126 h 15946069"/>
                <a:gd name="connsiteX5" fmla="*/ 144687 w 18447968"/>
                <a:gd name="connsiteY5" fmla="*/ 9941420 h 15946069"/>
                <a:gd name="connsiteX6" fmla="*/ 343643 w 18447968"/>
                <a:gd name="connsiteY6" fmla="*/ 10592536 h 15946069"/>
                <a:gd name="connsiteX7" fmla="*/ 940487 w 18447968"/>
                <a:gd name="connsiteY7" fmla="*/ 10954252 h 15946069"/>
                <a:gd name="connsiteX8" fmla="*/ 596844 w 18447968"/>
                <a:gd name="connsiteY8" fmla="*/ 11786221 h 15946069"/>
                <a:gd name="connsiteX9" fmla="*/ 633017 w 18447968"/>
                <a:gd name="connsiteY9" fmla="*/ 12780969 h 15946069"/>
                <a:gd name="connsiteX10" fmla="*/ 198944 w 18447968"/>
                <a:gd name="connsiteY10" fmla="*/ 13341645 h 15946069"/>
                <a:gd name="connsiteX11" fmla="*/ 723451 w 18447968"/>
                <a:gd name="connsiteY11" fmla="*/ 13757629 h 15946069"/>
                <a:gd name="connsiteX12" fmla="*/ 1640036 w 18447968"/>
                <a:gd name="connsiteY12" fmla="*/ 13197151 h 15946069"/>
                <a:gd name="connsiteX13" fmla="*/ 1880971 w 18447968"/>
                <a:gd name="connsiteY13" fmla="*/ 13395906 h 15946069"/>
                <a:gd name="connsiteX14" fmla="*/ 2930086 w 18447968"/>
                <a:gd name="connsiteY14" fmla="*/ 12952832 h 15946069"/>
                <a:gd name="connsiteX15" fmla="*/ 3828256 w 18447968"/>
                <a:gd name="connsiteY15" fmla="*/ 13245188 h 15946069"/>
                <a:gd name="connsiteX16" fmla="*/ 4768739 w 18447968"/>
                <a:gd name="connsiteY16" fmla="*/ 13040205 h 15946069"/>
                <a:gd name="connsiteX17" fmla="*/ 5190751 w 18447968"/>
                <a:gd name="connsiteY17" fmla="*/ 13649115 h 15946069"/>
                <a:gd name="connsiteX18" fmla="*/ 5932290 w 18447968"/>
                <a:gd name="connsiteY18" fmla="*/ 13444132 h 15946069"/>
                <a:gd name="connsiteX19" fmla="*/ 6498992 w 18447968"/>
                <a:gd name="connsiteY19" fmla="*/ 12991975 h 15946069"/>
                <a:gd name="connsiteX20" fmla="*/ 7373161 w 18447968"/>
                <a:gd name="connsiteY20" fmla="*/ 13582800 h 15946069"/>
                <a:gd name="connsiteX21" fmla="*/ 8512588 w 18447968"/>
                <a:gd name="connsiteY21" fmla="*/ 13570738 h 15946069"/>
                <a:gd name="connsiteX22" fmla="*/ 9416903 w 18447968"/>
                <a:gd name="connsiteY22" fmla="*/ 13281357 h 15946069"/>
                <a:gd name="connsiteX23" fmla="*/ 9742454 w 18447968"/>
                <a:gd name="connsiteY23" fmla="*/ 14004811 h 15946069"/>
                <a:gd name="connsiteX24" fmla="*/ 10080066 w 18447968"/>
                <a:gd name="connsiteY24" fmla="*/ 14716204 h 15946069"/>
                <a:gd name="connsiteX25" fmla="*/ 10616683 w 18447968"/>
                <a:gd name="connsiteY25" fmla="*/ 15358294 h 15946069"/>
                <a:gd name="connsiteX26" fmla="*/ 11117010 w 18447968"/>
                <a:gd name="connsiteY26" fmla="*/ 15946069 h 15946069"/>
                <a:gd name="connsiteX27" fmla="*/ 11593335 w 18447968"/>
                <a:gd name="connsiteY27" fmla="*/ 15822497 h 15946069"/>
                <a:gd name="connsiteX28" fmla="*/ 11780218 w 18447968"/>
                <a:gd name="connsiteY28" fmla="*/ 13579811 h 15946069"/>
                <a:gd name="connsiteX29" fmla="*/ 11954994 w 18447968"/>
                <a:gd name="connsiteY29" fmla="*/ 12135890 h 15946069"/>
                <a:gd name="connsiteX30" fmla="*/ 12196146 w 18447968"/>
                <a:gd name="connsiteY30" fmla="*/ 11388328 h 15946069"/>
                <a:gd name="connsiteX31" fmla="*/ 13166775 w 18447968"/>
                <a:gd name="connsiteY31" fmla="*/ 11707856 h 15946069"/>
                <a:gd name="connsiteX32" fmla="*/ 14004775 w 18447968"/>
                <a:gd name="connsiteY32" fmla="*/ 11611395 h 15946069"/>
                <a:gd name="connsiteX33" fmla="*/ 14939235 w 18447968"/>
                <a:gd name="connsiteY33" fmla="*/ 11322014 h 15946069"/>
                <a:gd name="connsiteX34" fmla="*/ 15409477 w 18447968"/>
                <a:gd name="connsiteY34" fmla="*/ 11882693 h 15946069"/>
                <a:gd name="connsiteX35" fmla="*/ 15861634 w 18447968"/>
                <a:gd name="connsiteY35" fmla="*/ 11273783 h 15946069"/>
                <a:gd name="connsiteX36" fmla="*/ 16413199 w 18447968"/>
                <a:gd name="connsiteY36" fmla="*/ 10920339 h 15946069"/>
                <a:gd name="connsiteX37" fmla="*/ 16765948 w 18447968"/>
                <a:gd name="connsiteY37" fmla="*/ 10200671 h 15946069"/>
                <a:gd name="connsiteX38" fmla="*/ 16428336 w 18447968"/>
                <a:gd name="connsiteY38" fmla="*/ 9374732 h 15946069"/>
                <a:gd name="connsiteX39" fmla="*/ 15946033 w 18447968"/>
                <a:gd name="connsiteY39" fmla="*/ 8440272 h 15946069"/>
                <a:gd name="connsiteX40" fmla="*/ 16024409 w 18447968"/>
                <a:gd name="connsiteY40" fmla="*/ 7433474 h 15946069"/>
                <a:gd name="connsiteX41" fmla="*/ 16958870 w 18447968"/>
                <a:gd name="connsiteY41" fmla="*/ 6776350 h 15946069"/>
                <a:gd name="connsiteX42" fmla="*/ 17911414 w 18447968"/>
                <a:gd name="connsiteY42" fmla="*/ 6083041 h 15946069"/>
                <a:gd name="connsiteX43" fmla="*/ 17694370 w 18447968"/>
                <a:gd name="connsiteY43" fmla="*/ 5570592 h 15946069"/>
                <a:gd name="connsiteX44" fmla="*/ 17385711 w 18447968"/>
                <a:gd name="connsiteY44" fmla="*/ 5219213 h 15946069"/>
                <a:gd name="connsiteX45" fmla="*/ 17637701 w 18447968"/>
                <a:gd name="connsiteY45" fmla="*/ 4819407 h 15946069"/>
                <a:gd name="connsiteX46" fmla="*/ 18171858 w 18447968"/>
                <a:gd name="connsiteY46" fmla="*/ 4701949 h 15946069"/>
                <a:gd name="connsiteX47" fmla="*/ 18447970 w 18447968"/>
                <a:gd name="connsiteY47" fmla="*/ 4316604 h 15946069"/>
                <a:gd name="connsiteX48" fmla="*/ 17814953 w 18447968"/>
                <a:gd name="connsiteY48" fmla="*/ 4117660 h 15946069"/>
                <a:gd name="connsiteX49" fmla="*/ 16852763 w 18447968"/>
                <a:gd name="connsiteY49" fmla="*/ 3282076 h 15946069"/>
                <a:gd name="connsiteX50" fmla="*/ 14429201 w 18447968"/>
                <a:gd name="connsiteY50" fmla="*/ 4027238 h 15946069"/>
                <a:gd name="connsiteX51" fmla="*/ 13383819 w 18447968"/>
                <a:gd name="connsiteY51" fmla="*/ 2963756 h 15946069"/>
                <a:gd name="connsiteX52" fmla="*/ 12493981 w 18447968"/>
                <a:gd name="connsiteY52" fmla="*/ 2927587 h 15946069"/>
                <a:gd name="connsiteX53" fmla="*/ 11976717 w 18447968"/>
                <a:gd name="connsiteY53" fmla="*/ 2139025 h 15946069"/>
                <a:gd name="connsiteX54" fmla="*/ 11484768 w 18447968"/>
                <a:gd name="connsiteY54" fmla="*/ 1495155 h 15946069"/>
                <a:gd name="connsiteX55" fmla="*/ 10830043 w 18447968"/>
                <a:gd name="connsiteY55" fmla="*/ 1256418 h 15946069"/>
                <a:gd name="connsiteX56" fmla="*/ 10323633 w 18447968"/>
                <a:gd name="connsiteY56" fmla="*/ 1220249 h 15946069"/>
                <a:gd name="connsiteX57" fmla="*/ 9802745 w 18447968"/>
                <a:gd name="connsiteY57" fmla="*/ 1603676 h 15946069"/>
                <a:gd name="connsiteX58" fmla="*/ 9223982 w 18447968"/>
                <a:gd name="connsiteY58" fmla="*/ 1621761 h 15946069"/>
                <a:gd name="connsiteX59" fmla="*/ 8782678 w 18447968"/>
                <a:gd name="connsiteY59" fmla="*/ 2171586 h 15946069"/>
                <a:gd name="connsiteX60" fmla="*/ 8272645 w 18447968"/>
                <a:gd name="connsiteY60" fmla="*/ 2102856 h 15946069"/>
                <a:gd name="connsiteX61" fmla="*/ 7853048 w 18447968"/>
                <a:gd name="connsiteY61" fmla="*/ 2526075 h 15946069"/>
                <a:gd name="connsiteX62" fmla="*/ 7323799 w 18447968"/>
                <a:gd name="connsiteY62" fmla="*/ 2632907 h 15946069"/>
                <a:gd name="connsiteX63" fmla="*/ 6977672 w 18447968"/>
                <a:gd name="connsiteY63" fmla="*/ 2178817 h 15946069"/>
                <a:gd name="connsiteX64" fmla="*/ 6594245 w 18447968"/>
                <a:gd name="connsiteY64" fmla="*/ 2055834 h 15946069"/>
                <a:gd name="connsiteX65" fmla="*/ 6431470 w 18447968"/>
                <a:gd name="connsiteY65" fmla="*/ 1314295 h 15946069"/>
                <a:gd name="connsiteX66" fmla="*/ 5642908 w 18447968"/>
                <a:gd name="connsiteY66" fmla="*/ 1343233 h 15946069"/>
                <a:gd name="connsiteX67" fmla="*/ 5150959 w 18447968"/>
                <a:gd name="connsiteY67" fmla="*/ 1610907 h 15946069"/>
                <a:gd name="connsiteX68" fmla="*/ 5480133 w 18447968"/>
                <a:gd name="connsiteY68" fmla="*/ 2167963 h 15946069"/>
                <a:gd name="connsiteX69" fmla="*/ 4742216 w 18447968"/>
                <a:gd name="connsiteY69" fmla="*/ 2862495 h 15946069"/>
                <a:gd name="connsiteX70" fmla="*/ 2658667 w 18447968"/>
                <a:gd name="connsiteY70" fmla="*/ 0 h 15946069"/>
                <a:gd name="connsiteX71" fmla="*/ 2658682 w 18447968"/>
                <a:gd name="connsiteY71" fmla="*/ 1018890 h 15946069"/>
                <a:gd name="connsiteX72" fmla="*/ 1850829 w 18447968"/>
                <a:gd name="connsiteY72" fmla="*/ 1730283 h 15946069"/>
                <a:gd name="connsiteX73" fmla="*/ 1404694 w 18447968"/>
                <a:gd name="connsiteY73" fmla="*/ 2272862 h 15946069"/>
                <a:gd name="connsiteX74" fmla="*/ 2351216 w 18447968"/>
                <a:gd name="connsiteY74" fmla="*/ 3388182 h 15946069"/>
                <a:gd name="connsiteX75" fmla="*/ 2658682 w 18447968"/>
                <a:gd name="connsiteY75" fmla="*/ 4286458 h 15946069"/>
                <a:gd name="connsiteX76" fmla="*/ 1935228 w 18447968"/>
                <a:gd name="connsiteY76" fmla="*/ 5220918 h 15946069"/>
                <a:gd name="connsiteX77" fmla="*/ 875281 w 18447968"/>
                <a:gd name="connsiteY77" fmla="*/ 5166646 h 15946069"/>
                <a:gd name="connsiteX78" fmla="*/ 0 w 18447968"/>
                <a:gd name="connsiteY78" fmla="*/ 5890112 h 15946069"/>
                <a:gd name="connsiteX79" fmla="*/ 72345 w 18447968"/>
                <a:gd name="connsiteY79" fmla="*/ 6921032 h 15946069"/>
                <a:gd name="connsiteX80" fmla="*/ 477776 w 18447968"/>
                <a:gd name="connsiteY8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5946033 w 18171859"/>
                <a:gd name="connsiteY39" fmla="*/ 8440272 h 15946069"/>
                <a:gd name="connsiteX40" fmla="*/ 16024409 w 18171859"/>
                <a:gd name="connsiteY40" fmla="*/ 7433474 h 15946069"/>
                <a:gd name="connsiteX41" fmla="*/ 16958870 w 18171859"/>
                <a:gd name="connsiteY41" fmla="*/ 6776350 h 15946069"/>
                <a:gd name="connsiteX42" fmla="*/ 17911414 w 18171859"/>
                <a:gd name="connsiteY42" fmla="*/ 6083041 h 15946069"/>
                <a:gd name="connsiteX43" fmla="*/ 17694370 w 18171859"/>
                <a:gd name="connsiteY43" fmla="*/ 5570592 h 15946069"/>
                <a:gd name="connsiteX44" fmla="*/ 17385711 w 18171859"/>
                <a:gd name="connsiteY44" fmla="*/ 5219213 h 15946069"/>
                <a:gd name="connsiteX45" fmla="*/ 17637701 w 18171859"/>
                <a:gd name="connsiteY45" fmla="*/ 4819407 h 15946069"/>
                <a:gd name="connsiteX46" fmla="*/ 18171858 w 18171859"/>
                <a:gd name="connsiteY46" fmla="*/ 4701949 h 15946069"/>
                <a:gd name="connsiteX47" fmla="*/ 17814953 w 18171859"/>
                <a:gd name="connsiteY47" fmla="*/ 4117660 h 15946069"/>
                <a:gd name="connsiteX48" fmla="*/ 16852763 w 18171859"/>
                <a:gd name="connsiteY48" fmla="*/ 3282076 h 15946069"/>
                <a:gd name="connsiteX49" fmla="*/ 14429201 w 18171859"/>
                <a:gd name="connsiteY49" fmla="*/ 4027238 h 15946069"/>
                <a:gd name="connsiteX50" fmla="*/ 13383819 w 18171859"/>
                <a:gd name="connsiteY50" fmla="*/ 2963756 h 15946069"/>
                <a:gd name="connsiteX51" fmla="*/ 12493981 w 18171859"/>
                <a:gd name="connsiteY51" fmla="*/ 2927587 h 15946069"/>
                <a:gd name="connsiteX52" fmla="*/ 11976717 w 18171859"/>
                <a:gd name="connsiteY52" fmla="*/ 2139025 h 15946069"/>
                <a:gd name="connsiteX53" fmla="*/ 11484768 w 18171859"/>
                <a:gd name="connsiteY53" fmla="*/ 1495155 h 15946069"/>
                <a:gd name="connsiteX54" fmla="*/ 10830043 w 18171859"/>
                <a:gd name="connsiteY54" fmla="*/ 1256418 h 15946069"/>
                <a:gd name="connsiteX55" fmla="*/ 10323633 w 18171859"/>
                <a:gd name="connsiteY55" fmla="*/ 1220249 h 15946069"/>
                <a:gd name="connsiteX56" fmla="*/ 9802745 w 18171859"/>
                <a:gd name="connsiteY56" fmla="*/ 1603676 h 15946069"/>
                <a:gd name="connsiteX57" fmla="*/ 9223982 w 18171859"/>
                <a:gd name="connsiteY57" fmla="*/ 1621761 h 15946069"/>
                <a:gd name="connsiteX58" fmla="*/ 8782678 w 18171859"/>
                <a:gd name="connsiteY58" fmla="*/ 2171586 h 15946069"/>
                <a:gd name="connsiteX59" fmla="*/ 8272645 w 18171859"/>
                <a:gd name="connsiteY59" fmla="*/ 2102856 h 15946069"/>
                <a:gd name="connsiteX60" fmla="*/ 7853048 w 18171859"/>
                <a:gd name="connsiteY60" fmla="*/ 2526075 h 15946069"/>
                <a:gd name="connsiteX61" fmla="*/ 7323799 w 18171859"/>
                <a:gd name="connsiteY61" fmla="*/ 2632907 h 15946069"/>
                <a:gd name="connsiteX62" fmla="*/ 6977672 w 18171859"/>
                <a:gd name="connsiteY62" fmla="*/ 2178817 h 15946069"/>
                <a:gd name="connsiteX63" fmla="*/ 6594245 w 18171859"/>
                <a:gd name="connsiteY63" fmla="*/ 2055834 h 15946069"/>
                <a:gd name="connsiteX64" fmla="*/ 6431470 w 18171859"/>
                <a:gd name="connsiteY64" fmla="*/ 1314295 h 15946069"/>
                <a:gd name="connsiteX65" fmla="*/ 5642908 w 18171859"/>
                <a:gd name="connsiteY65" fmla="*/ 1343233 h 15946069"/>
                <a:gd name="connsiteX66" fmla="*/ 5150959 w 18171859"/>
                <a:gd name="connsiteY66" fmla="*/ 1610907 h 15946069"/>
                <a:gd name="connsiteX67" fmla="*/ 5480133 w 18171859"/>
                <a:gd name="connsiteY67" fmla="*/ 2167963 h 15946069"/>
                <a:gd name="connsiteX68" fmla="*/ 4742216 w 18171859"/>
                <a:gd name="connsiteY68" fmla="*/ 2862495 h 15946069"/>
                <a:gd name="connsiteX69" fmla="*/ 2658667 w 18171859"/>
                <a:gd name="connsiteY69" fmla="*/ 0 h 15946069"/>
                <a:gd name="connsiteX70" fmla="*/ 2658682 w 18171859"/>
                <a:gd name="connsiteY70" fmla="*/ 1018890 h 15946069"/>
                <a:gd name="connsiteX71" fmla="*/ 1850829 w 18171859"/>
                <a:gd name="connsiteY71" fmla="*/ 1730283 h 15946069"/>
                <a:gd name="connsiteX72" fmla="*/ 1404694 w 18171859"/>
                <a:gd name="connsiteY72" fmla="*/ 2272862 h 15946069"/>
                <a:gd name="connsiteX73" fmla="*/ 2351216 w 18171859"/>
                <a:gd name="connsiteY73" fmla="*/ 3388182 h 15946069"/>
                <a:gd name="connsiteX74" fmla="*/ 2658682 w 18171859"/>
                <a:gd name="connsiteY74" fmla="*/ 4286458 h 15946069"/>
                <a:gd name="connsiteX75" fmla="*/ 1935228 w 18171859"/>
                <a:gd name="connsiteY75" fmla="*/ 5220918 h 15946069"/>
                <a:gd name="connsiteX76" fmla="*/ 875281 w 18171859"/>
                <a:gd name="connsiteY76" fmla="*/ 5166646 h 15946069"/>
                <a:gd name="connsiteX77" fmla="*/ 0 w 18171859"/>
                <a:gd name="connsiteY77" fmla="*/ 5890112 h 15946069"/>
                <a:gd name="connsiteX78" fmla="*/ 72345 w 18171859"/>
                <a:gd name="connsiteY78" fmla="*/ 6921032 h 15946069"/>
                <a:gd name="connsiteX79" fmla="*/ 477776 w 18171859"/>
                <a:gd name="connsiteY79"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5946033 w 18171859"/>
                <a:gd name="connsiteY39" fmla="*/ 8440272 h 15946069"/>
                <a:gd name="connsiteX40" fmla="*/ 16024409 w 18171859"/>
                <a:gd name="connsiteY40" fmla="*/ 7433474 h 15946069"/>
                <a:gd name="connsiteX41" fmla="*/ 16958870 w 18171859"/>
                <a:gd name="connsiteY41" fmla="*/ 6776350 h 15946069"/>
                <a:gd name="connsiteX42" fmla="*/ 17911414 w 18171859"/>
                <a:gd name="connsiteY42" fmla="*/ 6083041 h 15946069"/>
                <a:gd name="connsiteX43" fmla="*/ 17694370 w 18171859"/>
                <a:gd name="connsiteY43" fmla="*/ 5570592 h 15946069"/>
                <a:gd name="connsiteX44" fmla="*/ 17385711 w 18171859"/>
                <a:gd name="connsiteY44" fmla="*/ 5219213 h 15946069"/>
                <a:gd name="connsiteX45" fmla="*/ 18171858 w 18171859"/>
                <a:gd name="connsiteY45" fmla="*/ 4701949 h 15946069"/>
                <a:gd name="connsiteX46" fmla="*/ 17814953 w 18171859"/>
                <a:gd name="connsiteY46" fmla="*/ 4117660 h 15946069"/>
                <a:gd name="connsiteX47" fmla="*/ 16852763 w 18171859"/>
                <a:gd name="connsiteY47" fmla="*/ 3282076 h 15946069"/>
                <a:gd name="connsiteX48" fmla="*/ 14429201 w 18171859"/>
                <a:gd name="connsiteY48" fmla="*/ 4027238 h 15946069"/>
                <a:gd name="connsiteX49" fmla="*/ 13383819 w 18171859"/>
                <a:gd name="connsiteY49" fmla="*/ 2963756 h 15946069"/>
                <a:gd name="connsiteX50" fmla="*/ 12493981 w 18171859"/>
                <a:gd name="connsiteY50" fmla="*/ 2927587 h 15946069"/>
                <a:gd name="connsiteX51" fmla="*/ 11976717 w 18171859"/>
                <a:gd name="connsiteY51" fmla="*/ 2139025 h 15946069"/>
                <a:gd name="connsiteX52" fmla="*/ 11484768 w 18171859"/>
                <a:gd name="connsiteY52" fmla="*/ 1495155 h 15946069"/>
                <a:gd name="connsiteX53" fmla="*/ 10830043 w 18171859"/>
                <a:gd name="connsiteY53" fmla="*/ 1256418 h 15946069"/>
                <a:gd name="connsiteX54" fmla="*/ 10323633 w 18171859"/>
                <a:gd name="connsiteY54" fmla="*/ 1220249 h 15946069"/>
                <a:gd name="connsiteX55" fmla="*/ 9802745 w 18171859"/>
                <a:gd name="connsiteY55" fmla="*/ 1603676 h 15946069"/>
                <a:gd name="connsiteX56" fmla="*/ 9223982 w 18171859"/>
                <a:gd name="connsiteY56" fmla="*/ 1621761 h 15946069"/>
                <a:gd name="connsiteX57" fmla="*/ 8782678 w 18171859"/>
                <a:gd name="connsiteY57" fmla="*/ 2171586 h 15946069"/>
                <a:gd name="connsiteX58" fmla="*/ 8272645 w 18171859"/>
                <a:gd name="connsiteY58" fmla="*/ 2102856 h 15946069"/>
                <a:gd name="connsiteX59" fmla="*/ 7853048 w 18171859"/>
                <a:gd name="connsiteY59" fmla="*/ 2526075 h 15946069"/>
                <a:gd name="connsiteX60" fmla="*/ 7323799 w 18171859"/>
                <a:gd name="connsiteY60" fmla="*/ 2632907 h 15946069"/>
                <a:gd name="connsiteX61" fmla="*/ 6977672 w 18171859"/>
                <a:gd name="connsiteY61" fmla="*/ 2178817 h 15946069"/>
                <a:gd name="connsiteX62" fmla="*/ 6594245 w 18171859"/>
                <a:gd name="connsiteY62" fmla="*/ 2055834 h 15946069"/>
                <a:gd name="connsiteX63" fmla="*/ 6431470 w 18171859"/>
                <a:gd name="connsiteY63" fmla="*/ 1314295 h 15946069"/>
                <a:gd name="connsiteX64" fmla="*/ 5642908 w 18171859"/>
                <a:gd name="connsiteY64" fmla="*/ 1343233 h 15946069"/>
                <a:gd name="connsiteX65" fmla="*/ 5150959 w 18171859"/>
                <a:gd name="connsiteY65" fmla="*/ 1610907 h 15946069"/>
                <a:gd name="connsiteX66" fmla="*/ 5480133 w 18171859"/>
                <a:gd name="connsiteY66" fmla="*/ 2167963 h 15946069"/>
                <a:gd name="connsiteX67" fmla="*/ 4742216 w 18171859"/>
                <a:gd name="connsiteY67" fmla="*/ 2862495 h 15946069"/>
                <a:gd name="connsiteX68" fmla="*/ 2658667 w 18171859"/>
                <a:gd name="connsiteY68" fmla="*/ 0 h 15946069"/>
                <a:gd name="connsiteX69" fmla="*/ 2658682 w 18171859"/>
                <a:gd name="connsiteY69" fmla="*/ 1018890 h 15946069"/>
                <a:gd name="connsiteX70" fmla="*/ 1850829 w 18171859"/>
                <a:gd name="connsiteY70" fmla="*/ 1730283 h 15946069"/>
                <a:gd name="connsiteX71" fmla="*/ 1404694 w 18171859"/>
                <a:gd name="connsiteY71" fmla="*/ 2272862 h 15946069"/>
                <a:gd name="connsiteX72" fmla="*/ 2351216 w 18171859"/>
                <a:gd name="connsiteY72" fmla="*/ 3388182 h 15946069"/>
                <a:gd name="connsiteX73" fmla="*/ 2658682 w 18171859"/>
                <a:gd name="connsiteY73" fmla="*/ 4286458 h 15946069"/>
                <a:gd name="connsiteX74" fmla="*/ 1935228 w 18171859"/>
                <a:gd name="connsiteY74" fmla="*/ 5220918 h 15946069"/>
                <a:gd name="connsiteX75" fmla="*/ 875281 w 18171859"/>
                <a:gd name="connsiteY75" fmla="*/ 5166646 h 15946069"/>
                <a:gd name="connsiteX76" fmla="*/ 0 w 18171859"/>
                <a:gd name="connsiteY76" fmla="*/ 5890112 h 15946069"/>
                <a:gd name="connsiteX77" fmla="*/ 72345 w 18171859"/>
                <a:gd name="connsiteY77" fmla="*/ 6921032 h 15946069"/>
                <a:gd name="connsiteX78" fmla="*/ 477776 w 18171859"/>
                <a:gd name="connsiteY78"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5946033 w 18171859"/>
                <a:gd name="connsiteY39" fmla="*/ 8440272 h 15946069"/>
                <a:gd name="connsiteX40" fmla="*/ 16024409 w 18171859"/>
                <a:gd name="connsiteY40" fmla="*/ 7433474 h 15946069"/>
                <a:gd name="connsiteX41" fmla="*/ 16958870 w 18171859"/>
                <a:gd name="connsiteY41" fmla="*/ 6776350 h 15946069"/>
                <a:gd name="connsiteX42" fmla="*/ 17911414 w 18171859"/>
                <a:gd name="connsiteY42" fmla="*/ 6083041 h 15946069"/>
                <a:gd name="connsiteX43" fmla="*/ 17385711 w 18171859"/>
                <a:gd name="connsiteY43" fmla="*/ 5219213 h 15946069"/>
                <a:gd name="connsiteX44" fmla="*/ 18171858 w 18171859"/>
                <a:gd name="connsiteY44" fmla="*/ 4701949 h 15946069"/>
                <a:gd name="connsiteX45" fmla="*/ 17814953 w 18171859"/>
                <a:gd name="connsiteY45" fmla="*/ 4117660 h 15946069"/>
                <a:gd name="connsiteX46" fmla="*/ 16852763 w 18171859"/>
                <a:gd name="connsiteY46" fmla="*/ 3282076 h 15946069"/>
                <a:gd name="connsiteX47" fmla="*/ 14429201 w 18171859"/>
                <a:gd name="connsiteY47" fmla="*/ 4027238 h 15946069"/>
                <a:gd name="connsiteX48" fmla="*/ 13383819 w 18171859"/>
                <a:gd name="connsiteY48" fmla="*/ 2963756 h 15946069"/>
                <a:gd name="connsiteX49" fmla="*/ 12493981 w 18171859"/>
                <a:gd name="connsiteY49" fmla="*/ 2927587 h 15946069"/>
                <a:gd name="connsiteX50" fmla="*/ 11976717 w 18171859"/>
                <a:gd name="connsiteY50" fmla="*/ 2139025 h 15946069"/>
                <a:gd name="connsiteX51" fmla="*/ 11484768 w 18171859"/>
                <a:gd name="connsiteY51" fmla="*/ 1495155 h 15946069"/>
                <a:gd name="connsiteX52" fmla="*/ 10830043 w 18171859"/>
                <a:gd name="connsiteY52" fmla="*/ 1256418 h 15946069"/>
                <a:gd name="connsiteX53" fmla="*/ 10323633 w 18171859"/>
                <a:gd name="connsiteY53" fmla="*/ 1220249 h 15946069"/>
                <a:gd name="connsiteX54" fmla="*/ 9802745 w 18171859"/>
                <a:gd name="connsiteY54" fmla="*/ 1603676 h 15946069"/>
                <a:gd name="connsiteX55" fmla="*/ 9223982 w 18171859"/>
                <a:gd name="connsiteY55" fmla="*/ 1621761 h 15946069"/>
                <a:gd name="connsiteX56" fmla="*/ 8782678 w 18171859"/>
                <a:gd name="connsiteY56" fmla="*/ 2171586 h 15946069"/>
                <a:gd name="connsiteX57" fmla="*/ 8272645 w 18171859"/>
                <a:gd name="connsiteY57" fmla="*/ 2102856 h 15946069"/>
                <a:gd name="connsiteX58" fmla="*/ 7853048 w 18171859"/>
                <a:gd name="connsiteY58" fmla="*/ 2526075 h 15946069"/>
                <a:gd name="connsiteX59" fmla="*/ 7323799 w 18171859"/>
                <a:gd name="connsiteY59" fmla="*/ 2632907 h 15946069"/>
                <a:gd name="connsiteX60" fmla="*/ 6977672 w 18171859"/>
                <a:gd name="connsiteY60" fmla="*/ 2178817 h 15946069"/>
                <a:gd name="connsiteX61" fmla="*/ 6594245 w 18171859"/>
                <a:gd name="connsiteY61" fmla="*/ 2055834 h 15946069"/>
                <a:gd name="connsiteX62" fmla="*/ 6431470 w 18171859"/>
                <a:gd name="connsiteY62" fmla="*/ 1314295 h 15946069"/>
                <a:gd name="connsiteX63" fmla="*/ 5642908 w 18171859"/>
                <a:gd name="connsiteY63" fmla="*/ 1343233 h 15946069"/>
                <a:gd name="connsiteX64" fmla="*/ 5150959 w 18171859"/>
                <a:gd name="connsiteY64" fmla="*/ 1610907 h 15946069"/>
                <a:gd name="connsiteX65" fmla="*/ 5480133 w 18171859"/>
                <a:gd name="connsiteY65" fmla="*/ 2167963 h 15946069"/>
                <a:gd name="connsiteX66" fmla="*/ 4742216 w 18171859"/>
                <a:gd name="connsiteY66" fmla="*/ 2862495 h 15946069"/>
                <a:gd name="connsiteX67" fmla="*/ 2658667 w 18171859"/>
                <a:gd name="connsiteY67" fmla="*/ 0 h 15946069"/>
                <a:gd name="connsiteX68" fmla="*/ 2658682 w 18171859"/>
                <a:gd name="connsiteY68" fmla="*/ 1018890 h 15946069"/>
                <a:gd name="connsiteX69" fmla="*/ 1850829 w 18171859"/>
                <a:gd name="connsiteY69" fmla="*/ 1730283 h 15946069"/>
                <a:gd name="connsiteX70" fmla="*/ 1404694 w 18171859"/>
                <a:gd name="connsiteY70" fmla="*/ 2272862 h 15946069"/>
                <a:gd name="connsiteX71" fmla="*/ 2351216 w 18171859"/>
                <a:gd name="connsiteY71" fmla="*/ 3388182 h 15946069"/>
                <a:gd name="connsiteX72" fmla="*/ 2658682 w 18171859"/>
                <a:gd name="connsiteY72" fmla="*/ 4286458 h 15946069"/>
                <a:gd name="connsiteX73" fmla="*/ 1935228 w 18171859"/>
                <a:gd name="connsiteY73" fmla="*/ 5220918 h 15946069"/>
                <a:gd name="connsiteX74" fmla="*/ 875281 w 18171859"/>
                <a:gd name="connsiteY74" fmla="*/ 5166646 h 15946069"/>
                <a:gd name="connsiteX75" fmla="*/ 0 w 18171859"/>
                <a:gd name="connsiteY75" fmla="*/ 5890112 h 15946069"/>
                <a:gd name="connsiteX76" fmla="*/ 72345 w 18171859"/>
                <a:gd name="connsiteY76" fmla="*/ 6921032 h 15946069"/>
                <a:gd name="connsiteX77" fmla="*/ 477776 w 18171859"/>
                <a:gd name="connsiteY77"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5946033 w 18171859"/>
                <a:gd name="connsiteY39" fmla="*/ 8440272 h 15946069"/>
                <a:gd name="connsiteX40" fmla="*/ 16024409 w 18171859"/>
                <a:gd name="connsiteY40" fmla="*/ 7433474 h 15946069"/>
                <a:gd name="connsiteX41" fmla="*/ 17911414 w 18171859"/>
                <a:gd name="connsiteY41" fmla="*/ 6083041 h 15946069"/>
                <a:gd name="connsiteX42" fmla="*/ 17385711 w 18171859"/>
                <a:gd name="connsiteY42" fmla="*/ 5219213 h 15946069"/>
                <a:gd name="connsiteX43" fmla="*/ 18171858 w 18171859"/>
                <a:gd name="connsiteY43" fmla="*/ 4701949 h 15946069"/>
                <a:gd name="connsiteX44" fmla="*/ 17814953 w 18171859"/>
                <a:gd name="connsiteY44" fmla="*/ 4117660 h 15946069"/>
                <a:gd name="connsiteX45" fmla="*/ 16852763 w 18171859"/>
                <a:gd name="connsiteY45" fmla="*/ 3282076 h 15946069"/>
                <a:gd name="connsiteX46" fmla="*/ 14429201 w 18171859"/>
                <a:gd name="connsiteY46" fmla="*/ 4027238 h 15946069"/>
                <a:gd name="connsiteX47" fmla="*/ 13383819 w 18171859"/>
                <a:gd name="connsiteY47" fmla="*/ 2963756 h 15946069"/>
                <a:gd name="connsiteX48" fmla="*/ 12493981 w 18171859"/>
                <a:gd name="connsiteY48" fmla="*/ 2927587 h 15946069"/>
                <a:gd name="connsiteX49" fmla="*/ 11976717 w 18171859"/>
                <a:gd name="connsiteY49" fmla="*/ 2139025 h 15946069"/>
                <a:gd name="connsiteX50" fmla="*/ 11484768 w 18171859"/>
                <a:gd name="connsiteY50" fmla="*/ 1495155 h 15946069"/>
                <a:gd name="connsiteX51" fmla="*/ 10830043 w 18171859"/>
                <a:gd name="connsiteY51" fmla="*/ 1256418 h 15946069"/>
                <a:gd name="connsiteX52" fmla="*/ 10323633 w 18171859"/>
                <a:gd name="connsiteY52" fmla="*/ 1220249 h 15946069"/>
                <a:gd name="connsiteX53" fmla="*/ 9802745 w 18171859"/>
                <a:gd name="connsiteY53" fmla="*/ 1603676 h 15946069"/>
                <a:gd name="connsiteX54" fmla="*/ 9223982 w 18171859"/>
                <a:gd name="connsiteY54" fmla="*/ 1621761 h 15946069"/>
                <a:gd name="connsiteX55" fmla="*/ 8782678 w 18171859"/>
                <a:gd name="connsiteY55" fmla="*/ 2171586 h 15946069"/>
                <a:gd name="connsiteX56" fmla="*/ 8272645 w 18171859"/>
                <a:gd name="connsiteY56" fmla="*/ 2102856 h 15946069"/>
                <a:gd name="connsiteX57" fmla="*/ 7853048 w 18171859"/>
                <a:gd name="connsiteY57" fmla="*/ 2526075 h 15946069"/>
                <a:gd name="connsiteX58" fmla="*/ 7323799 w 18171859"/>
                <a:gd name="connsiteY58" fmla="*/ 2632907 h 15946069"/>
                <a:gd name="connsiteX59" fmla="*/ 6977672 w 18171859"/>
                <a:gd name="connsiteY59" fmla="*/ 2178817 h 15946069"/>
                <a:gd name="connsiteX60" fmla="*/ 6594245 w 18171859"/>
                <a:gd name="connsiteY60" fmla="*/ 2055834 h 15946069"/>
                <a:gd name="connsiteX61" fmla="*/ 6431470 w 18171859"/>
                <a:gd name="connsiteY61" fmla="*/ 1314295 h 15946069"/>
                <a:gd name="connsiteX62" fmla="*/ 5642908 w 18171859"/>
                <a:gd name="connsiteY62" fmla="*/ 1343233 h 15946069"/>
                <a:gd name="connsiteX63" fmla="*/ 5150959 w 18171859"/>
                <a:gd name="connsiteY63" fmla="*/ 1610907 h 15946069"/>
                <a:gd name="connsiteX64" fmla="*/ 5480133 w 18171859"/>
                <a:gd name="connsiteY64" fmla="*/ 2167963 h 15946069"/>
                <a:gd name="connsiteX65" fmla="*/ 4742216 w 18171859"/>
                <a:gd name="connsiteY65" fmla="*/ 2862495 h 15946069"/>
                <a:gd name="connsiteX66" fmla="*/ 2658667 w 18171859"/>
                <a:gd name="connsiteY66" fmla="*/ 0 h 15946069"/>
                <a:gd name="connsiteX67" fmla="*/ 2658682 w 18171859"/>
                <a:gd name="connsiteY67" fmla="*/ 1018890 h 15946069"/>
                <a:gd name="connsiteX68" fmla="*/ 1850829 w 18171859"/>
                <a:gd name="connsiteY68" fmla="*/ 1730283 h 15946069"/>
                <a:gd name="connsiteX69" fmla="*/ 1404694 w 18171859"/>
                <a:gd name="connsiteY69" fmla="*/ 2272862 h 15946069"/>
                <a:gd name="connsiteX70" fmla="*/ 2351216 w 18171859"/>
                <a:gd name="connsiteY70" fmla="*/ 3388182 h 15946069"/>
                <a:gd name="connsiteX71" fmla="*/ 2658682 w 18171859"/>
                <a:gd name="connsiteY71" fmla="*/ 4286458 h 15946069"/>
                <a:gd name="connsiteX72" fmla="*/ 1935228 w 18171859"/>
                <a:gd name="connsiteY72" fmla="*/ 5220918 h 15946069"/>
                <a:gd name="connsiteX73" fmla="*/ 875281 w 18171859"/>
                <a:gd name="connsiteY73" fmla="*/ 5166646 h 15946069"/>
                <a:gd name="connsiteX74" fmla="*/ 0 w 18171859"/>
                <a:gd name="connsiteY74" fmla="*/ 5890112 h 15946069"/>
                <a:gd name="connsiteX75" fmla="*/ 72345 w 18171859"/>
                <a:gd name="connsiteY75" fmla="*/ 6921032 h 15946069"/>
                <a:gd name="connsiteX76" fmla="*/ 477776 w 18171859"/>
                <a:gd name="connsiteY76"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6024409 w 18171859"/>
                <a:gd name="connsiteY39" fmla="*/ 7433474 h 15946069"/>
                <a:gd name="connsiteX40" fmla="*/ 17911414 w 18171859"/>
                <a:gd name="connsiteY40" fmla="*/ 6083041 h 15946069"/>
                <a:gd name="connsiteX41" fmla="*/ 17385711 w 18171859"/>
                <a:gd name="connsiteY41" fmla="*/ 5219213 h 15946069"/>
                <a:gd name="connsiteX42" fmla="*/ 18171858 w 18171859"/>
                <a:gd name="connsiteY42" fmla="*/ 4701949 h 15946069"/>
                <a:gd name="connsiteX43" fmla="*/ 17814953 w 18171859"/>
                <a:gd name="connsiteY43" fmla="*/ 4117660 h 15946069"/>
                <a:gd name="connsiteX44" fmla="*/ 16852763 w 18171859"/>
                <a:gd name="connsiteY44" fmla="*/ 3282076 h 15946069"/>
                <a:gd name="connsiteX45" fmla="*/ 14429201 w 18171859"/>
                <a:gd name="connsiteY45" fmla="*/ 4027238 h 15946069"/>
                <a:gd name="connsiteX46" fmla="*/ 13383819 w 18171859"/>
                <a:gd name="connsiteY46" fmla="*/ 2963756 h 15946069"/>
                <a:gd name="connsiteX47" fmla="*/ 12493981 w 18171859"/>
                <a:gd name="connsiteY47" fmla="*/ 2927587 h 15946069"/>
                <a:gd name="connsiteX48" fmla="*/ 11976717 w 18171859"/>
                <a:gd name="connsiteY48" fmla="*/ 2139025 h 15946069"/>
                <a:gd name="connsiteX49" fmla="*/ 11484768 w 18171859"/>
                <a:gd name="connsiteY49" fmla="*/ 1495155 h 15946069"/>
                <a:gd name="connsiteX50" fmla="*/ 10830043 w 18171859"/>
                <a:gd name="connsiteY50" fmla="*/ 1256418 h 15946069"/>
                <a:gd name="connsiteX51" fmla="*/ 10323633 w 18171859"/>
                <a:gd name="connsiteY51" fmla="*/ 1220249 h 15946069"/>
                <a:gd name="connsiteX52" fmla="*/ 9802745 w 18171859"/>
                <a:gd name="connsiteY52" fmla="*/ 1603676 h 15946069"/>
                <a:gd name="connsiteX53" fmla="*/ 9223982 w 18171859"/>
                <a:gd name="connsiteY53" fmla="*/ 1621761 h 15946069"/>
                <a:gd name="connsiteX54" fmla="*/ 8782678 w 18171859"/>
                <a:gd name="connsiteY54" fmla="*/ 2171586 h 15946069"/>
                <a:gd name="connsiteX55" fmla="*/ 8272645 w 18171859"/>
                <a:gd name="connsiteY55" fmla="*/ 2102856 h 15946069"/>
                <a:gd name="connsiteX56" fmla="*/ 7853048 w 18171859"/>
                <a:gd name="connsiteY56" fmla="*/ 2526075 h 15946069"/>
                <a:gd name="connsiteX57" fmla="*/ 7323799 w 18171859"/>
                <a:gd name="connsiteY57" fmla="*/ 2632907 h 15946069"/>
                <a:gd name="connsiteX58" fmla="*/ 6977672 w 18171859"/>
                <a:gd name="connsiteY58" fmla="*/ 2178817 h 15946069"/>
                <a:gd name="connsiteX59" fmla="*/ 6594245 w 18171859"/>
                <a:gd name="connsiteY59" fmla="*/ 2055834 h 15946069"/>
                <a:gd name="connsiteX60" fmla="*/ 6431470 w 18171859"/>
                <a:gd name="connsiteY60" fmla="*/ 1314295 h 15946069"/>
                <a:gd name="connsiteX61" fmla="*/ 5642908 w 18171859"/>
                <a:gd name="connsiteY61" fmla="*/ 1343233 h 15946069"/>
                <a:gd name="connsiteX62" fmla="*/ 5150959 w 18171859"/>
                <a:gd name="connsiteY62" fmla="*/ 1610907 h 15946069"/>
                <a:gd name="connsiteX63" fmla="*/ 5480133 w 18171859"/>
                <a:gd name="connsiteY63" fmla="*/ 2167963 h 15946069"/>
                <a:gd name="connsiteX64" fmla="*/ 4742216 w 18171859"/>
                <a:gd name="connsiteY64" fmla="*/ 2862495 h 15946069"/>
                <a:gd name="connsiteX65" fmla="*/ 2658667 w 18171859"/>
                <a:gd name="connsiteY65" fmla="*/ 0 h 15946069"/>
                <a:gd name="connsiteX66" fmla="*/ 2658682 w 18171859"/>
                <a:gd name="connsiteY66" fmla="*/ 1018890 h 15946069"/>
                <a:gd name="connsiteX67" fmla="*/ 1850829 w 18171859"/>
                <a:gd name="connsiteY67" fmla="*/ 1730283 h 15946069"/>
                <a:gd name="connsiteX68" fmla="*/ 1404694 w 18171859"/>
                <a:gd name="connsiteY68" fmla="*/ 2272862 h 15946069"/>
                <a:gd name="connsiteX69" fmla="*/ 2351216 w 18171859"/>
                <a:gd name="connsiteY69" fmla="*/ 3388182 h 15946069"/>
                <a:gd name="connsiteX70" fmla="*/ 2658682 w 18171859"/>
                <a:gd name="connsiteY70" fmla="*/ 4286458 h 15946069"/>
                <a:gd name="connsiteX71" fmla="*/ 1935228 w 18171859"/>
                <a:gd name="connsiteY71" fmla="*/ 5220918 h 15946069"/>
                <a:gd name="connsiteX72" fmla="*/ 875281 w 18171859"/>
                <a:gd name="connsiteY72" fmla="*/ 5166646 h 15946069"/>
                <a:gd name="connsiteX73" fmla="*/ 0 w 18171859"/>
                <a:gd name="connsiteY73" fmla="*/ 5890112 h 15946069"/>
                <a:gd name="connsiteX74" fmla="*/ 72345 w 18171859"/>
                <a:gd name="connsiteY74" fmla="*/ 6921032 h 15946069"/>
                <a:gd name="connsiteX75" fmla="*/ 477776 w 18171859"/>
                <a:gd name="connsiteY75"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428336 w 18171859"/>
                <a:gd name="connsiteY37" fmla="*/ 9374732 h 15946069"/>
                <a:gd name="connsiteX38" fmla="*/ 16024409 w 18171859"/>
                <a:gd name="connsiteY38" fmla="*/ 7433474 h 15946069"/>
                <a:gd name="connsiteX39" fmla="*/ 17911414 w 18171859"/>
                <a:gd name="connsiteY39" fmla="*/ 6083041 h 15946069"/>
                <a:gd name="connsiteX40" fmla="*/ 17385711 w 18171859"/>
                <a:gd name="connsiteY40" fmla="*/ 5219213 h 15946069"/>
                <a:gd name="connsiteX41" fmla="*/ 18171858 w 18171859"/>
                <a:gd name="connsiteY41" fmla="*/ 4701949 h 15946069"/>
                <a:gd name="connsiteX42" fmla="*/ 17814953 w 18171859"/>
                <a:gd name="connsiteY42" fmla="*/ 4117660 h 15946069"/>
                <a:gd name="connsiteX43" fmla="*/ 16852763 w 18171859"/>
                <a:gd name="connsiteY43" fmla="*/ 3282076 h 15946069"/>
                <a:gd name="connsiteX44" fmla="*/ 14429201 w 18171859"/>
                <a:gd name="connsiteY44" fmla="*/ 4027238 h 15946069"/>
                <a:gd name="connsiteX45" fmla="*/ 13383819 w 18171859"/>
                <a:gd name="connsiteY45" fmla="*/ 2963756 h 15946069"/>
                <a:gd name="connsiteX46" fmla="*/ 12493981 w 18171859"/>
                <a:gd name="connsiteY46" fmla="*/ 2927587 h 15946069"/>
                <a:gd name="connsiteX47" fmla="*/ 11976717 w 18171859"/>
                <a:gd name="connsiteY47" fmla="*/ 2139025 h 15946069"/>
                <a:gd name="connsiteX48" fmla="*/ 11484768 w 18171859"/>
                <a:gd name="connsiteY48" fmla="*/ 1495155 h 15946069"/>
                <a:gd name="connsiteX49" fmla="*/ 10830043 w 18171859"/>
                <a:gd name="connsiteY49" fmla="*/ 1256418 h 15946069"/>
                <a:gd name="connsiteX50" fmla="*/ 10323633 w 18171859"/>
                <a:gd name="connsiteY50" fmla="*/ 1220249 h 15946069"/>
                <a:gd name="connsiteX51" fmla="*/ 9802745 w 18171859"/>
                <a:gd name="connsiteY51" fmla="*/ 1603676 h 15946069"/>
                <a:gd name="connsiteX52" fmla="*/ 9223982 w 18171859"/>
                <a:gd name="connsiteY52" fmla="*/ 1621761 h 15946069"/>
                <a:gd name="connsiteX53" fmla="*/ 8782678 w 18171859"/>
                <a:gd name="connsiteY53" fmla="*/ 2171586 h 15946069"/>
                <a:gd name="connsiteX54" fmla="*/ 8272645 w 18171859"/>
                <a:gd name="connsiteY54" fmla="*/ 2102856 h 15946069"/>
                <a:gd name="connsiteX55" fmla="*/ 7853048 w 18171859"/>
                <a:gd name="connsiteY55" fmla="*/ 2526075 h 15946069"/>
                <a:gd name="connsiteX56" fmla="*/ 7323799 w 18171859"/>
                <a:gd name="connsiteY56" fmla="*/ 2632907 h 15946069"/>
                <a:gd name="connsiteX57" fmla="*/ 6977672 w 18171859"/>
                <a:gd name="connsiteY57" fmla="*/ 2178817 h 15946069"/>
                <a:gd name="connsiteX58" fmla="*/ 6594245 w 18171859"/>
                <a:gd name="connsiteY58" fmla="*/ 2055834 h 15946069"/>
                <a:gd name="connsiteX59" fmla="*/ 6431470 w 18171859"/>
                <a:gd name="connsiteY59" fmla="*/ 1314295 h 15946069"/>
                <a:gd name="connsiteX60" fmla="*/ 5642908 w 18171859"/>
                <a:gd name="connsiteY60" fmla="*/ 1343233 h 15946069"/>
                <a:gd name="connsiteX61" fmla="*/ 5150959 w 18171859"/>
                <a:gd name="connsiteY61" fmla="*/ 1610907 h 15946069"/>
                <a:gd name="connsiteX62" fmla="*/ 5480133 w 18171859"/>
                <a:gd name="connsiteY62" fmla="*/ 2167963 h 15946069"/>
                <a:gd name="connsiteX63" fmla="*/ 4742216 w 18171859"/>
                <a:gd name="connsiteY63" fmla="*/ 2862495 h 15946069"/>
                <a:gd name="connsiteX64" fmla="*/ 2658667 w 18171859"/>
                <a:gd name="connsiteY64" fmla="*/ 0 h 15946069"/>
                <a:gd name="connsiteX65" fmla="*/ 2658682 w 18171859"/>
                <a:gd name="connsiteY65" fmla="*/ 1018890 h 15946069"/>
                <a:gd name="connsiteX66" fmla="*/ 1850829 w 18171859"/>
                <a:gd name="connsiteY66" fmla="*/ 1730283 h 15946069"/>
                <a:gd name="connsiteX67" fmla="*/ 1404694 w 18171859"/>
                <a:gd name="connsiteY67" fmla="*/ 2272862 h 15946069"/>
                <a:gd name="connsiteX68" fmla="*/ 2351216 w 18171859"/>
                <a:gd name="connsiteY68" fmla="*/ 3388182 h 15946069"/>
                <a:gd name="connsiteX69" fmla="*/ 2658682 w 18171859"/>
                <a:gd name="connsiteY69" fmla="*/ 4286458 h 15946069"/>
                <a:gd name="connsiteX70" fmla="*/ 1935228 w 18171859"/>
                <a:gd name="connsiteY70" fmla="*/ 5220918 h 15946069"/>
                <a:gd name="connsiteX71" fmla="*/ 875281 w 18171859"/>
                <a:gd name="connsiteY71" fmla="*/ 5166646 h 15946069"/>
                <a:gd name="connsiteX72" fmla="*/ 0 w 18171859"/>
                <a:gd name="connsiteY72" fmla="*/ 5890112 h 15946069"/>
                <a:gd name="connsiteX73" fmla="*/ 72345 w 18171859"/>
                <a:gd name="connsiteY73" fmla="*/ 6921032 h 15946069"/>
                <a:gd name="connsiteX74" fmla="*/ 477776 w 18171859"/>
                <a:gd name="connsiteY74"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6413199 w 18171859"/>
                <a:gd name="connsiteY35" fmla="*/ 10920339 h 15946069"/>
                <a:gd name="connsiteX36" fmla="*/ 16428336 w 18171859"/>
                <a:gd name="connsiteY36" fmla="*/ 9374732 h 15946069"/>
                <a:gd name="connsiteX37" fmla="*/ 16024409 w 18171859"/>
                <a:gd name="connsiteY37" fmla="*/ 7433474 h 15946069"/>
                <a:gd name="connsiteX38" fmla="*/ 17911414 w 18171859"/>
                <a:gd name="connsiteY38" fmla="*/ 6083041 h 15946069"/>
                <a:gd name="connsiteX39" fmla="*/ 17385711 w 18171859"/>
                <a:gd name="connsiteY39" fmla="*/ 5219213 h 15946069"/>
                <a:gd name="connsiteX40" fmla="*/ 18171858 w 18171859"/>
                <a:gd name="connsiteY40" fmla="*/ 4701949 h 15946069"/>
                <a:gd name="connsiteX41" fmla="*/ 17814953 w 18171859"/>
                <a:gd name="connsiteY41" fmla="*/ 4117660 h 15946069"/>
                <a:gd name="connsiteX42" fmla="*/ 16852763 w 18171859"/>
                <a:gd name="connsiteY42" fmla="*/ 3282076 h 15946069"/>
                <a:gd name="connsiteX43" fmla="*/ 14429201 w 18171859"/>
                <a:gd name="connsiteY43" fmla="*/ 4027238 h 15946069"/>
                <a:gd name="connsiteX44" fmla="*/ 13383819 w 18171859"/>
                <a:gd name="connsiteY44" fmla="*/ 2963756 h 15946069"/>
                <a:gd name="connsiteX45" fmla="*/ 12493981 w 18171859"/>
                <a:gd name="connsiteY45" fmla="*/ 2927587 h 15946069"/>
                <a:gd name="connsiteX46" fmla="*/ 11976717 w 18171859"/>
                <a:gd name="connsiteY46" fmla="*/ 2139025 h 15946069"/>
                <a:gd name="connsiteX47" fmla="*/ 11484768 w 18171859"/>
                <a:gd name="connsiteY47" fmla="*/ 1495155 h 15946069"/>
                <a:gd name="connsiteX48" fmla="*/ 10830043 w 18171859"/>
                <a:gd name="connsiteY48" fmla="*/ 1256418 h 15946069"/>
                <a:gd name="connsiteX49" fmla="*/ 10323633 w 18171859"/>
                <a:gd name="connsiteY49" fmla="*/ 1220249 h 15946069"/>
                <a:gd name="connsiteX50" fmla="*/ 9802745 w 18171859"/>
                <a:gd name="connsiteY50" fmla="*/ 1603676 h 15946069"/>
                <a:gd name="connsiteX51" fmla="*/ 9223982 w 18171859"/>
                <a:gd name="connsiteY51" fmla="*/ 1621761 h 15946069"/>
                <a:gd name="connsiteX52" fmla="*/ 8782678 w 18171859"/>
                <a:gd name="connsiteY52" fmla="*/ 2171586 h 15946069"/>
                <a:gd name="connsiteX53" fmla="*/ 8272645 w 18171859"/>
                <a:gd name="connsiteY53" fmla="*/ 2102856 h 15946069"/>
                <a:gd name="connsiteX54" fmla="*/ 7853048 w 18171859"/>
                <a:gd name="connsiteY54" fmla="*/ 2526075 h 15946069"/>
                <a:gd name="connsiteX55" fmla="*/ 7323799 w 18171859"/>
                <a:gd name="connsiteY55" fmla="*/ 2632907 h 15946069"/>
                <a:gd name="connsiteX56" fmla="*/ 6977672 w 18171859"/>
                <a:gd name="connsiteY56" fmla="*/ 2178817 h 15946069"/>
                <a:gd name="connsiteX57" fmla="*/ 6594245 w 18171859"/>
                <a:gd name="connsiteY57" fmla="*/ 2055834 h 15946069"/>
                <a:gd name="connsiteX58" fmla="*/ 6431470 w 18171859"/>
                <a:gd name="connsiteY58" fmla="*/ 1314295 h 15946069"/>
                <a:gd name="connsiteX59" fmla="*/ 5642908 w 18171859"/>
                <a:gd name="connsiteY59" fmla="*/ 1343233 h 15946069"/>
                <a:gd name="connsiteX60" fmla="*/ 5150959 w 18171859"/>
                <a:gd name="connsiteY60" fmla="*/ 1610907 h 15946069"/>
                <a:gd name="connsiteX61" fmla="*/ 5480133 w 18171859"/>
                <a:gd name="connsiteY61" fmla="*/ 2167963 h 15946069"/>
                <a:gd name="connsiteX62" fmla="*/ 4742216 w 18171859"/>
                <a:gd name="connsiteY62" fmla="*/ 2862495 h 15946069"/>
                <a:gd name="connsiteX63" fmla="*/ 2658667 w 18171859"/>
                <a:gd name="connsiteY63" fmla="*/ 0 h 15946069"/>
                <a:gd name="connsiteX64" fmla="*/ 2658682 w 18171859"/>
                <a:gd name="connsiteY64" fmla="*/ 1018890 h 15946069"/>
                <a:gd name="connsiteX65" fmla="*/ 1850829 w 18171859"/>
                <a:gd name="connsiteY65" fmla="*/ 1730283 h 15946069"/>
                <a:gd name="connsiteX66" fmla="*/ 1404694 w 18171859"/>
                <a:gd name="connsiteY66" fmla="*/ 2272862 h 15946069"/>
                <a:gd name="connsiteX67" fmla="*/ 2351216 w 18171859"/>
                <a:gd name="connsiteY67" fmla="*/ 3388182 h 15946069"/>
                <a:gd name="connsiteX68" fmla="*/ 2658682 w 18171859"/>
                <a:gd name="connsiteY68" fmla="*/ 4286458 h 15946069"/>
                <a:gd name="connsiteX69" fmla="*/ 1935228 w 18171859"/>
                <a:gd name="connsiteY69" fmla="*/ 5220918 h 15946069"/>
                <a:gd name="connsiteX70" fmla="*/ 875281 w 18171859"/>
                <a:gd name="connsiteY70" fmla="*/ 5166646 h 15946069"/>
                <a:gd name="connsiteX71" fmla="*/ 0 w 18171859"/>
                <a:gd name="connsiteY71" fmla="*/ 5890112 h 15946069"/>
                <a:gd name="connsiteX72" fmla="*/ 72345 w 18171859"/>
                <a:gd name="connsiteY72" fmla="*/ 6921032 h 15946069"/>
                <a:gd name="connsiteX73" fmla="*/ 477776 w 18171859"/>
                <a:gd name="connsiteY73"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5409477 w 18171859"/>
                <a:gd name="connsiteY33" fmla="*/ 11882693 h 15946069"/>
                <a:gd name="connsiteX34" fmla="*/ 16413199 w 18171859"/>
                <a:gd name="connsiteY34" fmla="*/ 10920339 h 15946069"/>
                <a:gd name="connsiteX35" fmla="*/ 16428336 w 18171859"/>
                <a:gd name="connsiteY35" fmla="*/ 9374732 h 15946069"/>
                <a:gd name="connsiteX36" fmla="*/ 16024409 w 18171859"/>
                <a:gd name="connsiteY36" fmla="*/ 7433474 h 15946069"/>
                <a:gd name="connsiteX37" fmla="*/ 17911414 w 18171859"/>
                <a:gd name="connsiteY37" fmla="*/ 6083041 h 15946069"/>
                <a:gd name="connsiteX38" fmla="*/ 17385711 w 18171859"/>
                <a:gd name="connsiteY38" fmla="*/ 5219213 h 15946069"/>
                <a:gd name="connsiteX39" fmla="*/ 18171858 w 18171859"/>
                <a:gd name="connsiteY39" fmla="*/ 4701949 h 15946069"/>
                <a:gd name="connsiteX40" fmla="*/ 17814953 w 18171859"/>
                <a:gd name="connsiteY40" fmla="*/ 4117660 h 15946069"/>
                <a:gd name="connsiteX41" fmla="*/ 16852763 w 18171859"/>
                <a:gd name="connsiteY41" fmla="*/ 3282076 h 15946069"/>
                <a:gd name="connsiteX42" fmla="*/ 14429201 w 18171859"/>
                <a:gd name="connsiteY42" fmla="*/ 4027238 h 15946069"/>
                <a:gd name="connsiteX43" fmla="*/ 13383819 w 18171859"/>
                <a:gd name="connsiteY43" fmla="*/ 2963756 h 15946069"/>
                <a:gd name="connsiteX44" fmla="*/ 12493981 w 18171859"/>
                <a:gd name="connsiteY44" fmla="*/ 2927587 h 15946069"/>
                <a:gd name="connsiteX45" fmla="*/ 11976717 w 18171859"/>
                <a:gd name="connsiteY45" fmla="*/ 2139025 h 15946069"/>
                <a:gd name="connsiteX46" fmla="*/ 11484768 w 18171859"/>
                <a:gd name="connsiteY46" fmla="*/ 1495155 h 15946069"/>
                <a:gd name="connsiteX47" fmla="*/ 10830043 w 18171859"/>
                <a:gd name="connsiteY47" fmla="*/ 1256418 h 15946069"/>
                <a:gd name="connsiteX48" fmla="*/ 10323633 w 18171859"/>
                <a:gd name="connsiteY48" fmla="*/ 1220249 h 15946069"/>
                <a:gd name="connsiteX49" fmla="*/ 9802745 w 18171859"/>
                <a:gd name="connsiteY49" fmla="*/ 1603676 h 15946069"/>
                <a:gd name="connsiteX50" fmla="*/ 9223982 w 18171859"/>
                <a:gd name="connsiteY50" fmla="*/ 1621761 h 15946069"/>
                <a:gd name="connsiteX51" fmla="*/ 8782678 w 18171859"/>
                <a:gd name="connsiteY51" fmla="*/ 2171586 h 15946069"/>
                <a:gd name="connsiteX52" fmla="*/ 8272645 w 18171859"/>
                <a:gd name="connsiteY52" fmla="*/ 2102856 h 15946069"/>
                <a:gd name="connsiteX53" fmla="*/ 7853048 w 18171859"/>
                <a:gd name="connsiteY53" fmla="*/ 2526075 h 15946069"/>
                <a:gd name="connsiteX54" fmla="*/ 7323799 w 18171859"/>
                <a:gd name="connsiteY54" fmla="*/ 2632907 h 15946069"/>
                <a:gd name="connsiteX55" fmla="*/ 6977672 w 18171859"/>
                <a:gd name="connsiteY55" fmla="*/ 2178817 h 15946069"/>
                <a:gd name="connsiteX56" fmla="*/ 6594245 w 18171859"/>
                <a:gd name="connsiteY56" fmla="*/ 2055834 h 15946069"/>
                <a:gd name="connsiteX57" fmla="*/ 6431470 w 18171859"/>
                <a:gd name="connsiteY57" fmla="*/ 1314295 h 15946069"/>
                <a:gd name="connsiteX58" fmla="*/ 5642908 w 18171859"/>
                <a:gd name="connsiteY58" fmla="*/ 1343233 h 15946069"/>
                <a:gd name="connsiteX59" fmla="*/ 5150959 w 18171859"/>
                <a:gd name="connsiteY59" fmla="*/ 1610907 h 15946069"/>
                <a:gd name="connsiteX60" fmla="*/ 5480133 w 18171859"/>
                <a:gd name="connsiteY60" fmla="*/ 2167963 h 15946069"/>
                <a:gd name="connsiteX61" fmla="*/ 4742216 w 18171859"/>
                <a:gd name="connsiteY61" fmla="*/ 2862495 h 15946069"/>
                <a:gd name="connsiteX62" fmla="*/ 2658667 w 18171859"/>
                <a:gd name="connsiteY62" fmla="*/ 0 h 15946069"/>
                <a:gd name="connsiteX63" fmla="*/ 2658682 w 18171859"/>
                <a:gd name="connsiteY63" fmla="*/ 1018890 h 15946069"/>
                <a:gd name="connsiteX64" fmla="*/ 1850829 w 18171859"/>
                <a:gd name="connsiteY64" fmla="*/ 1730283 h 15946069"/>
                <a:gd name="connsiteX65" fmla="*/ 1404694 w 18171859"/>
                <a:gd name="connsiteY65" fmla="*/ 2272862 h 15946069"/>
                <a:gd name="connsiteX66" fmla="*/ 2351216 w 18171859"/>
                <a:gd name="connsiteY66" fmla="*/ 3388182 h 15946069"/>
                <a:gd name="connsiteX67" fmla="*/ 2658682 w 18171859"/>
                <a:gd name="connsiteY67" fmla="*/ 4286458 h 15946069"/>
                <a:gd name="connsiteX68" fmla="*/ 1935228 w 18171859"/>
                <a:gd name="connsiteY68" fmla="*/ 5220918 h 15946069"/>
                <a:gd name="connsiteX69" fmla="*/ 875281 w 18171859"/>
                <a:gd name="connsiteY69" fmla="*/ 5166646 h 15946069"/>
                <a:gd name="connsiteX70" fmla="*/ 0 w 18171859"/>
                <a:gd name="connsiteY70" fmla="*/ 5890112 h 15946069"/>
                <a:gd name="connsiteX71" fmla="*/ 72345 w 18171859"/>
                <a:gd name="connsiteY71" fmla="*/ 6921032 h 15946069"/>
                <a:gd name="connsiteX72" fmla="*/ 477776 w 18171859"/>
                <a:gd name="connsiteY72"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4004775 w 18171859"/>
                <a:gd name="connsiteY31" fmla="*/ 11611395 h 15946069"/>
                <a:gd name="connsiteX32" fmla="*/ 15409477 w 18171859"/>
                <a:gd name="connsiteY32" fmla="*/ 11882693 h 15946069"/>
                <a:gd name="connsiteX33" fmla="*/ 16413199 w 18171859"/>
                <a:gd name="connsiteY33" fmla="*/ 10920339 h 15946069"/>
                <a:gd name="connsiteX34" fmla="*/ 16428336 w 18171859"/>
                <a:gd name="connsiteY34" fmla="*/ 9374732 h 15946069"/>
                <a:gd name="connsiteX35" fmla="*/ 16024409 w 18171859"/>
                <a:gd name="connsiteY35" fmla="*/ 7433474 h 15946069"/>
                <a:gd name="connsiteX36" fmla="*/ 17911414 w 18171859"/>
                <a:gd name="connsiteY36" fmla="*/ 6083041 h 15946069"/>
                <a:gd name="connsiteX37" fmla="*/ 17385711 w 18171859"/>
                <a:gd name="connsiteY37" fmla="*/ 5219213 h 15946069"/>
                <a:gd name="connsiteX38" fmla="*/ 18171858 w 18171859"/>
                <a:gd name="connsiteY38" fmla="*/ 4701949 h 15946069"/>
                <a:gd name="connsiteX39" fmla="*/ 17814953 w 18171859"/>
                <a:gd name="connsiteY39" fmla="*/ 4117660 h 15946069"/>
                <a:gd name="connsiteX40" fmla="*/ 16852763 w 18171859"/>
                <a:gd name="connsiteY40" fmla="*/ 3282076 h 15946069"/>
                <a:gd name="connsiteX41" fmla="*/ 14429201 w 18171859"/>
                <a:gd name="connsiteY41" fmla="*/ 4027238 h 15946069"/>
                <a:gd name="connsiteX42" fmla="*/ 13383819 w 18171859"/>
                <a:gd name="connsiteY42" fmla="*/ 2963756 h 15946069"/>
                <a:gd name="connsiteX43" fmla="*/ 12493981 w 18171859"/>
                <a:gd name="connsiteY43" fmla="*/ 2927587 h 15946069"/>
                <a:gd name="connsiteX44" fmla="*/ 11976717 w 18171859"/>
                <a:gd name="connsiteY44" fmla="*/ 2139025 h 15946069"/>
                <a:gd name="connsiteX45" fmla="*/ 11484768 w 18171859"/>
                <a:gd name="connsiteY45" fmla="*/ 1495155 h 15946069"/>
                <a:gd name="connsiteX46" fmla="*/ 10830043 w 18171859"/>
                <a:gd name="connsiteY46" fmla="*/ 1256418 h 15946069"/>
                <a:gd name="connsiteX47" fmla="*/ 10323633 w 18171859"/>
                <a:gd name="connsiteY47" fmla="*/ 1220249 h 15946069"/>
                <a:gd name="connsiteX48" fmla="*/ 9802745 w 18171859"/>
                <a:gd name="connsiteY48" fmla="*/ 1603676 h 15946069"/>
                <a:gd name="connsiteX49" fmla="*/ 9223982 w 18171859"/>
                <a:gd name="connsiteY49" fmla="*/ 1621761 h 15946069"/>
                <a:gd name="connsiteX50" fmla="*/ 8782678 w 18171859"/>
                <a:gd name="connsiteY50" fmla="*/ 2171586 h 15946069"/>
                <a:gd name="connsiteX51" fmla="*/ 8272645 w 18171859"/>
                <a:gd name="connsiteY51" fmla="*/ 2102856 h 15946069"/>
                <a:gd name="connsiteX52" fmla="*/ 7853048 w 18171859"/>
                <a:gd name="connsiteY52" fmla="*/ 2526075 h 15946069"/>
                <a:gd name="connsiteX53" fmla="*/ 7323799 w 18171859"/>
                <a:gd name="connsiteY53" fmla="*/ 2632907 h 15946069"/>
                <a:gd name="connsiteX54" fmla="*/ 6977672 w 18171859"/>
                <a:gd name="connsiteY54" fmla="*/ 2178817 h 15946069"/>
                <a:gd name="connsiteX55" fmla="*/ 6594245 w 18171859"/>
                <a:gd name="connsiteY55" fmla="*/ 2055834 h 15946069"/>
                <a:gd name="connsiteX56" fmla="*/ 6431470 w 18171859"/>
                <a:gd name="connsiteY56" fmla="*/ 1314295 h 15946069"/>
                <a:gd name="connsiteX57" fmla="*/ 5642908 w 18171859"/>
                <a:gd name="connsiteY57" fmla="*/ 1343233 h 15946069"/>
                <a:gd name="connsiteX58" fmla="*/ 5150959 w 18171859"/>
                <a:gd name="connsiteY58" fmla="*/ 1610907 h 15946069"/>
                <a:gd name="connsiteX59" fmla="*/ 5480133 w 18171859"/>
                <a:gd name="connsiteY59" fmla="*/ 2167963 h 15946069"/>
                <a:gd name="connsiteX60" fmla="*/ 4742216 w 18171859"/>
                <a:gd name="connsiteY60" fmla="*/ 2862495 h 15946069"/>
                <a:gd name="connsiteX61" fmla="*/ 2658667 w 18171859"/>
                <a:gd name="connsiteY61" fmla="*/ 0 h 15946069"/>
                <a:gd name="connsiteX62" fmla="*/ 2658682 w 18171859"/>
                <a:gd name="connsiteY62" fmla="*/ 1018890 h 15946069"/>
                <a:gd name="connsiteX63" fmla="*/ 1850829 w 18171859"/>
                <a:gd name="connsiteY63" fmla="*/ 1730283 h 15946069"/>
                <a:gd name="connsiteX64" fmla="*/ 1404694 w 18171859"/>
                <a:gd name="connsiteY64" fmla="*/ 2272862 h 15946069"/>
                <a:gd name="connsiteX65" fmla="*/ 2351216 w 18171859"/>
                <a:gd name="connsiteY65" fmla="*/ 3388182 h 15946069"/>
                <a:gd name="connsiteX66" fmla="*/ 2658682 w 18171859"/>
                <a:gd name="connsiteY66" fmla="*/ 4286458 h 15946069"/>
                <a:gd name="connsiteX67" fmla="*/ 1935228 w 18171859"/>
                <a:gd name="connsiteY67" fmla="*/ 5220918 h 15946069"/>
                <a:gd name="connsiteX68" fmla="*/ 875281 w 18171859"/>
                <a:gd name="connsiteY68" fmla="*/ 5166646 h 15946069"/>
                <a:gd name="connsiteX69" fmla="*/ 0 w 18171859"/>
                <a:gd name="connsiteY69" fmla="*/ 5890112 h 15946069"/>
                <a:gd name="connsiteX70" fmla="*/ 72345 w 18171859"/>
                <a:gd name="connsiteY70" fmla="*/ 6921032 h 15946069"/>
                <a:gd name="connsiteX71" fmla="*/ 477776 w 18171859"/>
                <a:gd name="connsiteY7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2196146 w 18171859"/>
                <a:gd name="connsiteY29" fmla="*/ 11388328 h 15946069"/>
                <a:gd name="connsiteX30" fmla="*/ 14004775 w 18171859"/>
                <a:gd name="connsiteY30" fmla="*/ 11611395 h 15946069"/>
                <a:gd name="connsiteX31" fmla="*/ 15409477 w 18171859"/>
                <a:gd name="connsiteY31" fmla="*/ 11882693 h 15946069"/>
                <a:gd name="connsiteX32" fmla="*/ 16413199 w 18171859"/>
                <a:gd name="connsiteY32" fmla="*/ 10920339 h 15946069"/>
                <a:gd name="connsiteX33" fmla="*/ 16428336 w 18171859"/>
                <a:gd name="connsiteY33" fmla="*/ 9374732 h 15946069"/>
                <a:gd name="connsiteX34" fmla="*/ 16024409 w 18171859"/>
                <a:gd name="connsiteY34" fmla="*/ 7433474 h 15946069"/>
                <a:gd name="connsiteX35" fmla="*/ 17911414 w 18171859"/>
                <a:gd name="connsiteY35" fmla="*/ 6083041 h 15946069"/>
                <a:gd name="connsiteX36" fmla="*/ 17385711 w 18171859"/>
                <a:gd name="connsiteY36" fmla="*/ 5219213 h 15946069"/>
                <a:gd name="connsiteX37" fmla="*/ 18171858 w 18171859"/>
                <a:gd name="connsiteY37" fmla="*/ 4701949 h 15946069"/>
                <a:gd name="connsiteX38" fmla="*/ 17814953 w 18171859"/>
                <a:gd name="connsiteY38" fmla="*/ 4117660 h 15946069"/>
                <a:gd name="connsiteX39" fmla="*/ 16852763 w 18171859"/>
                <a:gd name="connsiteY39" fmla="*/ 3282076 h 15946069"/>
                <a:gd name="connsiteX40" fmla="*/ 14429201 w 18171859"/>
                <a:gd name="connsiteY40" fmla="*/ 4027238 h 15946069"/>
                <a:gd name="connsiteX41" fmla="*/ 13383819 w 18171859"/>
                <a:gd name="connsiteY41" fmla="*/ 2963756 h 15946069"/>
                <a:gd name="connsiteX42" fmla="*/ 12493981 w 18171859"/>
                <a:gd name="connsiteY42" fmla="*/ 2927587 h 15946069"/>
                <a:gd name="connsiteX43" fmla="*/ 11976717 w 18171859"/>
                <a:gd name="connsiteY43" fmla="*/ 2139025 h 15946069"/>
                <a:gd name="connsiteX44" fmla="*/ 11484768 w 18171859"/>
                <a:gd name="connsiteY44" fmla="*/ 1495155 h 15946069"/>
                <a:gd name="connsiteX45" fmla="*/ 10830043 w 18171859"/>
                <a:gd name="connsiteY45" fmla="*/ 1256418 h 15946069"/>
                <a:gd name="connsiteX46" fmla="*/ 10323633 w 18171859"/>
                <a:gd name="connsiteY46" fmla="*/ 1220249 h 15946069"/>
                <a:gd name="connsiteX47" fmla="*/ 9802745 w 18171859"/>
                <a:gd name="connsiteY47" fmla="*/ 1603676 h 15946069"/>
                <a:gd name="connsiteX48" fmla="*/ 9223982 w 18171859"/>
                <a:gd name="connsiteY48" fmla="*/ 1621761 h 15946069"/>
                <a:gd name="connsiteX49" fmla="*/ 8782678 w 18171859"/>
                <a:gd name="connsiteY49" fmla="*/ 2171586 h 15946069"/>
                <a:gd name="connsiteX50" fmla="*/ 8272645 w 18171859"/>
                <a:gd name="connsiteY50" fmla="*/ 2102856 h 15946069"/>
                <a:gd name="connsiteX51" fmla="*/ 7853048 w 18171859"/>
                <a:gd name="connsiteY51" fmla="*/ 2526075 h 15946069"/>
                <a:gd name="connsiteX52" fmla="*/ 7323799 w 18171859"/>
                <a:gd name="connsiteY52" fmla="*/ 2632907 h 15946069"/>
                <a:gd name="connsiteX53" fmla="*/ 6977672 w 18171859"/>
                <a:gd name="connsiteY53" fmla="*/ 2178817 h 15946069"/>
                <a:gd name="connsiteX54" fmla="*/ 6594245 w 18171859"/>
                <a:gd name="connsiteY54" fmla="*/ 2055834 h 15946069"/>
                <a:gd name="connsiteX55" fmla="*/ 6431470 w 18171859"/>
                <a:gd name="connsiteY55" fmla="*/ 1314295 h 15946069"/>
                <a:gd name="connsiteX56" fmla="*/ 5642908 w 18171859"/>
                <a:gd name="connsiteY56" fmla="*/ 1343233 h 15946069"/>
                <a:gd name="connsiteX57" fmla="*/ 5150959 w 18171859"/>
                <a:gd name="connsiteY57" fmla="*/ 1610907 h 15946069"/>
                <a:gd name="connsiteX58" fmla="*/ 5480133 w 18171859"/>
                <a:gd name="connsiteY58" fmla="*/ 2167963 h 15946069"/>
                <a:gd name="connsiteX59" fmla="*/ 4742216 w 18171859"/>
                <a:gd name="connsiteY59" fmla="*/ 2862495 h 15946069"/>
                <a:gd name="connsiteX60" fmla="*/ 2658667 w 18171859"/>
                <a:gd name="connsiteY60" fmla="*/ 0 h 15946069"/>
                <a:gd name="connsiteX61" fmla="*/ 2658682 w 18171859"/>
                <a:gd name="connsiteY61" fmla="*/ 1018890 h 15946069"/>
                <a:gd name="connsiteX62" fmla="*/ 1850829 w 18171859"/>
                <a:gd name="connsiteY62" fmla="*/ 1730283 h 15946069"/>
                <a:gd name="connsiteX63" fmla="*/ 1404694 w 18171859"/>
                <a:gd name="connsiteY63" fmla="*/ 2272862 h 15946069"/>
                <a:gd name="connsiteX64" fmla="*/ 2351216 w 18171859"/>
                <a:gd name="connsiteY64" fmla="*/ 3388182 h 15946069"/>
                <a:gd name="connsiteX65" fmla="*/ 2658682 w 18171859"/>
                <a:gd name="connsiteY65" fmla="*/ 4286458 h 15946069"/>
                <a:gd name="connsiteX66" fmla="*/ 1935228 w 18171859"/>
                <a:gd name="connsiteY66" fmla="*/ 5220918 h 15946069"/>
                <a:gd name="connsiteX67" fmla="*/ 875281 w 18171859"/>
                <a:gd name="connsiteY67" fmla="*/ 5166646 h 15946069"/>
                <a:gd name="connsiteX68" fmla="*/ 0 w 18171859"/>
                <a:gd name="connsiteY68" fmla="*/ 5890112 h 15946069"/>
                <a:gd name="connsiteX69" fmla="*/ 72345 w 18171859"/>
                <a:gd name="connsiteY69" fmla="*/ 6921032 h 15946069"/>
                <a:gd name="connsiteX70" fmla="*/ 477776 w 18171859"/>
                <a:gd name="connsiteY7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780218 w 18171859"/>
                <a:gd name="connsiteY27" fmla="*/ 13579811 h 15946069"/>
                <a:gd name="connsiteX28" fmla="*/ 12196146 w 18171859"/>
                <a:gd name="connsiteY28" fmla="*/ 11388328 h 15946069"/>
                <a:gd name="connsiteX29" fmla="*/ 14004775 w 18171859"/>
                <a:gd name="connsiteY29" fmla="*/ 11611395 h 15946069"/>
                <a:gd name="connsiteX30" fmla="*/ 15409477 w 18171859"/>
                <a:gd name="connsiteY30" fmla="*/ 11882693 h 15946069"/>
                <a:gd name="connsiteX31" fmla="*/ 16413199 w 18171859"/>
                <a:gd name="connsiteY31" fmla="*/ 10920339 h 15946069"/>
                <a:gd name="connsiteX32" fmla="*/ 16428336 w 18171859"/>
                <a:gd name="connsiteY32" fmla="*/ 9374732 h 15946069"/>
                <a:gd name="connsiteX33" fmla="*/ 16024409 w 18171859"/>
                <a:gd name="connsiteY33" fmla="*/ 7433474 h 15946069"/>
                <a:gd name="connsiteX34" fmla="*/ 17911414 w 18171859"/>
                <a:gd name="connsiteY34" fmla="*/ 6083041 h 15946069"/>
                <a:gd name="connsiteX35" fmla="*/ 17385711 w 18171859"/>
                <a:gd name="connsiteY35" fmla="*/ 5219213 h 15946069"/>
                <a:gd name="connsiteX36" fmla="*/ 18171858 w 18171859"/>
                <a:gd name="connsiteY36" fmla="*/ 4701949 h 15946069"/>
                <a:gd name="connsiteX37" fmla="*/ 17814953 w 18171859"/>
                <a:gd name="connsiteY37" fmla="*/ 4117660 h 15946069"/>
                <a:gd name="connsiteX38" fmla="*/ 16852763 w 18171859"/>
                <a:gd name="connsiteY38" fmla="*/ 3282076 h 15946069"/>
                <a:gd name="connsiteX39" fmla="*/ 14429201 w 18171859"/>
                <a:gd name="connsiteY39" fmla="*/ 4027238 h 15946069"/>
                <a:gd name="connsiteX40" fmla="*/ 13383819 w 18171859"/>
                <a:gd name="connsiteY40" fmla="*/ 2963756 h 15946069"/>
                <a:gd name="connsiteX41" fmla="*/ 12493981 w 18171859"/>
                <a:gd name="connsiteY41" fmla="*/ 2927587 h 15946069"/>
                <a:gd name="connsiteX42" fmla="*/ 11976717 w 18171859"/>
                <a:gd name="connsiteY42" fmla="*/ 2139025 h 15946069"/>
                <a:gd name="connsiteX43" fmla="*/ 11484768 w 18171859"/>
                <a:gd name="connsiteY43" fmla="*/ 1495155 h 15946069"/>
                <a:gd name="connsiteX44" fmla="*/ 10830043 w 18171859"/>
                <a:gd name="connsiteY44" fmla="*/ 1256418 h 15946069"/>
                <a:gd name="connsiteX45" fmla="*/ 10323633 w 18171859"/>
                <a:gd name="connsiteY45" fmla="*/ 1220249 h 15946069"/>
                <a:gd name="connsiteX46" fmla="*/ 9802745 w 18171859"/>
                <a:gd name="connsiteY46" fmla="*/ 1603676 h 15946069"/>
                <a:gd name="connsiteX47" fmla="*/ 9223982 w 18171859"/>
                <a:gd name="connsiteY47" fmla="*/ 1621761 h 15946069"/>
                <a:gd name="connsiteX48" fmla="*/ 8782678 w 18171859"/>
                <a:gd name="connsiteY48" fmla="*/ 2171586 h 15946069"/>
                <a:gd name="connsiteX49" fmla="*/ 8272645 w 18171859"/>
                <a:gd name="connsiteY49" fmla="*/ 2102856 h 15946069"/>
                <a:gd name="connsiteX50" fmla="*/ 7853048 w 18171859"/>
                <a:gd name="connsiteY50" fmla="*/ 2526075 h 15946069"/>
                <a:gd name="connsiteX51" fmla="*/ 7323799 w 18171859"/>
                <a:gd name="connsiteY51" fmla="*/ 2632907 h 15946069"/>
                <a:gd name="connsiteX52" fmla="*/ 6977672 w 18171859"/>
                <a:gd name="connsiteY52" fmla="*/ 2178817 h 15946069"/>
                <a:gd name="connsiteX53" fmla="*/ 6594245 w 18171859"/>
                <a:gd name="connsiteY53" fmla="*/ 2055834 h 15946069"/>
                <a:gd name="connsiteX54" fmla="*/ 6431470 w 18171859"/>
                <a:gd name="connsiteY54" fmla="*/ 1314295 h 15946069"/>
                <a:gd name="connsiteX55" fmla="*/ 5642908 w 18171859"/>
                <a:gd name="connsiteY55" fmla="*/ 1343233 h 15946069"/>
                <a:gd name="connsiteX56" fmla="*/ 5150959 w 18171859"/>
                <a:gd name="connsiteY56" fmla="*/ 1610907 h 15946069"/>
                <a:gd name="connsiteX57" fmla="*/ 5480133 w 18171859"/>
                <a:gd name="connsiteY57" fmla="*/ 2167963 h 15946069"/>
                <a:gd name="connsiteX58" fmla="*/ 4742216 w 18171859"/>
                <a:gd name="connsiteY58" fmla="*/ 2862495 h 15946069"/>
                <a:gd name="connsiteX59" fmla="*/ 2658667 w 18171859"/>
                <a:gd name="connsiteY59" fmla="*/ 0 h 15946069"/>
                <a:gd name="connsiteX60" fmla="*/ 2658682 w 18171859"/>
                <a:gd name="connsiteY60" fmla="*/ 1018890 h 15946069"/>
                <a:gd name="connsiteX61" fmla="*/ 1850829 w 18171859"/>
                <a:gd name="connsiteY61" fmla="*/ 1730283 h 15946069"/>
                <a:gd name="connsiteX62" fmla="*/ 1404694 w 18171859"/>
                <a:gd name="connsiteY62" fmla="*/ 2272862 h 15946069"/>
                <a:gd name="connsiteX63" fmla="*/ 2351216 w 18171859"/>
                <a:gd name="connsiteY63" fmla="*/ 3388182 h 15946069"/>
                <a:gd name="connsiteX64" fmla="*/ 2658682 w 18171859"/>
                <a:gd name="connsiteY64" fmla="*/ 4286458 h 15946069"/>
                <a:gd name="connsiteX65" fmla="*/ 1935228 w 18171859"/>
                <a:gd name="connsiteY65" fmla="*/ 5220918 h 15946069"/>
                <a:gd name="connsiteX66" fmla="*/ 875281 w 18171859"/>
                <a:gd name="connsiteY66" fmla="*/ 5166646 h 15946069"/>
                <a:gd name="connsiteX67" fmla="*/ 0 w 18171859"/>
                <a:gd name="connsiteY67" fmla="*/ 5890112 h 15946069"/>
                <a:gd name="connsiteX68" fmla="*/ 72345 w 18171859"/>
                <a:gd name="connsiteY68" fmla="*/ 6921032 h 15946069"/>
                <a:gd name="connsiteX69" fmla="*/ 477776 w 18171859"/>
                <a:gd name="connsiteY69"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616683 w 18171859"/>
                <a:gd name="connsiteY24" fmla="*/ 15358294 h 15946069"/>
                <a:gd name="connsiteX25" fmla="*/ 11117010 w 18171859"/>
                <a:gd name="connsiteY25" fmla="*/ 15946069 h 15946069"/>
                <a:gd name="connsiteX26" fmla="*/ 11780218 w 18171859"/>
                <a:gd name="connsiteY26" fmla="*/ 13579811 h 15946069"/>
                <a:gd name="connsiteX27" fmla="*/ 12196146 w 18171859"/>
                <a:gd name="connsiteY27" fmla="*/ 11388328 h 15946069"/>
                <a:gd name="connsiteX28" fmla="*/ 14004775 w 18171859"/>
                <a:gd name="connsiteY28" fmla="*/ 11611395 h 15946069"/>
                <a:gd name="connsiteX29" fmla="*/ 15409477 w 18171859"/>
                <a:gd name="connsiteY29" fmla="*/ 11882693 h 15946069"/>
                <a:gd name="connsiteX30" fmla="*/ 16413199 w 18171859"/>
                <a:gd name="connsiteY30" fmla="*/ 10920339 h 15946069"/>
                <a:gd name="connsiteX31" fmla="*/ 16428336 w 18171859"/>
                <a:gd name="connsiteY31" fmla="*/ 9374732 h 15946069"/>
                <a:gd name="connsiteX32" fmla="*/ 16024409 w 18171859"/>
                <a:gd name="connsiteY32" fmla="*/ 7433474 h 15946069"/>
                <a:gd name="connsiteX33" fmla="*/ 17911414 w 18171859"/>
                <a:gd name="connsiteY33" fmla="*/ 6083041 h 15946069"/>
                <a:gd name="connsiteX34" fmla="*/ 17385711 w 18171859"/>
                <a:gd name="connsiteY34" fmla="*/ 5219213 h 15946069"/>
                <a:gd name="connsiteX35" fmla="*/ 18171858 w 18171859"/>
                <a:gd name="connsiteY35" fmla="*/ 4701949 h 15946069"/>
                <a:gd name="connsiteX36" fmla="*/ 17814953 w 18171859"/>
                <a:gd name="connsiteY36" fmla="*/ 4117660 h 15946069"/>
                <a:gd name="connsiteX37" fmla="*/ 16852763 w 18171859"/>
                <a:gd name="connsiteY37" fmla="*/ 3282076 h 15946069"/>
                <a:gd name="connsiteX38" fmla="*/ 14429201 w 18171859"/>
                <a:gd name="connsiteY38" fmla="*/ 4027238 h 15946069"/>
                <a:gd name="connsiteX39" fmla="*/ 13383819 w 18171859"/>
                <a:gd name="connsiteY39" fmla="*/ 2963756 h 15946069"/>
                <a:gd name="connsiteX40" fmla="*/ 12493981 w 18171859"/>
                <a:gd name="connsiteY40" fmla="*/ 2927587 h 15946069"/>
                <a:gd name="connsiteX41" fmla="*/ 11976717 w 18171859"/>
                <a:gd name="connsiteY41" fmla="*/ 2139025 h 15946069"/>
                <a:gd name="connsiteX42" fmla="*/ 11484768 w 18171859"/>
                <a:gd name="connsiteY42" fmla="*/ 1495155 h 15946069"/>
                <a:gd name="connsiteX43" fmla="*/ 10830043 w 18171859"/>
                <a:gd name="connsiteY43" fmla="*/ 1256418 h 15946069"/>
                <a:gd name="connsiteX44" fmla="*/ 10323633 w 18171859"/>
                <a:gd name="connsiteY44" fmla="*/ 1220249 h 15946069"/>
                <a:gd name="connsiteX45" fmla="*/ 9802745 w 18171859"/>
                <a:gd name="connsiteY45" fmla="*/ 1603676 h 15946069"/>
                <a:gd name="connsiteX46" fmla="*/ 9223982 w 18171859"/>
                <a:gd name="connsiteY46" fmla="*/ 1621761 h 15946069"/>
                <a:gd name="connsiteX47" fmla="*/ 8782678 w 18171859"/>
                <a:gd name="connsiteY47" fmla="*/ 2171586 h 15946069"/>
                <a:gd name="connsiteX48" fmla="*/ 8272645 w 18171859"/>
                <a:gd name="connsiteY48" fmla="*/ 2102856 h 15946069"/>
                <a:gd name="connsiteX49" fmla="*/ 7853048 w 18171859"/>
                <a:gd name="connsiteY49" fmla="*/ 2526075 h 15946069"/>
                <a:gd name="connsiteX50" fmla="*/ 7323799 w 18171859"/>
                <a:gd name="connsiteY50" fmla="*/ 2632907 h 15946069"/>
                <a:gd name="connsiteX51" fmla="*/ 6977672 w 18171859"/>
                <a:gd name="connsiteY51" fmla="*/ 2178817 h 15946069"/>
                <a:gd name="connsiteX52" fmla="*/ 6594245 w 18171859"/>
                <a:gd name="connsiteY52" fmla="*/ 2055834 h 15946069"/>
                <a:gd name="connsiteX53" fmla="*/ 6431470 w 18171859"/>
                <a:gd name="connsiteY53" fmla="*/ 1314295 h 15946069"/>
                <a:gd name="connsiteX54" fmla="*/ 5642908 w 18171859"/>
                <a:gd name="connsiteY54" fmla="*/ 1343233 h 15946069"/>
                <a:gd name="connsiteX55" fmla="*/ 5150959 w 18171859"/>
                <a:gd name="connsiteY55" fmla="*/ 1610907 h 15946069"/>
                <a:gd name="connsiteX56" fmla="*/ 5480133 w 18171859"/>
                <a:gd name="connsiteY56" fmla="*/ 2167963 h 15946069"/>
                <a:gd name="connsiteX57" fmla="*/ 4742216 w 18171859"/>
                <a:gd name="connsiteY57" fmla="*/ 2862495 h 15946069"/>
                <a:gd name="connsiteX58" fmla="*/ 2658667 w 18171859"/>
                <a:gd name="connsiteY58" fmla="*/ 0 h 15946069"/>
                <a:gd name="connsiteX59" fmla="*/ 2658682 w 18171859"/>
                <a:gd name="connsiteY59" fmla="*/ 1018890 h 15946069"/>
                <a:gd name="connsiteX60" fmla="*/ 1850829 w 18171859"/>
                <a:gd name="connsiteY60" fmla="*/ 1730283 h 15946069"/>
                <a:gd name="connsiteX61" fmla="*/ 1404694 w 18171859"/>
                <a:gd name="connsiteY61" fmla="*/ 2272862 h 15946069"/>
                <a:gd name="connsiteX62" fmla="*/ 2351216 w 18171859"/>
                <a:gd name="connsiteY62" fmla="*/ 3388182 h 15946069"/>
                <a:gd name="connsiteX63" fmla="*/ 2658682 w 18171859"/>
                <a:gd name="connsiteY63" fmla="*/ 4286458 h 15946069"/>
                <a:gd name="connsiteX64" fmla="*/ 1935228 w 18171859"/>
                <a:gd name="connsiteY64" fmla="*/ 5220918 h 15946069"/>
                <a:gd name="connsiteX65" fmla="*/ 875281 w 18171859"/>
                <a:gd name="connsiteY65" fmla="*/ 5166646 h 15946069"/>
                <a:gd name="connsiteX66" fmla="*/ 0 w 18171859"/>
                <a:gd name="connsiteY66" fmla="*/ 5890112 h 15946069"/>
                <a:gd name="connsiteX67" fmla="*/ 72345 w 18171859"/>
                <a:gd name="connsiteY67" fmla="*/ 6921032 h 15946069"/>
                <a:gd name="connsiteX68" fmla="*/ 477776 w 18171859"/>
                <a:gd name="connsiteY68"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2493981 w 18171859"/>
                <a:gd name="connsiteY39" fmla="*/ 2927587 h 15946069"/>
                <a:gd name="connsiteX40" fmla="*/ 11976717 w 18171859"/>
                <a:gd name="connsiteY40" fmla="*/ 2139025 h 15946069"/>
                <a:gd name="connsiteX41" fmla="*/ 11484768 w 18171859"/>
                <a:gd name="connsiteY41" fmla="*/ 1495155 h 15946069"/>
                <a:gd name="connsiteX42" fmla="*/ 10830043 w 18171859"/>
                <a:gd name="connsiteY42" fmla="*/ 1256418 h 15946069"/>
                <a:gd name="connsiteX43" fmla="*/ 10323633 w 18171859"/>
                <a:gd name="connsiteY43" fmla="*/ 1220249 h 15946069"/>
                <a:gd name="connsiteX44" fmla="*/ 9802745 w 18171859"/>
                <a:gd name="connsiteY44" fmla="*/ 1603676 h 15946069"/>
                <a:gd name="connsiteX45" fmla="*/ 9223982 w 18171859"/>
                <a:gd name="connsiteY45" fmla="*/ 1621761 h 15946069"/>
                <a:gd name="connsiteX46" fmla="*/ 8782678 w 18171859"/>
                <a:gd name="connsiteY46" fmla="*/ 2171586 h 15946069"/>
                <a:gd name="connsiteX47" fmla="*/ 8272645 w 18171859"/>
                <a:gd name="connsiteY47" fmla="*/ 2102856 h 15946069"/>
                <a:gd name="connsiteX48" fmla="*/ 7853048 w 18171859"/>
                <a:gd name="connsiteY48" fmla="*/ 2526075 h 15946069"/>
                <a:gd name="connsiteX49" fmla="*/ 7323799 w 18171859"/>
                <a:gd name="connsiteY49" fmla="*/ 2632907 h 15946069"/>
                <a:gd name="connsiteX50" fmla="*/ 6977672 w 18171859"/>
                <a:gd name="connsiteY50" fmla="*/ 2178817 h 15946069"/>
                <a:gd name="connsiteX51" fmla="*/ 6594245 w 18171859"/>
                <a:gd name="connsiteY51" fmla="*/ 2055834 h 15946069"/>
                <a:gd name="connsiteX52" fmla="*/ 6431470 w 18171859"/>
                <a:gd name="connsiteY52" fmla="*/ 1314295 h 15946069"/>
                <a:gd name="connsiteX53" fmla="*/ 5642908 w 18171859"/>
                <a:gd name="connsiteY53" fmla="*/ 1343233 h 15946069"/>
                <a:gd name="connsiteX54" fmla="*/ 5150959 w 18171859"/>
                <a:gd name="connsiteY54" fmla="*/ 1610907 h 15946069"/>
                <a:gd name="connsiteX55" fmla="*/ 5480133 w 18171859"/>
                <a:gd name="connsiteY55" fmla="*/ 2167963 h 15946069"/>
                <a:gd name="connsiteX56" fmla="*/ 4742216 w 18171859"/>
                <a:gd name="connsiteY56" fmla="*/ 2862495 h 15946069"/>
                <a:gd name="connsiteX57" fmla="*/ 2658667 w 18171859"/>
                <a:gd name="connsiteY57" fmla="*/ 0 h 15946069"/>
                <a:gd name="connsiteX58" fmla="*/ 2658682 w 18171859"/>
                <a:gd name="connsiteY58" fmla="*/ 1018890 h 15946069"/>
                <a:gd name="connsiteX59" fmla="*/ 1850829 w 18171859"/>
                <a:gd name="connsiteY59" fmla="*/ 1730283 h 15946069"/>
                <a:gd name="connsiteX60" fmla="*/ 1404694 w 18171859"/>
                <a:gd name="connsiteY60" fmla="*/ 2272862 h 15946069"/>
                <a:gd name="connsiteX61" fmla="*/ 2351216 w 18171859"/>
                <a:gd name="connsiteY61" fmla="*/ 3388182 h 15946069"/>
                <a:gd name="connsiteX62" fmla="*/ 2658682 w 18171859"/>
                <a:gd name="connsiteY62" fmla="*/ 4286458 h 15946069"/>
                <a:gd name="connsiteX63" fmla="*/ 1935228 w 18171859"/>
                <a:gd name="connsiteY63" fmla="*/ 5220918 h 15946069"/>
                <a:gd name="connsiteX64" fmla="*/ 875281 w 18171859"/>
                <a:gd name="connsiteY64" fmla="*/ 5166646 h 15946069"/>
                <a:gd name="connsiteX65" fmla="*/ 0 w 18171859"/>
                <a:gd name="connsiteY65" fmla="*/ 5890112 h 15946069"/>
                <a:gd name="connsiteX66" fmla="*/ 72345 w 18171859"/>
                <a:gd name="connsiteY66" fmla="*/ 6921032 h 15946069"/>
                <a:gd name="connsiteX67" fmla="*/ 477776 w 18171859"/>
                <a:gd name="connsiteY67"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1484768 w 18171859"/>
                <a:gd name="connsiteY40" fmla="*/ 1495155 h 15946069"/>
                <a:gd name="connsiteX41" fmla="*/ 10830043 w 18171859"/>
                <a:gd name="connsiteY41" fmla="*/ 1256418 h 15946069"/>
                <a:gd name="connsiteX42" fmla="*/ 10323633 w 18171859"/>
                <a:gd name="connsiteY42" fmla="*/ 1220249 h 15946069"/>
                <a:gd name="connsiteX43" fmla="*/ 9802745 w 18171859"/>
                <a:gd name="connsiteY43" fmla="*/ 1603676 h 15946069"/>
                <a:gd name="connsiteX44" fmla="*/ 9223982 w 18171859"/>
                <a:gd name="connsiteY44" fmla="*/ 1621761 h 15946069"/>
                <a:gd name="connsiteX45" fmla="*/ 8782678 w 18171859"/>
                <a:gd name="connsiteY45" fmla="*/ 2171586 h 15946069"/>
                <a:gd name="connsiteX46" fmla="*/ 8272645 w 18171859"/>
                <a:gd name="connsiteY46" fmla="*/ 2102856 h 15946069"/>
                <a:gd name="connsiteX47" fmla="*/ 7853048 w 18171859"/>
                <a:gd name="connsiteY47" fmla="*/ 2526075 h 15946069"/>
                <a:gd name="connsiteX48" fmla="*/ 7323799 w 18171859"/>
                <a:gd name="connsiteY48" fmla="*/ 2632907 h 15946069"/>
                <a:gd name="connsiteX49" fmla="*/ 6977672 w 18171859"/>
                <a:gd name="connsiteY49" fmla="*/ 2178817 h 15946069"/>
                <a:gd name="connsiteX50" fmla="*/ 6594245 w 18171859"/>
                <a:gd name="connsiteY50" fmla="*/ 2055834 h 15946069"/>
                <a:gd name="connsiteX51" fmla="*/ 6431470 w 18171859"/>
                <a:gd name="connsiteY51" fmla="*/ 1314295 h 15946069"/>
                <a:gd name="connsiteX52" fmla="*/ 5642908 w 18171859"/>
                <a:gd name="connsiteY52" fmla="*/ 1343233 h 15946069"/>
                <a:gd name="connsiteX53" fmla="*/ 5150959 w 18171859"/>
                <a:gd name="connsiteY53" fmla="*/ 1610907 h 15946069"/>
                <a:gd name="connsiteX54" fmla="*/ 5480133 w 18171859"/>
                <a:gd name="connsiteY54" fmla="*/ 2167963 h 15946069"/>
                <a:gd name="connsiteX55" fmla="*/ 4742216 w 18171859"/>
                <a:gd name="connsiteY55" fmla="*/ 2862495 h 15946069"/>
                <a:gd name="connsiteX56" fmla="*/ 2658667 w 18171859"/>
                <a:gd name="connsiteY56" fmla="*/ 0 h 15946069"/>
                <a:gd name="connsiteX57" fmla="*/ 2658682 w 18171859"/>
                <a:gd name="connsiteY57" fmla="*/ 1018890 h 15946069"/>
                <a:gd name="connsiteX58" fmla="*/ 1850829 w 18171859"/>
                <a:gd name="connsiteY58" fmla="*/ 1730283 h 15946069"/>
                <a:gd name="connsiteX59" fmla="*/ 1404694 w 18171859"/>
                <a:gd name="connsiteY59" fmla="*/ 2272862 h 15946069"/>
                <a:gd name="connsiteX60" fmla="*/ 2351216 w 18171859"/>
                <a:gd name="connsiteY60" fmla="*/ 3388182 h 15946069"/>
                <a:gd name="connsiteX61" fmla="*/ 2658682 w 18171859"/>
                <a:gd name="connsiteY61" fmla="*/ 4286458 h 15946069"/>
                <a:gd name="connsiteX62" fmla="*/ 1935228 w 18171859"/>
                <a:gd name="connsiteY62" fmla="*/ 5220918 h 15946069"/>
                <a:gd name="connsiteX63" fmla="*/ 875281 w 18171859"/>
                <a:gd name="connsiteY63" fmla="*/ 5166646 h 15946069"/>
                <a:gd name="connsiteX64" fmla="*/ 0 w 18171859"/>
                <a:gd name="connsiteY64" fmla="*/ 5890112 h 15946069"/>
                <a:gd name="connsiteX65" fmla="*/ 72345 w 18171859"/>
                <a:gd name="connsiteY65" fmla="*/ 6921032 h 15946069"/>
                <a:gd name="connsiteX66" fmla="*/ 477776 w 18171859"/>
                <a:gd name="connsiteY66"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10323633 w 18171859"/>
                <a:gd name="connsiteY41" fmla="*/ 1220249 h 15946069"/>
                <a:gd name="connsiteX42" fmla="*/ 9802745 w 18171859"/>
                <a:gd name="connsiteY42" fmla="*/ 1603676 h 15946069"/>
                <a:gd name="connsiteX43" fmla="*/ 9223982 w 18171859"/>
                <a:gd name="connsiteY43" fmla="*/ 1621761 h 15946069"/>
                <a:gd name="connsiteX44" fmla="*/ 8782678 w 18171859"/>
                <a:gd name="connsiteY44" fmla="*/ 2171586 h 15946069"/>
                <a:gd name="connsiteX45" fmla="*/ 8272645 w 18171859"/>
                <a:gd name="connsiteY45" fmla="*/ 2102856 h 15946069"/>
                <a:gd name="connsiteX46" fmla="*/ 7853048 w 18171859"/>
                <a:gd name="connsiteY46" fmla="*/ 2526075 h 15946069"/>
                <a:gd name="connsiteX47" fmla="*/ 7323799 w 18171859"/>
                <a:gd name="connsiteY47" fmla="*/ 2632907 h 15946069"/>
                <a:gd name="connsiteX48" fmla="*/ 6977672 w 18171859"/>
                <a:gd name="connsiteY48" fmla="*/ 2178817 h 15946069"/>
                <a:gd name="connsiteX49" fmla="*/ 6594245 w 18171859"/>
                <a:gd name="connsiteY49" fmla="*/ 2055834 h 15946069"/>
                <a:gd name="connsiteX50" fmla="*/ 6431470 w 18171859"/>
                <a:gd name="connsiteY50" fmla="*/ 1314295 h 15946069"/>
                <a:gd name="connsiteX51" fmla="*/ 5642908 w 18171859"/>
                <a:gd name="connsiteY51" fmla="*/ 1343233 h 15946069"/>
                <a:gd name="connsiteX52" fmla="*/ 5150959 w 18171859"/>
                <a:gd name="connsiteY52" fmla="*/ 1610907 h 15946069"/>
                <a:gd name="connsiteX53" fmla="*/ 5480133 w 18171859"/>
                <a:gd name="connsiteY53" fmla="*/ 2167963 h 15946069"/>
                <a:gd name="connsiteX54" fmla="*/ 4742216 w 18171859"/>
                <a:gd name="connsiteY54" fmla="*/ 2862495 h 15946069"/>
                <a:gd name="connsiteX55" fmla="*/ 2658667 w 18171859"/>
                <a:gd name="connsiteY55" fmla="*/ 0 h 15946069"/>
                <a:gd name="connsiteX56" fmla="*/ 2658682 w 18171859"/>
                <a:gd name="connsiteY56" fmla="*/ 1018890 h 15946069"/>
                <a:gd name="connsiteX57" fmla="*/ 1850829 w 18171859"/>
                <a:gd name="connsiteY57" fmla="*/ 1730283 h 15946069"/>
                <a:gd name="connsiteX58" fmla="*/ 1404694 w 18171859"/>
                <a:gd name="connsiteY58" fmla="*/ 2272862 h 15946069"/>
                <a:gd name="connsiteX59" fmla="*/ 2351216 w 18171859"/>
                <a:gd name="connsiteY59" fmla="*/ 3388182 h 15946069"/>
                <a:gd name="connsiteX60" fmla="*/ 2658682 w 18171859"/>
                <a:gd name="connsiteY60" fmla="*/ 4286458 h 15946069"/>
                <a:gd name="connsiteX61" fmla="*/ 1935228 w 18171859"/>
                <a:gd name="connsiteY61" fmla="*/ 5220918 h 15946069"/>
                <a:gd name="connsiteX62" fmla="*/ 875281 w 18171859"/>
                <a:gd name="connsiteY62" fmla="*/ 5166646 h 15946069"/>
                <a:gd name="connsiteX63" fmla="*/ 0 w 18171859"/>
                <a:gd name="connsiteY63" fmla="*/ 5890112 h 15946069"/>
                <a:gd name="connsiteX64" fmla="*/ 72345 w 18171859"/>
                <a:gd name="connsiteY64" fmla="*/ 6921032 h 15946069"/>
                <a:gd name="connsiteX65" fmla="*/ 477776 w 18171859"/>
                <a:gd name="connsiteY65"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9223982 w 18171859"/>
                <a:gd name="connsiteY42" fmla="*/ 1621761 h 15946069"/>
                <a:gd name="connsiteX43" fmla="*/ 8782678 w 18171859"/>
                <a:gd name="connsiteY43" fmla="*/ 2171586 h 15946069"/>
                <a:gd name="connsiteX44" fmla="*/ 8272645 w 18171859"/>
                <a:gd name="connsiteY44" fmla="*/ 2102856 h 15946069"/>
                <a:gd name="connsiteX45" fmla="*/ 7853048 w 18171859"/>
                <a:gd name="connsiteY45" fmla="*/ 2526075 h 15946069"/>
                <a:gd name="connsiteX46" fmla="*/ 7323799 w 18171859"/>
                <a:gd name="connsiteY46" fmla="*/ 2632907 h 15946069"/>
                <a:gd name="connsiteX47" fmla="*/ 6977672 w 18171859"/>
                <a:gd name="connsiteY47" fmla="*/ 2178817 h 15946069"/>
                <a:gd name="connsiteX48" fmla="*/ 6594245 w 18171859"/>
                <a:gd name="connsiteY48" fmla="*/ 2055834 h 15946069"/>
                <a:gd name="connsiteX49" fmla="*/ 6431470 w 18171859"/>
                <a:gd name="connsiteY49" fmla="*/ 1314295 h 15946069"/>
                <a:gd name="connsiteX50" fmla="*/ 5642908 w 18171859"/>
                <a:gd name="connsiteY50" fmla="*/ 1343233 h 15946069"/>
                <a:gd name="connsiteX51" fmla="*/ 5150959 w 18171859"/>
                <a:gd name="connsiteY51" fmla="*/ 1610907 h 15946069"/>
                <a:gd name="connsiteX52" fmla="*/ 5480133 w 18171859"/>
                <a:gd name="connsiteY52" fmla="*/ 2167963 h 15946069"/>
                <a:gd name="connsiteX53" fmla="*/ 4742216 w 18171859"/>
                <a:gd name="connsiteY53" fmla="*/ 2862495 h 15946069"/>
                <a:gd name="connsiteX54" fmla="*/ 2658667 w 18171859"/>
                <a:gd name="connsiteY54" fmla="*/ 0 h 15946069"/>
                <a:gd name="connsiteX55" fmla="*/ 2658682 w 18171859"/>
                <a:gd name="connsiteY55" fmla="*/ 1018890 h 15946069"/>
                <a:gd name="connsiteX56" fmla="*/ 1850829 w 18171859"/>
                <a:gd name="connsiteY56" fmla="*/ 1730283 h 15946069"/>
                <a:gd name="connsiteX57" fmla="*/ 1404694 w 18171859"/>
                <a:gd name="connsiteY57" fmla="*/ 2272862 h 15946069"/>
                <a:gd name="connsiteX58" fmla="*/ 2351216 w 18171859"/>
                <a:gd name="connsiteY58" fmla="*/ 3388182 h 15946069"/>
                <a:gd name="connsiteX59" fmla="*/ 2658682 w 18171859"/>
                <a:gd name="connsiteY59" fmla="*/ 4286458 h 15946069"/>
                <a:gd name="connsiteX60" fmla="*/ 1935228 w 18171859"/>
                <a:gd name="connsiteY60" fmla="*/ 5220918 h 15946069"/>
                <a:gd name="connsiteX61" fmla="*/ 875281 w 18171859"/>
                <a:gd name="connsiteY61" fmla="*/ 5166646 h 15946069"/>
                <a:gd name="connsiteX62" fmla="*/ 0 w 18171859"/>
                <a:gd name="connsiteY62" fmla="*/ 5890112 h 15946069"/>
                <a:gd name="connsiteX63" fmla="*/ 72345 w 18171859"/>
                <a:gd name="connsiteY63" fmla="*/ 6921032 h 15946069"/>
                <a:gd name="connsiteX64" fmla="*/ 477776 w 18171859"/>
                <a:gd name="connsiteY64"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782678 w 18171859"/>
                <a:gd name="connsiteY42" fmla="*/ 2171586 h 15946069"/>
                <a:gd name="connsiteX43" fmla="*/ 8272645 w 18171859"/>
                <a:gd name="connsiteY43" fmla="*/ 2102856 h 15946069"/>
                <a:gd name="connsiteX44" fmla="*/ 7853048 w 18171859"/>
                <a:gd name="connsiteY44" fmla="*/ 2526075 h 15946069"/>
                <a:gd name="connsiteX45" fmla="*/ 7323799 w 18171859"/>
                <a:gd name="connsiteY45" fmla="*/ 2632907 h 15946069"/>
                <a:gd name="connsiteX46" fmla="*/ 6977672 w 18171859"/>
                <a:gd name="connsiteY46" fmla="*/ 2178817 h 15946069"/>
                <a:gd name="connsiteX47" fmla="*/ 6594245 w 18171859"/>
                <a:gd name="connsiteY47" fmla="*/ 2055834 h 15946069"/>
                <a:gd name="connsiteX48" fmla="*/ 6431470 w 18171859"/>
                <a:gd name="connsiteY48" fmla="*/ 1314295 h 15946069"/>
                <a:gd name="connsiteX49" fmla="*/ 5642908 w 18171859"/>
                <a:gd name="connsiteY49" fmla="*/ 1343233 h 15946069"/>
                <a:gd name="connsiteX50" fmla="*/ 5150959 w 18171859"/>
                <a:gd name="connsiteY50" fmla="*/ 1610907 h 15946069"/>
                <a:gd name="connsiteX51" fmla="*/ 5480133 w 18171859"/>
                <a:gd name="connsiteY51" fmla="*/ 2167963 h 15946069"/>
                <a:gd name="connsiteX52" fmla="*/ 4742216 w 18171859"/>
                <a:gd name="connsiteY52" fmla="*/ 2862495 h 15946069"/>
                <a:gd name="connsiteX53" fmla="*/ 2658667 w 18171859"/>
                <a:gd name="connsiteY53" fmla="*/ 0 h 15946069"/>
                <a:gd name="connsiteX54" fmla="*/ 2658682 w 18171859"/>
                <a:gd name="connsiteY54" fmla="*/ 1018890 h 15946069"/>
                <a:gd name="connsiteX55" fmla="*/ 1850829 w 18171859"/>
                <a:gd name="connsiteY55" fmla="*/ 1730283 h 15946069"/>
                <a:gd name="connsiteX56" fmla="*/ 1404694 w 18171859"/>
                <a:gd name="connsiteY56" fmla="*/ 2272862 h 15946069"/>
                <a:gd name="connsiteX57" fmla="*/ 2351216 w 18171859"/>
                <a:gd name="connsiteY57" fmla="*/ 3388182 h 15946069"/>
                <a:gd name="connsiteX58" fmla="*/ 2658682 w 18171859"/>
                <a:gd name="connsiteY58" fmla="*/ 4286458 h 15946069"/>
                <a:gd name="connsiteX59" fmla="*/ 1935228 w 18171859"/>
                <a:gd name="connsiteY59" fmla="*/ 5220918 h 15946069"/>
                <a:gd name="connsiteX60" fmla="*/ 875281 w 18171859"/>
                <a:gd name="connsiteY60" fmla="*/ 5166646 h 15946069"/>
                <a:gd name="connsiteX61" fmla="*/ 0 w 18171859"/>
                <a:gd name="connsiteY61" fmla="*/ 5890112 h 15946069"/>
                <a:gd name="connsiteX62" fmla="*/ 72345 w 18171859"/>
                <a:gd name="connsiteY62" fmla="*/ 6921032 h 15946069"/>
                <a:gd name="connsiteX63" fmla="*/ 477776 w 18171859"/>
                <a:gd name="connsiteY63"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782678 w 18171859"/>
                <a:gd name="connsiteY42" fmla="*/ 2171586 h 15946069"/>
                <a:gd name="connsiteX43" fmla="*/ 7853048 w 18171859"/>
                <a:gd name="connsiteY43" fmla="*/ 2526075 h 15946069"/>
                <a:gd name="connsiteX44" fmla="*/ 7323799 w 18171859"/>
                <a:gd name="connsiteY44" fmla="*/ 2632907 h 15946069"/>
                <a:gd name="connsiteX45" fmla="*/ 6977672 w 18171859"/>
                <a:gd name="connsiteY45" fmla="*/ 2178817 h 15946069"/>
                <a:gd name="connsiteX46" fmla="*/ 6594245 w 18171859"/>
                <a:gd name="connsiteY46" fmla="*/ 2055834 h 15946069"/>
                <a:gd name="connsiteX47" fmla="*/ 6431470 w 18171859"/>
                <a:gd name="connsiteY47" fmla="*/ 1314295 h 15946069"/>
                <a:gd name="connsiteX48" fmla="*/ 5642908 w 18171859"/>
                <a:gd name="connsiteY48" fmla="*/ 1343233 h 15946069"/>
                <a:gd name="connsiteX49" fmla="*/ 5150959 w 18171859"/>
                <a:gd name="connsiteY49" fmla="*/ 1610907 h 15946069"/>
                <a:gd name="connsiteX50" fmla="*/ 5480133 w 18171859"/>
                <a:gd name="connsiteY50" fmla="*/ 2167963 h 15946069"/>
                <a:gd name="connsiteX51" fmla="*/ 4742216 w 18171859"/>
                <a:gd name="connsiteY51" fmla="*/ 2862495 h 15946069"/>
                <a:gd name="connsiteX52" fmla="*/ 2658667 w 18171859"/>
                <a:gd name="connsiteY52" fmla="*/ 0 h 15946069"/>
                <a:gd name="connsiteX53" fmla="*/ 2658682 w 18171859"/>
                <a:gd name="connsiteY53" fmla="*/ 1018890 h 15946069"/>
                <a:gd name="connsiteX54" fmla="*/ 1850829 w 18171859"/>
                <a:gd name="connsiteY54" fmla="*/ 1730283 h 15946069"/>
                <a:gd name="connsiteX55" fmla="*/ 1404694 w 18171859"/>
                <a:gd name="connsiteY55" fmla="*/ 2272862 h 15946069"/>
                <a:gd name="connsiteX56" fmla="*/ 2351216 w 18171859"/>
                <a:gd name="connsiteY56" fmla="*/ 3388182 h 15946069"/>
                <a:gd name="connsiteX57" fmla="*/ 2658682 w 18171859"/>
                <a:gd name="connsiteY57" fmla="*/ 4286458 h 15946069"/>
                <a:gd name="connsiteX58" fmla="*/ 1935228 w 18171859"/>
                <a:gd name="connsiteY58" fmla="*/ 5220918 h 15946069"/>
                <a:gd name="connsiteX59" fmla="*/ 875281 w 18171859"/>
                <a:gd name="connsiteY59" fmla="*/ 5166646 h 15946069"/>
                <a:gd name="connsiteX60" fmla="*/ 0 w 18171859"/>
                <a:gd name="connsiteY60" fmla="*/ 5890112 h 15946069"/>
                <a:gd name="connsiteX61" fmla="*/ 72345 w 18171859"/>
                <a:gd name="connsiteY61" fmla="*/ 6921032 h 15946069"/>
                <a:gd name="connsiteX62" fmla="*/ 477776 w 18171859"/>
                <a:gd name="connsiteY62"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782678 w 18171859"/>
                <a:gd name="connsiteY42" fmla="*/ 2171586 h 15946069"/>
                <a:gd name="connsiteX43" fmla="*/ 7853048 w 18171859"/>
                <a:gd name="connsiteY43" fmla="*/ 2526075 h 15946069"/>
                <a:gd name="connsiteX44" fmla="*/ 6977672 w 18171859"/>
                <a:gd name="connsiteY44" fmla="*/ 2178817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878357 w 18171859"/>
                <a:gd name="connsiteY42" fmla="*/ 3865809 h 15946069"/>
                <a:gd name="connsiteX43" fmla="*/ 7853048 w 18171859"/>
                <a:gd name="connsiteY43" fmla="*/ 2526075 h 15946069"/>
                <a:gd name="connsiteX44" fmla="*/ 6977672 w 18171859"/>
                <a:gd name="connsiteY44" fmla="*/ 2178817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878357 w 18171859"/>
                <a:gd name="connsiteY42" fmla="*/ 3865809 h 15946069"/>
                <a:gd name="connsiteX43" fmla="*/ 7446446 w 18171859"/>
                <a:gd name="connsiteY43" fmla="*/ 3504429 h 15946069"/>
                <a:gd name="connsiteX44" fmla="*/ 6977672 w 18171859"/>
                <a:gd name="connsiteY44" fmla="*/ 2178817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878357 w 18171859"/>
                <a:gd name="connsiteY42" fmla="*/ 3865809 h 15946069"/>
                <a:gd name="connsiteX43" fmla="*/ 7446446 w 18171859"/>
                <a:gd name="connsiteY43" fmla="*/ 3504429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878357 w 18171859"/>
                <a:gd name="connsiteY42" fmla="*/ 3865809 h 15946069"/>
                <a:gd name="connsiteX43" fmla="*/ 7637793 w 18171859"/>
                <a:gd name="connsiteY43" fmla="*/ 2526072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7706376 w 18171859"/>
                <a:gd name="connsiteY42" fmla="*/ 4987336 h 15946069"/>
                <a:gd name="connsiteX43" fmla="*/ 7637793 w 18171859"/>
                <a:gd name="connsiteY43" fmla="*/ 2526072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112983 w 18171859"/>
                <a:gd name="connsiteY42" fmla="*/ 3770361 h 15946069"/>
                <a:gd name="connsiteX43" fmla="*/ 7637793 w 18171859"/>
                <a:gd name="connsiteY43" fmla="*/ 2526072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10161509 w 18171859"/>
                <a:gd name="connsiteY41" fmla="*/ 5230746 h 15946069"/>
                <a:gd name="connsiteX42" fmla="*/ 8112983 w 18171859"/>
                <a:gd name="connsiteY42" fmla="*/ 3770361 h 15946069"/>
                <a:gd name="connsiteX43" fmla="*/ 7637793 w 18171859"/>
                <a:gd name="connsiteY43" fmla="*/ 2526072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9801570 w 18171859"/>
                <a:gd name="connsiteY40" fmla="*/ 6243641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6859659 w 18171859"/>
                <a:gd name="connsiteY40" fmla="*/ 6315230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6285626 w 18171859"/>
                <a:gd name="connsiteY40" fmla="*/ 5551639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5998609 w 18171859"/>
                <a:gd name="connsiteY40" fmla="*/ 5074389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6309547 w 18171859"/>
                <a:gd name="connsiteY40" fmla="*/ 5647086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6166035 w 18171859"/>
                <a:gd name="connsiteY40" fmla="*/ 540846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9704505 w 18171859"/>
                <a:gd name="connsiteY39" fmla="*/ 7102384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7982404 w 18171859"/>
                <a:gd name="connsiteY39" fmla="*/ 7508044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6017067 w 18171859"/>
                <a:gd name="connsiteY38" fmla="*/ 9931550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0076123 w 18171859"/>
                <a:gd name="connsiteY37" fmla="*/ 8513358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9844788 w 18171859"/>
                <a:gd name="connsiteY36" fmla="*/ 9748760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9366431 w 18171859"/>
                <a:gd name="connsiteY36" fmla="*/ 5930786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8218364 w 18171859"/>
                <a:gd name="connsiteY36" fmla="*/ 7219350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9318595 w 18171859"/>
                <a:gd name="connsiteY36" fmla="*/ 5859197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0639545 w 18171859"/>
                <a:gd name="connsiteY35" fmla="*/ 7482246 h 15946069"/>
                <a:gd name="connsiteX36" fmla="*/ 9318595 w 18171859"/>
                <a:gd name="connsiteY36" fmla="*/ 5859197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0017677 w 18171859"/>
                <a:gd name="connsiteY35" fmla="*/ 5883475 h 15946069"/>
                <a:gd name="connsiteX36" fmla="*/ 9318595 w 18171859"/>
                <a:gd name="connsiteY36" fmla="*/ 5859197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17385711 w 17911411"/>
                <a:gd name="connsiteY33" fmla="*/ 5219213 h 15946069"/>
                <a:gd name="connsiteX34" fmla="*/ 11259549 w 17911411"/>
                <a:gd name="connsiteY34" fmla="*/ 7947227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17385711 w 17911411"/>
                <a:gd name="connsiteY33" fmla="*/ 5219213 h 15946069"/>
                <a:gd name="connsiteX34" fmla="*/ 8628570 w 17911411"/>
                <a:gd name="connsiteY34" fmla="*/ 7994950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17385711 w 17911411"/>
                <a:gd name="connsiteY33" fmla="*/ 5219213 h 15946069"/>
                <a:gd name="connsiteX34" fmla="*/ 10709437 w 17911411"/>
                <a:gd name="connsiteY34" fmla="*/ 6730245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9779785 w 17911411"/>
                <a:gd name="connsiteY33" fmla="*/ 9514428 h 15946069"/>
                <a:gd name="connsiteX34" fmla="*/ 10709437 w 17911411"/>
                <a:gd name="connsiteY34" fmla="*/ 6730245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9301422 w 17911411"/>
                <a:gd name="connsiteY33" fmla="*/ 7486132 h 15946069"/>
                <a:gd name="connsiteX34" fmla="*/ 10709437 w 17911411"/>
                <a:gd name="connsiteY34" fmla="*/ 6730245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10425568 w 17911411"/>
                <a:gd name="connsiteY33" fmla="*/ 7223642 h 15946069"/>
                <a:gd name="connsiteX34" fmla="*/ 10709437 w 17911411"/>
                <a:gd name="connsiteY34" fmla="*/ 6730245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6024409 w 16428338"/>
                <a:gd name="connsiteY31" fmla="*/ 7433474 h 15946069"/>
                <a:gd name="connsiteX32" fmla="*/ 10161984 w 16428338"/>
                <a:gd name="connsiteY32" fmla="*/ 8636304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6024409 w 16428338"/>
                <a:gd name="connsiteY31" fmla="*/ 7433474 h 15946069"/>
                <a:gd name="connsiteX32" fmla="*/ 11118705 w 16428338"/>
                <a:gd name="connsiteY32" fmla="*/ 7156845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1886591 w 16428338"/>
                <a:gd name="connsiteY31" fmla="*/ 8912940 h 15946069"/>
                <a:gd name="connsiteX32" fmla="*/ 11118705 w 16428338"/>
                <a:gd name="connsiteY32" fmla="*/ 7156845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0451507 w 16428338"/>
                <a:gd name="connsiteY31" fmla="*/ 8889075 h 15946069"/>
                <a:gd name="connsiteX32" fmla="*/ 11118705 w 16428338"/>
                <a:gd name="connsiteY32" fmla="*/ 7156845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2149687 w 16428338"/>
                <a:gd name="connsiteY31" fmla="*/ 8101619 h 15946069"/>
                <a:gd name="connsiteX32" fmla="*/ 11118705 w 16428338"/>
                <a:gd name="connsiteY32" fmla="*/ 7156845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13202"/>
                <a:gd name="connsiteY0" fmla="*/ 7436569 h 15946069"/>
                <a:gd name="connsiteX1" fmla="*/ 271294 w 16413202"/>
                <a:gd name="connsiteY1" fmla="*/ 8060457 h 15946069"/>
                <a:gd name="connsiteX2" fmla="*/ 379812 w 16413202"/>
                <a:gd name="connsiteY2" fmla="*/ 8675382 h 15946069"/>
                <a:gd name="connsiteX3" fmla="*/ 759624 w 16413202"/>
                <a:gd name="connsiteY3" fmla="*/ 9217969 h 15946069"/>
                <a:gd name="connsiteX4" fmla="*/ 687278 w 16413202"/>
                <a:gd name="connsiteY4" fmla="*/ 9670126 h 15946069"/>
                <a:gd name="connsiteX5" fmla="*/ 144687 w 16413202"/>
                <a:gd name="connsiteY5" fmla="*/ 9941420 h 15946069"/>
                <a:gd name="connsiteX6" fmla="*/ 343643 w 16413202"/>
                <a:gd name="connsiteY6" fmla="*/ 10592536 h 15946069"/>
                <a:gd name="connsiteX7" fmla="*/ 940487 w 16413202"/>
                <a:gd name="connsiteY7" fmla="*/ 10954252 h 15946069"/>
                <a:gd name="connsiteX8" fmla="*/ 596844 w 16413202"/>
                <a:gd name="connsiteY8" fmla="*/ 11786221 h 15946069"/>
                <a:gd name="connsiteX9" fmla="*/ 633017 w 16413202"/>
                <a:gd name="connsiteY9" fmla="*/ 12780969 h 15946069"/>
                <a:gd name="connsiteX10" fmla="*/ 198944 w 16413202"/>
                <a:gd name="connsiteY10" fmla="*/ 13341645 h 15946069"/>
                <a:gd name="connsiteX11" fmla="*/ 723451 w 16413202"/>
                <a:gd name="connsiteY11" fmla="*/ 13757629 h 15946069"/>
                <a:gd name="connsiteX12" fmla="*/ 1640036 w 16413202"/>
                <a:gd name="connsiteY12" fmla="*/ 13197151 h 15946069"/>
                <a:gd name="connsiteX13" fmla="*/ 1880971 w 16413202"/>
                <a:gd name="connsiteY13" fmla="*/ 13395906 h 15946069"/>
                <a:gd name="connsiteX14" fmla="*/ 2930086 w 16413202"/>
                <a:gd name="connsiteY14" fmla="*/ 12952832 h 15946069"/>
                <a:gd name="connsiteX15" fmla="*/ 3828256 w 16413202"/>
                <a:gd name="connsiteY15" fmla="*/ 13245188 h 15946069"/>
                <a:gd name="connsiteX16" fmla="*/ 4768739 w 16413202"/>
                <a:gd name="connsiteY16" fmla="*/ 13040205 h 15946069"/>
                <a:gd name="connsiteX17" fmla="*/ 5190751 w 16413202"/>
                <a:gd name="connsiteY17" fmla="*/ 13649115 h 15946069"/>
                <a:gd name="connsiteX18" fmla="*/ 5932290 w 16413202"/>
                <a:gd name="connsiteY18" fmla="*/ 13444132 h 15946069"/>
                <a:gd name="connsiteX19" fmla="*/ 6498992 w 16413202"/>
                <a:gd name="connsiteY19" fmla="*/ 12991975 h 15946069"/>
                <a:gd name="connsiteX20" fmla="*/ 7373161 w 16413202"/>
                <a:gd name="connsiteY20" fmla="*/ 13582800 h 15946069"/>
                <a:gd name="connsiteX21" fmla="*/ 8512588 w 16413202"/>
                <a:gd name="connsiteY21" fmla="*/ 13570738 h 15946069"/>
                <a:gd name="connsiteX22" fmla="*/ 9742454 w 16413202"/>
                <a:gd name="connsiteY22" fmla="*/ 14004811 h 15946069"/>
                <a:gd name="connsiteX23" fmla="*/ 10616683 w 16413202"/>
                <a:gd name="connsiteY23" fmla="*/ 15358294 h 15946069"/>
                <a:gd name="connsiteX24" fmla="*/ 11117010 w 16413202"/>
                <a:gd name="connsiteY24" fmla="*/ 15946069 h 15946069"/>
                <a:gd name="connsiteX25" fmla="*/ 11780218 w 16413202"/>
                <a:gd name="connsiteY25" fmla="*/ 13579811 h 15946069"/>
                <a:gd name="connsiteX26" fmla="*/ 12196146 w 16413202"/>
                <a:gd name="connsiteY26" fmla="*/ 11388328 h 15946069"/>
                <a:gd name="connsiteX27" fmla="*/ 14004775 w 16413202"/>
                <a:gd name="connsiteY27" fmla="*/ 11611395 h 15946069"/>
                <a:gd name="connsiteX28" fmla="*/ 15409477 w 16413202"/>
                <a:gd name="connsiteY28" fmla="*/ 11882693 h 15946069"/>
                <a:gd name="connsiteX29" fmla="*/ 16413199 w 16413202"/>
                <a:gd name="connsiteY29" fmla="*/ 10920339 h 15946069"/>
                <a:gd name="connsiteX30" fmla="*/ 10305329 w 16413202"/>
                <a:gd name="connsiteY30" fmla="*/ 10066739 h 15946069"/>
                <a:gd name="connsiteX31" fmla="*/ 12149687 w 16413202"/>
                <a:gd name="connsiteY31" fmla="*/ 8101619 h 15946069"/>
                <a:gd name="connsiteX32" fmla="*/ 11118705 w 16413202"/>
                <a:gd name="connsiteY32" fmla="*/ 7156845 h 15946069"/>
                <a:gd name="connsiteX33" fmla="*/ 10425568 w 16413202"/>
                <a:gd name="connsiteY33" fmla="*/ 7223642 h 15946069"/>
                <a:gd name="connsiteX34" fmla="*/ 10709437 w 16413202"/>
                <a:gd name="connsiteY34" fmla="*/ 6730245 h 15946069"/>
                <a:gd name="connsiteX35" fmla="*/ 10017677 w 16413202"/>
                <a:gd name="connsiteY35" fmla="*/ 5883475 h 15946069"/>
                <a:gd name="connsiteX36" fmla="*/ 9318595 w 16413202"/>
                <a:gd name="connsiteY36" fmla="*/ 5859197 h 15946069"/>
                <a:gd name="connsiteX37" fmla="*/ 9215073 w 16413202"/>
                <a:gd name="connsiteY37" fmla="*/ 5387392 h 15946069"/>
                <a:gd name="connsiteX38" fmla="*/ 8600211 w 16413202"/>
                <a:gd name="connsiteY38" fmla="*/ 5564744 h 15946069"/>
                <a:gd name="connsiteX39" fmla="*/ 8412926 w 16413202"/>
                <a:gd name="connsiteY39" fmla="*/ 4835463 h 15946069"/>
                <a:gd name="connsiteX40" fmla="*/ 7744624 w 16413202"/>
                <a:gd name="connsiteY40" fmla="*/ 4382387 h 15946069"/>
                <a:gd name="connsiteX41" fmla="*/ 8112983 w 16413202"/>
                <a:gd name="connsiteY41" fmla="*/ 3770361 h 15946069"/>
                <a:gd name="connsiteX42" fmla="*/ 7637793 w 16413202"/>
                <a:gd name="connsiteY42" fmla="*/ 2526072 h 15946069"/>
                <a:gd name="connsiteX43" fmla="*/ 7264687 w 16413202"/>
                <a:gd name="connsiteY43" fmla="*/ 2131091 h 15946069"/>
                <a:gd name="connsiteX44" fmla="*/ 6594245 w 16413202"/>
                <a:gd name="connsiteY44" fmla="*/ 2055834 h 15946069"/>
                <a:gd name="connsiteX45" fmla="*/ 6431470 w 16413202"/>
                <a:gd name="connsiteY45" fmla="*/ 1314295 h 15946069"/>
                <a:gd name="connsiteX46" fmla="*/ 5642908 w 16413202"/>
                <a:gd name="connsiteY46" fmla="*/ 1343233 h 15946069"/>
                <a:gd name="connsiteX47" fmla="*/ 5150959 w 16413202"/>
                <a:gd name="connsiteY47" fmla="*/ 1610907 h 15946069"/>
                <a:gd name="connsiteX48" fmla="*/ 5480133 w 16413202"/>
                <a:gd name="connsiteY48" fmla="*/ 2167963 h 15946069"/>
                <a:gd name="connsiteX49" fmla="*/ 4742216 w 16413202"/>
                <a:gd name="connsiteY49" fmla="*/ 2862495 h 15946069"/>
                <a:gd name="connsiteX50" fmla="*/ 2658667 w 16413202"/>
                <a:gd name="connsiteY50" fmla="*/ 0 h 15946069"/>
                <a:gd name="connsiteX51" fmla="*/ 2658682 w 16413202"/>
                <a:gd name="connsiteY51" fmla="*/ 1018890 h 15946069"/>
                <a:gd name="connsiteX52" fmla="*/ 1850829 w 16413202"/>
                <a:gd name="connsiteY52" fmla="*/ 1730283 h 15946069"/>
                <a:gd name="connsiteX53" fmla="*/ 1404694 w 16413202"/>
                <a:gd name="connsiteY53" fmla="*/ 2272862 h 15946069"/>
                <a:gd name="connsiteX54" fmla="*/ 2351216 w 16413202"/>
                <a:gd name="connsiteY54" fmla="*/ 3388182 h 15946069"/>
                <a:gd name="connsiteX55" fmla="*/ 2658682 w 16413202"/>
                <a:gd name="connsiteY55" fmla="*/ 4286458 h 15946069"/>
                <a:gd name="connsiteX56" fmla="*/ 1935228 w 16413202"/>
                <a:gd name="connsiteY56" fmla="*/ 5220918 h 15946069"/>
                <a:gd name="connsiteX57" fmla="*/ 875281 w 16413202"/>
                <a:gd name="connsiteY57" fmla="*/ 5166646 h 15946069"/>
                <a:gd name="connsiteX58" fmla="*/ 0 w 16413202"/>
                <a:gd name="connsiteY58" fmla="*/ 5890112 h 15946069"/>
                <a:gd name="connsiteX59" fmla="*/ 72345 w 16413202"/>
                <a:gd name="connsiteY59" fmla="*/ 6921032 h 15946069"/>
                <a:gd name="connsiteX60" fmla="*/ 477776 w 16413202"/>
                <a:gd name="connsiteY60" fmla="*/ 7436569 h 15946069"/>
                <a:gd name="connsiteX0" fmla="*/ 477776 w 16413202"/>
                <a:gd name="connsiteY0" fmla="*/ 7436569 h 15946069"/>
                <a:gd name="connsiteX1" fmla="*/ 271294 w 16413202"/>
                <a:gd name="connsiteY1" fmla="*/ 8060457 h 15946069"/>
                <a:gd name="connsiteX2" fmla="*/ 379812 w 16413202"/>
                <a:gd name="connsiteY2" fmla="*/ 8675382 h 15946069"/>
                <a:gd name="connsiteX3" fmla="*/ 759624 w 16413202"/>
                <a:gd name="connsiteY3" fmla="*/ 9217969 h 15946069"/>
                <a:gd name="connsiteX4" fmla="*/ 687278 w 16413202"/>
                <a:gd name="connsiteY4" fmla="*/ 9670126 h 15946069"/>
                <a:gd name="connsiteX5" fmla="*/ 144687 w 16413202"/>
                <a:gd name="connsiteY5" fmla="*/ 9941420 h 15946069"/>
                <a:gd name="connsiteX6" fmla="*/ 343643 w 16413202"/>
                <a:gd name="connsiteY6" fmla="*/ 10592536 h 15946069"/>
                <a:gd name="connsiteX7" fmla="*/ 940487 w 16413202"/>
                <a:gd name="connsiteY7" fmla="*/ 10954252 h 15946069"/>
                <a:gd name="connsiteX8" fmla="*/ 596844 w 16413202"/>
                <a:gd name="connsiteY8" fmla="*/ 11786221 h 15946069"/>
                <a:gd name="connsiteX9" fmla="*/ 633017 w 16413202"/>
                <a:gd name="connsiteY9" fmla="*/ 12780969 h 15946069"/>
                <a:gd name="connsiteX10" fmla="*/ 198944 w 16413202"/>
                <a:gd name="connsiteY10" fmla="*/ 13341645 h 15946069"/>
                <a:gd name="connsiteX11" fmla="*/ 723451 w 16413202"/>
                <a:gd name="connsiteY11" fmla="*/ 13757629 h 15946069"/>
                <a:gd name="connsiteX12" fmla="*/ 1640036 w 16413202"/>
                <a:gd name="connsiteY12" fmla="*/ 13197151 h 15946069"/>
                <a:gd name="connsiteX13" fmla="*/ 1880971 w 16413202"/>
                <a:gd name="connsiteY13" fmla="*/ 13395906 h 15946069"/>
                <a:gd name="connsiteX14" fmla="*/ 2930086 w 16413202"/>
                <a:gd name="connsiteY14" fmla="*/ 12952832 h 15946069"/>
                <a:gd name="connsiteX15" fmla="*/ 3828256 w 16413202"/>
                <a:gd name="connsiteY15" fmla="*/ 13245188 h 15946069"/>
                <a:gd name="connsiteX16" fmla="*/ 4768739 w 16413202"/>
                <a:gd name="connsiteY16" fmla="*/ 13040205 h 15946069"/>
                <a:gd name="connsiteX17" fmla="*/ 5190751 w 16413202"/>
                <a:gd name="connsiteY17" fmla="*/ 13649115 h 15946069"/>
                <a:gd name="connsiteX18" fmla="*/ 5932290 w 16413202"/>
                <a:gd name="connsiteY18" fmla="*/ 13444132 h 15946069"/>
                <a:gd name="connsiteX19" fmla="*/ 6498992 w 16413202"/>
                <a:gd name="connsiteY19" fmla="*/ 12991975 h 15946069"/>
                <a:gd name="connsiteX20" fmla="*/ 7373161 w 16413202"/>
                <a:gd name="connsiteY20" fmla="*/ 13582800 h 15946069"/>
                <a:gd name="connsiteX21" fmla="*/ 8512588 w 16413202"/>
                <a:gd name="connsiteY21" fmla="*/ 13570738 h 15946069"/>
                <a:gd name="connsiteX22" fmla="*/ 9742454 w 16413202"/>
                <a:gd name="connsiteY22" fmla="*/ 14004811 h 15946069"/>
                <a:gd name="connsiteX23" fmla="*/ 10616683 w 16413202"/>
                <a:gd name="connsiteY23" fmla="*/ 15358294 h 15946069"/>
                <a:gd name="connsiteX24" fmla="*/ 11117010 w 16413202"/>
                <a:gd name="connsiteY24" fmla="*/ 15946069 h 15946069"/>
                <a:gd name="connsiteX25" fmla="*/ 11780218 w 16413202"/>
                <a:gd name="connsiteY25" fmla="*/ 13579811 h 15946069"/>
                <a:gd name="connsiteX26" fmla="*/ 12196146 w 16413202"/>
                <a:gd name="connsiteY26" fmla="*/ 11388328 h 15946069"/>
                <a:gd name="connsiteX27" fmla="*/ 14004775 w 16413202"/>
                <a:gd name="connsiteY27" fmla="*/ 11611395 h 15946069"/>
                <a:gd name="connsiteX28" fmla="*/ 15409477 w 16413202"/>
                <a:gd name="connsiteY28" fmla="*/ 11882693 h 15946069"/>
                <a:gd name="connsiteX29" fmla="*/ 16413199 w 16413202"/>
                <a:gd name="connsiteY29" fmla="*/ 10920339 h 15946069"/>
                <a:gd name="connsiteX30" fmla="*/ 9276853 w 16413202"/>
                <a:gd name="connsiteY30" fmla="*/ 9446319 h 15946069"/>
                <a:gd name="connsiteX31" fmla="*/ 12149687 w 16413202"/>
                <a:gd name="connsiteY31" fmla="*/ 8101619 h 15946069"/>
                <a:gd name="connsiteX32" fmla="*/ 11118705 w 16413202"/>
                <a:gd name="connsiteY32" fmla="*/ 7156845 h 15946069"/>
                <a:gd name="connsiteX33" fmla="*/ 10425568 w 16413202"/>
                <a:gd name="connsiteY33" fmla="*/ 7223642 h 15946069"/>
                <a:gd name="connsiteX34" fmla="*/ 10709437 w 16413202"/>
                <a:gd name="connsiteY34" fmla="*/ 6730245 h 15946069"/>
                <a:gd name="connsiteX35" fmla="*/ 10017677 w 16413202"/>
                <a:gd name="connsiteY35" fmla="*/ 5883475 h 15946069"/>
                <a:gd name="connsiteX36" fmla="*/ 9318595 w 16413202"/>
                <a:gd name="connsiteY36" fmla="*/ 5859197 h 15946069"/>
                <a:gd name="connsiteX37" fmla="*/ 9215073 w 16413202"/>
                <a:gd name="connsiteY37" fmla="*/ 5387392 h 15946069"/>
                <a:gd name="connsiteX38" fmla="*/ 8600211 w 16413202"/>
                <a:gd name="connsiteY38" fmla="*/ 5564744 h 15946069"/>
                <a:gd name="connsiteX39" fmla="*/ 8412926 w 16413202"/>
                <a:gd name="connsiteY39" fmla="*/ 4835463 h 15946069"/>
                <a:gd name="connsiteX40" fmla="*/ 7744624 w 16413202"/>
                <a:gd name="connsiteY40" fmla="*/ 4382387 h 15946069"/>
                <a:gd name="connsiteX41" fmla="*/ 8112983 w 16413202"/>
                <a:gd name="connsiteY41" fmla="*/ 3770361 h 15946069"/>
                <a:gd name="connsiteX42" fmla="*/ 7637793 w 16413202"/>
                <a:gd name="connsiteY42" fmla="*/ 2526072 h 15946069"/>
                <a:gd name="connsiteX43" fmla="*/ 7264687 w 16413202"/>
                <a:gd name="connsiteY43" fmla="*/ 2131091 h 15946069"/>
                <a:gd name="connsiteX44" fmla="*/ 6594245 w 16413202"/>
                <a:gd name="connsiteY44" fmla="*/ 2055834 h 15946069"/>
                <a:gd name="connsiteX45" fmla="*/ 6431470 w 16413202"/>
                <a:gd name="connsiteY45" fmla="*/ 1314295 h 15946069"/>
                <a:gd name="connsiteX46" fmla="*/ 5642908 w 16413202"/>
                <a:gd name="connsiteY46" fmla="*/ 1343233 h 15946069"/>
                <a:gd name="connsiteX47" fmla="*/ 5150959 w 16413202"/>
                <a:gd name="connsiteY47" fmla="*/ 1610907 h 15946069"/>
                <a:gd name="connsiteX48" fmla="*/ 5480133 w 16413202"/>
                <a:gd name="connsiteY48" fmla="*/ 2167963 h 15946069"/>
                <a:gd name="connsiteX49" fmla="*/ 4742216 w 16413202"/>
                <a:gd name="connsiteY49" fmla="*/ 2862495 h 15946069"/>
                <a:gd name="connsiteX50" fmla="*/ 2658667 w 16413202"/>
                <a:gd name="connsiteY50" fmla="*/ 0 h 15946069"/>
                <a:gd name="connsiteX51" fmla="*/ 2658682 w 16413202"/>
                <a:gd name="connsiteY51" fmla="*/ 1018890 h 15946069"/>
                <a:gd name="connsiteX52" fmla="*/ 1850829 w 16413202"/>
                <a:gd name="connsiteY52" fmla="*/ 1730283 h 15946069"/>
                <a:gd name="connsiteX53" fmla="*/ 1404694 w 16413202"/>
                <a:gd name="connsiteY53" fmla="*/ 2272862 h 15946069"/>
                <a:gd name="connsiteX54" fmla="*/ 2351216 w 16413202"/>
                <a:gd name="connsiteY54" fmla="*/ 3388182 h 15946069"/>
                <a:gd name="connsiteX55" fmla="*/ 2658682 w 16413202"/>
                <a:gd name="connsiteY55" fmla="*/ 4286458 h 15946069"/>
                <a:gd name="connsiteX56" fmla="*/ 1935228 w 16413202"/>
                <a:gd name="connsiteY56" fmla="*/ 5220918 h 15946069"/>
                <a:gd name="connsiteX57" fmla="*/ 875281 w 16413202"/>
                <a:gd name="connsiteY57" fmla="*/ 5166646 h 15946069"/>
                <a:gd name="connsiteX58" fmla="*/ 0 w 16413202"/>
                <a:gd name="connsiteY58" fmla="*/ 5890112 h 15946069"/>
                <a:gd name="connsiteX59" fmla="*/ 72345 w 16413202"/>
                <a:gd name="connsiteY59" fmla="*/ 6921032 h 15946069"/>
                <a:gd name="connsiteX60" fmla="*/ 477776 w 16413202"/>
                <a:gd name="connsiteY60" fmla="*/ 7436569 h 15946069"/>
                <a:gd name="connsiteX0" fmla="*/ 477776 w 16413202"/>
                <a:gd name="connsiteY0" fmla="*/ 7436569 h 15946069"/>
                <a:gd name="connsiteX1" fmla="*/ 271294 w 16413202"/>
                <a:gd name="connsiteY1" fmla="*/ 8060457 h 15946069"/>
                <a:gd name="connsiteX2" fmla="*/ 379812 w 16413202"/>
                <a:gd name="connsiteY2" fmla="*/ 8675382 h 15946069"/>
                <a:gd name="connsiteX3" fmla="*/ 759624 w 16413202"/>
                <a:gd name="connsiteY3" fmla="*/ 9217969 h 15946069"/>
                <a:gd name="connsiteX4" fmla="*/ 687278 w 16413202"/>
                <a:gd name="connsiteY4" fmla="*/ 9670126 h 15946069"/>
                <a:gd name="connsiteX5" fmla="*/ 144687 w 16413202"/>
                <a:gd name="connsiteY5" fmla="*/ 9941420 h 15946069"/>
                <a:gd name="connsiteX6" fmla="*/ 343643 w 16413202"/>
                <a:gd name="connsiteY6" fmla="*/ 10592536 h 15946069"/>
                <a:gd name="connsiteX7" fmla="*/ 940487 w 16413202"/>
                <a:gd name="connsiteY7" fmla="*/ 10954252 h 15946069"/>
                <a:gd name="connsiteX8" fmla="*/ 596844 w 16413202"/>
                <a:gd name="connsiteY8" fmla="*/ 11786221 h 15946069"/>
                <a:gd name="connsiteX9" fmla="*/ 633017 w 16413202"/>
                <a:gd name="connsiteY9" fmla="*/ 12780969 h 15946069"/>
                <a:gd name="connsiteX10" fmla="*/ 198944 w 16413202"/>
                <a:gd name="connsiteY10" fmla="*/ 13341645 h 15946069"/>
                <a:gd name="connsiteX11" fmla="*/ 723451 w 16413202"/>
                <a:gd name="connsiteY11" fmla="*/ 13757629 h 15946069"/>
                <a:gd name="connsiteX12" fmla="*/ 1640036 w 16413202"/>
                <a:gd name="connsiteY12" fmla="*/ 13197151 h 15946069"/>
                <a:gd name="connsiteX13" fmla="*/ 1880971 w 16413202"/>
                <a:gd name="connsiteY13" fmla="*/ 13395906 h 15946069"/>
                <a:gd name="connsiteX14" fmla="*/ 2930086 w 16413202"/>
                <a:gd name="connsiteY14" fmla="*/ 12952832 h 15946069"/>
                <a:gd name="connsiteX15" fmla="*/ 3828256 w 16413202"/>
                <a:gd name="connsiteY15" fmla="*/ 13245188 h 15946069"/>
                <a:gd name="connsiteX16" fmla="*/ 4768739 w 16413202"/>
                <a:gd name="connsiteY16" fmla="*/ 13040205 h 15946069"/>
                <a:gd name="connsiteX17" fmla="*/ 5190751 w 16413202"/>
                <a:gd name="connsiteY17" fmla="*/ 13649115 h 15946069"/>
                <a:gd name="connsiteX18" fmla="*/ 5932290 w 16413202"/>
                <a:gd name="connsiteY18" fmla="*/ 13444132 h 15946069"/>
                <a:gd name="connsiteX19" fmla="*/ 6498992 w 16413202"/>
                <a:gd name="connsiteY19" fmla="*/ 12991975 h 15946069"/>
                <a:gd name="connsiteX20" fmla="*/ 7373161 w 16413202"/>
                <a:gd name="connsiteY20" fmla="*/ 13582800 h 15946069"/>
                <a:gd name="connsiteX21" fmla="*/ 8512588 w 16413202"/>
                <a:gd name="connsiteY21" fmla="*/ 13570738 h 15946069"/>
                <a:gd name="connsiteX22" fmla="*/ 9742454 w 16413202"/>
                <a:gd name="connsiteY22" fmla="*/ 14004811 h 15946069"/>
                <a:gd name="connsiteX23" fmla="*/ 10616683 w 16413202"/>
                <a:gd name="connsiteY23" fmla="*/ 15358294 h 15946069"/>
                <a:gd name="connsiteX24" fmla="*/ 11117010 w 16413202"/>
                <a:gd name="connsiteY24" fmla="*/ 15946069 h 15946069"/>
                <a:gd name="connsiteX25" fmla="*/ 11780218 w 16413202"/>
                <a:gd name="connsiteY25" fmla="*/ 13579811 h 15946069"/>
                <a:gd name="connsiteX26" fmla="*/ 12196146 w 16413202"/>
                <a:gd name="connsiteY26" fmla="*/ 11388328 h 15946069"/>
                <a:gd name="connsiteX27" fmla="*/ 14004775 w 16413202"/>
                <a:gd name="connsiteY27" fmla="*/ 11611395 h 15946069"/>
                <a:gd name="connsiteX28" fmla="*/ 15409477 w 16413202"/>
                <a:gd name="connsiteY28" fmla="*/ 11882693 h 15946069"/>
                <a:gd name="connsiteX29" fmla="*/ 16413199 w 16413202"/>
                <a:gd name="connsiteY29" fmla="*/ 10920339 h 15946069"/>
                <a:gd name="connsiteX30" fmla="*/ 11668657 w 16413202"/>
                <a:gd name="connsiteY30" fmla="*/ 8754316 h 15946069"/>
                <a:gd name="connsiteX31" fmla="*/ 12149687 w 16413202"/>
                <a:gd name="connsiteY31" fmla="*/ 8101619 h 15946069"/>
                <a:gd name="connsiteX32" fmla="*/ 11118705 w 16413202"/>
                <a:gd name="connsiteY32" fmla="*/ 7156845 h 15946069"/>
                <a:gd name="connsiteX33" fmla="*/ 10425568 w 16413202"/>
                <a:gd name="connsiteY33" fmla="*/ 7223642 h 15946069"/>
                <a:gd name="connsiteX34" fmla="*/ 10709437 w 16413202"/>
                <a:gd name="connsiteY34" fmla="*/ 6730245 h 15946069"/>
                <a:gd name="connsiteX35" fmla="*/ 10017677 w 16413202"/>
                <a:gd name="connsiteY35" fmla="*/ 5883475 h 15946069"/>
                <a:gd name="connsiteX36" fmla="*/ 9318595 w 16413202"/>
                <a:gd name="connsiteY36" fmla="*/ 5859197 h 15946069"/>
                <a:gd name="connsiteX37" fmla="*/ 9215073 w 16413202"/>
                <a:gd name="connsiteY37" fmla="*/ 5387392 h 15946069"/>
                <a:gd name="connsiteX38" fmla="*/ 8600211 w 16413202"/>
                <a:gd name="connsiteY38" fmla="*/ 5564744 h 15946069"/>
                <a:gd name="connsiteX39" fmla="*/ 8412926 w 16413202"/>
                <a:gd name="connsiteY39" fmla="*/ 4835463 h 15946069"/>
                <a:gd name="connsiteX40" fmla="*/ 7744624 w 16413202"/>
                <a:gd name="connsiteY40" fmla="*/ 4382387 h 15946069"/>
                <a:gd name="connsiteX41" fmla="*/ 8112983 w 16413202"/>
                <a:gd name="connsiteY41" fmla="*/ 3770361 h 15946069"/>
                <a:gd name="connsiteX42" fmla="*/ 7637793 w 16413202"/>
                <a:gd name="connsiteY42" fmla="*/ 2526072 h 15946069"/>
                <a:gd name="connsiteX43" fmla="*/ 7264687 w 16413202"/>
                <a:gd name="connsiteY43" fmla="*/ 2131091 h 15946069"/>
                <a:gd name="connsiteX44" fmla="*/ 6594245 w 16413202"/>
                <a:gd name="connsiteY44" fmla="*/ 2055834 h 15946069"/>
                <a:gd name="connsiteX45" fmla="*/ 6431470 w 16413202"/>
                <a:gd name="connsiteY45" fmla="*/ 1314295 h 15946069"/>
                <a:gd name="connsiteX46" fmla="*/ 5642908 w 16413202"/>
                <a:gd name="connsiteY46" fmla="*/ 1343233 h 15946069"/>
                <a:gd name="connsiteX47" fmla="*/ 5150959 w 16413202"/>
                <a:gd name="connsiteY47" fmla="*/ 1610907 h 15946069"/>
                <a:gd name="connsiteX48" fmla="*/ 5480133 w 16413202"/>
                <a:gd name="connsiteY48" fmla="*/ 2167963 h 15946069"/>
                <a:gd name="connsiteX49" fmla="*/ 4742216 w 16413202"/>
                <a:gd name="connsiteY49" fmla="*/ 2862495 h 15946069"/>
                <a:gd name="connsiteX50" fmla="*/ 2658667 w 16413202"/>
                <a:gd name="connsiteY50" fmla="*/ 0 h 15946069"/>
                <a:gd name="connsiteX51" fmla="*/ 2658682 w 16413202"/>
                <a:gd name="connsiteY51" fmla="*/ 1018890 h 15946069"/>
                <a:gd name="connsiteX52" fmla="*/ 1850829 w 16413202"/>
                <a:gd name="connsiteY52" fmla="*/ 1730283 h 15946069"/>
                <a:gd name="connsiteX53" fmla="*/ 1404694 w 16413202"/>
                <a:gd name="connsiteY53" fmla="*/ 2272862 h 15946069"/>
                <a:gd name="connsiteX54" fmla="*/ 2351216 w 16413202"/>
                <a:gd name="connsiteY54" fmla="*/ 3388182 h 15946069"/>
                <a:gd name="connsiteX55" fmla="*/ 2658682 w 16413202"/>
                <a:gd name="connsiteY55" fmla="*/ 4286458 h 15946069"/>
                <a:gd name="connsiteX56" fmla="*/ 1935228 w 16413202"/>
                <a:gd name="connsiteY56" fmla="*/ 5220918 h 15946069"/>
                <a:gd name="connsiteX57" fmla="*/ 875281 w 16413202"/>
                <a:gd name="connsiteY57" fmla="*/ 5166646 h 15946069"/>
                <a:gd name="connsiteX58" fmla="*/ 0 w 16413202"/>
                <a:gd name="connsiteY58" fmla="*/ 5890112 h 15946069"/>
                <a:gd name="connsiteX59" fmla="*/ 72345 w 16413202"/>
                <a:gd name="connsiteY59" fmla="*/ 6921032 h 15946069"/>
                <a:gd name="connsiteX60" fmla="*/ 477776 w 16413202"/>
                <a:gd name="connsiteY60" fmla="*/ 7436569 h 15946069"/>
                <a:gd name="connsiteX0" fmla="*/ 477776 w 15409480"/>
                <a:gd name="connsiteY0" fmla="*/ 7436569 h 15946069"/>
                <a:gd name="connsiteX1" fmla="*/ 271294 w 15409480"/>
                <a:gd name="connsiteY1" fmla="*/ 8060457 h 15946069"/>
                <a:gd name="connsiteX2" fmla="*/ 379812 w 15409480"/>
                <a:gd name="connsiteY2" fmla="*/ 8675382 h 15946069"/>
                <a:gd name="connsiteX3" fmla="*/ 759624 w 15409480"/>
                <a:gd name="connsiteY3" fmla="*/ 9217969 h 15946069"/>
                <a:gd name="connsiteX4" fmla="*/ 687278 w 15409480"/>
                <a:gd name="connsiteY4" fmla="*/ 9670126 h 15946069"/>
                <a:gd name="connsiteX5" fmla="*/ 144687 w 15409480"/>
                <a:gd name="connsiteY5" fmla="*/ 9941420 h 15946069"/>
                <a:gd name="connsiteX6" fmla="*/ 343643 w 15409480"/>
                <a:gd name="connsiteY6" fmla="*/ 10592536 h 15946069"/>
                <a:gd name="connsiteX7" fmla="*/ 940487 w 15409480"/>
                <a:gd name="connsiteY7" fmla="*/ 10954252 h 15946069"/>
                <a:gd name="connsiteX8" fmla="*/ 596844 w 15409480"/>
                <a:gd name="connsiteY8" fmla="*/ 11786221 h 15946069"/>
                <a:gd name="connsiteX9" fmla="*/ 633017 w 15409480"/>
                <a:gd name="connsiteY9" fmla="*/ 12780969 h 15946069"/>
                <a:gd name="connsiteX10" fmla="*/ 198944 w 15409480"/>
                <a:gd name="connsiteY10" fmla="*/ 13341645 h 15946069"/>
                <a:gd name="connsiteX11" fmla="*/ 723451 w 15409480"/>
                <a:gd name="connsiteY11" fmla="*/ 13757629 h 15946069"/>
                <a:gd name="connsiteX12" fmla="*/ 1640036 w 15409480"/>
                <a:gd name="connsiteY12" fmla="*/ 13197151 h 15946069"/>
                <a:gd name="connsiteX13" fmla="*/ 1880971 w 15409480"/>
                <a:gd name="connsiteY13" fmla="*/ 13395906 h 15946069"/>
                <a:gd name="connsiteX14" fmla="*/ 2930086 w 15409480"/>
                <a:gd name="connsiteY14" fmla="*/ 12952832 h 15946069"/>
                <a:gd name="connsiteX15" fmla="*/ 3828256 w 15409480"/>
                <a:gd name="connsiteY15" fmla="*/ 13245188 h 15946069"/>
                <a:gd name="connsiteX16" fmla="*/ 4768739 w 15409480"/>
                <a:gd name="connsiteY16" fmla="*/ 13040205 h 15946069"/>
                <a:gd name="connsiteX17" fmla="*/ 5190751 w 15409480"/>
                <a:gd name="connsiteY17" fmla="*/ 13649115 h 15946069"/>
                <a:gd name="connsiteX18" fmla="*/ 5932290 w 15409480"/>
                <a:gd name="connsiteY18" fmla="*/ 13444132 h 15946069"/>
                <a:gd name="connsiteX19" fmla="*/ 6498992 w 15409480"/>
                <a:gd name="connsiteY19" fmla="*/ 12991975 h 15946069"/>
                <a:gd name="connsiteX20" fmla="*/ 7373161 w 15409480"/>
                <a:gd name="connsiteY20" fmla="*/ 13582800 h 15946069"/>
                <a:gd name="connsiteX21" fmla="*/ 8512588 w 15409480"/>
                <a:gd name="connsiteY21" fmla="*/ 13570738 h 15946069"/>
                <a:gd name="connsiteX22" fmla="*/ 9742454 w 15409480"/>
                <a:gd name="connsiteY22" fmla="*/ 14004811 h 15946069"/>
                <a:gd name="connsiteX23" fmla="*/ 10616683 w 15409480"/>
                <a:gd name="connsiteY23" fmla="*/ 15358294 h 15946069"/>
                <a:gd name="connsiteX24" fmla="*/ 11117010 w 15409480"/>
                <a:gd name="connsiteY24" fmla="*/ 15946069 h 15946069"/>
                <a:gd name="connsiteX25" fmla="*/ 11780218 w 15409480"/>
                <a:gd name="connsiteY25" fmla="*/ 13579811 h 15946069"/>
                <a:gd name="connsiteX26" fmla="*/ 12196146 w 15409480"/>
                <a:gd name="connsiteY26" fmla="*/ 11388328 h 15946069"/>
                <a:gd name="connsiteX27" fmla="*/ 14004775 w 15409480"/>
                <a:gd name="connsiteY27" fmla="*/ 11611395 h 15946069"/>
                <a:gd name="connsiteX28" fmla="*/ 15409477 w 15409480"/>
                <a:gd name="connsiteY28" fmla="*/ 11882693 h 15946069"/>
                <a:gd name="connsiteX29" fmla="*/ 10457619 w 15409480"/>
                <a:gd name="connsiteY29" fmla="*/ 10753303 h 15946069"/>
                <a:gd name="connsiteX30" fmla="*/ 11668657 w 15409480"/>
                <a:gd name="connsiteY30" fmla="*/ 8754316 h 15946069"/>
                <a:gd name="connsiteX31" fmla="*/ 12149687 w 15409480"/>
                <a:gd name="connsiteY31" fmla="*/ 8101619 h 15946069"/>
                <a:gd name="connsiteX32" fmla="*/ 11118705 w 15409480"/>
                <a:gd name="connsiteY32" fmla="*/ 7156845 h 15946069"/>
                <a:gd name="connsiteX33" fmla="*/ 10425568 w 15409480"/>
                <a:gd name="connsiteY33" fmla="*/ 7223642 h 15946069"/>
                <a:gd name="connsiteX34" fmla="*/ 10709437 w 15409480"/>
                <a:gd name="connsiteY34" fmla="*/ 6730245 h 15946069"/>
                <a:gd name="connsiteX35" fmla="*/ 10017677 w 15409480"/>
                <a:gd name="connsiteY35" fmla="*/ 5883475 h 15946069"/>
                <a:gd name="connsiteX36" fmla="*/ 9318595 w 15409480"/>
                <a:gd name="connsiteY36" fmla="*/ 5859197 h 15946069"/>
                <a:gd name="connsiteX37" fmla="*/ 9215073 w 15409480"/>
                <a:gd name="connsiteY37" fmla="*/ 5387392 h 15946069"/>
                <a:gd name="connsiteX38" fmla="*/ 8600211 w 15409480"/>
                <a:gd name="connsiteY38" fmla="*/ 5564744 h 15946069"/>
                <a:gd name="connsiteX39" fmla="*/ 8412926 w 15409480"/>
                <a:gd name="connsiteY39" fmla="*/ 4835463 h 15946069"/>
                <a:gd name="connsiteX40" fmla="*/ 7744624 w 15409480"/>
                <a:gd name="connsiteY40" fmla="*/ 4382387 h 15946069"/>
                <a:gd name="connsiteX41" fmla="*/ 8112983 w 15409480"/>
                <a:gd name="connsiteY41" fmla="*/ 3770361 h 15946069"/>
                <a:gd name="connsiteX42" fmla="*/ 7637793 w 15409480"/>
                <a:gd name="connsiteY42" fmla="*/ 2526072 h 15946069"/>
                <a:gd name="connsiteX43" fmla="*/ 7264687 w 15409480"/>
                <a:gd name="connsiteY43" fmla="*/ 2131091 h 15946069"/>
                <a:gd name="connsiteX44" fmla="*/ 6594245 w 15409480"/>
                <a:gd name="connsiteY44" fmla="*/ 2055834 h 15946069"/>
                <a:gd name="connsiteX45" fmla="*/ 6431470 w 15409480"/>
                <a:gd name="connsiteY45" fmla="*/ 1314295 h 15946069"/>
                <a:gd name="connsiteX46" fmla="*/ 5642908 w 15409480"/>
                <a:gd name="connsiteY46" fmla="*/ 1343233 h 15946069"/>
                <a:gd name="connsiteX47" fmla="*/ 5150959 w 15409480"/>
                <a:gd name="connsiteY47" fmla="*/ 1610907 h 15946069"/>
                <a:gd name="connsiteX48" fmla="*/ 5480133 w 15409480"/>
                <a:gd name="connsiteY48" fmla="*/ 2167963 h 15946069"/>
                <a:gd name="connsiteX49" fmla="*/ 4742216 w 15409480"/>
                <a:gd name="connsiteY49" fmla="*/ 2862495 h 15946069"/>
                <a:gd name="connsiteX50" fmla="*/ 2658667 w 15409480"/>
                <a:gd name="connsiteY50" fmla="*/ 0 h 15946069"/>
                <a:gd name="connsiteX51" fmla="*/ 2658682 w 15409480"/>
                <a:gd name="connsiteY51" fmla="*/ 1018890 h 15946069"/>
                <a:gd name="connsiteX52" fmla="*/ 1850829 w 15409480"/>
                <a:gd name="connsiteY52" fmla="*/ 1730283 h 15946069"/>
                <a:gd name="connsiteX53" fmla="*/ 1404694 w 15409480"/>
                <a:gd name="connsiteY53" fmla="*/ 2272862 h 15946069"/>
                <a:gd name="connsiteX54" fmla="*/ 2351216 w 15409480"/>
                <a:gd name="connsiteY54" fmla="*/ 3388182 h 15946069"/>
                <a:gd name="connsiteX55" fmla="*/ 2658682 w 15409480"/>
                <a:gd name="connsiteY55" fmla="*/ 4286458 h 15946069"/>
                <a:gd name="connsiteX56" fmla="*/ 1935228 w 15409480"/>
                <a:gd name="connsiteY56" fmla="*/ 5220918 h 15946069"/>
                <a:gd name="connsiteX57" fmla="*/ 875281 w 15409480"/>
                <a:gd name="connsiteY57" fmla="*/ 5166646 h 15946069"/>
                <a:gd name="connsiteX58" fmla="*/ 0 w 15409480"/>
                <a:gd name="connsiteY58" fmla="*/ 5890112 h 15946069"/>
                <a:gd name="connsiteX59" fmla="*/ 72345 w 15409480"/>
                <a:gd name="connsiteY59" fmla="*/ 6921032 h 15946069"/>
                <a:gd name="connsiteX60" fmla="*/ 477776 w 15409480"/>
                <a:gd name="connsiteY60" fmla="*/ 7436569 h 15946069"/>
                <a:gd name="connsiteX0" fmla="*/ 477776 w 15409480"/>
                <a:gd name="connsiteY0" fmla="*/ 7436569 h 15946069"/>
                <a:gd name="connsiteX1" fmla="*/ 271294 w 15409480"/>
                <a:gd name="connsiteY1" fmla="*/ 8060457 h 15946069"/>
                <a:gd name="connsiteX2" fmla="*/ 379812 w 15409480"/>
                <a:gd name="connsiteY2" fmla="*/ 8675382 h 15946069"/>
                <a:gd name="connsiteX3" fmla="*/ 759624 w 15409480"/>
                <a:gd name="connsiteY3" fmla="*/ 9217969 h 15946069"/>
                <a:gd name="connsiteX4" fmla="*/ 687278 w 15409480"/>
                <a:gd name="connsiteY4" fmla="*/ 9670126 h 15946069"/>
                <a:gd name="connsiteX5" fmla="*/ 144687 w 15409480"/>
                <a:gd name="connsiteY5" fmla="*/ 9941420 h 15946069"/>
                <a:gd name="connsiteX6" fmla="*/ 343643 w 15409480"/>
                <a:gd name="connsiteY6" fmla="*/ 10592536 h 15946069"/>
                <a:gd name="connsiteX7" fmla="*/ 940487 w 15409480"/>
                <a:gd name="connsiteY7" fmla="*/ 10954252 h 15946069"/>
                <a:gd name="connsiteX8" fmla="*/ 596844 w 15409480"/>
                <a:gd name="connsiteY8" fmla="*/ 11786221 h 15946069"/>
                <a:gd name="connsiteX9" fmla="*/ 633017 w 15409480"/>
                <a:gd name="connsiteY9" fmla="*/ 12780969 h 15946069"/>
                <a:gd name="connsiteX10" fmla="*/ 198944 w 15409480"/>
                <a:gd name="connsiteY10" fmla="*/ 13341645 h 15946069"/>
                <a:gd name="connsiteX11" fmla="*/ 723451 w 15409480"/>
                <a:gd name="connsiteY11" fmla="*/ 13757629 h 15946069"/>
                <a:gd name="connsiteX12" fmla="*/ 1640036 w 15409480"/>
                <a:gd name="connsiteY12" fmla="*/ 13197151 h 15946069"/>
                <a:gd name="connsiteX13" fmla="*/ 1880971 w 15409480"/>
                <a:gd name="connsiteY13" fmla="*/ 13395906 h 15946069"/>
                <a:gd name="connsiteX14" fmla="*/ 2930086 w 15409480"/>
                <a:gd name="connsiteY14" fmla="*/ 12952832 h 15946069"/>
                <a:gd name="connsiteX15" fmla="*/ 3828256 w 15409480"/>
                <a:gd name="connsiteY15" fmla="*/ 13245188 h 15946069"/>
                <a:gd name="connsiteX16" fmla="*/ 4768739 w 15409480"/>
                <a:gd name="connsiteY16" fmla="*/ 13040205 h 15946069"/>
                <a:gd name="connsiteX17" fmla="*/ 5190751 w 15409480"/>
                <a:gd name="connsiteY17" fmla="*/ 13649115 h 15946069"/>
                <a:gd name="connsiteX18" fmla="*/ 5932290 w 15409480"/>
                <a:gd name="connsiteY18" fmla="*/ 13444132 h 15946069"/>
                <a:gd name="connsiteX19" fmla="*/ 6498992 w 15409480"/>
                <a:gd name="connsiteY19" fmla="*/ 12991975 h 15946069"/>
                <a:gd name="connsiteX20" fmla="*/ 7373161 w 15409480"/>
                <a:gd name="connsiteY20" fmla="*/ 13582800 h 15946069"/>
                <a:gd name="connsiteX21" fmla="*/ 8512588 w 15409480"/>
                <a:gd name="connsiteY21" fmla="*/ 13570738 h 15946069"/>
                <a:gd name="connsiteX22" fmla="*/ 9742454 w 15409480"/>
                <a:gd name="connsiteY22" fmla="*/ 14004811 h 15946069"/>
                <a:gd name="connsiteX23" fmla="*/ 10616683 w 15409480"/>
                <a:gd name="connsiteY23" fmla="*/ 15358294 h 15946069"/>
                <a:gd name="connsiteX24" fmla="*/ 11117010 w 15409480"/>
                <a:gd name="connsiteY24" fmla="*/ 15946069 h 15946069"/>
                <a:gd name="connsiteX25" fmla="*/ 11780218 w 15409480"/>
                <a:gd name="connsiteY25" fmla="*/ 13579811 h 15946069"/>
                <a:gd name="connsiteX26" fmla="*/ 12196146 w 15409480"/>
                <a:gd name="connsiteY26" fmla="*/ 11388328 h 15946069"/>
                <a:gd name="connsiteX27" fmla="*/ 14004775 w 15409480"/>
                <a:gd name="connsiteY27" fmla="*/ 11611395 h 15946069"/>
                <a:gd name="connsiteX28" fmla="*/ 15409477 w 15409480"/>
                <a:gd name="connsiteY28" fmla="*/ 11882693 h 15946069"/>
                <a:gd name="connsiteX29" fmla="*/ 10146682 w 15409480"/>
                <a:gd name="connsiteY29" fmla="*/ 10061295 h 15946069"/>
                <a:gd name="connsiteX30" fmla="*/ 11668657 w 15409480"/>
                <a:gd name="connsiteY30" fmla="*/ 8754316 h 15946069"/>
                <a:gd name="connsiteX31" fmla="*/ 12149687 w 15409480"/>
                <a:gd name="connsiteY31" fmla="*/ 8101619 h 15946069"/>
                <a:gd name="connsiteX32" fmla="*/ 11118705 w 15409480"/>
                <a:gd name="connsiteY32" fmla="*/ 7156845 h 15946069"/>
                <a:gd name="connsiteX33" fmla="*/ 10425568 w 15409480"/>
                <a:gd name="connsiteY33" fmla="*/ 7223642 h 15946069"/>
                <a:gd name="connsiteX34" fmla="*/ 10709437 w 15409480"/>
                <a:gd name="connsiteY34" fmla="*/ 6730245 h 15946069"/>
                <a:gd name="connsiteX35" fmla="*/ 10017677 w 15409480"/>
                <a:gd name="connsiteY35" fmla="*/ 5883475 h 15946069"/>
                <a:gd name="connsiteX36" fmla="*/ 9318595 w 15409480"/>
                <a:gd name="connsiteY36" fmla="*/ 5859197 h 15946069"/>
                <a:gd name="connsiteX37" fmla="*/ 9215073 w 15409480"/>
                <a:gd name="connsiteY37" fmla="*/ 5387392 h 15946069"/>
                <a:gd name="connsiteX38" fmla="*/ 8600211 w 15409480"/>
                <a:gd name="connsiteY38" fmla="*/ 5564744 h 15946069"/>
                <a:gd name="connsiteX39" fmla="*/ 8412926 w 15409480"/>
                <a:gd name="connsiteY39" fmla="*/ 4835463 h 15946069"/>
                <a:gd name="connsiteX40" fmla="*/ 7744624 w 15409480"/>
                <a:gd name="connsiteY40" fmla="*/ 4382387 h 15946069"/>
                <a:gd name="connsiteX41" fmla="*/ 8112983 w 15409480"/>
                <a:gd name="connsiteY41" fmla="*/ 3770361 h 15946069"/>
                <a:gd name="connsiteX42" fmla="*/ 7637793 w 15409480"/>
                <a:gd name="connsiteY42" fmla="*/ 2526072 h 15946069"/>
                <a:gd name="connsiteX43" fmla="*/ 7264687 w 15409480"/>
                <a:gd name="connsiteY43" fmla="*/ 2131091 h 15946069"/>
                <a:gd name="connsiteX44" fmla="*/ 6594245 w 15409480"/>
                <a:gd name="connsiteY44" fmla="*/ 2055834 h 15946069"/>
                <a:gd name="connsiteX45" fmla="*/ 6431470 w 15409480"/>
                <a:gd name="connsiteY45" fmla="*/ 1314295 h 15946069"/>
                <a:gd name="connsiteX46" fmla="*/ 5642908 w 15409480"/>
                <a:gd name="connsiteY46" fmla="*/ 1343233 h 15946069"/>
                <a:gd name="connsiteX47" fmla="*/ 5150959 w 15409480"/>
                <a:gd name="connsiteY47" fmla="*/ 1610907 h 15946069"/>
                <a:gd name="connsiteX48" fmla="*/ 5480133 w 15409480"/>
                <a:gd name="connsiteY48" fmla="*/ 2167963 h 15946069"/>
                <a:gd name="connsiteX49" fmla="*/ 4742216 w 15409480"/>
                <a:gd name="connsiteY49" fmla="*/ 2862495 h 15946069"/>
                <a:gd name="connsiteX50" fmla="*/ 2658667 w 15409480"/>
                <a:gd name="connsiteY50" fmla="*/ 0 h 15946069"/>
                <a:gd name="connsiteX51" fmla="*/ 2658682 w 15409480"/>
                <a:gd name="connsiteY51" fmla="*/ 1018890 h 15946069"/>
                <a:gd name="connsiteX52" fmla="*/ 1850829 w 15409480"/>
                <a:gd name="connsiteY52" fmla="*/ 1730283 h 15946069"/>
                <a:gd name="connsiteX53" fmla="*/ 1404694 w 15409480"/>
                <a:gd name="connsiteY53" fmla="*/ 2272862 h 15946069"/>
                <a:gd name="connsiteX54" fmla="*/ 2351216 w 15409480"/>
                <a:gd name="connsiteY54" fmla="*/ 3388182 h 15946069"/>
                <a:gd name="connsiteX55" fmla="*/ 2658682 w 15409480"/>
                <a:gd name="connsiteY55" fmla="*/ 4286458 h 15946069"/>
                <a:gd name="connsiteX56" fmla="*/ 1935228 w 15409480"/>
                <a:gd name="connsiteY56" fmla="*/ 5220918 h 15946069"/>
                <a:gd name="connsiteX57" fmla="*/ 875281 w 15409480"/>
                <a:gd name="connsiteY57" fmla="*/ 5166646 h 15946069"/>
                <a:gd name="connsiteX58" fmla="*/ 0 w 15409480"/>
                <a:gd name="connsiteY58" fmla="*/ 5890112 h 15946069"/>
                <a:gd name="connsiteX59" fmla="*/ 72345 w 15409480"/>
                <a:gd name="connsiteY59" fmla="*/ 6921032 h 15946069"/>
                <a:gd name="connsiteX60" fmla="*/ 477776 w 15409480"/>
                <a:gd name="connsiteY60" fmla="*/ 7436569 h 15946069"/>
                <a:gd name="connsiteX0" fmla="*/ 477776 w 15409480"/>
                <a:gd name="connsiteY0" fmla="*/ 7436569 h 15946069"/>
                <a:gd name="connsiteX1" fmla="*/ 271294 w 15409480"/>
                <a:gd name="connsiteY1" fmla="*/ 8060457 h 15946069"/>
                <a:gd name="connsiteX2" fmla="*/ 379812 w 15409480"/>
                <a:gd name="connsiteY2" fmla="*/ 8675382 h 15946069"/>
                <a:gd name="connsiteX3" fmla="*/ 759624 w 15409480"/>
                <a:gd name="connsiteY3" fmla="*/ 9217969 h 15946069"/>
                <a:gd name="connsiteX4" fmla="*/ 687278 w 15409480"/>
                <a:gd name="connsiteY4" fmla="*/ 9670126 h 15946069"/>
                <a:gd name="connsiteX5" fmla="*/ 144687 w 15409480"/>
                <a:gd name="connsiteY5" fmla="*/ 9941420 h 15946069"/>
                <a:gd name="connsiteX6" fmla="*/ 343643 w 15409480"/>
                <a:gd name="connsiteY6" fmla="*/ 10592536 h 15946069"/>
                <a:gd name="connsiteX7" fmla="*/ 940487 w 15409480"/>
                <a:gd name="connsiteY7" fmla="*/ 10954252 h 15946069"/>
                <a:gd name="connsiteX8" fmla="*/ 596844 w 15409480"/>
                <a:gd name="connsiteY8" fmla="*/ 11786221 h 15946069"/>
                <a:gd name="connsiteX9" fmla="*/ 633017 w 15409480"/>
                <a:gd name="connsiteY9" fmla="*/ 12780969 h 15946069"/>
                <a:gd name="connsiteX10" fmla="*/ 198944 w 15409480"/>
                <a:gd name="connsiteY10" fmla="*/ 13341645 h 15946069"/>
                <a:gd name="connsiteX11" fmla="*/ 723451 w 15409480"/>
                <a:gd name="connsiteY11" fmla="*/ 13757629 h 15946069"/>
                <a:gd name="connsiteX12" fmla="*/ 1640036 w 15409480"/>
                <a:gd name="connsiteY12" fmla="*/ 13197151 h 15946069"/>
                <a:gd name="connsiteX13" fmla="*/ 1880971 w 15409480"/>
                <a:gd name="connsiteY13" fmla="*/ 13395906 h 15946069"/>
                <a:gd name="connsiteX14" fmla="*/ 2930086 w 15409480"/>
                <a:gd name="connsiteY14" fmla="*/ 12952832 h 15946069"/>
                <a:gd name="connsiteX15" fmla="*/ 3828256 w 15409480"/>
                <a:gd name="connsiteY15" fmla="*/ 13245188 h 15946069"/>
                <a:gd name="connsiteX16" fmla="*/ 4768739 w 15409480"/>
                <a:gd name="connsiteY16" fmla="*/ 13040205 h 15946069"/>
                <a:gd name="connsiteX17" fmla="*/ 5190751 w 15409480"/>
                <a:gd name="connsiteY17" fmla="*/ 13649115 h 15946069"/>
                <a:gd name="connsiteX18" fmla="*/ 5932290 w 15409480"/>
                <a:gd name="connsiteY18" fmla="*/ 13444132 h 15946069"/>
                <a:gd name="connsiteX19" fmla="*/ 6498992 w 15409480"/>
                <a:gd name="connsiteY19" fmla="*/ 12991975 h 15946069"/>
                <a:gd name="connsiteX20" fmla="*/ 7373161 w 15409480"/>
                <a:gd name="connsiteY20" fmla="*/ 13582800 h 15946069"/>
                <a:gd name="connsiteX21" fmla="*/ 8512588 w 15409480"/>
                <a:gd name="connsiteY21" fmla="*/ 13570738 h 15946069"/>
                <a:gd name="connsiteX22" fmla="*/ 9742454 w 15409480"/>
                <a:gd name="connsiteY22" fmla="*/ 14004811 h 15946069"/>
                <a:gd name="connsiteX23" fmla="*/ 10616683 w 15409480"/>
                <a:gd name="connsiteY23" fmla="*/ 15358294 h 15946069"/>
                <a:gd name="connsiteX24" fmla="*/ 11117010 w 15409480"/>
                <a:gd name="connsiteY24" fmla="*/ 15946069 h 15946069"/>
                <a:gd name="connsiteX25" fmla="*/ 11780218 w 15409480"/>
                <a:gd name="connsiteY25" fmla="*/ 13579811 h 15946069"/>
                <a:gd name="connsiteX26" fmla="*/ 12196146 w 15409480"/>
                <a:gd name="connsiteY26" fmla="*/ 11388328 h 15946069"/>
                <a:gd name="connsiteX27" fmla="*/ 14004775 w 15409480"/>
                <a:gd name="connsiteY27" fmla="*/ 11611395 h 15946069"/>
                <a:gd name="connsiteX28" fmla="*/ 15409477 w 15409480"/>
                <a:gd name="connsiteY28" fmla="*/ 11882693 h 15946069"/>
                <a:gd name="connsiteX29" fmla="*/ 11533930 w 15409480"/>
                <a:gd name="connsiteY29" fmla="*/ 9393151 h 15946069"/>
                <a:gd name="connsiteX30" fmla="*/ 11668657 w 15409480"/>
                <a:gd name="connsiteY30" fmla="*/ 8754316 h 15946069"/>
                <a:gd name="connsiteX31" fmla="*/ 12149687 w 15409480"/>
                <a:gd name="connsiteY31" fmla="*/ 8101619 h 15946069"/>
                <a:gd name="connsiteX32" fmla="*/ 11118705 w 15409480"/>
                <a:gd name="connsiteY32" fmla="*/ 7156845 h 15946069"/>
                <a:gd name="connsiteX33" fmla="*/ 10425568 w 15409480"/>
                <a:gd name="connsiteY33" fmla="*/ 7223642 h 15946069"/>
                <a:gd name="connsiteX34" fmla="*/ 10709437 w 15409480"/>
                <a:gd name="connsiteY34" fmla="*/ 6730245 h 15946069"/>
                <a:gd name="connsiteX35" fmla="*/ 10017677 w 15409480"/>
                <a:gd name="connsiteY35" fmla="*/ 5883475 h 15946069"/>
                <a:gd name="connsiteX36" fmla="*/ 9318595 w 15409480"/>
                <a:gd name="connsiteY36" fmla="*/ 5859197 h 15946069"/>
                <a:gd name="connsiteX37" fmla="*/ 9215073 w 15409480"/>
                <a:gd name="connsiteY37" fmla="*/ 5387392 h 15946069"/>
                <a:gd name="connsiteX38" fmla="*/ 8600211 w 15409480"/>
                <a:gd name="connsiteY38" fmla="*/ 5564744 h 15946069"/>
                <a:gd name="connsiteX39" fmla="*/ 8412926 w 15409480"/>
                <a:gd name="connsiteY39" fmla="*/ 4835463 h 15946069"/>
                <a:gd name="connsiteX40" fmla="*/ 7744624 w 15409480"/>
                <a:gd name="connsiteY40" fmla="*/ 4382387 h 15946069"/>
                <a:gd name="connsiteX41" fmla="*/ 8112983 w 15409480"/>
                <a:gd name="connsiteY41" fmla="*/ 3770361 h 15946069"/>
                <a:gd name="connsiteX42" fmla="*/ 7637793 w 15409480"/>
                <a:gd name="connsiteY42" fmla="*/ 2526072 h 15946069"/>
                <a:gd name="connsiteX43" fmla="*/ 7264687 w 15409480"/>
                <a:gd name="connsiteY43" fmla="*/ 2131091 h 15946069"/>
                <a:gd name="connsiteX44" fmla="*/ 6594245 w 15409480"/>
                <a:gd name="connsiteY44" fmla="*/ 2055834 h 15946069"/>
                <a:gd name="connsiteX45" fmla="*/ 6431470 w 15409480"/>
                <a:gd name="connsiteY45" fmla="*/ 1314295 h 15946069"/>
                <a:gd name="connsiteX46" fmla="*/ 5642908 w 15409480"/>
                <a:gd name="connsiteY46" fmla="*/ 1343233 h 15946069"/>
                <a:gd name="connsiteX47" fmla="*/ 5150959 w 15409480"/>
                <a:gd name="connsiteY47" fmla="*/ 1610907 h 15946069"/>
                <a:gd name="connsiteX48" fmla="*/ 5480133 w 15409480"/>
                <a:gd name="connsiteY48" fmla="*/ 2167963 h 15946069"/>
                <a:gd name="connsiteX49" fmla="*/ 4742216 w 15409480"/>
                <a:gd name="connsiteY49" fmla="*/ 2862495 h 15946069"/>
                <a:gd name="connsiteX50" fmla="*/ 2658667 w 15409480"/>
                <a:gd name="connsiteY50" fmla="*/ 0 h 15946069"/>
                <a:gd name="connsiteX51" fmla="*/ 2658682 w 15409480"/>
                <a:gd name="connsiteY51" fmla="*/ 1018890 h 15946069"/>
                <a:gd name="connsiteX52" fmla="*/ 1850829 w 15409480"/>
                <a:gd name="connsiteY52" fmla="*/ 1730283 h 15946069"/>
                <a:gd name="connsiteX53" fmla="*/ 1404694 w 15409480"/>
                <a:gd name="connsiteY53" fmla="*/ 2272862 h 15946069"/>
                <a:gd name="connsiteX54" fmla="*/ 2351216 w 15409480"/>
                <a:gd name="connsiteY54" fmla="*/ 3388182 h 15946069"/>
                <a:gd name="connsiteX55" fmla="*/ 2658682 w 15409480"/>
                <a:gd name="connsiteY55" fmla="*/ 4286458 h 15946069"/>
                <a:gd name="connsiteX56" fmla="*/ 1935228 w 15409480"/>
                <a:gd name="connsiteY56" fmla="*/ 5220918 h 15946069"/>
                <a:gd name="connsiteX57" fmla="*/ 875281 w 15409480"/>
                <a:gd name="connsiteY57" fmla="*/ 5166646 h 15946069"/>
                <a:gd name="connsiteX58" fmla="*/ 0 w 15409480"/>
                <a:gd name="connsiteY58" fmla="*/ 5890112 h 15946069"/>
                <a:gd name="connsiteX59" fmla="*/ 72345 w 15409480"/>
                <a:gd name="connsiteY59" fmla="*/ 6921032 h 15946069"/>
                <a:gd name="connsiteX60" fmla="*/ 477776 w 15409480"/>
                <a:gd name="connsiteY60" fmla="*/ 7436569 h 15946069"/>
                <a:gd name="connsiteX0" fmla="*/ 477776 w 14004774"/>
                <a:gd name="connsiteY0" fmla="*/ 7436569 h 15946069"/>
                <a:gd name="connsiteX1" fmla="*/ 271294 w 14004774"/>
                <a:gd name="connsiteY1" fmla="*/ 8060457 h 15946069"/>
                <a:gd name="connsiteX2" fmla="*/ 379812 w 14004774"/>
                <a:gd name="connsiteY2" fmla="*/ 8675382 h 15946069"/>
                <a:gd name="connsiteX3" fmla="*/ 759624 w 14004774"/>
                <a:gd name="connsiteY3" fmla="*/ 9217969 h 15946069"/>
                <a:gd name="connsiteX4" fmla="*/ 687278 w 14004774"/>
                <a:gd name="connsiteY4" fmla="*/ 9670126 h 15946069"/>
                <a:gd name="connsiteX5" fmla="*/ 144687 w 14004774"/>
                <a:gd name="connsiteY5" fmla="*/ 9941420 h 15946069"/>
                <a:gd name="connsiteX6" fmla="*/ 343643 w 14004774"/>
                <a:gd name="connsiteY6" fmla="*/ 10592536 h 15946069"/>
                <a:gd name="connsiteX7" fmla="*/ 940487 w 14004774"/>
                <a:gd name="connsiteY7" fmla="*/ 10954252 h 15946069"/>
                <a:gd name="connsiteX8" fmla="*/ 596844 w 14004774"/>
                <a:gd name="connsiteY8" fmla="*/ 11786221 h 15946069"/>
                <a:gd name="connsiteX9" fmla="*/ 633017 w 14004774"/>
                <a:gd name="connsiteY9" fmla="*/ 12780969 h 15946069"/>
                <a:gd name="connsiteX10" fmla="*/ 198944 w 14004774"/>
                <a:gd name="connsiteY10" fmla="*/ 13341645 h 15946069"/>
                <a:gd name="connsiteX11" fmla="*/ 723451 w 14004774"/>
                <a:gd name="connsiteY11" fmla="*/ 13757629 h 15946069"/>
                <a:gd name="connsiteX12" fmla="*/ 1640036 w 14004774"/>
                <a:gd name="connsiteY12" fmla="*/ 13197151 h 15946069"/>
                <a:gd name="connsiteX13" fmla="*/ 1880971 w 14004774"/>
                <a:gd name="connsiteY13" fmla="*/ 13395906 h 15946069"/>
                <a:gd name="connsiteX14" fmla="*/ 2930086 w 14004774"/>
                <a:gd name="connsiteY14" fmla="*/ 12952832 h 15946069"/>
                <a:gd name="connsiteX15" fmla="*/ 3828256 w 14004774"/>
                <a:gd name="connsiteY15" fmla="*/ 13245188 h 15946069"/>
                <a:gd name="connsiteX16" fmla="*/ 4768739 w 14004774"/>
                <a:gd name="connsiteY16" fmla="*/ 13040205 h 15946069"/>
                <a:gd name="connsiteX17" fmla="*/ 5190751 w 14004774"/>
                <a:gd name="connsiteY17" fmla="*/ 13649115 h 15946069"/>
                <a:gd name="connsiteX18" fmla="*/ 5932290 w 14004774"/>
                <a:gd name="connsiteY18" fmla="*/ 13444132 h 15946069"/>
                <a:gd name="connsiteX19" fmla="*/ 6498992 w 14004774"/>
                <a:gd name="connsiteY19" fmla="*/ 12991975 h 15946069"/>
                <a:gd name="connsiteX20" fmla="*/ 7373161 w 14004774"/>
                <a:gd name="connsiteY20" fmla="*/ 13582800 h 15946069"/>
                <a:gd name="connsiteX21" fmla="*/ 8512588 w 14004774"/>
                <a:gd name="connsiteY21" fmla="*/ 13570738 h 15946069"/>
                <a:gd name="connsiteX22" fmla="*/ 9742454 w 14004774"/>
                <a:gd name="connsiteY22" fmla="*/ 14004811 h 15946069"/>
                <a:gd name="connsiteX23" fmla="*/ 10616683 w 14004774"/>
                <a:gd name="connsiteY23" fmla="*/ 15358294 h 15946069"/>
                <a:gd name="connsiteX24" fmla="*/ 11117010 w 14004774"/>
                <a:gd name="connsiteY24" fmla="*/ 15946069 h 15946069"/>
                <a:gd name="connsiteX25" fmla="*/ 11780218 w 14004774"/>
                <a:gd name="connsiteY25" fmla="*/ 13579811 h 15946069"/>
                <a:gd name="connsiteX26" fmla="*/ 12196146 w 14004774"/>
                <a:gd name="connsiteY26" fmla="*/ 11388328 h 15946069"/>
                <a:gd name="connsiteX27" fmla="*/ 14004775 w 14004774"/>
                <a:gd name="connsiteY27" fmla="*/ 11611395 h 15946069"/>
                <a:gd name="connsiteX28" fmla="*/ 10195350 w 14004774"/>
                <a:gd name="connsiteY28" fmla="*/ 10617991 h 15946069"/>
                <a:gd name="connsiteX29" fmla="*/ 11533930 w 14004774"/>
                <a:gd name="connsiteY29" fmla="*/ 9393151 h 15946069"/>
                <a:gd name="connsiteX30" fmla="*/ 11668657 w 14004774"/>
                <a:gd name="connsiteY30" fmla="*/ 8754316 h 15946069"/>
                <a:gd name="connsiteX31" fmla="*/ 12149687 w 14004774"/>
                <a:gd name="connsiteY31" fmla="*/ 8101619 h 15946069"/>
                <a:gd name="connsiteX32" fmla="*/ 11118705 w 14004774"/>
                <a:gd name="connsiteY32" fmla="*/ 7156845 h 15946069"/>
                <a:gd name="connsiteX33" fmla="*/ 10425568 w 14004774"/>
                <a:gd name="connsiteY33" fmla="*/ 7223642 h 15946069"/>
                <a:gd name="connsiteX34" fmla="*/ 10709437 w 14004774"/>
                <a:gd name="connsiteY34" fmla="*/ 6730245 h 15946069"/>
                <a:gd name="connsiteX35" fmla="*/ 10017677 w 14004774"/>
                <a:gd name="connsiteY35" fmla="*/ 5883475 h 15946069"/>
                <a:gd name="connsiteX36" fmla="*/ 9318595 w 14004774"/>
                <a:gd name="connsiteY36" fmla="*/ 5859197 h 15946069"/>
                <a:gd name="connsiteX37" fmla="*/ 9215073 w 14004774"/>
                <a:gd name="connsiteY37" fmla="*/ 5387392 h 15946069"/>
                <a:gd name="connsiteX38" fmla="*/ 8600211 w 14004774"/>
                <a:gd name="connsiteY38" fmla="*/ 5564744 h 15946069"/>
                <a:gd name="connsiteX39" fmla="*/ 8412926 w 14004774"/>
                <a:gd name="connsiteY39" fmla="*/ 4835463 h 15946069"/>
                <a:gd name="connsiteX40" fmla="*/ 7744624 w 14004774"/>
                <a:gd name="connsiteY40" fmla="*/ 4382387 h 15946069"/>
                <a:gd name="connsiteX41" fmla="*/ 8112983 w 14004774"/>
                <a:gd name="connsiteY41" fmla="*/ 3770361 h 15946069"/>
                <a:gd name="connsiteX42" fmla="*/ 7637793 w 14004774"/>
                <a:gd name="connsiteY42" fmla="*/ 2526072 h 15946069"/>
                <a:gd name="connsiteX43" fmla="*/ 7264687 w 14004774"/>
                <a:gd name="connsiteY43" fmla="*/ 2131091 h 15946069"/>
                <a:gd name="connsiteX44" fmla="*/ 6594245 w 14004774"/>
                <a:gd name="connsiteY44" fmla="*/ 2055834 h 15946069"/>
                <a:gd name="connsiteX45" fmla="*/ 6431470 w 14004774"/>
                <a:gd name="connsiteY45" fmla="*/ 1314295 h 15946069"/>
                <a:gd name="connsiteX46" fmla="*/ 5642908 w 14004774"/>
                <a:gd name="connsiteY46" fmla="*/ 1343233 h 15946069"/>
                <a:gd name="connsiteX47" fmla="*/ 5150959 w 14004774"/>
                <a:gd name="connsiteY47" fmla="*/ 1610907 h 15946069"/>
                <a:gd name="connsiteX48" fmla="*/ 5480133 w 14004774"/>
                <a:gd name="connsiteY48" fmla="*/ 2167963 h 15946069"/>
                <a:gd name="connsiteX49" fmla="*/ 4742216 w 14004774"/>
                <a:gd name="connsiteY49" fmla="*/ 2862495 h 15946069"/>
                <a:gd name="connsiteX50" fmla="*/ 2658667 w 14004774"/>
                <a:gd name="connsiteY50" fmla="*/ 0 h 15946069"/>
                <a:gd name="connsiteX51" fmla="*/ 2658682 w 14004774"/>
                <a:gd name="connsiteY51" fmla="*/ 1018890 h 15946069"/>
                <a:gd name="connsiteX52" fmla="*/ 1850829 w 14004774"/>
                <a:gd name="connsiteY52" fmla="*/ 1730283 h 15946069"/>
                <a:gd name="connsiteX53" fmla="*/ 1404694 w 14004774"/>
                <a:gd name="connsiteY53" fmla="*/ 2272862 h 15946069"/>
                <a:gd name="connsiteX54" fmla="*/ 2351216 w 14004774"/>
                <a:gd name="connsiteY54" fmla="*/ 3388182 h 15946069"/>
                <a:gd name="connsiteX55" fmla="*/ 2658682 w 14004774"/>
                <a:gd name="connsiteY55" fmla="*/ 4286458 h 15946069"/>
                <a:gd name="connsiteX56" fmla="*/ 1935228 w 14004774"/>
                <a:gd name="connsiteY56" fmla="*/ 5220918 h 15946069"/>
                <a:gd name="connsiteX57" fmla="*/ 875281 w 14004774"/>
                <a:gd name="connsiteY57" fmla="*/ 5166646 h 15946069"/>
                <a:gd name="connsiteX58" fmla="*/ 0 w 14004774"/>
                <a:gd name="connsiteY58" fmla="*/ 5890112 h 15946069"/>
                <a:gd name="connsiteX59" fmla="*/ 72345 w 14004774"/>
                <a:gd name="connsiteY59" fmla="*/ 6921032 h 15946069"/>
                <a:gd name="connsiteX60" fmla="*/ 477776 w 14004774"/>
                <a:gd name="connsiteY60" fmla="*/ 7436569 h 15946069"/>
                <a:gd name="connsiteX0" fmla="*/ 477776 w 14004774"/>
                <a:gd name="connsiteY0" fmla="*/ 7436569 h 15946069"/>
                <a:gd name="connsiteX1" fmla="*/ 271294 w 14004774"/>
                <a:gd name="connsiteY1" fmla="*/ 8060457 h 15946069"/>
                <a:gd name="connsiteX2" fmla="*/ 379812 w 14004774"/>
                <a:gd name="connsiteY2" fmla="*/ 8675382 h 15946069"/>
                <a:gd name="connsiteX3" fmla="*/ 759624 w 14004774"/>
                <a:gd name="connsiteY3" fmla="*/ 9217969 h 15946069"/>
                <a:gd name="connsiteX4" fmla="*/ 687278 w 14004774"/>
                <a:gd name="connsiteY4" fmla="*/ 9670126 h 15946069"/>
                <a:gd name="connsiteX5" fmla="*/ 144687 w 14004774"/>
                <a:gd name="connsiteY5" fmla="*/ 9941420 h 15946069"/>
                <a:gd name="connsiteX6" fmla="*/ 343643 w 14004774"/>
                <a:gd name="connsiteY6" fmla="*/ 10592536 h 15946069"/>
                <a:gd name="connsiteX7" fmla="*/ 940487 w 14004774"/>
                <a:gd name="connsiteY7" fmla="*/ 10954252 h 15946069"/>
                <a:gd name="connsiteX8" fmla="*/ 596844 w 14004774"/>
                <a:gd name="connsiteY8" fmla="*/ 11786221 h 15946069"/>
                <a:gd name="connsiteX9" fmla="*/ 633017 w 14004774"/>
                <a:gd name="connsiteY9" fmla="*/ 12780969 h 15946069"/>
                <a:gd name="connsiteX10" fmla="*/ 198944 w 14004774"/>
                <a:gd name="connsiteY10" fmla="*/ 13341645 h 15946069"/>
                <a:gd name="connsiteX11" fmla="*/ 723451 w 14004774"/>
                <a:gd name="connsiteY11" fmla="*/ 13757629 h 15946069"/>
                <a:gd name="connsiteX12" fmla="*/ 1640036 w 14004774"/>
                <a:gd name="connsiteY12" fmla="*/ 13197151 h 15946069"/>
                <a:gd name="connsiteX13" fmla="*/ 1880971 w 14004774"/>
                <a:gd name="connsiteY13" fmla="*/ 13395906 h 15946069"/>
                <a:gd name="connsiteX14" fmla="*/ 2930086 w 14004774"/>
                <a:gd name="connsiteY14" fmla="*/ 12952832 h 15946069"/>
                <a:gd name="connsiteX15" fmla="*/ 3828256 w 14004774"/>
                <a:gd name="connsiteY15" fmla="*/ 13245188 h 15946069"/>
                <a:gd name="connsiteX16" fmla="*/ 4768739 w 14004774"/>
                <a:gd name="connsiteY16" fmla="*/ 13040205 h 15946069"/>
                <a:gd name="connsiteX17" fmla="*/ 5190751 w 14004774"/>
                <a:gd name="connsiteY17" fmla="*/ 13649115 h 15946069"/>
                <a:gd name="connsiteX18" fmla="*/ 5932290 w 14004774"/>
                <a:gd name="connsiteY18" fmla="*/ 13444132 h 15946069"/>
                <a:gd name="connsiteX19" fmla="*/ 6498992 w 14004774"/>
                <a:gd name="connsiteY19" fmla="*/ 12991975 h 15946069"/>
                <a:gd name="connsiteX20" fmla="*/ 7373161 w 14004774"/>
                <a:gd name="connsiteY20" fmla="*/ 13582800 h 15946069"/>
                <a:gd name="connsiteX21" fmla="*/ 8512588 w 14004774"/>
                <a:gd name="connsiteY21" fmla="*/ 13570738 h 15946069"/>
                <a:gd name="connsiteX22" fmla="*/ 9742454 w 14004774"/>
                <a:gd name="connsiteY22" fmla="*/ 14004811 h 15946069"/>
                <a:gd name="connsiteX23" fmla="*/ 10616683 w 14004774"/>
                <a:gd name="connsiteY23" fmla="*/ 15358294 h 15946069"/>
                <a:gd name="connsiteX24" fmla="*/ 11117010 w 14004774"/>
                <a:gd name="connsiteY24" fmla="*/ 15946069 h 15946069"/>
                <a:gd name="connsiteX25" fmla="*/ 11780218 w 14004774"/>
                <a:gd name="connsiteY25" fmla="*/ 13579811 h 15946069"/>
                <a:gd name="connsiteX26" fmla="*/ 12196146 w 14004774"/>
                <a:gd name="connsiteY26" fmla="*/ 11388328 h 15946069"/>
                <a:gd name="connsiteX27" fmla="*/ 14004775 w 14004774"/>
                <a:gd name="connsiteY27" fmla="*/ 11611395 h 15946069"/>
                <a:gd name="connsiteX28" fmla="*/ 11893530 w 14004774"/>
                <a:gd name="connsiteY28" fmla="*/ 10283919 h 15946069"/>
                <a:gd name="connsiteX29" fmla="*/ 11533930 w 14004774"/>
                <a:gd name="connsiteY29" fmla="*/ 9393151 h 15946069"/>
                <a:gd name="connsiteX30" fmla="*/ 11668657 w 14004774"/>
                <a:gd name="connsiteY30" fmla="*/ 8754316 h 15946069"/>
                <a:gd name="connsiteX31" fmla="*/ 12149687 w 14004774"/>
                <a:gd name="connsiteY31" fmla="*/ 8101619 h 15946069"/>
                <a:gd name="connsiteX32" fmla="*/ 11118705 w 14004774"/>
                <a:gd name="connsiteY32" fmla="*/ 7156845 h 15946069"/>
                <a:gd name="connsiteX33" fmla="*/ 10425568 w 14004774"/>
                <a:gd name="connsiteY33" fmla="*/ 7223642 h 15946069"/>
                <a:gd name="connsiteX34" fmla="*/ 10709437 w 14004774"/>
                <a:gd name="connsiteY34" fmla="*/ 6730245 h 15946069"/>
                <a:gd name="connsiteX35" fmla="*/ 10017677 w 14004774"/>
                <a:gd name="connsiteY35" fmla="*/ 5883475 h 15946069"/>
                <a:gd name="connsiteX36" fmla="*/ 9318595 w 14004774"/>
                <a:gd name="connsiteY36" fmla="*/ 5859197 h 15946069"/>
                <a:gd name="connsiteX37" fmla="*/ 9215073 w 14004774"/>
                <a:gd name="connsiteY37" fmla="*/ 5387392 h 15946069"/>
                <a:gd name="connsiteX38" fmla="*/ 8600211 w 14004774"/>
                <a:gd name="connsiteY38" fmla="*/ 5564744 h 15946069"/>
                <a:gd name="connsiteX39" fmla="*/ 8412926 w 14004774"/>
                <a:gd name="connsiteY39" fmla="*/ 4835463 h 15946069"/>
                <a:gd name="connsiteX40" fmla="*/ 7744624 w 14004774"/>
                <a:gd name="connsiteY40" fmla="*/ 4382387 h 15946069"/>
                <a:gd name="connsiteX41" fmla="*/ 8112983 w 14004774"/>
                <a:gd name="connsiteY41" fmla="*/ 3770361 h 15946069"/>
                <a:gd name="connsiteX42" fmla="*/ 7637793 w 14004774"/>
                <a:gd name="connsiteY42" fmla="*/ 2526072 h 15946069"/>
                <a:gd name="connsiteX43" fmla="*/ 7264687 w 14004774"/>
                <a:gd name="connsiteY43" fmla="*/ 2131091 h 15946069"/>
                <a:gd name="connsiteX44" fmla="*/ 6594245 w 14004774"/>
                <a:gd name="connsiteY44" fmla="*/ 2055834 h 15946069"/>
                <a:gd name="connsiteX45" fmla="*/ 6431470 w 14004774"/>
                <a:gd name="connsiteY45" fmla="*/ 1314295 h 15946069"/>
                <a:gd name="connsiteX46" fmla="*/ 5642908 w 14004774"/>
                <a:gd name="connsiteY46" fmla="*/ 1343233 h 15946069"/>
                <a:gd name="connsiteX47" fmla="*/ 5150959 w 14004774"/>
                <a:gd name="connsiteY47" fmla="*/ 1610907 h 15946069"/>
                <a:gd name="connsiteX48" fmla="*/ 5480133 w 14004774"/>
                <a:gd name="connsiteY48" fmla="*/ 2167963 h 15946069"/>
                <a:gd name="connsiteX49" fmla="*/ 4742216 w 14004774"/>
                <a:gd name="connsiteY49" fmla="*/ 2862495 h 15946069"/>
                <a:gd name="connsiteX50" fmla="*/ 2658667 w 14004774"/>
                <a:gd name="connsiteY50" fmla="*/ 0 h 15946069"/>
                <a:gd name="connsiteX51" fmla="*/ 2658682 w 14004774"/>
                <a:gd name="connsiteY51" fmla="*/ 1018890 h 15946069"/>
                <a:gd name="connsiteX52" fmla="*/ 1850829 w 14004774"/>
                <a:gd name="connsiteY52" fmla="*/ 1730283 h 15946069"/>
                <a:gd name="connsiteX53" fmla="*/ 1404694 w 14004774"/>
                <a:gd name="connsiteY53" fmla="*/ 2272862 h 15946069"/>
                <a:gd name="connsiteX54" fmla="*/ 2351216 w 14004774"/>
                <a:gd name="connsiteY54" fmla="*/ 3388182 h 15946069"/>
                <a:gd name="connsiteX55" fmla="*/ 2658682 w 14004774"/>
                <a:gd name="connsiteY55" fmla="*/ 4286458 h 15946069"/>
                <a:gd name="connsiteX56" fmla="*/ 1935228 w 14004774"/>
                <a:gd name="connsiteY56" fmla="*/ 5220918 h 15946069"/>
                <a:gd name="connsiteX57" fmla="*/ 875281 w 14004774"/>
                <a:gd name="connsiteY57" fmla="*/ 5166646 h 15946069"/>
                <a:gd name="connsiteX58" fmla="*/ 0 w 14004774"/>
                <a:gd name="connsiteY58" fmla="*/ 5890112 h 15946069"/>
                <a:gd name="connsiteX59" fmla="*/ 72345 w 14004774"/>
                <a:gd name="connsiteY59" fmla="*/ 6921032 h 15946069"/>
                <a:gd name="connsiteX60" fmla="*/ 477776 w 14004774"/>
                <a:gd name="connsiteY60" fmla="*/ 7436569 h 15946069"/>
                <a:gd name="connsiteX0" fmla="*/ 477776 w 12196146"/>
                <a:gd name="connsiteY0" fmla="*/ 7436569 h 15946069"/>
                <a:gd name="connsiteX1" fmla="*/ 271294 w 12196146"/>
                <a:gd name="connsiteY1" fmla="*/ 8060457 h 15946069"/>
                <a:gd name="connsiteX2" fmla="*/ 379812 w 12196146"/>
                <a:gd name="connsiteY2" fmla="*/ 8675382 h 15946069"/>
                <a:gd name="connsiteX3" fmla="*/ 759624 w 12196146"/>
                <a:gd name="connsiteY3" fmla="*/ 9217969 h 15946069"/>
                <a:gd name="connsiteX4" fmla="*/ 687278 w 12196146"/>
                <a:gd name="connsiteY4" fmla="*/ 9670126 h 15946069"/>
                <a:gd name="connsiteX5" fmla="*/ 144687 w 12196146"/>
                <a:gd name="connsiteY5" fmla="*/ 9941420 h 15946069"/>
                <a:gd name="connsiteX6" fmla="*/ 343643 w 12196146"/>
                <a:gd name="connsiteY6" fmla="*/ 10592536 h 15946069"/>
                <a:gd name="connsiteX7" fmla="*/ 940487 w 12196146"/>
                <a:gd name="connsiteY7" fmla="*/ 10954252 h 15946069"/>
                <a:gd name="connsiteX8" fmla="*/ 596844 w 12196146"/>
                <a:gd name="connsiteY8" fmla="*/ 11786221 h 15946069"/>
                <a:gd name="connsiteX9" fmla="*/ 633017 w 12196146"/>
                <a:gd name="connsiteY9" fmla="*/ 12780969 h 15946069"/>
                <a:gd name="connsiteX10" fmla="*/ 198944 w 12196146"/>
                <a:gd name="connsiteY10" fmla="*/ 13341645 h 15946069"/>
                <a:gd name="connsiteX11" fmla="*/ 723451 w 12196146"/>
                <a:gd name="connsiteY11" fmla="*/ 13757629 h 15946069"/>
                <a:gd name="connsiteX12" fmla="*/ 1640036 w 12196146"/>
                <a:gd name="connsiteY12" fmla="*/ 13197151 h 15946069"/>
                <a:gd name="connsiteX13" fmla="*/ 1880971 w 12196146"/>
                <a:gd name="connsiteY13" fmla="*/ 13395906 h 15946069"/>
                <a:gd name="connsiteX14" fmla="*/ 2930086 w 12196146"/>
                <a:gd name="connsiteY14" fmla="*/ 12952832 h 15946069"/>
                <a:gd name="connsiteX15" fmla="*/ 3828256 w 12196146"/>
                <a:gd name="connsiteY15" fmla="*/ 13245188 h 15946069"/>
                <a:gd name="connsiteX16" fmla="*/ 4768739 w 12196146"/>
                <a:gd name="connsiteY16" fmla="*/ 13040205 h 15946069"/>
                <a:gd name="connsiteX17" fmla="*/ 5190751 w 12196146"/>
                <a:gd name="connsiteY17" fmla="*/ 13649115 h 15946069"/>
                <a:gd name="connsiteX18" fmla="*/ 5932290 w 12196146"/>
                <a:gd name="connsiteY18" fmla="*/ 13444132 h 15946069"/>
                <a:gd name="connsiteX19" fmla="*/ 6498992 w 12196146"/>
                <a:gd name="connsiteY19" fmla="*/ 12991975 h 15946069"/>
                <a:gd name="connsiteX20" fmla="*/ 7373161 w 12196146"/>
                <a:gd name="connsiteY20" fmla="*/ 13582800 h 15946069"/>
                <a:gd name="connsiteX21" fmla="*/ 8512588 w 12196146"/>
                <a:gd name="connsiteY21" fmla="*/ 13570738 h 15946069"/>
                <a:gd name="connsiteX22" fmla="*/ 9742454 w 12196146"/>
                <a:gd name="connsiteY22" fmla="*/ 14004811 h 15946069"/>
                <a:gd name="connsiteX23" fmla="*/ 10616683 w 12196146"/>
                <a:gd name="connsiteY23" fmla="*/ 15358294 h 15946069"/>
                <a:gd name="connsiteX24" fmla="*/ 11117010 w 12196146"/>
                <a:gd name="connsiteY24" fmla="*/ 15946069 h 15946069"/>
                <a:gd name="connsiteX25" fmla="*/ 11780218 w 12196146"/>
                <a:gd name="connsiteY25" fmla="*/ 13579811 h 15946069"/>
                <a:gd name="connsiteX26" fmla="*/ 12196146 w 12196146"/>
                <a:gd name="connsiteY26" fmla="*/ 11388328 h 15946069"/>
                <a:gd name="connsiteX27" fmla="*/ 9651694 w 12196146"/>
                <a:gd name="connsiteY27" fmla="*/ 10609178 h 15946069"/>
                <a:gd name="connsiteX28" fmla="*/ 11893530 w 12196146"/>
                <a:gd name="connsiteY28" fmla="*/ 10283919 h 15946069"/>
                <a:gd name="connsiteX29" fmla="*/ 11533930 w 12196146"/>
                <a:gd name="connsiteY29" fmla="*/ 9393151 h 15946069"/>
                <a:gd name="connsiteX30" fmla="*/ 11668657 w 12196146"/>
                <a:gd name="connsiteY30" fmla="*/ 8754316 h 15946069"/>
                <a:gd name="connsiteX31" fmla="*/ 12149687 w 12196146"/>
                <a:gd name="connsiteY31" fmla="*/ 8101619 h 15946069"/>
                <a:gd name="connsiteX32" fmla="*/ 11118705 w 12196146"/>
                <a:gd name="connsiteY32" fmla="*/ 7156845 h 15946069"/>
                <a:gd name="connsiteX33" fmla="*/ 10425568 w 12196146"/>
                <a:gd name="connsiteY33" fmla="*/ 7223642 h 15946069"/>
                <a:gd name="connsiteX34" fmla="*/ 10709437 w 12196146"/>
                <a:gd name="connsiteY34" fmla="*/ 6730245 h 15946069"/>
                <a:gd name="connsiteX35" fmla="*/ 10017677 w 12196146"/>
                <a:gd name="connsiteY35" fmla="*/ 5883475 h 15946069"/>
                <a:gd name="connsiteX36" fmla="*/ 9318595 w 12196146"/>
                <a:gd name="connsiteY36" fmla="*/ 5859197 h 15946069"/>
                <a:gd name="connsiteX37" fmla="*/ 9215073 w 12196146"/>
                <a:gd name="connsiteY37" fmla="*/ 5387392 h 15946069"/>
                <a:gd name="connsiteX38" fmla="*/ 8600211 w 12196146"/>
                <a:gd name="connsiteY38" fmla="*/ 5564744 h 15946069"/>
                <a:gd name="connsiteX39" fmla="*/ 8412926 w 12196146"/>
                <a:gd name="connsiteY39" fmla="*/ 4835463 h 15946069"/>
                <a:gd name="connsiteX40" fmla="*/ 7744624 w 12196146"/>
                <a:gd name="connsiteY40" fmla="*/ 4382387 h 15946069"/>
                <a:gd name="connsiteX41" fmla="*/ 8112983 w 12196146"/>
                <a:gd name="connsiteY41" fmla="*/ 3770361 h 15946069"/>
                <a:gd name="connsiteX42" fmla="*/ 7637793 w 12196146"/>
                <a:gd name="connsiteY42" fmla="*/ 2526072 h 15946069"/>
                <a:gd name="connsiteX43" fmla="*/ 7264687 w 12196146"/>
                <a:gd name="connsiteY43" fmla="*/ 2131091 h 15946069"/>
                <a:gd name="connsiteX44" fmla="*/ 6594245 w 12196146"/>
                <a:gd name="connsiteY44" fmla="*/ 2055834 h 15946069"/>
                <a:gd name="connsiteX45" fmla="*/ 6431470 w 12196146"/>
                <a:gd name="connsiteY45" fmla="*/ 1314295 h 15946069"/>
                <a:gd name="connsiteX46" fmla="*/ 5642908 w 12196146"/>
                <a:gd name="connsiteY46" fmla="*/ 1343233 h 15946069"/>
                <a:gd name="connsiteX47" fmla="*/ 5150959 w 12196146"/>
                <a:gd name="connsiteY47" fmla="*/ 1610907 h 15946069"/>
                <a:gd name="connsiteX48" fmla="*/ 5480133 w 12196146"/>
                <a:gd name="connsiteY48" fmla="*/ 2167963 h 15946069"/>
                <a:gd name="connsiteX49" fmla="*/ 4742216 w 12196146"/>
                <a:gd name="connsiteY49" fmla="*/ 2862495 h 15946069"/>
                <a:gd name="connsiteX50" fmla="*/ 2658667 w 12196146"/>
                <a:gd name="connsiteY50" fmla="*/ 0 h 15946069"/>
                <a:gd name="connsiteX51" fmla="*/ 2658682 w 12196146"/>
                <a:gd name="connsiteY51" fmla="*/ 1018890 h 15946069"/>
                <a:gd name="connsiteX52" fmla="*/ 1850829 w 12196146"/>
                <a:gd name="connsiteY52" fmla="*/ 1730283 h 15946069"/>
                <a:gd name="connsiteX53" fmla="*/ 1404694 w 12196146"/>
                <a:gd name="connsiteY53" fmla="*/ 2272862 h 15946069"/>
                <a:gd name="connsiteX54" fmla="*/ 2351216 w 12196146"/>
                <a:gd name="connsiteY54" fmla="*/ 3388182 h 15946069"/>
                <a:gd name="connsiteX55" fmla="*/ 2658682 w 12196146"/>
                <a:gd name="connsiteY55" fmla="*/ 4286458 h 15946069"/>
                <a:gd name="connsiteX56" fmla="*/ 1935228 w 12196146"/>
                <a:gd name="connsiteY56" fmla="*/ 5220918 h 15946069"/>
                <a:gd name="connsiteX57" fmla="*/ 875281 w 12196146"/>
                <a:gd name="connsiteY57" fmla="*/ 5166646 h 15946069"/>
                <a:gd name="connsiteX58" fmla="*/ 0 w 12196146"/>
                <a:gd name="connsiteY58" fmla="*/ 5890112 h 15946069"/>
                <a:gd name="connsiteX59" fmla="*/ 72345 w 12196146"/>
                <a:gd name="connsiteY59" fmla="*/ 6921032 h 15946069"/>
                <a:gd name="connsiteX60" fmla="*/ 477776 w 12196146"/>
                <a:gd name="connsiteY60" fmla="*/ 7436569 h 15946069"/>
                <a:gd name="connsiteX0" fmla="*/ 477776 w 12196146"/>
                <a:gd name="connsiteY0" fmla="*/ 7436569 h 15946069"/>
                <a:gd name="connsiteX1" fmla="*/ 271294 w 12196146"/>
                <a:gd name="connsiteY1" fmla="*/ 8060457 h 15946069"/>
                <a:gd name="connsiteX2" fmla="*/ 379812 w 12196146"/>
                <a:gd name="connsiteY2" fmla="*/ 8675382 h 15946069"/>
                <a:gd name="connsiteX3" fmla="*/ 759624 w 12196146"/>
                <a:gd name="connsiteY3" fmla="*/ 9217969 h 15946069"/>
                <a:gd name="connsiteX4" fmla="*/ 687278 w 12196146"/>
                <a:gd name="connsiteY4" fmla="*/ 9670126 h 15946069"/>
                <a:gd name="connsiteX5" fmla="*/ 144687 w 12196146"/>
                <a:gd name="connsiteY5" fmla="*/ 9941420 h 15946069"/>
                <a:gd name="connsiteX6" fmla="*/ 343643 w 12196146"/>
                <a:gd name="connsiteY6" fmla="*/ 10592536 h 15946069"/>
                <a:gd name="connsiteX7" fmla="*/ 940487 w 12196146"/>
                <a:gd name="connsiteY7" fmla="*/ 10954252 h 15946069"/>
                <a:gd name="connsiteX8" fmla="*/ 596844 w 12196146"/>
                <a:gd name="connsiteY8" fmla="*/ 11786221 h 15946069"/>
                <a:gd name="connsiteX9" fmla="*/ 633017 w 12196146"/>
                <a:gd name="connsiteY9" fmla="*/ 12780969 h 15946069"/>
                <a:gd name="connsiteX10" fmla="*/ 198944 w 12196146"/>
                <a:gd name="connsiteY10" fmla="*/ 13341645 h 15946069"/>
                <a:gd name="connsiteX11" fmla="*/ 723451 w 12196146"/>
                <a:gd name="connsiteY11" fmla="*/ 13757629 h 15946069"/>
                <a:gd name="connsiteX12" fmla="*/ 1640036 w 12196146"/>
                <a:gd name="connsiteY12" fmla="*/ 13197151 h 15946069"/>
                <a:gd name="connsiteX13" fmla="*/ 1880971 w 12196146"/>
                <a:gd name="connsiteY13" fmla="*/ 13395906 h 15946069"/>
                <a:gd name="connsiteX14" fmla="*/ 2930086 w 12196146"/>
                <a:gd name="connsiteY14" fmla="*/ 12952832 h 15946069"/>
                <a:gd name="connsiteX15" fmla="*/ 3828256 w 12196146"/>
                <a:gd name="connsiteY15" fmla="*/ 13245188 h 15946069"/>
                <a:gd name="connsiteX16" fmla="*/ 4768739 w 12196146"/>
                <a:gd name="connsiteY16" fmla="*/ 13040205 h 15946069"/>
                <a:gd name="connsiteX17" fmla="*/ 5190751 w 12196146"/>
                <a:gd name="connsiteY17" fmla="*/ 13649115 h 15946069"/>
                <a:gd name="connsiteX18" fmla="*/ 5932290 w 12196146"/>
                <a:gd name="connsiteY18" fmla="*/ 13444132 h 15946069"/>
                <a:gd name="connsiteX19" fmla="*/ 6498992 w 12196146"/>
                <a:gd name="connsiteY19" fmla="*/ 12991975 h 15946069"/>
                <a:gd name="connsiteX20" fmla="*/ 7373161 w 12196146"/>
                <a:gd name="connsiteY20" fmla="*/ 13582800 h 15946069"/>
                <a:gd name="connsiteX21" fmla="*/ 8512588 w 12196146"/>
                <a:gd name="connsiteY21" fmla="*/ 13570738 h 15946069"/>
                <a:gd name="connsiteX22" fmla="*/ 9742454 w 12196146"/>
                <a:gd name="connsiteY22" fmla="*/ 14004811 h 15946069"/>
                <a:gd name="connsiteX23" fmla="*/ 10616683 w 12196146"/>
                <a:gd name="connsiteY23" fmla="*/ 15358294 h 15946069"/>
                <a:gd name="connsiteX24" fmla="*/ 11117010 w 12196146"/>
                <a:gd name="connsiteY24" fmla="*/ 15946069 h 15946069"/>
                <a:gd name="connsiteX25" fmla="*/ 11780218 w 12196146"/>
                <a:gd name="connsiteY25" fmla="*/ 13579811 h 15946069"/>
                <a:gd name="connsiteX26" fmla="*/ 12196146 w 12196146"/>
                <a:gd name="connsiteY26" fmla="*/ 11388328 h 15946069"/>
                <a:gd name="connsiteX27" fmla="*/ 11899987 w 12196146"/>
                <a:gd name="connsiteY27" fmla="*/ 10752355 h 15946069"/>
                <a:gd name="connsiteX28" fmla="*/ 11893530 w 12196146"/>
                <a:gd name="connsiteY28" fmla="*/ 10283919 h 15946069"/>
                <a:gd name="connsiteX29" fmla="*/ 11533930 w 12196146"/>
                <a:gd name="connsiteY29" fmla="*/ 9393151 h 15946069"/>
                <a:gd name="connsiteX30" fmla="*/ 11668657 w 12196146"/>
                <a:gd name="connsiteY30" fmla="*/ 8754316 h 15946069"/>
                <a:gd name="connsiteX31" fmla="*/ 12149687 w 12196146"/>
                <a:gd name="connsiteY31" fmla="*/ 8101619 h 15946069"/>
                <a:gd name="connsiteX32" fmla="*/ 11118705 w 12196146"/>
                <a:gd name="connsiteY32" fmla="*/ 7156845 h 15946069"/>
                <a:gd name="connsiteX33" fmla="*/ 10425568 w 12196146"/>
                <a:gd name="connsiteY33" fmla="*/ 7223642 h 15946069"/>
                <a:gd name="connsiteX34" fmla="*/ 10709437 w 12196146"/>
                <a:gd name="connsiteY34" fmla="*/ 6730245 h 15946069"/>
                <a:gd name="connsiteX35" fmla="*/ 10017677 w 12196146"/>
                <a:gd name="connsiteY35" fmla="*/ 5883475 h 15946069"/>
                <a:gd name="connsiteX36" fmla="*/ 9318595 w 12196146"/>
                <a:gd name="connsiteY36" fmla="*/ 5859197 h 15946069"/>
                <a:gd name="connsiteX37" fmla="*/ 9215073 w 12196146"/>
                <a:gd name="connsiteY37" fmla="*/ 5387392 h 15946069"/>
                <a:gd name="connsiteX38" fmla="*/ 8600211 w 12196146"/>
                <a:gd name="connsiteY38" fmla="*/ 5564744 h 15946069"/>
                <a:gd name="connsiteX39" fmla="*/ 8412926 w 12196146"/>
                <a:gd name="connsiteY39" fmla="*/ 4835463 h 15946069"/>
                <a:gd name="connsiteX40" fmla="*/ 7744624 w 12196146"/>
                <a:gd name="connsiteY40" fmla="*/ 4382387 h 15946069"/>
                <a:gd name="connsiteX41" fmla="*/ 8112983 w 12196146"/>
                <a:gd name="connsiteY41" fmla="*/ 3770361 h 15946069"/>
                <a:gd name="connsiteX42" fmla="*/ 7637793 w 12196146"/>
                <a:gd name="connsiteY42" fmla="*/ 2526072 h 15946069"/>
                <a:gd name="connsiteX43" fmla="*/ 7264687 w 12196146"/>
                <a:gd name="connsiteY43" fmla="*/ 2131091 h 15946069"/>
                <a:gd name="connsiteX44" fmla="*/ 6594245 w 12196146"/>
                <a:gd name="connsiteY44" fmla="*/ 2055834 h 15946069"/>
                <a:gd name="connsiteX45" fmla="*/ 6431470 w 12196146"/>
                <a:gd name="connsiteY45" fmla="*/ 1314295 h 15946069"/>
                <a:gd name="connsiteX46" fmla="*/ 5642908 w 12196146"/>
                <a:gd name="connsiteY46" fmla="*/ 1343233 h 15946069"/>
                <a:gd name="connsiteX47" fmla="*/ 5150959 w 12196146"/>
                <a:gd name="connsiteY47" fmla="*/ 1610907 h 15946069"/>
                <a:gd name="connsiteX48" fmla="*/ 5480133 w 12196146"/>
                <a:gd name="connsiteY48" fmla="*/ 2167963 h 15946069"/>
                <a:gd name="connsiteX49" fmla="*/ 4742216 w 12196146"/>
                <a:gd name="connsiteY49" fmla="*/ 2862495 h 15946069"/>
                <a:gd name="connsiteX50" fmla="*/ 2658667 w 12196146"/>
                <a:gd name="connsiteY50" fmla="*/ 0 h 15946069"/>
                <a:gd name="connsiteX51" fmla="*/ 2658682 w 12196146"/>
                <a:gd name="connsiteY51" fmla="*/ 1018890 h 15946069"/>
                <a:gd name="connsiteX52" fmla="*/ 1850829 w 12196146"/>
                <a:gd name="connsiteY52" fmla="*/ 1730283 h 15946069"/>
                <a:gd name="connsiteX53" fmla="*/ 1404694 w 12196146"/>
                <a:gd name="connsiteY53" fmla="*/ 2272862 h 15946069"/>
                <a:gd name="connsiteX54" fmla="*/ 2351216 w 12196146"/>
                <a:gd name="connsiteY54" fmla="*/ 3388182 h 15946069"/>
                <a:gd name="connsiteX55" fmla="*/ 2658682 w 12196146"/>
                <a:gd name="connsiteY55" fmla="*/ 4286458 h 15946069"/>
                <a:gd name="connsiteX56" fmla="*/ 1935228 w 12196146"/>
                <a:gd name="connsiteY56" fmla="*/ 5220918 h 15946069"/>
                <a:gd name="connsiteX57" fmla="*/ 875281 w 12196146"/>
                <a:gd name="connsiteY57" fmla="*/ 5166646 h 15946069"/>
                <a:gd name="connsiteX58" fmla="*/ 0 w 12196146"/>
                <a:gd name="connsiteY58" fmla="*/ 5890112 h 15946069"/>
                <a:gd name="connsiteX59" fmla="*/ 72345 w 12196146"/>
                <a:gd name="connsiteY59" fmla="*/ 6921032 h 15946069"/>
                <a:gd name="connsiteX60" fmla="*/ 477776 w 12196146"/>
                <a:gd name="connsiteY60" fmla="*/ 7436569 h 15946069"/>
                <a:gd name="connsiteX0" fmla="*/ 477776 w 12149688"/>
                <a:gd name="connsiteY0" fmla="*/ 7436569 h 15946069"/>
                <a:gd name="connsiteX1" fmla="*/ 271294 w 12149688"/>
                <a:gd name="connsiteY1" fmla="*/ 8060457 h 15946069"/>
                <a:gd name="connsiteX2" fmla="*/ 379812 w 12149688"/>
                <a:gd name="connsiteY2" fmla="*/ 8675382 h 15946069"/>
                <a:gd name="connsiteX3" fmla="*/ 759624 w 12149688"/>
                <a:gd name="connsiteY3" fmla="*/ 9217969 h 15946069"/>
                <a:gd name="connsiteX4" fmla="*/ 687278 w 12149688"/>
                <a:gd name="connsiteY4" fmla="*/ 9670126 h 15946069"/>
                <a:gd name="connsiteX5" fmla="*/ 144687 w 12149688"/>
                <a:gd name="connsiteY5" fmla="*/ 9941420 h 15946069"/>
                <a:gd name="connsiteX6" fmla="*/ 343643 w 12149688"/>
                <a:gd name="connsiteY6" fmla="*/ 10592536 h 15946069"/>
                <a:gd name="connsiteX7" fmla="*/ 940487 w 12149688"/>
                <a:gd name="connsiteY7" fmla="*/ 10954252 h 15946069"/>
                <a:gd name="connsiteX8" fmla="*/ 596844 w 12149688"/>
                <a:gd name="connsiteY8" fmla="*/ 11786221 h 15946069"/>
                <a:gd name="connsiteX9" fmla="*/ 633017 w 12149688"/>
                <a:gd name="connsiteY9" fmla="*/ 12780969 h 15946069"/>
                <a:gd name="connsiteX10" fmla="*/ 198944 w 12149688"/>
                <a:gd name="connsiteY10" fmla="*/ 13341645 h 15946069"/>
                <a:gd name="connsiteX11" fmla="*/ 723451 w 12149688"/>
                <a:gd name="connsiteY11" fmla="*/ 13757629 h 15946069"/>
                <a:gd name="connsiteX12" fmla="*/ 1640036 w 12149688"/>
                <a:gd name="connsiteY12" fmla="*/ 13197151 h 15946069"/>
                <a:gd name="connsiteX13" fmla="*/ 1880971 w 12149688"/>
                <a:gd name="connsiteY13" fmla="*/ 13395906 h 15946069"/>
                <a:gd name="connsiteX14" fmla="*/ 2930086 w 12149688"/>
                <a:gd name="connsiteY14" fmla="*/ 12952832 h 15946069"/>
                <a:gd name="connsiteX15" fmla="*/ 3828256 w 12149688"/>
                <a:gd name="connsiteY15" fmla="*/ 13245188 h 15946069"/>
                <a:gd name="connsiteX16" fmla="*/ 4768739 w 12149688"/>
                <a:gd name="connsiteY16" fmla="*/ 13040205 h 15946069"/>
                <a:gd name="connsiteX17" fmla="*/ 5190751 w 12149688"/>
                <a:gd name="connsiteY17" fmla="*/ 13649115 h 15946069"/>
                <a:gd name="connsiteX18" fmla="*/ 5932290 w 12149688"/>
                <a:gd name="connsiteY18" fmla="*/ 13444132 h 15946069"/>
                <a:gd name="connsiteX19" fmla="*/ 6498992 w 12149688"/>
                <a:gd name="connsiteY19" fmla="*/ 12991975 h 15946069"/>
                <a:gd name="connsiteX20" fmla="*/ 7373161 w 12149688"/>
                <a:gd name="connsiteY20" fmla="*/ 13582800 h 15946069"/>
                <a:gd name="connsiteX21" fmla="*/ 8512588 w 12149688"/>
                <a:gd name="connsiteY21" fmla="*/ 13570738 h 15946069"/>
                <a:gd name="connsiteX22" fmla="*/ 9742454 w 12149688"/>
                <a:gd name="connsiteY22" fmla="*/ 14004811 h 15946069"/>
                <a:gd name="connsiteX23" fmla="*/ 10616683 w 12149688"/>
                <a:gd name="connsiteY23" fmla="*/ 15358294 h 15946069"/>
                <a:gd name="connsiteX24" fmla="*/ 11117010 w 12149688"/>
                <a:gd name="connsiteY24" fmla="*/ 15946069 h 15946069"/>
                <a:gd name="connsiteX25" fmla="*/ 11780218 w 12149688"/>
                <a:gd name="connsiteY25" fmla="*/ 13579811 h 15946069"/>
                <a:gd name="connsiteX26" fmla="*/ 8823707 w 12149688"/>
                <a:gd name="connsiteY26" fmla="*/ 11436049 h 15946069"/>
                <a:gd name="connsiteX27" fmla="*/ 11899987 w 12149688"/>
                <a:gd name="connsiteY27" fmla="*/ 10752355 h 15946069"/>
                <a:gd name="connsiteX28" fmla="*/ 11893530 w 12149688"/>
                <a:gd name="connsiteY28" fmla="*/ 10283919 h 15946069"/>
                <a:gd name="connsiteX29" fmla="*/ 11533930 w 12149688"/>
                <a:gd name="connsiteY29" fmla="*/ 9393151 h 15946069"/>
                <a:gd name="connsiteX30" fmla="*/ 11668657 w 12149688"/>
                <a:gd name="connsiteY30" fmla="*/ 8754316 h 15946069"/>
                <a:gd name="connsiteX31" fmla="*/ 12149687 w 12149688"/>
                <a:gd name="connsiteY31" fmla="*/ 8101619 h 15946069"/>
                <a:gd name="connsiteX32" fmla="*/ 11118705 w 12149688"/>
                <a:gd name="connsiteY32" fmla="*/ 7156845 h 15946069"/>
                <a:gd name="connsiteX33" fmla="*/ 10425568 w 12149688"/>
                <a:gd name="connsiteY33" fmla="*/ 7223642 h 15946069"/>
                <a:gd name="connsiteX34" fmla="*/ 10709437 w 12149688"/>
                <a:gd name="connsiteY34" fmla="*/ 6730245 h 15946069"/>
                <a:gd name="connsiteX35" fmla="*/ 10017677 w 12149688"/>
                <a:gd name="connsiteY35" fmla="*/ 5883475 h 15946069"/>
                <a:gd name="connsiteX36" fmla="*/ 9318595 w 12149688"/>
                <a:gd name="connsiteY36" fmla="*/ 5859197 h 15946069"/>
                <a:gd name="connsiteX37" fmla="*/ 9215073 w 12149688"/>
                <a:gd name="connsiteY37" fmla="*/ 5387392 h 15946069"/>
                <a:gd name="connsiteX38" fmla="*/ 8600211 w 12149688"/>
                <a:gd name="connsiteY38" fmla="*/ 5564744 h 15946069"/>
                <a:gd name="connsiteX39" fmla="*/ 8412926 w 12149688"/>
                <a:gd name="connsiteY39" fmla="*/ 4835463 h 15946069"/>
                <a:gd name="connsiteX40" fmla="*/ 7744624 w 12149688"/>
                <a:gd name="connsiteY40" fmla="*/ 4382387 h 15946069"/>
                <a:gd name="connsiteX41" fmla="*/ 8112983 w 12149688"/>
                <a:gd name="connsiteY41" fmla="*/ 3770361 h 15946069"/>
                <a:gd name="connsiteX42" fmla="*/ 7637793 w 12149688"/>
                <a:gd name="connsiteY42" fmla="*/ 2526072 h 15946069"/>
                <a:gd name="connsiteX43" fmla="*/ 7264687 w 12149688"/>
                <a:gd name="connsiteY43" fmla="*/ 2131091 h 15946069"/>
                <a:gd name="connsiteX44" fmla="*/ 6594245 w 12149688"/>
                <a:gd name="connsiteY44" fmla="*/ 2055834 h 15946069"/>
                <a:gd name="connsiteX45" fmla="*/ 6431470 w 12149688"/>
                <a:gd name="connsiteY45" fmla="*/ 1314295 h 15946069"/>
                <a:gd name="connsiteX46" fmla="*/ 5642908 w 12149688"/>
                <a:gd name="connsiteY46" fmla="*/ 1343233 h 15946069"/>
                <a:gd name="connsiteX47" fmla="*/ 5150959 w 12149688"/>
                <a:gd name="connsiteY47" fmla="*/ 1610907 h 15946069"/>
                <a:gd name="connsiteX48" fmla="*/ 5480133 w 12149688"/>
                <a:gd name="connsiteY48" fmla="*/ 2167963 h 15946069"/>
                <a:gd name="connsiteX49" fmla="*/ 4742216 w 12149688"/>
                <a:gd name="connsiteY49" fmla="*/ 2862495 h 15946069"/>
                <a:gd name="connsiteX50" fmla="*/ 2658667 w 12149688"/>
                <a:gd name="connsiteY50" fmla="*/ 0 h 15946069"/>
                <a:gd name="connsiteX51" fmla="*/ 2658682 w 12149688"/>
                <a:gd name="connsiteY51" fmla="*/ 1018890 h 15946069"/>
                <a:gd name="connsiteX52" fmla="*/ 1850829 w 12149688"/>
                <a:gd name="connsiteY52" fmla="*/ 1730283 h 15946069"/>
                <a:gd name="connsiteX53" fmla="*/ 1404694 w 12149688"/>
                <a:gd name="connsiteY53" fmla="*/ 2272862 h 15946069"/>
                <a:gd name="connsiteX54" fmla="*/ 2351216 w 12149688"/>
                <a:gd name="connsiteY54" fmla="*/ 3388182 h 15946069"/>
                <a:gd name="connsiteX55" fmla="*/ 2658682 w 12149688"/>
                <a:gd name="connsiteY55" fmla="*/ 4286458 h 15946069"/>
                <a:gd name="connsiteX56" fmla="*/ 1935228 w 12149688"/>
                <a:gd name="connsiteY56" fmla="*/ 5220918 h 15946069"/>
                <a:gd name="connsiteX57" fmla="*/ 875281 w 12149688"/>
                <a:gd name="connsiteY57" fmla="*/ 5166646 h 15946069"/>
                <a:gd name="connsiteX58" fmla="*/ 0 w 12149688"/>
                <a:gd name="connsiteY58" fmla="*/ 5890112 h 15946069"/>
                <a:gd name="connsiteX59" fmla="*/ 72345 w 12149688"/>
                <a:gd name="connsiteY59" fmla="*/ 6921032 h 15946069"/>
                <a:gd name="connsiteX60" fmla="*/ 477776 w 12149688"/>
                <a:gd name="connsiteY60" fmla="*/ 7436569 h 15946069"/>
                <a:gd name="connsiteX0" fmla="*/ 477776 w 12149688"/>
                <a:gd name="connsiteY0" fmla="*/ 7436569 h 15946069"/>
                <a:gd name="connsiteX1" fmla="*/ 271294 w 12149688"/>
                <a:gd name="connsiteY1" fmla="*/ 8060457 h 15946069"/>
                <a:gd name="connsiteX2" fmla="*/ 379812 w 12149688"/>
                <a:gd name="connsiteY2" fmla="*/ 8675382 h 15946069"/>
                <a:gd name="connsiteX3" fmla="*/ 759624 w 12149688"/>
                <a:gd name="connsiteY3" fmla="*/ 9217969 h 15946069"/>
                <a:gd name="connsiteX4" fmla="*/ 687278 w 12149688"/>
                <a:gd name="connsiteY4" fmla="*/ 9670126 h 15946069"/>
                <a:gd name="connsiteX5" fmla="*/ 144687 w 12149688"/>
                <a:gd name="connsiteY5" fmla="*/ 9941420 h 15946069"/>
                <a:gd name="connsiteX6" fmla="*/ 343643 w 12149688"/>
                <a:gd name="connsiteY6" fmla="*/ 10592536 h 15946069"/>
                <a:gd name="connsiteX7" fmla="*/ 940487 w 12149688"/>
                <a:gd name="connsiteY7" fmla="*/ 10954252 h 15946069"/>
                <a:gd name="connsiteX8" fmla="*/ 596844 w 12149688"/>
                <a:gd name="connsiteY8" fmla="*/ 11786221 h 15946069"/>
                <a:gd name="connsiteX9" fmla="*/ 633017 w 12149688"/>
                <a:gd name="connsiteY9" fmla="*/ 12780969 h 15946069"/>
                <a:gd name="connsiteX10" fmla="*/ 198944 w 12149688"/>
                <a:gd name="connsiteY10" fmla="*/ 13341645 h 15946069"/>
                <a:gd name="connsiteX11" fmla="*/ 723451 w 12149688"/>
                <a:gd name="connsiteY11" fmla="*/ 13757629 h 15946069"/>
                <a:gd name="connsiteX12" fmla="*/ 1640036 w 12149688"/>
                <a:gd name="connsiteY12" fmla="*/ 13197151 h 15946069"/>
                <a:gd name="connsiteX13" fmla="*/ 1880971 w 12149688"/>
                <a:gd name="connsiteY13" fmla="*/ 13395906 h 15946069"/>
                <a:gd name="connsiteX14" fmla="*/ 2930086 w 12149688"/>
                <a:gd name="connsiteY14" fmla="*/ 12952832 h 15946069"/>
                <a:gd name="connsiteX15" fmla="*/ 3828256 w 12149688"/>
                <a:gd name="connsiteY15" fmla="*/ 13245188 h 15946069"/>
                <a:gd name="connsiteX16" fmla="*/ 4768739 w 12149688"/>
                <a:gd name="connsiteY16" fmla="*/ 13040205 h 15946069"/>
                <a:gd name="connsiteX17" fmla="*/ 5190751 w 12149688"/>
                <a:gd name="connsiteY17" fmla="*/ 13649115 h 15946069"/>
                <a:gd name="connsiteX18" fmla="*/ 5932290 w 12149688"/>
                <a:gd name="connsiteY18" fmla="*/ 13444132 h 15946069"/>
                <a:gd name="connsiteX19" fmla="*/ 6498992 w 12149688"/>
                <a:gd name="connsiteY19" fmla="*/ 12991975 h 15946069"/>
                <a:gd name="connsiteX20" fmla="*/ 7373161 w 12149688"/>
                <a:gd name="connsiteY20" fmla="*/ 13582800 h 15946069"/>
                <a:gd name="connsiteX21" fmla="*/ 8512588 w 12149688"/>
                <a:gd name="connsiteY21" fmla="*/ 13570738 h 15946069"/>
                <a:gd name="connsiteX22" fmla="*/ 9742454 w 12149688"/>
                <a:gd name="connsiteY22" fmla="*/ 14004811 h 15946069"/>
                <a:gd name="connsiteX23" fmla="*/ 10616683 w 12149688"/>
                <a:gd name="connsiteY23" fmla="*/ 15358294 h 15946069"/>
                <a:gd name="connsiteX24" fmla="*/ 11117010 w 12149688"/>
                <a:gd name="connsiteY24" fmla="*/ 15946069 h 15946069"/>
                <a:gd name="connsiteX25" fmla="*/ 11780218 w 12149688"/>
                <a:gd name="connsiteY25" fmla="*/ 13579811 h 15946069"/>
                <a:gd name="connsiteX26" fmla="*/ 11980885 w 12149688"/>
                <a:gd name="connsiteY26" fmla="*/ 11483773 h 15946069"/>
                <a:gd name="connsiteX27" fmla="*/ 11899987 w 12149688"/>
                <a:gd name="connsiteY27" fmla="*/ 10752355 h 15946069"/>
                <a:gd name="connsiteX28" fmla="*/ 11893530 w 12149688"/>
                <a:gd name="connsiteY28" fmla="*/ 10283919 h 15946069"/>
                <a:gd name="connsiteX29" fmla="*/ 11533930 w 12149688"/>
                <a:gd name="connsiteY29" fmla="*/ 9393151 h 15946069"/>
                <a:gd name="connsiteX30" fmla="*/ 11668657 w 12149688"/>
                <a:gd name="connsiteY30" fmla="*/ 8754316 h 15946069"/>
                <a:gd name="connsiteX31" fmla="*/ 12149687 w 12149688"/>
                <a:gd name="connsiteY31" fmla="*/ 8101619 h 15946069"/>
                <a:gd name="connsiteX32" fmla="*/ 11118705 w 12149688"/>
                <a:gd name="connsiteY32" fmla="*/ 7156845 h 15946069"/>
                <a:gd name="connsiteX33" fmla="*/ 10425568 w 12149688"/>
                <a:gd name="connsiteY33" fmla="*/ 7223642 h 15946069"/>
                <a:gd name="connsiteX34" fmla="*/ 10709437 w 12149688"/>
                <a:gd name="connsiteY34" fmla="*/ 6730245 h 15946069"/>
                <a:gd name="connsiteX35" fmla="*/ 10017677 w 12149688"/>
                <a:gd name="connsiteY35" fmla="*/ 5883475 h 15946069"/>
                <a:gd name="connsiteX36" fmla="*/ 9318595 w 12149688"/>
                <a:gd name="connsiteY36" fmla="*/ 5859197 h 15946069"/>
                <a:gd name="connsiteX37" fmla="*/ 9215073 w 12149688"/>
                <a:gd name="connsiteY37" fmla="*/ 5387392 h 15946069"/>
                <a:gd name="connsiteX38" fmla="*/ 8600211 w 12149688"/>
                <a:gd name="connsiteY38" fmla="*/ 5564744 h 15946069"/>
                <a:gd name="connsiteX39" fmla="*/ 8412926 w 12149688"/>
                <a:gd name="connsiteY39" fmla="*/ 4835463 h 15946069"/>
                <a:gd name="connsiteX40" fmla="*/ 7744624 w 12149688"/>
                <a:gd name="connsiteY40" fmla="*/ 4382387 h 15946069"/>
                <a:gd name="connsiteX41" fmla="*/ 8112983 w 12149688"/>
                <a:gd name="connsiteY41" fmla="*/ 3770361 h 15946069"/>
                <a:gd name="connsiteX42" fmla="*/ 7637793 w 12149688"/>
                <a:gd name="connsiteY42" fmla="*/ 2526072 h 15946069"/>
                <a:gd name="connsiteX43" fmla="*/ 7264687 w 12149688"/>
                <a:gd name="connsiteY43" fmla="*/ 2131091 h 15946069"/>
                <a:gd name="connsiteX44" fmla="*/ 6594245 w 12149688"/>
                <a:gd name="connsiteY44" fmla="*/ 2055834 h 15946069"/>
                <a:gd name="connsiteX45" fmla="*/ 6431470 w 12149688"/>
                <a:gd name="connsiteY45" fmla="*/ 1314295 h 15946069"/>
                <a:gd name="connsiteX46" fmla="*/ 5642908 w 12149688"/>
                <a:gd name="connsiteY46" fmla="*/ 1343233 h 15946069"/>
                <a:gd name="connsiteX47" fmla="*/ 5150959 w 12149688"/>
                <a:gd name="connsiteY47" fmla="*/ 1610907 h 15946069"/>
                <a:gd name="connsiteX48" fmla="*/ 5480133 w 12149688"/>
                <a:gd name="connsiteY48" fmla="*/ 2167963 h 15946069"/>
                <a:gd name="connsiteX49" fmla="*/ 4742216 w 12149688"/>
                <a:gd name="connsiteY49" fmla="*/ 2862495 h 15946069"/>
                <a:gd name="connsiteX50" fmla="*/ 2658667 w 12149688"/>
                <a:gd name="connsiteY50" fmla="*/ 0 h 15946069"/>
                <a:gd name="connsiteX51" fmla="*/ 2658682 w 12149688"/>
                <a:gd name="connsiteY51" fmla="*/ 1018890 h 15946069"/>
                <a:gd name="connsiteX52" fmla="*/ 1850829 w 12149688"/>
                <a:gd name="connsiteY52" fmla="*/ 1730283 h 15946069"/>
                <a:gd name="connsiteX53" fmla="*/ 1404694 w 12149688"/>
                <a:gd name="connsiteY53" fmla="*/ 2272862 h 15946069"/>
                <a:gd name="connsiteX54" fmla="*/ 2351216 w 12149688"/>
                <a:gd name="connsiteY54" fmla="*/ 3388182 h 15946069"/>
                <a:gd name="connsiteX55" fmla="*/ 2658682 w 12149688"/>
                <a:gd name="connsiteY55" fmla="*/ 4286458 h 15946069"/>
                <a:gd name="connsiteX56" fmla="*/ 1935228 w 12149688"/>
                <a:gd name="connsiteY56" fmla="*/ 5220918 h 15946069"/>
                <a:gd name="connsiteX57" fmla="*/ 875281 w 12149688"/>
                <a:gd name="connsiteY57" fmla="*/ 5166646 h 15946069"/>
                <a:gd name="connsiteX58" fmla="*/ 0 w 12149688"/>
                <a:gd name="connsiteY58" fmla="*/ 5890112 h 15946069"/>
                <a:gd name="connsiteX59" fmla="*/ 72345 w 12149688"/>
                <a:gd name="connsiteY59" fmla="*/ 6921032 h 15946069"/>
                <a:gd name="connsiteX60" fmla="*/ 477776 w 12149688"/>
                <a:gd name="connsiteY60" fmla="*/ 7436569 h 15946069"/>
                <a:gd name="connsiteX0" fmla="*/ 477776 w 12149688"/>
                <a:gd name="connsiteY0" fmla="*/ 7436569 h 15946069"/>
                <a:gd name="connsiteX1" fmla="*/ 271294 w 12149688"/>
                <a:gd name="connsiteY1" fmla="*/ 8060457 h 15946069"/>
                <a:gd name="connsiteX2" fmla="*/ 379812 w 12149688"/>
                <a:gd name="connsiteY2" fmla="*/ 8675382 h 15946069"/>
                <a:gd name="connsiteX3" fmla="*/ 759624 w 12149688"/>
                <a:gd name="connsiteY3" fmla="*/ 9217969 h 15946069"/>
                <a:gd name="connsiteX4" fmla="*/ 687278 w 12149688"/>
                <a:gd name="connsiteY4" fmla="*/ 9670126 h 15946069"/>
                <a:gd name="connsiteX5" fmla="*/ 144687 w 12149688"/>
                <a:gd name="connsiteY5" fmla="*/ 9941420 h 15946069"/>
                <a:gd name="connsiteX6" fmla="*/ 343643 w 12149688"/>
                <a:gd name="connsiteY6" fmla="*/ 10592536 h 15946069"/>
                <a:gd name="connsiteX7" fmla="*/ 940487 w 12149688"/>
                <a:gd name="connsiteY7" fmla="*/ 10954252 h 15946069"/>
                <a:gd name="connsiteX8" fmla="*/ 596844 w 12149688"/>
                <a:gd name="connsiteY8" fmla="*/ 11786221 h 15946069"/>
                <a:gd name="connsiteX9" fmla="*/ 633017 w 12149688"/>
                <a:gd name="connsiteY9" fmla="*/ 12780969 h 15946069"/>
                <a:gd name="connsiteX10" fmla="*/ 198944 w 12149688"/>
                <a:gd name="connsiteY10" fmla="*/ 13341645 h 15946069"/>
                <a:gd name="connsiteX11" fmla="*/ 723451 w 12149688"/>
                <a:gd name="connsiteY11" fmla="*/ 13757629 h 15946069"/>
                <a:gd name="connsiteX12" fmla="*/ 1640036 w 12149688"/>
                <a:gd name="connsiteY12" fmla="*/ 13197151 h 15946069"/>
                <a:gd name="connsiteX13" fmla="*/ 1880971 w 12149688"/>
                <a:gd name="connsiteY13" fmla="*/ 13395906 h 15946069"/>
                <a:gd name="connsiteX14" fmla="*/ 2930086 w 12149688"/>
                <a:gd name="connsiteY14" fmla="*/ 12952832 h 15946069"/>
                <a:gd name="connsiteX15" fmla="*/ 3828256 w 12149688"/>
                <a:gd name="connsiteY15" fmla="*/ 13245188 h 15946069"/>
                <a:gd name="connsiteX16" fmla="*/ 4768739 w 12149688"/>
                <a:gd name="connsiteY16" fmla="*/ 13040205 h 15946069"/>
                <a:gd name="connsiteX17" fmla="*/ 5190751 w 12149688"/>
                <a:gd name="connsiteY17" fmla="*/ 13649115 h 15946069"/>
                <a:gd name="connsiteX18" fmla="*/ 5932290 w 12149688"/>
                <a:gd name="connsiteY18" fmla="*/ 13444132 h 15946069"/>
                <a:gd name="connsiteX19" fmla="*/ 6498992 w 12149688"/>
                <a:gd name="connsiteY19" fmla="*/ 12991975 h 15946069"/>
                <a:gd name="connsiteX20" fmla="*/ 7373161 w 12149688"/>
                <a:gd name="connsiteY20" fmla="*/ 13582800 h 15946069"/>
                <a:gd name="connsiteX21" fmla="*/ 8512588 w 12149688"/>
                <a:gd name="connsiteY21" fmla="*/ 13570738 h 15946069"/>
                <a:gd name="connsiteX22" fmla="*/ 9742454 w 12149688"/>
                <a:gd name="connsiteY22" fmla="*/ 14004811 h 15946069"/>
                <a:gd name="connsiteX23" fmla="*/ 10616683 w 12149688"/>
                <a:gd name="connsiteY23" fmla="*/ 15358294 h 15946069"/>
                <a:gd name="connsiteX24" fmla="*/ 11117010 w 12149688"/>
                <a:gd name="connsiteY24" fmla="*/ 15946069 h 15946069"/>
                <a:gd name="connsiteX25" fmla="*/ 11589945 w 12149688"/>
                <a:gd name="connsiteY25" fmla="*/ 15762811 h 15946069"/>
                <a:gd name="connsiteX26" fmla="*/ 11980885 w 12149688"/>
                <a:gd name="connsiteY26" fmla="*/ 11483773 h 15946069"/>
                <a:gd name="connsiteX27" fmla="*/ 11899987 w 12149688"/>
                <a:gd name="connsiteY27" fmla="*/ 10752355 h 15946069"/>
                <a:gd name="connsiteX28" fmla="*/ 11893530 w 12149688"/>
                <a:gd name="connsiteY28" fmla="*/ 10283919 h 15946069"/>
                <a:gd name="connsiteX29" fmla="*/ 11533930 w 12149688"/>
                <a:gd name="connsiteY29" fmla="*/ 9393151 h 15946069"/>
                <a:gd name="connsiteX30" fmla="*/ 11668657 w 12149688"/>
                <a:gd name="connsiteY30" fmla="*/ 8754316 h 15946069"/>
                <a:gd name="connsiteX31" fmla="*/ 12149687 w 12149688"/>
                <a:gd name="connsiteY31" fmla="*/ 8101619 h 15946069"/>
                <a:gd name="connsiteX32" fmla="*/ 11118705 w 12149688"/>
                <a:gd name="connsiteY32" fmla="*/ 7156845 h 15946069"/>
                <a:gd name="connsiteX33" fmla="*/ 10425568 w 12149688"/>
                <a:gd name="connsiteY33" fmla="*/ 7223642 h 15946069"/>
                <a:gd name="connsiteX34" fmla="*/ 10709437 w 12149688"/>
                <a:gd name="connsiteY34" fmla="*/ 6730245 h 15946069"/>
                <a:gd name="connsiteX35" fmla="*/ 10017677 w 12149688"/>
                <a:gd name="connsiteY35" fmla="*/ 5883475 h 15946069"/>
                <a:gd name="connsiteX36" fmla="*/ 9318595 w 12149688"/>
                <a:gd name="connsiteY36" fmla="*/ 5859197 h 15946069"/>
                <a:gd name="connsiteX37" fmla="*/ 9215073 w 12149688"/>
                <a:gd name="connsiteY37" fmla="*/ 5387392 h 15946069"/>
                <a:gd name="connsiteX38" fmla="*/ 8600211 w 12149688"/>
                <a:gd name="connsiteY38" fmla="*/ 5564744 h 15946069"/>
                <a:gd name="connsiteX39" fmla="*/ 8412926 w 12149688"/>
                <a:gd name="connsiteY39" fmla="*/ 4835463 h 15946069"/>
                <a:gd name="connsiteX40" fmla="*/ 7744624 w 12149688"/>
                <a:gd name="connsiteY40" fmla="*/ 4382387 h 15946069"/>
                <a:gd name="connsiteX41" fmla="*/ 8112983 w 12149688"/>
                <a:gd name="connsiteY41" fmla="*/ 3770361 h 15946069"/>
                <a:gd name="connsiteX42" fmla="*/ 7637793 w 12149688"/>
                <a:gd name="connsiteY42" fmla="*/ 2526072 h 15946069"/>
                <a:gd name="connsiteX43" fmla="*/ 7264687 w 12149688"/>
                <a:gd name="connsiteY43" fmla="*/ 2131091 h 15946069"/>
                <a:gd name="connsiteX44" fmla="*/ 6594245 w 12149688"/>
                <a:gd name="connsiteY44" fmla="*/ 2055834 h 15946069"/>
                <a:gd name="connsiteX45" fmla="*/ 6431470 w 12149688"/>
                <a:gd name="connsiteY45" fmla="*/ 1314295 h 15946069"/>
                <a:gd name="connsiteX46" fmla="*/ 5642908 w 12149688"/>
                <a:gd name="connsiteY46" fmla="*/ 1343233 h 15946069"/>
                <a:gd name="connsiteX47" fmla="*/ 5150959 w 12149688"/>
                <a:gd name="connsiteY47" fmla="*/ 1610907 h 15946069"/>
                <a:gd name="connsiteX48" fmla="*/ 5480133 w 12149688"/>
                <a:gd name="connsiteY48" fmla="*/ 2167963 h 15946069"/>
                <a:gd name="connsiteX49" fmla="*/ 4742216 w 12149688"/>
                <a:gd name="connsiteY49" fmla="*/ 2862495 h 15946069"/>
                <a:gd name="connsiteX50" fmla="*/ 2658667 w 12149688"/>
                <a:gd name="connsiteY50" fmla="*/ 0 h 15946069"/>
                <a:gd name="connsiteX51" fmla="*/ 2658682 w 12149688"/>
                <a:gd name="connsiteY51" fmla="*/ 1018890 h 15946069"/>
                <a:gd name="connsiteX52" fmla="*/ 1850829 w 12149688"/>
                <a:gd name="connsiteY52" fmla="*/ 1730283 h 15946069"/>
                <a:gd name="connsiteX53" fmla="*/ 1404694 w 12149688"/>
                <a:gd name="connsiteY53" fmla="*/ 2272862 h 15946069"/>
                <a:gd name="connsiteX54" fmla="*/ 2351216 w 12149688"/>
                <a:gd name="connsiteY54" fmla="*/ 3388182 h 15946069"/>
                <a:gd name="connsiteX55" fmla="*/ 2658682 w 12149688"/>
                <a:gd name="connsiteY55" fmla="*/ 4286458 h 15946069"/>
                <a:gd name="connsiteX56" fmla="*/ 1935228 w 12149688"/>
                <a:gd name="connsiteY56" fmla="*/ 5220918 h 15946069"/>
                <a:gd name="connsiteX57" fmla="*/ 875281 w 12149688"/>
                <a:gd name="connsiteY57" fmla="*/ 5166646 h 15946069"/>
                <a:gd name="connsiteX58" fmla="*/ 0 w 12149688"/>
                <a:gd name="connsiteY58" fmla="*/ 5890112 h 15946069"/>
                <a:gd name="connsiteX59" fmla="*/ 72345 w 12149688"/>
                <a:gd name="connsiteY59" fmla="*/ 6921032 h 15946069"/>
                <a:gd name="connsiteX60" fmla="*/ 477776 w 12149688"/>
                <a:gd name="connsiteY60" fmla="*/ 7436569 h 15946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2149688" h="15946069">
                  <a:moveTo>
                    <a:pt x="477776" y="7436569"/>
                  </a:moveTo>
                  <a:lnTo>
                    <a:pt x="271294" y="8060457"/>
                  </a:lnTo>
                  <a:lnTo>
                    <a:pt x="379812" y="8675382"/>
                  </a:lnTo>
                  <a:lnTo>
                    <a:pt x="759624" y="9217969"/>
                  </a:lnTo>
                  <a:lnTo>
                    <a:pt x="687278" y="9670126"/>
                  </a:lnTo>
                  <a:lnTo>
                    <a:pt x="144687" y="9941420"/>
                  </a:lnTo>
                  <a:lnTo>
                    <a:pt x="343643" y="10592536"/>
                  </a:lnTo>
                  <a:lnTo>
                    <a:pt x="940487" y="10954252"/>
                  </a:lnTo>
                  <a:lnTo>
                    <a:pt x="596844" y="11786221"/>
                  </a:lnTo>
                  <a:lnTo>
                    <a:pt x="633017" y="12780969"/>
                  </a:lnTo>
                  <a:lnTo>
                    <a:pt x="198944" y="13341645"/>
                  </a:lnTo>
                  <a:lnTo>
                    <a:pt x="723451" y="13757629"/>
                  </a:lnTo>
                  <a:lnTo>
                    <a:pt x="1640036" y="13197151"/>
                  </a:lnTo>
                  <a:lnTo>
                    <a:pt x="1880971" y="13395906"/>
                  </a:lnTo>
                  <a:lnTo>
                    <a:pt x="2930086" y="12952832"/>
                  </a:lnTo>
                  <a:lnTo>
                    <a:pt x="3828256" y="13245188"/>
                  </a:lnTo>
                  <a:lnTo>
                    <a:pt x="4768739" y="13040205"/>
                  </a:lnTo>
                  <a:lnTo>
                    <a:pt x="5190751" y="13649115"/>
                  </a:lnTo>
                  <a:lnTo>
                    <a:pt x="5932290" y="13444132"/>
                  </a:lnTo>
                  <a:lnTo>
                    <a:pt x="6498992" y="12991975"/>
                  </a:lnTo>
                  <a:lnTo>
                    <a:pt x="7373161" y="13582800"/>
                  </a:lnTo>
                  <a:lnTo>
                    <a:pt x="8512588" y="13570738"/>
                  </a:lnTo>
                  <a:lnTo>
                    <a:pt x="9742454" y="14004811"/>
                  </a:lnTo>
                  <a:lnTo>
                    <a:pt x="10616683" y="15358294"/>
                  </a:lnTo>
                  <a:lnTo>
                    <a:pt x="11117010" y="15946069"/>
                  </a:lnTo>
                  <a:lnTo>
                    <a:pt x="11589945" y="15762811"/>
                  </a:lnTo>
                  <a:lnTo>
                    <a:pt x="11980885" y="11483773"/>
                  </a:lnTo>
                  <a:lnTo>
                    <a:pt x="11899987" y="10752355"/>
                  </a:lnTo>
                  <a:cubicBezTo>
                    <a:pt x="11897835" y="10596210"/>
                    <a:pt x="11895682" y="10440064"/>
                    <a:pt x="11893530" y="10283919"/>
                  </a:cubicBezTo>
                  <a:lnTo>
                    <a:pt x="11533930" y="9393151"/>
                  </a:lnTo>
                  <a:lnTo>
                    <a:pt x="11668657" y="8754316"/>
                  </a:lnTo>
                  <a:lnTo>
                    <a:pt x="12149687" y="8101619"/>
                  </a:lnTo>
                  <a:lnTo>
                    <a:pt x="11118705" y="7156845"/>
                  </a:lnTo>
                  <a:lnTo>
                    <a:pt x="10425568" y="7223642"/>
                  </a:lnTo>
                  <a:lnTo>
                    <a:pt x="10709437" y="6730245"/>
                  </a:lnTo>
                  <a:lnTo>
                    <a:pt x="10017677" y="5883475"/>
                  </a:lnTo>
                  <a:lnTo>
                    <a:pt x="9318595" y="5859197"/>
                  </a:lnTo>
                  <a:lnTo>
                    <a:pt x="9215073" y="5387392"/>
                  </a:lnTo>
                  <a:lnTo>
                    <a:pt x="8600211" y="5564744"/>
                  </a:lnTo>
                  <a:lnTo>
                    <a:pt x="8412926" y="4835463"/>
                  </a:lnTo>
                  <a:lnTo>
                    <a:pt x="7744624" y="4382387"/>
                  </a:lnTo>
                  <a:lnTo>
                    <a:pt x="8112983" y="3770361"/>
                  </a:lnTo>
                  <a:lnTo>
                    <a:pt x="7637793" y="2526072"/>
                  </a:lnTo>
                  <a:lnTo>
                    <a:pt x="7264687" y="2131091"/>
                  </a:lnTo>
                  <a:lnTo>
                    <a:pt x="6594245" y="2055834"/>
                  </a:lnTo>
                  <a:lnTo>
                    <a:pt x="6431470" y="1314295"/>
                  </a:lnTo>
                  <a:lnTo>
                    <a:pt x="5642908" y="1343233"/>
                  </a:lnTo>
                  <a:lnTo>
                    <a:pt x="5150959" y="1610907"/>
                  </a:lnTo>
                  <a:lnTo>
                    <a:pt x="5480133" y="2167963"/>
                  </a:lnTo>
                  <a:lnTo>
                    <a:pt x="4742216" y="2862495"/>
                  </a:lnTo>
                  <a:lnTo>
                    <a:pt x="2658667" y="0"/>
                  </a:lnTo>
                  <a:lnTo>
                    <a:pt x="2658682" y="1018890"/>
                  </a:lnTo>
                  <a:lnTo>
                    <a:pt x="1850829" y="1730283"/>
                  </a:lnTo>
                  <a:lnTo>
                    <a:pt x="1404694" y="2272862"/>
                  </a:lnTo>
                  <a:lnTo>
                    <a:pt x="2351216" y="3388182"/>
                  </a:lnTo>
                  <a:lnTo>
                    <a:pt x="2658682" y="4286458"/>
                  </a:lnTo>
                  <a:lnTo>
                    <a:pt x="1935228" y="5220918"/>
                  </a:lnTo>
                  <a:lnTo>
                    <a:pt x="875281" y="5166646"/>
                  </a:lnTo>
                  <a:lnTo>
                    <a:pt x="0" y="5890112"/>
                  </a:lnTo>
                  <a:lnTo>
                    <a:pt x="72345" y="6921032"/>
                  </a:lnTo>
                  <a:lnTo>
                    <a:pt x="477776" y="7436569"/>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13" name="任意多边形 114">
              <a:extLst>
                <a:ext uri="{FF2B5EF4-FFF2-40B4-BE49-F238E27FC236}">
                  <a16:creationId xmlns:a16="http://schemas.microsoft.com/office/drawing/2014/main" id="{C678D7A0-A57B-68C0-C0BA-82E31B51B125}"/>
                </a:ext>
              </a:extLst>
            </p:cNvPr>
            <p:cNvSpPr>
              <a:spLocks/>
            </p:cNvSpPr>
            <p:nvPr/>
          </p:nvSpPr>
          <p:spPr bwMode="auto">
            <a:xfrm>
              <a:off x="8255970" y="3854122"/>
              <a:ext cx="2381346" cy="1737972"/>
            </a:xfrm>
            <a:custGeom>
              <a:avLst/>
              <a:gdLst>
                <a:gd name="connsiteX0" fmla="*/ 0 w 17157070"/>
                <a:gd name="connsiteY0" fmla="*/ 4521645 h 12886678"/>
                <a:gd name="connsiteX1" fmla="*/ 613837 w 17157070"/>
                <a:gd name="connsiteY1" fmla="*/ 6900003 h 12886678"/>
                <a:gd name="connsiteX2" fmla="*/ 1518338 w 17157070"/>
                <a:gd name="connsiteY2" fmla="*/ 7768153 h 12886678"/>
                <a:gd name="connsiteX3" fmla="*/ 1735898 w 17157070"/>
                <a:gd name="connsiteY3" fmla="*/ 8600077 h 12886678"/>
                <a:gd name="connsiteX4" fmla="*/ 3137400 w 17157070"/>
                <a:gd name="connsiteY4" fmla="*/ 9124637 h 12886678"/>
                <a:gd name="connsiteX5" fmla="*/ 3453963 w 17157070"/>
                <a:gd name="connsiteY5" fmla="*/ 10481128 h 12886678"/>
                <a:gd name="connsiteX6" fmla="*/ 4168520 w 17157070"/>
                <a:gd name="connsiteY6" fmla="*/ 11855697 h 12886678"/>
                <a:gd name="connsiteX7" fmla="*/ 4162343 w 17157070"/>
                <a:gd name="connsiteY7" fmla="*/ 12886678 h 12886678"/>
                <a:gd name="connsiteX8" fmla="*/ 4605215 w 17157070"/>
                <a:gd name="connsiteY8" fmla="*/ 12802514 h 12886678"/>
                <a:gd name="connsiteX9" fmla="*/ 4840336 w 17157070"/>
                <a:gd name="connsiteY9" fmla="*/ 12513132 h 12886678"/>
                <a:gd name="connsiteX10" fmla="*/ 6070201 w 17157070"/>
                <a:gd name="connsiteY10" fmla="*/ 12531224 h 12886678"/>
                <a:gd name="connsiteX11" fmla="*/ 6884082 w 17157070"/>
                <a:gd name="connsiteY11" fmla="*/ 11934372 h 12886678"/>
                <a:gd name="connsiteX12" fmla="*/ 7716051 w 17157070"/>
                <a:gd name="connsiteY12" fmla="*/ 12259931 h 12886678"/>
                <a:gd name="connsiteX13" fmla="*/ 8584189 w 17157070"/>
                <a:gd name="connsiteY13" fmla="*/ 12060979 h 12886678"/>
                <a:gd name="connsiteX14" fmla="*/ 9289552 w 17157070"/>
                <a:gd name="connsiteY14" fmla="*/ 12259931 h 12886678"/>
                <a:gd name="connsiteX15" fmla="*/ 10139605 w 17157070"/>
                <a:gd name="connsiteY15" fmla="*/ 11862031 h 12886678"/>
                <a:gd name="connsiteX16" fmla="*/ 10664108 w 17157070"/>
                <a:gd name="connsiteY16" fmla="*/ 12079067 h 12886678"/>
                <a:gd name="connsiteX17" fmla="*/ 11387555 w 17157070"/>
                <a:gd name="connsiteY17" fmla="*/ 11988637 h 12886678"/>
                <a:gd name="connsiteX18" fmla="*/ 11966315 w 17157070"/>
                <a:gd name="connsiteY18" fmla="*/ 12712092 h 12886678"/>
                <a:gd name="connsiteX19" fmla="*/ 12942975 w 17157070"/>
                <a:gd name="connsiteY19" fmla="*/ 12476963 h 12886678"/>
                <a:gd name="connsiteX20" fmla="*/ 13575992 w 17157070"/>
                <a:gd name="connsiteY20" fmla="*/ 12874863 h 12886678"/>
                <a:gd name="connsiteX21" fmla="*/ 13973888 w 17157070"/>
                <a:gd name="connsiteY21" fmla="*/ 12784430 h 12886678"/>
                <a:gd name="connsiteX22" fmla="*/ 14028146 w 17157070"/>
                <a:gd name="connsiteY22" fmla="*/ 12241839 h 12886678"/>
                <a:gd name="connsiteX23" fmla="*/ 13594073 w 17157070"/>
                <a:gd name="connsiteY23" fmla="*/ 12187582 h 12886678"/>
                <a:gd name="connsiteX24" fmla="*/ 13612161 w 17157070"/>
                <a:gd name="connsiteY24" fmla="*/ 11500303 h 12886678"/>
                <a:gd name="connsiteX25" fmla="*/ 14190925 w 17157070"/>
                <a:gd name="connsiteY25" fmla="*/ 11355616 h 12886678"/>
                <a:gd name="connsiteX26" fmla="*/ 13865366 w 17157070"/>
                <a:gd name="connsiteY26" fmla="*/ 10885371 h 12886678"/>
                <a:gd name="connsiteX27" fmla="*/ 14136664 w 17157070"/>
                <a:gd name="connsiteY27" fmla="*/ 10487475 h 12886678"/>
                <a:gd name="connsiteX28" fmla="*/ 14703435 w 17157070"/>
                <a:gd name="connsiteY28" fmla="*/ 10514571 h 12886678"/>
                <a:gd name="connsiteX29" fmla="*/ 14661163 w 17157070"/>
                <a:gd name="connsiteY29" fmla="*/ 10342787 h 12886678"/>
                <a:gd name="connsiteX30" fmla="*/ 14335608 w 17157070"/>
                <a:gd name="connsiteY30" fmla="*/ 10180012 h 12886678"/>
                <a:gd name="connsiteX31" fmla="*/ 14498387 w 17157070"/>
                <a:gd name="connsiteY31" fmla="*/ 9601248 h 12886678"/>
                <a:gd name="connsiteX32" fmla="*/ 13847278 w 17157070"/>
                <a:gd name="connsiteY32" fmla="*/ 8696934 h 12886678"/>
                <a:gd name="connsiteX33" fmla="*/ 13340864 w 17157070"/>
                <a:gd name="connsiteY33" fmla="*/ 7991571 h 12886678"/>
                <a:gd name="connsiteX34" fmla="*/ 13123831 w 17157070"/>
                <a:gd name="connsiteY34" fmla="*/ 6906393 h 12886678"/>
                <a:gd name="connsiteX35" fmla="*/ 13232349 w 17157070"/>
                <a:gd name="connsiteY35" fmla="*/ 6219119 h 12886678"/>
                <a:gd name="connsiteX36" fmla="*/ 12273778 w 17157070"/>
                <a:gd name="connsiteY36" fmla="*/ 6252280 h 12886678"/>
                <a:gd name="connsiteX37" fmla="*/ 12201432 w 17157070"/>
                <a:gd name="connsiteY37" fmla="*/ 5854380 h 12886678"/>
                <a:gd name="connsiteX38" fmla="*/ 12508887 w 17157070"/>
                <a:gd name="connsiteY38" fmla="*/ 5350985 h 12886678"/>
                <a:gd name="connsiteX39" fmla="*/ 13774933 w 17157070"/>
                <a:gd name="connsiteY39" fmla="*/ 4573269 h 12886678"/>
                <a:gd name="connsiteX40" fmla="*/ 15294184 w 17157070"/>
                <a:gd name="connsiteY40" fmla="*/ 4066854 h 12886678"/>
                <a:gd name="connsiteX41" fmla="*/ 15746333 w 17157070"/>
                <a:gd name="connsiteY41" fmla="*/ 4392409 h 12886678"/>
                <a:gd name="connsiteX42" fmla="*/ 16578306 w 17157070"/>
                <a:gd name="connsiteY42" fmla="*/ 4103027 h 12886678"/>
                <a:gd name="connsiteX43" fmla="*/ 17084732 w 17157070"/>
                <a:gd name="connsiteY43" fmla="*/ 4500935 h 12886678"/>
                <a:gd name="connsiteX44" fmla="*/ 17157070 w 17157070"/>
                <a:gd name="connsiteY44" fmla="*/ 3560444 h 12886678"/>
                <a:gd name="connsiteX45" fmla="*/ 16433615 w 17157070"/>
                <a:gd name="connsiteY45" fmla="*/ 3470014 h 12886678"/>
                <a:gd name="connsiteX46" fmla="*/ 16415865 w 17157070"/>
                <a:gd name="connsiteY46" fmla="*/ 2853862 h 12886678"/>
                <a:gd name="connsiteX47" fmla="*/ 15963191 w 17157070"/>
                <a:gd name="connsiteY47" fmla="*/ 2993318 h 12886678"/>
                <a:gd name="connsiteX48" fmla="*/ 14923009 w 17157070"/>
                <a:gd name="connsiteY48" fmla="*/ 1763435 h 12886678"/>
                <a:gd name="connsiteX49" fmla="*/ 14244644 w 17157070"/>
                <a:gd name="connsiteY49" fmla="*/ 325540 h 12886678"/>
                <a:gd name="connsiteX50" fmla="*/ 13367278 w 17157070"/>
                <a:gd name="connsiteY50" fmla="*/ 614945 h 12886678"/>
                <a:gd name="connsiteX51" fmla="*/ 12218563 w 17157070"/>
                <a:gd name="connsiteY51" fmla="*/ 623988 h 12886678"/>
                <a:gd name="connsiteX52" fmla="*/ 11323109 w 17157070"/>
                <a:gd name="connsiteY52" fmla="*/ 36169 h 12886678"/>
                <a:gd name="connsiteX53" fmla="*/ 10780410 w 17157070"/>
                <a:gd name="connsiteY53" fmla="*/ 488337 h 12886678"/>
                <a:gd name="connsiteX54" fmla="*/ 10038717 w 17157070"/>
                <a:gd name="connsiteY54" fmla="*/ 687288 h 12886678"/>
                <a:gd name="connsiteX55" fmla="*/ 9622651 w 17157070"/>
                <a:gd name="connsiteY55" fmla="*/ 81389 h 12886678"/>
                <a:gd name="connsiteX56" fmla="*/ 8672925 w 17157070"/>
                <a:gd name="connsiteY56" fmla="*/ 280344 h 12886678"/>
                <a:gd name="connsiteX57" fmla="*/ 7759379 w 17157070"/>
                <a:gd name="connsiteY57" fmla="*/ 0 h 12886678"/>
                <a:gd name="connsiteX58" fmla="*/ 6729494 w 17157070"/>
                <a:gd name="connsiteY58" fmla="*/ 443189 h 12886678"/>
                <a:gd name="connsiteX59" fmla="*/ 6493079 w 17157070"/>
                <a:gd name="connsiteY59" fmla="*/ 1012843 h 12886678"/>
                <a:gd name="connsiteX60" fmla="*/ 6710175 w 17157070"/>
                <a:gd name="connsiteY60" fmla="*/ 2161345 h 12886678"/>
                <a:gd name="connsiteX61" fmla="*/ 4141784 w 17157070"/>
                <a:gd name="connsiteY61" fmla="*/ 2086470 h 12886678"/>
                <a:gd name="connsiteX62" fmla="*/ 2314296 w 17157070"/>
                <a:gd name="connsiteY62" fmla="*/ 2369327 h 12886678"/>
                <a:gd name="connsiteX63" fmla="*/ 1334589 w 17157070"/>
                <a:gd name="connsiteY63" fmla="*/ 3174199 h 12886678"/>
                <a:gd name="connsiteX64" fmla="*/ 0 w 17157070"/>
                <a:gd name="connsiteY64" fmla="*/ 4521645 h 12886678"/>
                <a:gd name="connsiteX0" fmla="*/ 0 w 17157070"/>
                <a:gd name="connsiteY0" fmla="*/ 4521645 h 12886678"/>
                <a:gd name="connsiteX1" fmla="*/ 613837 w 17157070"/>
                <a:gd name="connsiteY1" fmla="*/ 6900003 h 12886678"/>
                <a:gd name="connsiteX2" fmla="*/ 1518338 w 17157070"/>
                <a:gd name="connsiteY2" fmla="*/ 7768153 h 12886678"/>
                <a:gd name="connsiteX3" fmla="*/ 1735898 w 17157070"/>
                <a:gd name="connsiteY3" fmla="*/ 8600077 h 12886678"/>
                <a:gd name="connsiteX4" fmla="*/ 3137400 w 17157070"/>
                <a:gd name="connsiteY4" fmla="*/ 9124637 h 12886678"/>
                <a:gd name="connsiteX5" fmla="*/ 3453963 w 17157070"/>
                <a:gd name="connsiteY5" fmla="*/ 10481128 h 12886678"/>
                <a:gd name="connsiteX6" fmla="*/ 4168520 w 17157070"/>
                <a:gd name="connsiteY6" fmla="*/ 11855697 h 12886678"/>
                <a:gd name="connsiteX7" fmla="*/ 4162343 w 17157070"/>
                <a:gd name="connsiteY7" fmla="*/ 12886678 h 12886678"/>
                <a:gd name="connsiteX8" fmla="*/ 4605215 w 17157070"/>
                <a:gd name="connsiteY8" fmla="*/ 12802514 h 12886678"/>
                <a:gd name="connsiteX9" fmla="*/ 4840336 w 17157070"/>
                <a:gd name="connsiteY9" fmla="*/ 12513132 h 12886678"/>
                <a:gd name="connsiteX10" fmla="*/ 6070201 w 17157070"/>
                <a:gd name="connsiteY10" fmla="*/ 12531224 h 12886678"/>
                <a:gd name="connsiteX11" fmla="*/ 6884082 w 17157070"/>
                <a:gd name="connsiteY11" fmla="*/ 11934372 h 12886678"/>
                <a:gd name="connsiteX12" fmla="*/ 7716051 w 17157070"/>
                <a:gd name="connsiteY12" fmla="*/ 12259931 h 12886678"/>
                <a:gd name="connsiteX13" fmla="*/ 8584189 w 17157070"/>
                <a:gd name="connsiteY13" fmla="*/ 12060979 h 12886678"/>
                <a:gd name="connsiteX14" fmla="*/ 9289552 w 17157070"/>
                <a:gd name="connsiteY14" fmla="*/ 12259931 h 12886678"/>
                <a:gd name="connsiteX15" fmla="*/ 10139605 w 17157070"/>
                <a:gd name="connsiteY15" fmla="*/ 11862031 h 12886678"/>
                <a:gd name="connsiteX16" fmla="*/ 10664108 w 17157070"/>
                <a:gd name="connsiteY16" fmla="*/ 12079067 h 12886678"/>
                <a:gd name="connsiteX17" fmla="*/ 11387555 w 17157070"/>
                <a:gd name="connsiteY17" fmla="*/ 11988637 h 12886678"/>
                <a:gd name="connsiteX18" fmla="*/ 11966315 w 17157070"/>
                <a:gd name="connsiteY18" fmla="*/ 12712092 h 12886678"/>
                <a:gd name="connsiteX19" fmla="*/ 12942975 w 17157070"/>
                <a:gd name="connsiteY19" fmla="*/ 12476963 h 12886678"/>
                <a:gd name="connsiteX20" fmla="*/ 13575992 w 17157070"/>
                <a:gd name="connsiteY20" fmla="*/ 12874863 h 12886678"/>
                <a:gd name="connsiteX21" fmla="*/ 13973888 w 17157070"/>
                <a:gd name="connsiteY21" fmla="*/ 12784430 h 12886678"/>
                <a:gd name="connsiteX22" fmla="*/ 14028146 w 17157070"/>
                <a:gd name="connsiteY22" fmla="*/ 12241839 h 12886678"/>
                <a:gd name="connsiteX23" fmla="*/ 13594073 w 17157070"/>
                <a:gd name="connsiteY23" fmla="*/ 12187582 h 12886678"/>
                <a:gd name="connsiteX24" fmla="*/ 13612161 w 17157070"/>
                <a:gd name="connsiteY24" fmla="*/ 11500303 h 12886678"/>
                <a:gd name="connsiteX25" fmla="*/ 14190925 w 17157070"/>
                <a:gd name="connsiteY25" fmla="*/ 11355616 h 12886678"/>
                <a:gd name="connsiteX26" fmla="*/ 13865366 w 17157070"/>
                <a:gd name="connsiteY26" fmla="*/ 10885371 h 12886678"/>
                <a:gd name="connsiteX27" fmla="*/ 14136664 w 17157070"/>
                <a:gd name="connsiteY27" fmla="*/ 10487475 h 12886678"/>
                <a:gd name="connsiteX28" fmla="*/ 14703435 w 17157070"/>
                <a:gd name="connsiteY28" fmla="*/ 10514571 h 12886678"/>
                <a:gd name="connsiteX29" fmla="*/ 14661163 w 17157070"/>
                <a:gd name="connsiteY29" fmla="*/ 10342787 h 12886678"/>
                <a:gd name="connsiteX30" fmla="*/ 14335608 w 17157070"/>
                <a:gd name="connsiteY30" fmla="*/ 10180012 h 12886678"/>
                <a:gd name="connsiteX31" fmla="*/ 14498387 w 17157070"/>
                <a:gd name="connsiteY31" fmla="*/ 9601248 h 12886678"/>
                <a:gd name="connsiteX32" fmla="*/ 13847278 w 17157070"/>
                <a:gd name="connsiteY32" fmla="*/ 8696934 h 12886678"/>
                <a:gd name="connsiteX33" fmla="*/ 13340864 w 17157070"/>
                <a:gd name="connsiteY33" fmla="*/ 7991571 h 12886678"/>
                <a:gd name="connsiteX34" fmla="*/ 13123831 w 17157070"/>
                <a:gd name="connsiteY34" fmla="*/ 6906393 h 12886678"/>
                <a:gd name="connsiteX35" fmla="*/ 13232349 w 17157070"/>
                <a:gd name="connsiteY35" fmla="*/ 6219119 h 12886678"/>
                <a:gd name="connsiteX36" fmla="*/ 12273778 w 17157070"/>
                <a:gd name="connsiteY36" fmla="*/ 6252280 h 12886678"/>
                <a:gd name="connsiteX37" fmla="*/ 12201432 w 17157070"/>
                <a:gd name="connsiteY37" fmla="*/ 5854380 h 12886678"/>
                <a:gd name="connsiteX38" fmla="*/ 12508887 w 17157070"/>
                <a:gd name="connsiteY38" fmla="*/ 5350985 h 12886678"/>
                <a:gd name="connsiteX39" fmla="*/ 13774933 w 17157070"/>
                <a:gd name="connsiteY39" fmla="*/ 4573269 h 12886678"/>
                <a:gd name="connsiteX40" fmla="*/ 15294184 w 17157070"/>
                <a:gd name="connsiteY40" fmla="*/ 4066854 h 12886678"/>
                <a:gd name="connsiteX41" fmla="*/ 15746333 w 17157070"/>
                <a:gd name="connsiteY41" fmla="*/ 4392409 h 12886678"/>
                <a:gd name="connsiteX42" fmla="*/ 16578306 w 17157070"/>
                <a:gd name="connsiteY42" fmla="*/ 4103027 h 12886678"/>
                <a:gd name="connsiteX43" fmla="*/ 17084732 w 17157070"/>
                <a:gd name="connsiteY43" fmla="*/ 4500935 h 12886678"/>
                <a:gd name="connsiteX44" fmla="*/ 17157070 w 17157070"/>
                <a:gd name="connsiteY44" fmla="*/ 3560444 h 12886678"/>
                <a:gd name="connsiteX45" fmla="*/ 16433615 w 17157070"/>
                <a:gd name="connsiteY45" fmla="*/ 3470014 h 12886678"/>
                <a:gd name="connsiteX46" fmla="*/ 16415865 w 17157070"/>
                <a:gd name="connsiteY46" fmla="*/ 2853862 h 12886678"/>
                <a:gd name="connsiteX47" fmla="*/ 15963191 w 17157070"/>
                <a:gd name="connsiteY47" fmla="*/ 2993318 h 12886678"/>
                <a:gd name="connsiteX48" fmla="*/ 14923009 w 17157070"/>
                <a:gd name="connsiteY48" fmla="*/ 1763435 h 12886678"/>
                <a:gd name="connsiteX49" fmla="*/ 14244644 w 17157070"/>
                <a:gd name="connsiteY49" fmla="*/ 325540 h 12886678"/>
                <a:gd name="connsiteX50" fmla="*/ 13367278 w 17157070"/>
                <a:gd name="connsiteY50" fmla="*/ 614945 h 12886678"/>
                <a:gd name="connsiteX51" fmla="*/ 12218563 w 17157070"/>
                <a:gd name="connsiteY51" fmla="*/ 623988 h 12886678"/>
                <a:gd name="connsiteX52" fmla="*/ 11323109 w 17157070"/>
                <a:gd name="connsiteY52" fmla="*/ 36169 h 12886678"/>
                <a:gd name="connsiteX53" fmla="*/ 10780410 w 17157070"/>
                <a:gd name="connsiteY53" fmla="*/ 488337 h 12886678"/>
                <a:gd name="connsiteX54" fmla="*/ 10038717 w 17157070"/>
                <a:gd name="connsiteY54" fmla="*/ 687288 h 12886678"/>
                <a:gd name="connsiteX55" fmla="*/ 9622651 w 17157070"/>
                <a:gd name="connsiteY55" fmla="*/ 81389 h 12886678"/>
                <a:gd name="connsiteX56" fmla="*/ 8672925 w 17157070"/>
                <a:gd name="connsiteY56" fmla="*/ 280344 h 12886678"/>
                <a:gd name="connsiteX57" fmla="*/ 7759379 w 17157070"/>
                <a:gd name="connsiteY57" fmla="*/ 0 h 12886678"/>
                <a:gd name="connsiteX58" fmla="*/ 6729494 w 17157070"/>
                <a:gd name="connsiteY58" fmla="*/ 443189 h 12886678"/>
                <a:gd name="connsiteX59" fmla="*/ 6493079 w 17157070"/>
                <a:gd name="connsiteY59" fmla="*/ 1012843 h 12886678"/>
                <a:gd name="connsiteX60" fmla="*/ 4437471 w 17157070"/>
                <a:gd name="connsiteY60" fmla="*/ 2805824 h 12886678"/>
                <a:gd name="connsiteX61" fmla="*/ 4141784 w 17157070"/>
                <a:gd name="connsiteY61" fmla="*/ 2086470 h 12886678"/>
                <a:gd name="connsiteX62" fmla="*/ 2314296 w 17157070"/>
                <a:gd name="connsiteY62" fmla="*/ 2369327 h 12886678"/>
                <a:gd name="connsiteX63" fmla="*/ 1334589 w 17157070"/>
                <a:gd name="connsiteY63" fmla="*/ 3174199 h 12886678"/>
                <a:gd name="connsiteX64" fmla="*/ 0 w 17157070"/>
                <a:gd name="connsiteY64" fmla="*/ 4521645 h 12886678"/>
                <a:gd name="connsiteX0" fmla="*/ 0 w 17157070"/>
                <a:gd name="connsiteY0" fmla="*/ 4521645 h 12886678"/>
                <a:gd name="connsiteX1" fmla="*/ 613837 w 17157070"/>
                <a:gd name="connsiteY1" fmla="*/ 6900003 h 12886678"/>
                <a:gd name="connsiteX2" fmla="*/ 1518338 w 17157070"/>
                <a:gd name="connsiteY2" fmla="*/ 7768153 h 12886678"/>
                <a:gd name="connsiteX3" fmla="*/ 1735898 w 17157070"/>
                <a:gd name="connsiteY3" fmla="*/ 8600077 h 12886678"/>
                <a:gd name="connsiteX4" fmla="*/ 3137400 w 17157070"/>
                <a:gd name="connsiteY4" fmla="*/ 9124637 h 12886678"/>
                <a:gd name="connsiteX5" fmla="*/ 3453963 w 17157070"/>
                <a:gd name="connsiteY5" fmla="*/ 10481128 h 12886678"/>
                <a:gd name="connsiteX6" fmla="*/ 4168520 w 17157070"/>
                <a:gd name="connsiteY6" fmla="*/ 11855697 h 12886678"/>
                <a:gd name="connsiteX7" fmla="*/ 4162343 w 17157070"/>
                <a:gd name="connsiteY7" fmla="*/ 12886678 h 12886678"/>
                <a:gd name="connsiteX8" fmla="*/ 4605215 w 17157070"/>
                <a:gd name="connsiteY8" fmla="*/ 12802514 h 12886678"/>
                <a:gd name="connsiteX9" fmla="*/ 4840336 w 17157070"/>
                <a:gd name="connsiteY9" fmla="*/ 12513132 h 12886678"/>
                <a:gd name="connsiteX10" fmla="*/ 6070201 w 17157070"/>
                <a:gd name="connsiteY10" fmla="*/ 12531224 h 12886678"/>
                <a:gd name="connsiteX11" fmla="*/ 6884082 w 17157070"/>
                <a:gd name="connsiteY11" fmla="*/ 11934372 h 12886678"/>
                <a:gd name="connsiteX12" fmla="*/ 7716051 w 17157070"/>
                <a:gd name="connsiteY12" fmla="*/ 12259931 h 12886678"/>
                <a:gd name="connsiteX13" fmla="*/ 8584189 w 17157070"/>
                <a:gd name="connsiteY13" fmla="*/ 12060979 h 12886678"/>
                <a:gd name="connsiteX14" fmla="*/ 9289552 w 17157070"/>
                <a:gd name="connsiteY14" fmla="*/ 12259931 h 12886678"/>
                <a:gd name="connsiteX15" fmla="*/ 10139605 w 17157070"/>
                <a:gd name="connsiteY15" fmla="*/ 11862031 h 12886678"/>
                <a:gd name="connsiteX16" fmla="*/ 10664108 w 17157070"/>
                <a:gd name="connsiteY16" fmla="*/ 12079067 h 12886678"/>
                <a:gd name="connsiteX17" fmla="*/ 11387555 w 17157070"/>
                <a:gd name="connsiteY17" fmla="*/ 11988637 h 12886678"/>
                <a:gd name="connsiteX18" fmla="*/ 11966315 w 17157070"/>
                <a:gd name="connsiteY18" fmla="*/ 12712092 h 12886678"/>
                <a:gd name="connsiteX19" fmla="*/ 12942975 w 17157070"/>
                <a:gd name="connsiteY19" fmla="*/ 12476963 h 12886678"/>
                <a:gd name="connsiteX20" fmla="*/ 13575992 w 17157070"/>
                <a:gd name="connsiteY20" fmla="*/ 12874863 h 12886678"/>
                <a:gd name="connsiteX21" fmla="*/ 13973888 w 17157070"/>
                <a:gd name="connsiteY21" fmla="*/ 12784430 h 12886678"/>
                <a:gd name="connsiteX22" fmla="*/ 14028146 w 17157070"/>
                <a:gd name="connsiteY22" fmla="*/ 12241839 h 12886678"/>
                <a:gd name="connsiteX23" fmla="*/ 13594073 w 17157070"/>
                <a:gd name="connsiteY23" fmla="*/ 12187582 h 12886678"/>
                <a:gd name="connsiteX24" fmla="*/ 13612161 w 17157070"/>
                <a:gd name="connsiteY24" fmla="*/ 11500303 h 12886678"/>
                <a:gd name="connsiteX25" fmla="*/ 14190925 w 17157070"/>
                <a:gd name="connsiteY25" fmla="*/ 11355616 h 12886678"/>
                <a:gd name="connsiteX26" fmla="*/ 13865366 w 17157070"/>
                <a:gd name="connsiteY26" fmla="*/ 10885371 h 12886678"/>
                <a:gd name="connsiteX27" fmla="*/ 14136664 w 17157070"/>
                <a:gd name="connsiteY27" fmla="*/ 10487475 h 12886678"/>
                <a:gd name="connsiteX28" fmla="*/ 14703435 w 17157070"/>
                <a:gd name="connsiteY28" fmla="*/ 10514571 h 12886678"/>
                <a:gd name="connsiteX29" fmla="*/ 14661163 w 17157070"/>
                <a:gd name="connsiteY29" fmla="*/ 10342787 h 12886678"/>
                <a:gd name="connsiteX30" fmla="*/ 14335608 w 17157070"/>
                <a:gd name="connsiteY30" fmla="*/ 10180012 h 12886678"/>
                <a:gd name="connsiteX31" fmla="*/ 14498387 w 17157070"/>
                <a:gd name="connsiteY31" fmla="*/ 9601248 h 12886678"/>
                <a:gd name="connsiteX32" fmla="*/ 13847278 w 17157070"/>
                <a:gd name="connsiteY32" fmla="*/ 8696934 h 12886678"/>
                <a:gd name="connsiteX33" fmla="*/ 13340864 w 17157070"/>
                <a:gd name="connsiteY33" fmla="*/ 7991571 h 12886678"/>
                <a:gd name="connsiteX34" fmla="*/ 13123831 w 17157070"/>
                <a:gd name="connsiteY34" fmla="*/ 6906393 h 12886678"/>
                <a:gd name="connsiteX35" fmla="*/ 13232349 w 17157070"/>
                <a:gd name="connsiteY35" fmla="*/ 6219119 h 12886678"/>
                <a:gd name="connsiteX36" fmla="*/ 12273778 w 17157070"/>
                <a:gd name="connsiteY36" fmla="*/ 6252280 h 12886678"/>
                <a:gd name="connsiteX37" fmla="*/ 12201432 w 17157070"/>
                <a:gd name="connsiteY37" fmla="*/ 5854380 h 12886678"/>
                <a:gd name="connsiteX38" fmla="*/ 12508887 w 17157070"/>
                <a:gd name="connsiteY38" fmla="*/ 5350985 h 12886678"/>
                <a:gd name="connsiteX39" fmla="*/ 13774933 w 17157070"/>
                <a:gd name="connsiteY39" fmla="*/ 4573269 h 12886678"/>
                <a:gd name="connsiteX40" fmla="*/ 15294184 w 17157070"/>
                <a:gd name="connsiteY40" fmla="*/ 4066854 h 12886678"/>
                <a:gd name="connsiteX41" fmla="*/ 15746333 w 17157070"/>
                <a:gd name="connsiteY41" fmla="*/ 4392409 h 12886678"/>
                <a:gd name="connsiteX42" fmla="*/ 16578306 w 17157070"/>
                <a:gd name="connsiteY42" fmla="*/ 4103027 h 12886678"/>
                <a:gd name="connsiteX43" fmla="*/ 17084732 w 17157070"/>
                <a:gd name="connsiteY43" fmla="*/ 4500935 h 12886678"/>
                <a:gd name="connsiteX44" fmla="*/ 17157070 w 17157070"/>
                <a:gd name="connsiteY44" fmla="*/ 3560444 h 12886678"/>
                <a:gd name="connsiteX45" fmla="*/ 16433615 w 17157070"/>
                <a:gd name="connsiteY45" fmla="*/ 3470014 h 12886678"/>
                <a:gd name="connsiteX46" fmla="*/ 16415865 w 17157070"/>
                <a:gd name="connsiteY46" fmla="*/ 2853862 h 12886678"/>
                <a:gd name="connsiteX47" fmla="*/ 15963191 w 17157070"/>
                <a:gd name="connsiteY47" fmla="*/ 2993318 h 12886678"/>
                <a:gd name="connsiteX48" fmla="*/ 14923009 w 17157070"/>
                <a:gd name="connsiteY48" fmla="*/ 1763435 h 12886678"/>
                <a:gd name="connsiteX49" fmla="*/ 14244644 w 17157070"/>
                <a:gd name="connsiteY49" fmla="*/ 325540 h 12886678"/>
                <a:gd name="connsiteX50" fmla="*/ 13367278 w 17157070"/>
                <a:gd name="connsiteY50" fmla="*/ 614945 h 12886678"/>
                <a:gd name="connsiteX51" fmla="*/ 12218563 w 17157070"/>
                <a:gd name="connsiteY51" fmla="*/ 623988 h 12886678"/>
                <a:gd name="connsiteX52" fmla="*/ 11323109 w 17157070"/>
                <a:gd name="connsiteY52" fmla="*/ 36169 h 12886678"/>
                <a:gd name="connsiteX53" fmla="*/ 10780410 w 17157070"/>
                <a:gd name="connsiteY53" fmla="*/ 488337 h 12886678"/>
                <a:gd name="connsiteX54" fmla="*/ 10038717 w 17157070"/>
                <a:gd name="connsiteY54" fmla="*/ 687288 h 12886678"/>
                <a:gd name="connsiteX55" fmla="*/ 9622651 w 17157070"/>
                <a:gd name="connsiteY55" fmla="*/ 81389 h 12886678"/>
                <a:gd name="connsiteX56" fmla="*/ 8672925 w 17157070"/>
                <a:gd name="connsiteY56" fmla="*/ 280344 h 12886678"/>
                <a:gd name="connsiteX57" fmla="*/ 7759379 w 17157070"/>
                <a:gd name="connsiteY57" fmla="*/ 0 h 12886678"/>
                <a:gd name="connsiteX58" fmla="*/ 6729494 w 17157070"/>
                <a:gd name="connsiteY58" fmla="*/ 443189 h 12886678"/>
                <a:gd name="connsiteX59" fmla="*/ 4437471 w 17157070"/>
                <a:gd name="connsiteY59" fmla="*/ 2805824 h 12886678"/>
                <a:gd name="connsiteX60" fmla="*/ 4141784 w 17157070"/>
                <a:gd name="connsiteY60" fmla="*/ 2086470 h 12886678"/>
                <a:gd name="connsiteX61" fmla="*/ 2314296 w 17157070"/>
                <a:gd name="connsiteY61" fmla="*/ 2369327 h 12886678"/>
                <a:gd name="connsiteX62" fmla="*/ 1334589 w 17157070"/>
                <a:gd name="connsiteY62" fmla="*/ 3174199 h 12886678"/>
                <a:gd name="connsiteX63" fmla="*/ 0 w 17157070"/>
                <a:gd name="connsiteY63" fmla="*/ 4521645 h 12886678"/>
                <a:gd name="connsiteX0" fmla="*/ 0 w 17157070"/>
                <a:gd name="connsiteY0" fmla="*/ 4521645 h 12886678"/>
                <a:gd name="connsiteX1" fmla="*/ 613837 w 17157070"/>
                <a:gd name="connsiteY1" fmla="*/ 6900003 h 12886678"/>
                <a:gd name="connsiteX2" fmla="*/ 1518338 w 17157070"/>
                <a:gd name="connsiteY2" fmla="*/ 7768153 h 12886678"/>
                <a:gd name="connsiteX3" fmla="*/ 1735898 w 17157070"/>
                <a:gd name="connsiteY3" fmla="*/ 8600077 h 12886678"/>
                <a:gd name="connsiteX4" fmla="*/ 3137400 w 17157070"/>
                <a:gd name="connsiteY4" fmla="*/ 9124637 h 12886678"/>
                <a:gd name="connsiteX5" fmla="*/ 3453963 w 17157070"/>
                <a:gd name="connsiteY5" fmla="*/ 10481128 h 12886678"/>
                <a:gd name="connsiteX6" fmla="*/ 4168520 w 17157070"/>
                <a:gd name="connsiteY6" fmla="*/ 11855697 h 12886678"/>
                <a:gd name="connsiteX7" fmla="*/ 4162343 w 17157070"/>
                <a:gd name="connsiteY7" fmla="*/ 12886678 h 12886678"/>
                <a:gd name="connsiteX8" fmla="*/ 4605215 w 17157070"/>
                <a:gd name="connsiteY8" fmla="*/ 12802514 h 12886678"/>
                <a:gd name="connsiteX9" fmla="*/ 4840336 w 17157070"/>
                <a:gd name="connsiteY9" fmla="*/ 12513132 h 12886678"/>
                <a:gd name="connsiteX10" fmla="*/ 6070201 w 17157070"/>
                <a:gd name="connsiteY10" fmla="*/ 12531224 h 12886678"/>
                <a:gd name="connsiteX11" fmla="*/ 6884082 w 17157070"/>
                <a:gd name="connsiteY11" fmla="*/ 11934372 h 12886678"/>
                <a:gd name="connsiteX12" fmla="*/ 7716051 w 17157070"/>
                <a:gd name="connsiteY12" fmla="*/ 12259931 h 12886678"/>
                <a:gd name="connsiteX13" fmla="*/ 8584189 w 17157070"/>
                <a:gd name="connsiteY13" fmla="*/ 12060979 h 12886678"/>
                <a:gd name="connsiteX14" fmla="*/ 9289552 w 17157070"/>
                <a:gd name="connsiteY14" fmla="*/ 12259931 h 12886678"/>
                <a:gd name="connsiteX15" fmla="*/ 10139605 w 17157070"/>
                <a:gd name="connsiteY15" fmla="*/ 11862031 h 12886678"/>
                <a:gd name="connsiteX16" fmla="*/ 10664108 w 17157070"/>
                <a:gd name="connsiteY16" fmla="*/ 12079067 h 12886678"/>
                <a:gd name="connsiteX17" fmla="*/ 11387555 w 17157070"/>
                <a:gd name="connsiteY17" fmla="*/ 11988637 h 12886678"/>
                <a:gd name="connsiteX18" fmla="*/ 11966315 w 17157070"/>
                <a:gd name="connsiteY18" fmla="*/ 12712092 h 12886678"/>
                <a:gd name="connsiteX19" fmla="*/ 12942975 w 17157070"/>
                <a:gd name="connsiteY19" fmla="*/ 12476963 h 12886678"/>
                <a:gd name="connsiteX20" fmla="*/ 13575992 w 17157070"/>
                <a:gd name="connsiteY20" fmla="*/ 12874863 h 12886678"/>
                <a:gd name="connsiteX21" fmla="*/ 13973888 w 17157070"/>
                <a:gd name="connsiteY21" fmla="*/ 12784430 h 12886678"/>
                <a:gd name="connsiteX22" fmla="*/ 14028146 w 17157070"/>
                <a:gd name="connsiteY22" fmla="*/ 12241839 h 12886678"/>
                <a:gd name="connsiteX23" fmla="*/ 13594073 w 17157070"/>
                <a:gd name="connsiteY23" fmla="*/ 12187582 h 12886678"/>
                <a:gd name="connsiteX24" fmla="*/ 13612161 w 17157070"/>
                <a:gd name="connsiteY24" fmla="*/ 11500303 h 12886678"/>
                <a:gd name="connsiteX25" fmla="*/ 14190925 w 17157070"/>
                <a:gd name="connsiteY25" fmla="*/ 11355616 h 12886678"/>
                <a:gd name="connsiteX26" fmla="*/ 13865366 w 17157070"/>
                <a:gd name="connsiteY26" fmla="*/ 10885371 h 12886678"/>
                <a:gd name="connsiteX27" fmla="*/ 14136664 w 17157070"/>
                <a:gd name="connsiteY27" fmla="*/ 10487475 h 12886678"/>
                <a:gd name="connsiteX28" fmla="*/ 14703435 w 17157070"/>
                <a:gd name="connsiteY28" fmla="*/ 10514571 h 12886678"/>
                <a:gd name="connsiteX29" fmla="*/ 14661163 w 17157070"/>
                <a:gd name="connsiteY29" fmla="*/ 10342787 h 12886678"/>
                <a:gd name="connsiteX30" fmla="*/ 14335608 w 17157070"/>
                <a:gd name="connsiteY30" fmla="*/ 10180012 h 12886678"/>
                <a:gd name="connsiteX31" fmla="*/ 14498387 w 17157070"/>
                <a:gd name="connsiteY31" fmla="*/ 9601248 h 12886678"/>
                <a:gd name="connsiteX32" fmla="*/ 13847278 w 17157070"/>
                <a:gd name="connsiteY32" fmla="*/ 8696934 h 12886678"/>
                <a:gd name="connsiteX33" fmla="*/ 13340864 w 17157070"/>
                <a:gd name="connsiteY33" fmla="*/ 7991571 h 12886678"/>
                <a:gd name="connsiteX34" fmla="*/ 13123831 w 17157070"/>
                <a:gd name="connsiteY34" fmla="*/ 6906393 h 12886678"/>
                <a:gd name="connsiteX35" fmla="*/ 13232349 w 17157070"/>
                <a:gd name="connsiteY35" fmla="*/ 6219119 h 12886678"/>
                <a:gd name="connsiteX36" fmla="*/ 12273778 w 17157070"/>
                <a:gd name="connsiteY36" fmla="*/ 6252280 h 12886678"/>
                <a:gd name="connsiteX37" fmla="*/ 12201432 w 17157070"/>
                <a:gd name="connsiteY37" fmla="*/ 5854380 h 12886678"/>
                <a:gd name="connsiteX38" fmla="*/ 12508887 w 17157070"/>
                <a:gd name="connsiteY38" fmla="*/ 5350985 h 12886678"/>
                <a:gd name="connsiteX39" fmla="*/ 13774933 w 17157070"/>
                <a:gd name="connsiteY39" fmla="*/ 4573269 h 12886678"/>
                <a:gd name="connsiteX40" fmla="*/ 15294184 w 17157070"/>
                <a:gd name="connsiteY40" fmla="*/ 4066854 h 12886678"/>
                <a:gd name="connsiteX41" fmla="*/ 15746333 w 17157070"/>
                <a:gd name="connsiteY41" fmla="*/ 4392409 h 12886678"/>
                <a:gd name="connsiteX42" fmla="*/ 16578306 w 17157070"/>
                <a:gd name="connsiteY42" fmla="*/ 4103027 h 12886678"/>
                <a:gd name="connsiteX43" fmla="*/ 17084732 w 17157070"/>
                <a:gd name="connsiteY43" fmla="*/ 4500935 h 12886678"/>
                <a:gd name="connsiteX44" fmla="*/ 17157070 w 17157070"/>
                <a:gd name="connsiteY44" fmla="*/ 3560444 h 12886678"/>
                <a:gd name="connsiteX45" fmla="*/ 16433615 w 17157070"/>
                <a:gd name="connsiteY45" fmla="*/ 3470014 h 12886678"/>
                <a:gd name="connsiteX46" fmla="*/ 16415865 w 17157070"/>
                <a:gd name="connsiteY46" fmla="*/ 2853862 h 12886678"/>
                <a:gd name="connsiteX47" fmla="*/ 15963191 w 17157070"/>
                <a:gd name="connsiteY47" fmla="*/ 2993318 h 12886678"/>
                <a:gd name="connsiteX48" fmla="*/ 14923009 w 17157070"/>
                <a:gd name="connsiteY48" fmla="*/ 1763435 h 12886678"/>
                <a:gd name="connsiteX49" fmla="*/ 14244644 w 17157070"/>
                <a:gd name="connsiteY49" fmla="*/ 325540 h 12886678"/>
                <a:gd name="connsiteX50" fmla="*/ 13367278 w 17157070"/>
                <a:gd name="connsiteY50" fmla="*/ 614945 h 12886678"/>
                <a:gd name="connsiteX51" fmla="*/ 12218563 w 17157070"/>
                <a:gd name="connsiteY51" fmla="*/ 623988 h 12886678"/>
                <a:gd name="connsiteX52" fmla="*/ 11323109 w 17157070"/>
                <a:gd name="connsiteY52" fmla="*/ 36169 h 12886678"/>
                <a:gd name="connsiteX53" fmla="*/ 10780410 w 17157070"/>
                <a:gd name="connsiteY53" fmla="*/ 488337 h 12886678"/>
                <a:gd name="connsiteX54" fmla="*/ 10038717 w 17157070"/>
                <a:gd name="connsiteY54" fmla="*/ 687288 h 12886678"/>
                <a:gd name="connsiteX55" fmla="*/ 9622651 w 17157070"/>
                <a:gd name="connsiteY55" fmla="*/ 81389 h 12886678"/>
                <a:gd name="connsiteX56" fmla="*/ 8672925 w 17157070"/>
                <a:gd name="connsiteY56" fmla="*/ 280344 h 12886678"/>
                <a:gd name="connsiteX57" fmla="*/ 7759379 w 17157070"/>
                <a:gd name="connsiteY57" fmla="*/ 0 h 12886678"/>
                <a:gd name="connsiteX58" fmla="*/ 4432864 w 17157070"/>
                <a:gd name="connsiteY58" fmla="*/ 3474612 h 12886678"/>
                <a:gd name="connsiteX59" fmla="*/ 4437471 w 17157070"/>
                <a:gd name="connsiteY59" fmla="*/ 2805824 h 12886678"/>
                <a:gd name="connsiteX60" fmla="*/ 4141784 w 17157070"/>
                <a:gd name="connsiteY60" fmla="*/ 2086470 h 12886678"/>
                <a:gd name="connsiteX61" fmla="*/ 2314296 w 17157070"/>
                <a:gd name="connsiteY61" fmla="*/ 2369327 h 12886678"/>
                <a:gd name="connsiteX62" fmla="*/ 1334589 w 17157070"/>
                <a:gd name="connsiteY62" fmla="*/ 3174199 h 12886678"/>
                <a:gd name="connsiteX63" fmla="*/ 0 w 17157070"/>
                <a:gd name="connsiteY63" fmla="*/ 4521645 h 12886678"/>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10780410 w 17157070"/>
                <a:gd name="connsiteY53" fmla="*/ 452168 h 12850509"/>
                <a:gd name="connsiteX54" fmla="*/ 10038717 w 17157070"/>
                <a:gd name="connsiteY54" fmla="*/ 651119 h 12850509"/>
                <a:gd name="connsiteX55" fmla="*/ 9622651 w 17157070"/>
                <a:gd name="connsiteY55" fmla="*/ 45220 h 12850509"/>
                <a:gd name="connsiteX56" fmla="*/ 8672925 w 17157070"/>
                <a:gd name="connsiteY56" fmla="*/ 244175 h 12850509"/>
                <a:gd name="connsiteX57" fmla="*/ 4432864 w 17157070"/>
                <a:gd name="connsiteY57" fmla="*/ 3438443 h 12850509"/>
                <a:gd name="connsiteX58" fmla="*/ 4437471 w 17157070"/>
                <a:gd name="connsiteY58" fmla="*/ 2769655 h 12850509"/>
                <a:gd name="connsiteX59" fmla="*/ 4141784 w 17157070"/>
                <a:gd name="connsiteY59" fmla="*/ 2050301 h 12850509"/>
                <a:gd name="connsiteX60" fmla="*/ 2314296 w 17157070"/>
                <a:gd name="connsiteY60" fmla="*/ 2333158 h 12850509"/>
                <a:gd name="connsiteX61" fmla="*/ 1334589 w 17157070"/>
                <a:gd name="connsiteY61" fmla="*/ 3138030 h 12850509"/>
                <a:gd name="connsiteX62" fmla="*/ 0 w 17157070"/>
                <a:gd name="connsiteY62" fmla="*/ 4485476 h 12850509"/>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10780410 w 17157070"/>
                <a:gd name="connsiteY53" fmla="*/ 452168 h 12850509"/>
                <a:gd name="connsiteX54" fmla="*/ 10038717 w 17157070"/>
                <a:gd name="connsiteY54" fmla="*/ 651119 h 12850509"/>
                <a:gd name="connsiteX55" fmla="*/ 9622651 w 17157070"/>
                <a:gd name="connsiteY55" fmla="*/ 45220 h 12850509"/>
                <a:gd name="connsiteX56" fmla="*/ 4653822 w 17157070"/>
                <a:gd name="connsiteY56" fmla="*/ 3991678 h 12850509"/>
                <a:gd name="connsiteX57" fmla="*/ 4432864 w 17157070"/>
                <a:gd name="connsiteY57" fmla="*/ 3438443 h 12850509"/>
                <a:gd name="connsiteX58" fmla="*/ 4437471 w 17157070"/>
                <a:gd name="connsiteY58" fmla="*/ 2769655 h 12850509"/>
                <a:gd name="connsiteX59" fmla="*/ 4141784 w 17157070"/>
                <a:gd name="connsiteY59" fmla="*/ 2050301 h 12850509"/>
                <a:gd name="connsiteX60" fmla="*/ 2314296 w 17157070"/>
                <a:gd name="connsiteY60" fmla="*/ 2333158 h 12850509"/>
                <a:gd name="connsiteX61" fmla="*/ 1334589 w 17157070"/>
                <a:gd name="connsiteY61" fmla="*/ 3138030 h 12850509"/>
                <a:gd name="connsiteX62" fmla="*/ 0 w 17157070"/>
                <a:gd name="connsiteY62" fmla="*/ 4485476 h 12850509"/>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10780410 w 17157070"/>
                <a:gd name="connsiteY53" fmla="*/ 452168 h 12850509"/>
                <a:gd name="connsiteX54" fmla="*/ 10038717 w 17157070"/>
                <a:gd name="connsiteY54" fmla="*/ 651119 h 12850509"/>
                <a:gd name="connsiteX55" fmla="*/ 4653822 w 17157070"/>
                <a:gd name="connsiteY55" fmla="*/ 3991678 h 12850509"/>
                <a:gd name="connsiteX56" fmla="*/ 4432864 w 17157070"/>
                <a:gd name="connsiteY56" fmla="*/ 3438443 h 12850509"/>
                <a:gd name="connsiteX57" fmla="*/ 4437471 w 17157070"/>
                <a:gd name="connsiteY57" fmla="*/ 2769655 h 12850509"/>
                <a:gd name="connsiteX58" fmla="*/ 4141784 w 17157070"/>
                <a:gd name="connsiteY58" fmla="*/ 2050301 h 12850509"/>
                <a:gd name="connsiteX59" fmla="*/ 2314296 w 17157070"/>
                <a:gd name="connsiteY59" fmla="*/ 2333158 h 12850509"/>
                <a:gd name="connsiteX60" fmla="*/ 1334589 w 17157070"/>
                <a:gd name="connsiteY60" fmla="*/ 3138030 h 12850509"/>
                <a:gd name="connsiteX61" fmla="*/ 0 w 17157070"/>
                <a:gd name="connsiteY61" fmla="*/ 4485476 h 12850509"/>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10780410 w 17157070"/>
                <a:gd name="connsiteY53" fmla="*/ 452168 h 12850509"/>
                <a:gd name="connsiteX54" fmla="*/ 4416749 w 17157070"/>
                <a:gd name="connsiteY54" fmla="*/ 4541845 h 12850509"/>
                <a:gd name="connsiteX55" fmla="*/ 4653822 w 17157070"/>
                <a:gd name="connsiteY55" fmla="*/ 3991678 h 12850509"/>
                <a:gd name="connsiteX56" fmla="*/ 4432864 w 17157070"/>
                <a:gd name="connsiteY56" fmla="*/ 3438443 h 12850509"/>
                <a:gd name="connsiteX57" fmla="*/ 4437471 w 17157070"/>
                <a:gd name="connsiteY57" fmla="*/ 2769655 h 12850509"/>
                <a:gd name="connsiteX58" fmla="*/ 4141784 w 17157070"/>
                <a:gd name="connsiteY58" fmla="*/ 2050301 h 12850509"/>
                <a:gd name="connsiteX59" fmla="*/ 2314296 w 17157070"/>
                <a:gd name="connsiteY59" fmla="*/ 2333158 h 12850509"/>
                <a:gd name="connsiteX60" fmla="*/ 1334589 w 17157070"/>
                <a:gd name="connsiteY60" fmla="*/ 3138030 h 12850509"/>
                <a:gd name="connsiteX61" fmla="*/ 0 w 17157070"/>
                <a:gd name="connsiteY61" fmla="*/ 4485476 h 12850509"/>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4416749 w 17157070"/>
                <a:gd name="connsiteY53" fmla="*/ 4541845 h 12850509"/>
                <a:gd name="connsiteX54" fmla="*/ 4653822 w 17157070"/>
                <a:gd name="connsiteY54" fmla="*/ 3991678 h 12850509"/>
                <a:gd name="connsiteX55" fmla="*/ 4432864 w 17157070"/>
                <a:gd name="connsiteY55" fmla="*/ 3438443 h 12850509"/>
                <a:gd name="connsiteX56" fmla="*/ 4437471 w 17157070"/>
                <a:gd name="connsiteY56" fmla="*/ 2769655 h 12850509"/>
                <a:gd name="connsiteX57" fmla="*/ 4141784 w 17157070"/>
                <a:gd name="connsiteY57" fmla="*/ 2050301 h 12850509"/>
                <a:gd name="connsiteX58" fmla="*/ 2314296 w 17157070"/>
                <a:gd name="connsiteY58" fmla="*/ 2333158 h 12850509"/>
                <a:gd name="connsiteX59" fmla="*/ 1334589 w 17157070"/>
                <a:gd name="connsiteY59" fmla="*/ 3138030 h 12850509"/>
                <a:gd name="connsiteX60" fmla="*/ 0 w 17157070"/>
                <a:gd name="connsiteY60" fmla="*/ 4485476 h 12850509"/>
                <a:gd name="connsiteX0" fmla="*/ 0 w 17157070"/>
                <a:gd name="connsiteY0" fmla="*/ 4196103 h 12561136"/>
                <a:gd name="connsiteX1" fmla="*/ 613837 w 17157070"/>
                <a:gd name="connsiteY1" fmla="*/ 6574461 h 12561136"/>
                <a:gd name="connsiteX2" fmla="*/ 1518338 w 17157070"/>
                <a:gd name="connsiteY2" fmla="*/ 7442611 h 12561136"/>
                <a:gd name="connsiteX3" fmla="*/ 1735898 w 17157070"/>
                <a:gd name="connsiteY3" fmla="*/ 8274535 h 12561136"/>
                <a:gd name="connsiteX4" fmla="*/ 3137400 w 17157070"/>
                <a:gd name="connsiteY4" fmla="*/ 8799095 h 12561136"/>
                <a:gd name="connsiteX5" fmla="*/ 3453963 w 17157070"/>
                <a:gd name="connsiteY5" fmla="*/ 10155586 h 12561136"/>
                <a:gd name="connsiteX6" fmla="*/ 4168520 w 17157070"/>
                <a:gd name="connsiteY6" fmla="*/ 11530155 h 12561136"/>
                <a:gd name="connsiteX7" fmla="*/ 4162343 w 17157070"/>
                <a:gd name="connsiteY7" fmla="*/ 12561136 h 12561136"/>
                <a:gd name="connsiteX8" fmla="*/ 4605215 w 17157070"/>
                <a:gd name="connsiteY8" fmla="*/ 12476972 h 12561136"/>
                <a:gd name="connsiteX9" fmla="*/ 4840336 w 17157070"/>
                <a:gd name="connsiteY9" fmla="*/ 12187590 h 12561136"/>
                <a:gd name="connsiteX10" fmla="*/ 6070201 w 17157070"/>
                <a:gd name="connsiteY10" fmla="*/ 12205682 h 12561136"/>
                <a:gd name="connsiteX11" fmla="*/ 6884082 w 17157070"/>
                <a:gd name="connsiteY11" fmla="*/ 11608830 h 12561136"/>
                <a:gd name="connsiteX12" fmla="*/ 7716051 w 17157070"/>
                <a:gd name="connsiteY12" fmla="*/ 11934389 h 12561136"/>
                <a:gd name="connsiteX13" fmla="*/ 8584189 w 17157070"/>
                <a:gd name="connsiteY13" fmla="*/ 11735437 h 12561136"/>
                <a:gd name="connsiteX14" fmla="*/ 9289552 w 17157070"/>
                <a:gd name="connsiteY14" fmla="*/ 11934389 h 12561136"/>
                <a:gd name="connsiteX15" fmla="*/ 10139605 w 17157070"/>
                <a:gd name="connsiteY15" fmla="*/ 11536489 h 12561136"/>
                <a:gd name="connsiteX16" fmla="*/ 10664108 w 17157070"/>
                <a:gd name="connsiteY16" fmla="*/ 11753525 h 12561136"/>
                <a:gd name="connsiteX17" fmla="*/ 11387555 w 17157070"/>
                <a:gd name="connsiteY17" fmla="*/ 11663095 h 12561136"/>
                <a:gd name="connsiteX18" fmla="*/ 11966315 w 17157070"/>
                <a:gd name="connsiteY18" fmla="*/ 12386550 h 12561136"/>
                <a:gd name="connsiteX19" fmla="*/ 12942975 w 17157070"/>
                <a:gd name="connsiteY19" fmla="*/ 12151421 h 12561136"/>
                <a:gd name="connsiteX20" fmla="*/ 13575992 w 17157070"/>
                <a:gd name="connsiteY20" fmla="*/ 12549321 h 12561136"/>
                <a:gd name="connsiteX21" fmla="*/ 13973888 w 17157070"/>
                <a:gd name="connsiteY21" fmla="*/ 12458888 h 12561136"/>
                <a:gd name="connsiteX22" fmla="*/ 14028146 w 17157070"/>
                <a:gd name="connsiteY22" fmla="*/ 11916297 h 12561136"/>
                <a:gd name="connsiteX23" fmla="*/ 13594073 w 17157070"/>
                <a:gd name="connsiteY23" fmla="*/ 11862040 h 12561136"/>
                <a:gd name="connsiteX24" fmla="*/ 13612161 w 17157070"/>
                <a:gd name="connsiteY24" fmla="*/ 11174761 h 12561136"/>
                <a:gd name="connsiteX25" fmla="*/ 14190925 w 17157070"/>
                <a:gd name="connsiteY25" fmla="*/ 11030074 h 12561136"/>
                <a:gd name="connsiteX26" fmla="*/ 13865366 w 17157070"/>
                <a:gd name="connsiteY26" fmla="*/ 10559829 h 12561136"/>
                <a:gd name="connsiteX27" fmla="*/ 14136664 w 17157070"/>
                <a:gd name="connsiteY27" fmla="*/ 10161933 h 12561136"/>
                <a:gd name="connsiteX28" fmla="*/ 14703435 w 17157070"/>
                <a:gd name="connsiteY28" fmla="*/ 10189029 h 12561136"/>
                <a:gd name="connsiteX29" fmla="*/ 14661163 w 17157070"/>
                <a:gd name="connsiteY29" fmla="*/ 10017245 h 12561136"/>
                <a:gd name="connsiteX30" fmla="*/ 14335608 w 17157070"/>
                <a:gd name="connsiteY30" fmla="*/ 9854470 h 12561136"/>
                <a:gd name="connsiteX31" fmla="*/ 14498387 w 17157070"/>
                <a:gd name="connsiteY31" fmla="*/ 9275706 h 12561136"/>
                <a:gd name="connsiteX32" fmla="*/ 13847278 w 17157070"/>
                <a:gd name="connsiteY32" fmla="*/ 8371392 h 12561136"/>
                <a:gd name="connsiteX33" fmla="*/ 13340864 w 17157070"/>
                <a:gd name="connsiteY33" fmla="*/ 7666029 h 12561136"/>
                <a:gd name="connsiteX34" fmla="*/ 13123831 w 17157070"/>
                <a:gd name="connsiteY34" fmla="*/ 6580851 h 12561136"/>
                <a:gd name="connsiteX35" fmla="*/ 13232349 w 17157070"/>
                <a:gd name="connsiteY35" fmla="*/ 5893577 h 12561136"/>
                <a:gd name="connsiteX36" fmla="*/ 12273778 w 17157070"/>
                <a:gd name="connsiteY36" fmla="*/ 5926738 h 12561136"/>
                <a:gd name="connsiteX37" fmla="*/ 12201432 w 17157070"/>
                <a:gd name="connsiteY37" fmla="*/ 5528838 h 12561136"/>
                <a:gd name="connsiteX38" fmla="*/ 12508887 w 17157070"/>
                <a:gd name="connsiteY38" fmla="*/ 5025443 h 12561136"/>
                <a:gd name="connsiteX39" fmla="*/ 13774933 w 17157070"/>
                <a:gd name="connsiteY39" fmla="*/ 4247727 h 12561136"/>
                <a:gd name="connsiteX40" fmla="*/ 15294184 w 17157070"/>
                <a:gd name="connsiteY40" fmla="*/ 3741312 h 12561136"/>
                <a:gd name="connsiteX41" fmla="*/ 15746333 w 17157070"/>
                <a:gd name="connsiteY41" fmla="*/ 4066867 h 12561136"/>
                <a:gd name="connsiteX42" fmla="*/ 16578306 w 17157070"/>
                <a:gd name="connsiteY42" fmla="*/ 3777485 h 12561136"/>
                <a:gd name="connsiteX43" fmla="*/ 17084732 w 17157070"/>
                <a:gd name="connsiteY43" fmla="*/ 4175393 h 12561136"/>
                <a:gd name="connsiteX44" fmla="*/ 17157070 w 17157070"/>
                <a:gd name="connsiteY44" fmla="*/ 3234902 h 12561136"/>
                <a:gd name="connsiteX45" fmla="*/ 16433615 w 17157070"/>
                <a:gd name="connsiteY45" fmla="*/ 3144472 h 12561136"/>
                <a:gd name="connsiteX46" fmla="*/ 16415865 w 17157070"/>
                <a:gd name="connsiteY46" fmla="*/ 2528320 h 12561136"/>
                <a:gd name="connsiteX47" fmla="*/ 15963191 w 17157070"/>
                <a:gd name="connsiteY47" fmla="*/ 2667776 h 12561136"/>
                <a:gd name="connsiteX48" fmla="*/ 14923009 w 17157070"/>
                <a:gd name="connsiteY48" fmla="*/ 1437893 h 12561136"/>
                <a:gd name="connsiteX49" fmla="*/ 14244644 w 17157070"/>
                <a:gd name="connsiteY49" fmla="*/ -2 h 12561136"/>
                <a:gd name="connsiteX50" fmla="*/ 13367278 w 17157070"/>
                <a:gd name="connsiteY50" fmla="*/ 289403 h 12561136"/>
                <a:gd name="connsiteX51" fmla="*/ 12218563 w 17157070"/>
                <a:gd name="connsiteY51" fmla="*/ 298446 h 12561136"/>
                <a:gd name="connsiteX52" fmla="*/ 4600673 w 17157070"/>
                <a:gd name="connsiteY52" fmla="*/ 4675479 h 12561136"/>
                <a:gd name="connsiteX53" fmla="*/ 4416749 w 17157070"/>
                <a:gd name="connsiteY53" fmla="*/ 4252472 h 12561136"/>
                <a:gd name="connsiteX54" fmla="*/ 4653822 w 17157070"/>
                <a:gd name="connsiteY54" fmla="*/ 3702305 h 12561136"/>
                <a:gd name="connsiteX55" fmla="*/ 4432864 w 17157070"/>
                <a:gd name="connsiteY55" fmla="*/ 3149070 h 12561136"/>
                <a:gd name="connsiteX56" fmla="*/ 4437471 w 17157070"/>
                <a:gd name="connsiteY56" fmla="*/ 2480282 h 12561136"/>
                <a:gd name="connsiteX57" fmla="*/ 4141784 w 17157070"/>
                <a:gd name="connsiteY57" fmla="*/ 1760928 h 12561136"/>
                <a:gd name="connsiteX58" fmla="*/ 2314296 w 17157070"/>
                <a:gd name="connsiteY58" fmla="*/ 2043785 h 12561136"/>
                <a:gd name="connsiteX59" fmla="*/ 1334589 w 17157070"/>
                <a:gd name="connsiteY59" fmla="*/ 2848657 h 12561136"/>
                <a:gd name="connsiteX60" fmla="*/ 0 w 17157070"/>
                <a:gd name="connsiteY60" fmla="*/ 4196103 h 12561136"/>
                <a:gd name="connsiteX0" fmla="*/ 0 w 17157070"/>
                <a:gd name="connsiteY0" fmla="*/ 4196103 h 12561136"/>
                <a:gd name="connsiteX1" fmla="*/ 613837 w 17157070"/>
                <a:gd name="connsiteY1" fmla="*/ 6574461 h 12561136"/>
                <a:gd name="connsiteX2" fmla="*/ 1518338 w 17157070"/>
                <a:gd name="connsiteY2" fmla="*/ 7442611 h 12561136"/>
                <a:gd name="connsiteX3" fmla="*/ 1735898 w 17157070"/>
                <a:gd name="connsiteY3" fmla="*/ 8274535 h 12561136"/>
                <a:gd name="connsiteX4" fmla="*/ 3137400 w 17157070"/>
                <a:gd name="connsiteY4" fmla="*/ 8799095 h 12561136"/>
                <a:gd name="connsiteX5" fmla="*/ 3453963 w 17157070"/>
                <a:gd name="connsiteY5" fmla="*/ 10155586 h 12561136"/>
                <a:gd name="connsiteX6" fmla="*/ 4168520 w 17157070"/>
                <a:gd name="connsiteY6" fmla="*/ 11530155 h 12561136"/>
                <a:gd name="connsiteX7" fmla="*/ 4162343 w 17157070"/>
                <a:gd name="connsiteY7" fmla="*/ 12561136 h 12561136"/>
                <a:gd name="connsiteX8" fmla="*/ 4605215 w 17157070"/>
                <a:gd name="connsiteY8" fmla="*/ 12476972 h 12561136"/>
                <a:gd name="connsiteX9" fmla="*/ 4840336 w 17157070"/>
                <a:gd name="connsiteY9" fmla="*/ 12187590 h 12561136"/>
                <a:gd name="connsiteX10" fmla="*/ 6070201 w 17157070"/>
                <a:gd name="connsiteY10" fmla="*/ 12205682 h 12561136"/>
                <a:gd name="connsiteX11" fmla="*/ 6884082 w 17157070"/>
                <a:gd name="connsiteY11" fmla="*/ 11608830 h 12561136"/>
                <a:gd name="connsiteX12" fmla="*/ 7716051 w 17157070"/>
                <a:gd name="connsiteY12" fmla="*/ 11934389 h 12561136"/>
                <a:gd name="connsiteX13" fmla="*/ 8584189 w 17157070"/>
                <a:gd name="connsiteY13" fmla="*/ 11735437 h 12561136"/>
                <a:gd name="connsiteX14" fmla="*/ 9289552 w 17157070"/>
                <a:gd name="connsiteY14" fmla="*/ 11934389 h 12561136"/>
                <a:gd name="connsiteX15" fmla="*/ 10139605 w 17157070"/>
                <a:gd name="connsiteY15" fmla="*/ 11536489 h 12561136"/>
                <a:gd name="connsiteX16" fmla="*/ 10664108 w 17157070"/>
                <a:gd name="connsiteY16" fmla="*/ 11753525 h 12561136"/>
                <a:gd name="connsiteX17" fmla="*/ 11387555 w 17157070"/>
                <a:gd name="connsiteY17" fmla="*/ 11663095 h 12561136"/>
                <a:gd name="connsiteX18" fmla="*/ 11966315 w 17157070"/>
                <a:gd name="connsiteY18" fmla="*/ 12386550 h 12561136"/>
                <a:gd name="connsiteX19" fmla="*/ 12942975 w 17157070"/>
                <a:gd name="connsiteY19" fmla="*/ 12151421 h 12561136"/>
                <a:gd name="connsiteX20" fmla="*/ 13575992 w 17157070"/>
                <a:gd name="connsiteY20" fmla="*/ 12549321 h 12561136"/>
                <a:gd name="connsiteX21" fmla="*/ 13973888 w 17157070"/>
                <a:gd name="connsiteY21" fmla="*/ 12458888 h 12561136"/>
                <a:gd name="connsiteX22" fmla="*/ 14028146 w 17157070"/>
                <a:gd name="connsiteY22" fmla="*/ 11916297 h 12561136"/>
                <a:gd name="connsiteX23" fmla="*/ 13594073 w 17157070"/>
                <a:gd name="connsiteY23" fmla="*/ 11862040 h 12561136"/>
                <a:gd name="connsiteX24" fmla="*/ 13612161 w 17157070"/>
                <a:gd name="connsiteY24" fmla="*/ 11174761 h 12561136"/>
                <a:gd name="connsiteX25" fmla="*/ 14190925 w 17157070"/>
                <a:gd name="connsiteY25" fmla="*/ 11030074 h 12561136"/>
                <a:gd name="connsiteX26" fmla="*/ 13865366 w 17157070"/>
                <a:gd name="connsiteY26" fmla="*/ 10559829 h 12561136"/>
                <a:gd name="connsiteX27" fmla="*/ 14136664 w 17157070"/>
                <a:gd name="connsiteY27" fmla="*/ 10161933 h 12561136"/>
                <a:gd name="connsiteX28" fmla="*/ 14703435 w 17157070"/>
                <a:gd name="connsiteY28" fmla="*/ 10189029 h 12561136"/>
                <a:gd name="connsiteX29" fmla="*/ 14661163 w 17157070"/>
                <a:gd name="connsiteY29" fmla="*/ 10017245 h 12561136"/>
                <a:gd name="connsiteX30" fmla="*/ 14335608 w 17157070"/>
                <a:gd name="connsiteY30" fmla="*/ 9854470 h 12561136"/>
                <a:gd name="connsiteX31" fmla="*/ 14498387 w 17157070"/>
                <a:gd name="connsiteY31" fmla="*/ 9275706 h 12561136"/>
                <a:gd name="connsiteX32" fmla="*/ 13847278 w 17157070"/>
                <a:gd name="connsiteY32" fmla="*/ 8371392 h 12561136"/>
                <a:gd name="connsiteX33" fmla="*/ 13340864 w 17157070"/>
                <a:gd name="connsiteY33" fmla="*/ 7666029 h 12561136"/>
                <a:gd name="connsiteX34" fmla="*/ 13123831 w 17157070"/>
                <a:gd name="connsiteY34" fmla="*/ 6580851 h 12561136"/>
                <a:gd name="connsiteX35" fmla="*/ 13232349 w 17157070"/>
                <a:gd name="connsiteY35" fmla="*/ 5893577 h 12561136"/>
                <a:gd name="connsiteX36" fmla="*/ 12273778 w 17157070"/>
                <a:gd name="connsiteY36" fmla="*/ 5926738 h 12561136"/>
                <a:gd name="connsiteX37" fmla="*/ 12201432 w 17157070"/>
                <a:gd name="connsiteY37" fmla="*/ 5528838 h 12561136"/>
                <a:gd name="connsiteX38" fmla="*/ 12508887 w 17157070"/>
                <a:gd name="connsiteY38" fmla="*/ 5025443 h 12561136"/>
                <a:gd name="connsiteX39" fmla="*/ 13774933 w 17157070"/>
                <a:gd name="connsiteY39" fmla="*/ 4247727 h 12561136"/>
                <a:gd name="connsiteX40" fmla="*/ 15294184 w 17157070"/>
                <a:gd name="connsiteY40" fmla="*/ 3741312 h 12561136"/>
                <a:gd name="connsiteX41" fmla="*/ 15746333 w 17157070"/>
                <a:gd name="connsiteY41" fmla="*/ 4066867 h 12561136"/>
                <a:gd name="connsiteX42" fmla="*/ 16578306 w 17157070"/>
                <a:gd name="connsiteY42" fmla="*/ 3777485 h 12561136"/>
                <a:gd name="connsiteX43" fmla="*/ 17084732 w 17157070"/>
                <a:gd name="connsiteY43" fmla="*/ 4175393 h 12561136"/>
                <a:gd name="connsiteX44" fmla="*/ 17157070 w 17157070"/>
                <a:gd name="connsiteY44" fmla="*/ 3234902 h 12561136"/>
                <a:gd name="connsiteX45" fmla="*/ 16433615 w 17157070"/>
                <a:gd name="connsiteY45" fmla="*/ 3144472 h 12561136"/>
                <a:gd name="connsiteX46" fmla="*/ 16415865 w 17157070"/>
                <a:gd name="connsiteY46" fmla="*/ 2528320 h 12561136"/>
                <a:gd name="connsiteX47" fmla="*/ 15963191 w 17157070"/>
                <a:gd name="connsiteY47" fmla="*/ 2667776 h 12561136"/>
                <a:gd name="connsiteX48" fmla="*/ 14923009 w 17157070"/>
                <a:gd name="connsiteY48" fmla="*/ 1437893 h 12561136"/>
                <a:gd name="connsiteX49" fmla="*/ 14244644 w 17157070"/>
                <a:gd name="connsiteY49" fmla="*/ -2 h 12561136"/>
                <a:gd name="connsiteX50" fmla="*/ 13367278 w 17157070"/>
                <a:gd name="connsiteY50" fmla="*/ 289403 h 12561136"/>
                <a:gd name="connsiteX51" fmla="*/ 4600673 w 17157070"/>
                <a:gd name="connsiteY51" fmla="*/ 4675479 h 12561136"/>
                <a:gd name="connsiteX52" fmla="*/ 4416749 w 17157070"/>
                <a:gd name="connsiteY52" fmla="*/ 4252472 h 12561136"/>
                <a:gd name="connsiteX53" fmla="*/ 4653822 w 17157070"/>
                <a:gd name="connsiteY53" fmla="*/ 3702305 h 12561136"/>
                <a:gd name="connsiteX54" fmla="*/ 4432864 w 17157070"/>
                <a:gd name="connsiteY54" fmla="*/ 3149070 h 12561136"/>
                <a:gd name="connsiteX55" fmla="*/ 4437471 w 17157070"/>
                <a:gd name="connsiteY55" fmla="*/ 2480282 h 12561136"/>
                <a:gd name="connsiteX56" fmla="*/ 4141784 w 17157070"/>
                <a:gd name="connsiteY56" fmla="*/ 1760928 h 12561136"/>
                <a:gd name="connsiteX57" fmla="*/ 2314296 w 17157070"/>
                <a:gd name="connsiteY57" fmla="*/ 2043785 h 12561136"/>
                <a:gd name="connsiteX58" fmla="*/ 1334589 w 17157070"/>
                <a:gd name="connsiteY58" fmla="*/ 2848657 h 12561136"/>
                <a:gd name="connsiteX59" fmla="*/ 0 w 17157070"/>
                <a:gd name="connsiteY59" fmla="*/ 4196103 h 12561136"/>
                <a:gd name="connsiteX0" fmla="*/ 0 w 17157070"/>
                <a:gd name="connsiteY0" fmla="*/ 4196103 h 12561136"/>
                <a:gd name="connsiteX1" fmla="*/ 613837 w 17157070"/>
                <a:gd name="connsiteY1" fmla="*/ 6574461 h 12561136"/>
                <a:gd name="connsiteX2" fmla="*/ 1518338 w 17157070"/>
                <a:gd name="connsiteY2" fmla="*/ 7442611 h 12561136"/>
                <a:gd name="connsiteX3" fmla="*/ 1735898 w 17157070"/>
                <a:gd name="connsiteY3" fmla="*/ 8274535 h 12561136"/>
                <a:gd name="connsiteX4" fmla="*/ 3137400 w 17157070"/>
                <a:gd name="connsiteY4" fmla="*/ 8799095 h 12561136"/>
                <a:gd name="connsiteX5" fmla="*/ 3453963 w 17157070"/>
                <a:gd name="connsiteY5" fmla="*/ 10155586 h 12561136"/>
                <a:gd name="connsiteX6" fmla="*/ 4168520 w 17157070"/>
                <a:gd name="connsiteY6" fmla="*/ 11530155 h 12561136"/>
                <a:gd name="connsiteX7" fmla="*/ 4162343 w 17157070"/>
                <a:gd name="connsiteY7" fmla="*/ 12561136 h 12561136"/>
                <a:gd name="connsiteX8" fmla="*/ 4605215 w 17157070"/>
                <a:gd name="connsiteY8" fmla="*/ 12476972 h 12561136"/>
                <a:gd name="connsiteX9" fmla="*/ 4840336 w 17157070"/>
                <a:gd name="connsiteY9" fmla="*/ 12187590 h 12561136"/>
                <a:gd name="connsiteX10" fmla="*/ 6070201 w 17157070"/>
                <a:gd name="connsiteY10" fmla="*/ 12205682 h 12561136"/>
                <a:gd name="connsiteX11" fmla="*/ 6884082 w 17157070"/>
                <a:gd name="connsiteY11" fmla="*/ 11608830 h 12561136"/>
                <a:gd name="connsiteX12" fmla="*/ 7716051 w 17157070"/>
                <a:gd name="connsiteY12" fmla="*/ 11934389 h 12561136"/>
                <a:gd name="connsiteX13" fmla="*/ 8584189 w 17157070"/>
                <a:gd name="connsiteY13" fmla="*/ 11735437 h 12561136"/>
                <a:gd name="connsiteX14" fmla="*/ 9289552 w 17157070"/>
                <a:gd name="connsiteY14" fmla="*/ 11934389 h 12561136"/>
                <a:gd name="connsiteX15" fmla="*/ 10139605 w 17157070"/>
                <a:gd name="connsiteY15" fmla="*/ 11536489 h 12561136"/>
                <a:gd name="connsiteX16" fmla="*/ 10664108 w 17157070"/>
                <a:gd name="connsiteY16" fmla="*/ 11753525 h 12561136"/>
                <a:gd name="connsiteX17" fmla="*/ 11387555 w 17157070"/>
                <a:gd name="connsiteY17" fmla="*/ 11663095 h 12561136"/>
                <a:gd name="connsiteX18" fmla="*/ 11966315 w 17157070"/>
                <a:gd name="connsiteY18" fmla="*/ 12386550 h 12561136"/>
                <a:gd name="connsiteX19" fmla="*/ 12942975 w 17157070"/>
                <a:gd name="connsiteY19" fmla="*/ 12151421 h 12561136"/>
                <a:gd name="connsiteX20" fmla="*/ 13575992 w 17157070"/>
                <a:gd name="connsiteY20" fmla="*/ 12549321 h 12561136"/>
                <a:gd name="connsiteX21" fmla="*/ 13973888 w 17157070"/>
                <a:gd name="connsiteY21" fmla="*/ 12458888 h 12561136"/>
                <a:gd name="connsiteX22" fmla="*/ 14028146 w 17157070"/>
                <a:gd name="connsiteY22" fmla="*/ 11916297 h 12561136"/>
                <a:gd name="connsiteX23" fmla="*/ 13594073 w 17157070"/>
                <a:gd name="connsiteY23" fmla="*/ 11862040 h 12561136"/>
                <a:gd name="connsiteX24" fmla="*/ 13612161 w 17157070"/>
                <a:gd name="connsiteY24" fmla="*/ 11174761 h 12561136"/>
                <a:gd name="connsiteX25" fmla="*/ 14190925 w 17157070"/>
                <a:gd name="connsiteY25" fmla="*/ 11030074 h 12561136"/>
                <a:gd name="connsiteX26" fmla="*/ 13865366 w 17157070"/>
                <a:gd name="connsiteY26" fmla="*/ 10559829 h 12561136"/>
                <a:gd name="connsiteX27" fmla="*/ 14136664 w 17157070"/>
                <a:gd name="connsiteY27" fmla="*/ 10161933 h 12561136"/>
                <a:gd name="connsiteX28" fmla="*/ 14703435 w 17157070"/>
                <a:gd name="connsiteY28" fmla="*/ 10189029 h 12561136"/>
                <a:gd name="connsiteX29" fmla="*/ 14661163 w 17157070"/>
                <a:gd name="connsiteY29" fmla="*/ 10017245 h 12561136"/>
                <a:gd name="connsiteX30" fmla="*/ 14335608 w 17157070"/>
                <a:gd name="connsiteY30" fmla="*/ 9854470 h 12561136"/>
                <a:gd name="connsiteX31" fmla="*/ 14498387 w 17157070"/>
                <a:gd name="connsiteY31" fmla="*/ 9275706 h 12561136"/>
                <a:gd name="connsiteX32" fmla="*/ 13847278 w 17157070"/>
                <a:gd name="connsiteY32" fmla="*/ 8371392 h 12561136"/>
                <a:gd name="connsiteX33" fmla="*/ 13340864 w 17157070"/>
                <a:gd name="connsiteY33" fmla="*/ 7666029 h 12561136"/>
                <a:gd name="connsiteX34" fmla="*/ 13123831 w 17157070"/>
                <a:gd name="connsiteY34" fmla="*/ 6580851 h 12561136"/>
                <a:gd name="connsiteX35" fmla="*/ 13232349 w 17157070"/>
                <a:gd name="connsiteY35" fmla="*/ 5893577 h 12561136"/>
                <a:gd name="connsiteX36" fmla="*/ 12273778 w 17157070"/>
                <a:gd name="connsiteY36" fmla="*/ 5926738 h 12561136"/>
                <a:gd name="connsiteX37" fmla="*/ 12201432 w 17157070"/>
                <a:gd name="connsiteY37" fmla="*/ 5528838 h 12561136"/>
                <a:gd name="connsiteX38" fmla="*/ 12508887 w 17157070"/>
                <a:gd name="connsiteY38" fmla="*/ 5025443 h 12561136"/>
                <a:gd name="connsiteX39" fmla="*/ 13774933 w 17157070"/>
                <a:gd name="connsiteY39" fmla="*/ 4247727 h 12561136"/>
                <a:gd name="connsiteX40" fmla="*/ 15294184 w 17157070"/>
                <a:gd name="connsiteY40" fmla="*/ 3741312 h 12561136"/>
                <a:gd name="connsiteX41" fmla="*/ 15746333 w 17157070"/>
                <a:gd name="connsiteY41" fmla="*/ 4066867 h 12561136"/>
                <a:gd name="connsiteX42" fmla="*/ 16578306 w 17157070"/>
                <a:gd name="connsiteY42" fmla="*/ 3777485 h 12561136"/>
                <a:gd name="connsiteX43" fmla="*/ 17084732 w 17157070"/>
                <a:gd name="connsiteY43" fmla="*/ 4175393 h 12561136"/>
                <a:gd name="connsiteX44" fmla="*/ 17157070 w 17157070"/>
                <a:gd name="connsiteY44" fmla="*/ 3234902 h 12561136"/>
                <a:gd name="connsiteX45" fmla="*/ 16433615 w 17157070"/>
                <a:gd name="connsiteY45" fmla="*/ 3144472 h 12561136"/>
                <a:gd name="connsiteX46" fmla="*/ 16415865 w 17157070"/>
                <a:gd name="connsiteY46" fmla="*/ 2528320 h 12561136"/>
                <a:gd name="connsiteX47" fmla="*/ 15963191 w 17157070"/>
                <a:gd name="connsiteY47" fmla="*/ 2667776 h 12561136"/>
                <a:gd name="connsiteX48" fmla="*/ 14923009 w 17157070"/>
                <a:gd name="connsiteY48" fmla="*/ 1437893 h 12561136"/>
                <a:gd name="connsiteX49" fmla="*/ 14244644 w 17157070"/>
                <a:gd name="connsiteY49" fmla="*/ -2 h 12561136"/>
                <a:gd name="connsiteX50" fmla="*/ 4898441 w 17157070"/>
                <a:gd name="connsiteY50" fmla="*/ 4943950 h 12561136"/>
                <a:gd name="connsiteX51" fmla="*/ 4600673 w 17157070"/>
                <a:gd name="connsiteY51" fmla="*/ 4675479 h 12561136"/>
                <a:gd name="connsiteX52" fmla="*/ 4416749 w 17157070"/>
                <a:gd name="connsiteY52" fmla="*/ 4252472 h 12561136"/>
                <a:gd name="connsiteX53" fmla="*/ 4653822 w 17157070"/>
                <a:gd name="connsiteY53" fmla="*/ 3702305 h 12561136"/>
                <a:gd name="connsiteX54" fmla="*/ 4432864 w 17157070"/>
                <a:gd name="connsiteY54" fmla="*/ 3149070 h 12561136"/>
                <a:gd name="connsiteX55" fmla="*/ 4437471 w 17157070"/>
                <a:gd name="connsiteY55" fmla="*/ 2480282 h 12561136"/>
                <a:gd name="connsiteX56" fmla="*/ 4141784 w 17157070"/>
                <a:gd name="connsiteY56" fmla="*/ 1760928 h 12561136"/>
                <a:gd name="connsiteX57" fmla="*/ 2314296 w 17157070"/>
                <a:gd name="connsiteY57" fmla="*/ 2043785 h 12561136"/>
                <a:gd name="connsiteX58" fmla="*/ 1334589 w 17157070"/>
                <a:gd name="connsiteY58" fmla="*/ 2848657 h 12561136"/>
                <a:gd name="connsiteX59" fmla="*/ 0 w 17157070"/>
                <a:gd name="connsiteY59" fmla="*/ 4196103 h 12561136"/>
                <a:gd name="connsiteX0" fmla="*/ 0 w 17157070"/>
                <a:gd name="connsiteY0" fmla="*/ 2758209 h 11123242"/>
                <a:gd name="connsiteX1" fmla="*/ 613837 w 17157070"/>
                <a:gd name="connsiteY1" fmla="*/ 5136567 h 11123242"/>
                <a:gd name="connsiteX2" fmla="*/ 1518338 w 17157070"/>
                <a:gd name="connsiteY2" fmla="*/ 6004717 h 11123242"/>
                <a:gd name="connsiteX3" fmla="*/ 1735898 w 17157070"/>
                <a:gd name="connsiteY3" fmla="*/ 6836641 h 11123242"/>
                <a:gd name="connsiteX4" fmla="*/ 3137400 w 17157070"/>
                <a:gd name="connsiteY4" fmla="*/ 7361201 h 11123242"/>
                <a:gd name="connsiteX5" fmla="*/ 3453963 w 17157070"/>
                <a:gd name="connsiteY5" fmla="*/ 8717692 h 11123242"/>
                <a:gd name="connsiteX6" fmla="*/ 4168520 w 17157070"/>
                <a:gd name="connsiteY6" fmla="*/ 10092261 h 11123242"/>
                <a:gd name="connsiteX7" fmla="*/ 4162343 w 17157070"/>
                <a:gd name="connsiteY7" fmla="*/ 11123242 h 11123242"/>
                <a:gd name="connsiteX8" fmla="*/ 4605215 w 17157070"/>
                <a:gd name="connsiteY8" fmla="*/ 11039078 h 11123242"/>
                <a:gd name="connsiteX9" fmla="*/ 4840336 w 17157070"/>
                <a:gd name="connsiteY9" fmla="*/ 10749696 h 11123242"/>
                <a:gd name="connsiteX10" fmla="*/ 6070201 w 17157070"/>
                <a:gd name="connsiteY10" fmla="*/ 10767788 h 11123242"/>
                <a:gd name="connsiteX11" fmla="*/ 6884082 w 17157070"/>
                <a:gd name="connsiteY11" fmla="*/ 10170936 h 11123242"/>
                <a:gd name="connsiteX12" fmla="*/ 7716051 w 17157070"/>
                <a:gd name="connsiteY12" fmla="*/ 10496495 h 11123242"/>
                <a:gd name="connsiteX13" fmla="*/ 8584189 w 17157070"/>
                <a:gd name="connsiteY13" fmla="*/ 10297543 h 11123242"/>
                <a:gd name="connsiteX14" fmla="*/ 9289552 w 17157070"/>
                <a:gd name="connsiteY14" fmla="*/ 10496495 h 11123242"/>
                <a:gd name="connsiteX15" fmla="*/ 10139605 w 17157070"/>
                <a:gd name="connsiteY15" fmla="*/ 10098595 h 11123242"/>
                <a:gd name="connsiteX16" fmla="*/ 10664108 w 17157070"/>
                <a:gd name="connsiteY16" fmla="*/ 10315631 h 11123242"/>
                <a:gd name="connsiteX17" fmla="*/ 11387555 w 17157070"/>
                <a:gd name="connsiteY17" fmla="*/ 10225201 h 11123242"/>
                <a:gd name="connsiteX18" fmla="*/ 11966315 w 17157070"/>
                <a:gd name="connsiteY18" fmla="*/ 10948656 h 11123242"/>
                <a:gd name="connsiteX19" fmla="*/ 12942975 w 17157070"/>
                <a:gd name="connsiteY19" fmla="*/ 10713527 h 11123242"/>
                <a:gd name="connsiteX20" fmla="*/ 13575992 w 17157070"/>
                <a:gd name="connsiteY20" fmla="*/ 11111427 h 11123242"/>
                <a:gd name="connsiteX21" fmla="*/ 13973888 w 17157070"/>
                <a:gd name="connsiteY21" fmla="*/ 11020994 h 11123242"/>
                <a:gd name="connsiteX22" fmla="*/ 14028146 w 17157070"/>
                <a:gd name="connsiteY22" fmla="*/ 10478403 h 11123242"/>
                <a:gd name="connsiteX23" fmla="*/ 13594073 w 17157070"/>
                <a:gd name="connsiteY23" fmla="*/ 10424146 h 11123242"/>
                <a:gd name="connsiteX24" fmla="*/ 13612161 w 17157070"/>
                <a:gd name="connsiteY24" fmla="*/ 9736867 h 11123242"/>
                <a:gd name="connsiteX25" fmla="*/ 14190925 w 17157070"/>
                <a:gd name="connsiteY25" fmla="*/ 9592180 h 11123242"/>
                <a:gd name="connsiteX26" fmla="*/ 13865366 w 17157070"/>
                <a:gd name="connsiteY26" fmla="*/ 9121935 h 11123242"/>
                <a:gd name="connsiteX27" fmla="*/ 14136664 w 17157070"/>
                <a:gd name="connsiteY27" fmla="*/ 8724039 h 11123242"/>
                <a:gd name="connsiteX28" fmla="*/ 14703435 w 17157070"/>
                <a:gd name="connsiteY28" fmla="*/ 8751135 h 11123242"/>
                <a:gd name="connsiteX29" fmla="*/ 14661163 w 17157070"/>
                <a:gd name="connsiteY29" fmla="*/ 8579351 h 11123242"/>
                <a:gd name="connsiteX30" fmla="*/ 14335608 w 17157070"/>
                <a:gd name="connsiteY30" fmla="*/ 8416576 h 11123242"/>
                <a:gd name="connsiteX31" fmla="*/ 14498387 w 17157070"/>
                <a:gd name="connsiteY31" fmla="*/ 7837812 h 11123242"/>
                <a:gd name="connsiteX32" fmla="*/ 13847278 w 17157070"/>
                <a:gd name="connsiteY32" fmla="*/ 6933498 h 11123242"/>
                <a:gd name="connsiteX33" fmla="*/ 13340864 w 17157070"/>
                <a:gd name="connsiteY33" fmla="*/ 6228135 h 11123242"/>
                <a:gd name="connsiteX34" fmla="*/ 13123831 w 17157070"/>
                <a:gd name="connsiteY34" fmla="*/ 5142957 h 11123242"/>
                <a:gd name="connsiteX35" fmla="*/ 13232349 w 17157070"/>
                <a:gd name="connsiteY35" fmla="*/ 4455683 h 11123242"/>
                <a:gd name="connsiteX36" fmla="*/ 12273778 w 17157070"/>
                <a:gd name="connsiteY36" fmla="*/ 4488844 h 11123242"/>
                <a:gd name="connsiteX37" fmla="*/ 12201432 w 17157070"/>
                <a:gd name="connsiteY37" fmla="*/ 4090944 h 11123242"/>
                <a:gd name="connsiteX38" fmla="*/ 12508887 w 17157070"/>
                <a:gd name="connsiteY38" fmla="*/ 3587549 h 11123242"/>
                <a:gd name="connsiteX39" fmla="*/ 13774933 w 17157070"/>
                <a:gd name="connsiteY39" fmla="*/ 2809833 h 11123242"/>
                <a:gd name="connsiteX40" fmla="*/ 15294184 w 17157070"/>
                <a:gd name="connsiteY40" fmla="*/ 2303418 h 11123242"/>
                <a:gd name="connsiteX41" fmla="*/ 15746333 w 17157070"/>
                <a:gd name="connsiteY41" fmla="*/ 2628973 h 11123242"/>
                <a:gd name="connsiteX42" fmla="*/ 16578306 w 17157070"/>
                <a:gd name="connsiteY42" fmla="*/ 2339591 h 11123242"/>
                <a:gd name="connsiteX43" fmla="*/ 17084732 w 17157070"/>
                <a:gd name="connsiteY43" fmla="*/ 2737499 h 11123242"/>
                <a:gd name="connsiteX44" fmla="*/ 17157070 w 17157070"/>
                <a:gd name="connsiteY44" fmla="*/ 1797008 h 11123242"/>
                <a:gd name="connsiteX45" fmla="*/ 16433615 w 17157070"/>
                <a:gd name="connsiteY45" fmla="*/ 1706578 h 11123242"/>
                <a:gd name="connsiteX46" fmla="*/ 16415865 w 17157070"/>
                <a:gd name="connsiteY46" fmla="*/ 1090426 h 11123242"/>
                <a:gd name="connsiteX47" fmla="*/ 15963191 w 17157070"/>
                <a:gd name="connsiteY47" fmla="*/ 1229882 h 11123242"/>
                <a:gd name="connsiteX48" fmla="*/ 14923009 w 17157070"/>
                <a:gd name="connsiteY48" fmla="*/ -1 h 11123242"/>
                <a:gd name="connsiteX49" fmla="*/ 5153802 w 17157070"/>
                <a:gd name="connsiteY49" fmla="*/ 3455348 h 11123242"/>
                <a:gd name="connsiteX50" fmla="*/ 4898441 w 17157070"/>
                <a:gd name="connsiteY50" fmla="*/ 3506056 h 11123242"/>
                <a:gd name="connsiteX51" fmla="*/ 4600673 w 17157070"/>
                <a:gd name="connsiteY51" fmla="*/ 3237585 h 11123242"/>
                <a:gd name="connsiteX52" fmla="*/ 4416749 w 17157070"/>
                <a:gd name="connsiteY52" fmla="*/ 2814578 h 11123242"/>
                <a:gd name="connsiteX53" fmla="*/ 4653822 w 17157070"/>
                <a:gd name="connsiteY53" fmla="*/ 2264411 h 11123242"/>
                <a:gd name="connsiteX54" fmla="*/ 4432864 w 17157070"/>
                <a:gd name="connsiteY54" fmla="*/ 1711176 h 11123242"/>
                <a:gd name="connsiteX55" fmla="*/ 4437471 w 17157070"/>
                <a:gd name="connsiteY55" fmla="*/ 1042388 h 11123242"/>
                <a:gd name="connsiteX56" fmla="*/ 4141784 w 17157070"/>
                <a:gd name="connsiteY56" fmla="*/ 323034 h 11123242"/>
                <a:gd name="connsiteX57" fmla="*/ 2314296 w 17157070"/>
                <a:gd name="connsiteY57" fmla="*/ 605891 h 11123242"/>
                <a:gd name="connsiteX58" fmla="*/ 1334589 w 17157070"/>
                <a:gd name="connsiteY58" fmla="*/ 1410763 h 11123242"/>
                <a:gd name="connsiteX59" fmla="*/ 0 w 17157070"/>
                <a:gd name="connsiteY59" fmla="*/ 2758209 h 11123242"/>
                <a:gd name="connsiteX0" fmla="*/ 0 w 17157070"/>
                <a:gd name="connsiteY0" fmla="*/ 2435175 h 10800208"/>
                <a:gd name="connsiteX1" fmla="*/ 613837 w 17157070"/>
                <a:gd name="connsiteY1" fmla="*/ 4813533 h 10800208"/>
                <a:gd name="connsiteX2" fmla="*/ 1518338 w 17157070"/>
                <a:gd name="connsiteY2" fmla="*/ 5681683 h 10800208"/>
                <a:gd name="connsiteX3" fmla="*/ 1735898 w 17157070"/>
                <a:gd name="connsiteY3" fmla="*/ 6513607 h 10800208"/>
                <a:gd name="connsiteX4" fmla="*/ 3137400 w 17157070"/>
                <a:gd name="connsiteY4" fmla="*/ 7038167 h 10800208"/>
                <a:gd name="connsiteX5" fmla="*/ 3453963 w 17157070"/>
                <a:gd name="connsiteY5" fmla="*/ 8394658 h 10800208"/>
                <a:gd name="connsiteX6" fmla="*/ 4168520 w 17157070"/>
                <a:gd name="connsiteY6" fmla="*/ 9769227 h 10800208"/>
                <a:gd name="connsiteX7" fmla="*/ 4162343 w 17157070"/>
                <a:gd name="connsiteY7" fmla="*/ 10800208 h 10800208"/>
                <a:gd name="connsiteX8" fmla="*/ 4605215 w 17157070"/>
                <a:gd name="connsiteY8" fmla="*/ 10716044 h 10800208"/>
                <a:gd name="connsiteX9" fmla="*/ 4840336 w 17157070"/>
                <a:gd name="connsiteY9" fmla="*/ 10426662 h 10800208"/>
                <a:gd name="connsiteX10" fmla="*/ 6070201 w 17157070"/>
                <a:gd name="connsiteY10" fmla="*/ 10444754 h 10800208"/>
                <a:gd name="connsiteX11" fmla="*/ 6884082 w 17157070"/>
                <a:gd name="connsiteY11" fmla="*/ 9847902 h 10800208"/>
                <a:gd name="connsiteX12" fmla="*/ 7716051 w 17157070"/>
                <a:gd name="connsiteY12" fmla="*/ 10173461 h 10800208"/>
                <a:gd name="connsiteX13" fmla="*/ 8584189 w 17157070"/>
                <a:gd name="connsiteY13" fmla="*/ 9974509 h 10800208"/>
                <a:gd name="connsiteX14" fmla="*/ 9289552 w 17157070"/>
                <a:gd name="connsiteY14" fmla="*/ 10173461 h 10800208"/>
                <a:gd name="connsiteX15" fmla="*/ 10139605 w 17157070"/>
                <a:gd name="connsiteY15" fmla="*/ 9775561 h 10800208"/>
                <a:gd name="connsiteX16" fmla="*/ 10664108 w 17157070"/>
                <a:gd name="connsiteY16" fmla="*/ 9992597 h 10800208"/>
                <a:gd name="connsiteX17" fmla="*/ 11387555 w 17157070"/>
                <a:gd name="connsiteY17" fmla="*/ 9902167 h 10800208"/>
                <a:gd name="connsiteX18" fmla="*/ 11966315 w 17157070"/>
                <a:gd name="connsiteY18" fmla="*/ 10625622 h 10800208"/>
                <a:gd name="connsiteX19" fmla="*/ 12942975 w 17157070"/>
                <a:gd name="connsiteY19" fmla="*/ 10390493 h 10800208"/>
                <a:gd name="connsiteX20" fmla="*/ 13575992 w 17157070"/>
                <a:gd name="connsiteY20" fmla="*/ 10788393 h 10800208"/>
                <a:gd name="connsiteX21" fmla="*/ 13973888 w 17157070"/>
                <a:gd name="connsiteY21" fmla="*/ 10697960 h 10800208"/>
                <a:gd name="connsiteX22" fmla="*/ 14028146 w 17157070"/>
                <a:gd name="connsiteY22" fmla="*/ 10155369 h 10800208"/>
                <a:gd name="connsiteX23" fmla="*/ 13594073 w 17157070"/>
                <a:gd name="connsiteY23" fmla="*/ 10101112 h 10800208"/>
                <a:gd name="connsiteX24" fmla="*/ 13612161 w 17157070"/>
                <a:gd name="connsiteY24" fmla="*/ 9413833 h 10800208"/>
                <a:gd name="connsiteX25" fmla="*/ 14190925 w 17157070"/>
                <a:gd name="connsiteY25" fmla="*/ 9269146 h 10800208"/>
                <a:gd name="connsiteX26" fmla="*/ 13865366 w 17157070"/>
                <a:gd name="connsiteY26" fmla="*/ 8798901 h 10800208"/>
                <a:gd name="connsiteX27" fmla="*/ 14136664 w 17157070"/>
                <a:gd name="connsiteY27" fmla="*/ 8401005 h 10800208"/>
                <a:gd name="connsiteX28" fmla="*/ 14703435 w 17157070"/>
                <a:gd name="connsiteY28" fmla="*/ 8428101 h 10800208"/>
                <a:gd name="connsiteX29" fmla="*/ 14661163 w 17157070"/>
                <a:gd name="connsiteY29" fmla="*/ 8256317 h 10800208"/>
                <a:gd name="connsiteX30" fmla="*/ 14335608 w 17157070"/>
                <a:gd name="connsiteY30" fmla="*/ 8093542 h 10800208"/>
                <a:gd name="connsiteX31" fmla="*/ 14498387 w 17157070"/>
                <a:gd name="connsiteY31" fmla="*/ 7514778 h 10800208"/>
                <a:gd name="connsiteX32" fmla="*/ 13847278 w 17157070"/>
                <a:gd name="connsiteY32" fmla="*/ 6610464 h 10800208"/>
                <a:gd name="connsiteX33" fmla="*/ 13340864 w 17157070"/>
                <a:gd name="connsiteY33" fmla="*/ 5905101 h 10800208"/>
                <a:gd name="connsiteX34" fmla="*/ 13123831 w 17157070"/>
                <a:gd name="connsiteY34" fmla="*/ 4819923 h 10800208"/>
                <a:gd name="connsiteX35" fmla="*/ 13232349 w 17157070"/>
                <a:gd name="connsiteY35" fmla="*/ 4132649 h 10800208"/>
                <a:gd name="connsiteX36" fmla="*/ 12273778 w 17157070"/>
                <a:gd name="connsiteY36" fmla="*/ 4165810 h 10800208"/>
                <a:gd name="connsiteX37" fmla="*/ 12201432 w 17157070"/>
                <a:gd name="connsiteY37" fmla="*/ 3767910 h 10800208"/>
                <a:gd name="connsiteX38" fmla="*/ 12508887 w 17157070"/>
                <a:gd name="connsiteY38" fmla="*/ 3264515 h 10800208"/>
                <a:gd name="connsiteX39" fmla="*/ 13774933 w 17157070"/>
                <a:gd name="connsiteY39" fmla="*/ 2486799 h 10800208"/>
                <a:gd name="connsiteX40" fmla="*/ 15294184 w 17157070"/>
                <a:gd name="connsiteY40" fmla="*/ 1980384 h 10800208"/>
                <a:gd name="connsiteX41" fmla="*/ 15746333 w 17157070"/>
                <a:gd name="connsiteY41" fmla="*/ 2305939 h 10800208"/>
                <a:gd name="connsiteX42" fmla="*/ 16578306 w 17157070"/>
                <a:gd name="connsiteY42" fmla="*/ 2016557 h 10800208"/>
                <a:gd name="connsiteX43" fmla="*/ 17084732 w 17157070"/>
                <a:gd name="connsiteY43" fmla="*/ 2414465 h 10800208"/>
                <a:gd name="connsiteX44" fmla="*/ 17157070 w 17157070"/>
                <a:gd name="connsiteY44" fmla="*/ 1473974 h 10800208"/>
                <a:gd name="connsiteX45" fmla="*/ 16433615 w 17157070"/>
                <a:gd name="connsiteY45" fmla="*/ 1383544 h 10800208"/>
                <a:gd name="connsiteX46" fmla="*/ 16415865 w 17157070"/>
                <a:gd name="connsiteY46" fmla="*/ 767392 h 10800208"/>
                <a:gd name="connsiteX47" fmla="*/ 15963191 w 17157070"/>
                <a:gd name="connsiteY47" fmla="*/ 906848 h 10800208"/>
                <a:gd name="connsiteX48" fmla="*/ 5153802 w 17157070"/>
                <a:gd name="connsiteY48" fmla="*/ 3132314 h 10800208"/>
                <a:gd name="connsiteX49" fmla="*/ 4898441 w 17157070"/>
                <a:gd name="connsiteY49" fmla="*/ 3183022 h 10800208"/>
                <a:gd name="connsiteX50" fmla="*/ 4600673 w 17157070"/>
                <a:gd name="connsiteY50" fmla="*/ 2914551 h 10800208"/>
                <a:gd name="connsiteX51" fmla="*/ 4416749 w 17157070"/>
                <a:gd name="connsiteY51" fmla="*/ 2491544 h 10800208"/>
                <a:gd name="connsiteX52" fmla="*/ 4653822 w 17157070"/>
                <a:gd name="connsiteY52" fmla="*/ 1941377 h 10800208"/>
                <a:gd name="connsiteX53" fmla="*/ 4432864 w 17157070"/>
                <a:gd name="connsiteY53" fmla="*/ 1388142 h 10800208"/>
                <a:gd name="connsiteX54" fmla="*/ 4437471 w 17157070"/>
                <a:gd name="connsiteY54" fmla="*/ 719354 h 10800208"/>
                <a:gd name="connsiteX55" fmla="*/ 4141784 w 17157070"/>
                <a:gd name="connsiteY55" fmla="*/ 0 h 10800208"/>
                <a:gd name="connsiteX56" fmla="*/ 2314296 w 17157070"/>
                <a:gd name="connsiteY56" fmla="*/ 282857 h 10800208"/>
                <a:gd name="connsiteX57" fmla="*/ 1334589 w 17157070"/>
                <a:gd name="connsiteY57" fmla="*/ 1087729 h 10800208"/>
                <a:gd name="connsiteX58" fmla="*/ 0 w 17157070"/>
                <a:gd name="connsiteY58" fmla="*/ 2435175 h 10800208"/>
                <a:gd name="connsiteX0" fmla="*/ 0 w 17157070"/>
                <a:gd name="connsiteY0" fmla="*/ 2435175 h 10800208"/>
                <a:gd name="connsiteX1" fmla="*/ 613837 w 17157070"/>
                <a:gd name="connsiteY1" fmla="*/ 4813533 h 10800208"/>
                <a:gd name="connsiteX2" fmla="*/ 1518338 w 17157070"/>
                <a:gd name="connsiteY2" fmla="*/ 5681683 h 10800208"/>
                <a:gd name="connsiteX3" fmla="*/ 1735898 w 17157070"/>
                <a:gd name="connsiteY3" fmla="*/ 6513607 h 10800208"/>
                <a:gd name="connsiteX4" fmla="*/ 3137400 w 17157070"/>
                <a:gd name="connsiteY4" fmla="*/ 7038167 h 10800208"/>
                <a:gd name="connsiteX5" fmla="*/ 3453963 w 17157070"/>
                <a:gd name="connsiteY5" fmla="*/ 8394658 h 10800208"/>
                <a:gd name="connsiteX6" fmla="*/ 4168520 w 17157070"/>
                <a:gd name="connsiteY6" fmla="*/ 9769227 h 10800208"/>
                <a:gd name="connsiteX7" fmla="*/ 4162343 w 17157070"/>
                <a:gd name="connsiteY7" fmla="*/ 10800208 h 10800208"/>
                <a:gd name="connsiteX8" fmla="*/ 4605215 w 17157070"/>
                <a:gd name="connsiteY8" fmla="*/ 10716044 h 10800208"/>
                <a:gd name="connsiteX9" fmla="*/ 4840336 w 17157070"/>
                <a:gd name="connsiteY9" fmla="*/ 10426662 h 10800208"/>
                <a:gd name="connsiteX10" fmla="*/ 6070201 w 17157070"/>
                <a:gd name="connsiteY10" fmla="*/ 10444754 h 10800208"/>
                <a:gd name="connsiteX11" fmla="*/ 6884082 w 17157070"/>
                <a:gd name="connsiteY11" fmla="*/ 9847902 h 10800208"/>
                <a:gd name="connsiteX12" fmla="*/ 7716051 w 17157070"/>
                <a:gd name="connsiteY12" fmla="*/ 10173461 h 10800208"/>
                <a:gd name="connsiteX13" fmla="*/ 8584189 w 17157070"/>
                <a:gd name="connsiteY13" fmla="*/ 9974509 h 10800208"/>
                <a:gd name="connsiteX14" fmla="*/ 9289552 w 17157070"/>
                <a:gd name="connsiteY14" fmla="*/ 10173461 h 10800208"/>
                <a:gd name="connsiteX15" fmla="*/ 10139605 w 17157070"/>
                <a:gd name="connsiteY15" fmla="*/ 9775561 h 10800208"/>
                <a:gd name="connsiteX16" fmla="*/ 10664108 w 17157070"/>
                <a:gd name="connsiteY16" fmla="*/ 9992597 h 10800208"/>
                <a:gd name="connsiteX17" fmla="*/ 11387555 w 17157070"/>
                <a:gd name="connsiteY17" fmla="*/ 9902167 h 10800208"/>
                <a:gd name="connsiteX18" fmla="*/ 11966315 w 17157070"/>
                <a:gd name="connsiteY18" fmla="*/ 10625622 h 10800208"/>
                <a:gd name="connsiteX19" fmla="*/ 12942975 w 17157070"/>
                <a:gd name="connsiteY19" fmla="*/ 10390493 h 10800208"/>
                <a:gd name="connsiteX20" fmla="*/ 13575992 w 17157070"/>
                <a:gd name="connsiteY20" fmla="*/ 10788393 h 10800208"/>
                <a:gd name="connsiteX21" fmla="*/ 13973888 w 17157070"/>
                <a:gd name="connsiteY21" fmla="*/ 10697960 h 10800208"/>
                <a:gd name="connsiteX22" fmla="*/ 14028146 w 17157070"/>
                <a:gd name="connsiteY22" fmla="*/ 10155369 h 10800208"/>
                <a:gd name="connsiteX23" fmla="*/ 13594073 w 17157070"/>
                <a:gd name="connsiteY23" fmla="*/ 10101112 h 10800208"/>
                <a:gd name="connsiteX24" fmla="*/ 13612161 w 17157070"/>
                <a:gd name="connsiteY24" fmla="*/ 9413833 h 10800208"/>
                <a:gd name="connsiteX25" fmla="*/ 14190925 w 17157070"/>
                <a:gd name="connsiteY25" fmla="*/ 9269146 h 10800208"/>
                <a:gd name="connsiteX26" fmla="*/ 13865366 w 17157070"/>
                <a:gd name="connsiteY26" fmla="*/ 8798901 h 10800208"/>
                <a:gd name="connsiteX27" fmla="*/ 14136664 w 17157070"/>
                <a:gd name="connsiteY27" fmla="*/ 8401005 h 10800208"/>
                <a:gd name="connsiteX28" fmla="*/ 14703435 w 17157070"/>
                <a:gd name="connsiteY28" fmla="*/ 8428101 h 10800208"/>
                <a:gd name="connsiteX29" fmla="*/ 14661163 w 17157070"/>
                <a:gd name="connsiteY29" fmla="*/ 8256317 h 10800208"/>
                <a:gd name="connsiteX30" fmla="*/ 14335608 w 17157070"/>
                <a:gd name="connsiteY30" fmla="*/ 8093542 h 10800208"/>
                <a:gd name="connsiteX31" fmla="*/ 14498387 w 17157070"/>
                <a:gd name="connsiteY31" fmla="*/ 7514778 h 10800208"/>
                <a:gd name="connsiteX32" fmla="*/ 13847278 w 17157070"/>
                <a:gd name="connsiteY32" fmla="*/ 6610464 h 10800208"/>
                <a:gd name="connsiteX33" fmla="*/ 13340864 w 17157070"/>
                <a:gd name="connsiteY33" fmla="*/ 5905101 h 10800208"/>
                <a:gd name="connsiteX34" fmla="*/ 13123831 w 17157070"/>
                <a:gd name="connsiteY34" fmla="*/ 4819923 h 10800208"/>
                <a:gd name="connsiteX35" fmla="*/ 13232349 w 17157070"/>
                <a:gd name="connsiteY35" fmla="*/ 4132649 h 10800208"/>
                <a:gd name="connsiteX36" fmla="*/ 12273778 w 17157070"/>
                <a:gd name="connsiteY36" fmla="*/ 4165810 h 10800208"/>
                <a:gd name="connsiteX37" fmla="*/ 12201432 w 17157070"/>
                <a:gd name="connsiteY37" fmla="*/ 3767910 h 10800208"/>
                <a:gd name="connsiteX38" fmla="*/ 12508887 w 17157070"/>
                <a:gd name="connsiteY38" fmla="*/ 3264515 h 10800208"/>
                <a:gd name="connsiteX39" fmla="*/ 13774933 w 17157070"/>
                <a:gd name="connsiteY39" fmla="*/ 2486799 h 10800208"/>
                <a:gd name="connsiteX40" fmla="*/ 15294184 w 17157070"/>
                <a:gd name="connsiteY40" fmla="*/ 1980384 h 10800208"/>
                <a:gd name="connsiteX41" fmla="*/ 15746333 w 17157070"/>
                <a:gd name="connsiteY41" fmla="*/ 2305939 h 10800208"/>
                <a:gd name="connsiteX42" fmla="*/ 16578306 w 17157070"/>
                <a:gd name="connsiteY42" fmla="*/ 2016557 h 10800208"/>
                <a:gd name="connsiteX43" fmla="*/ 17084732 w 17157070"/>
                <a:gd name="connsiteY43" fmla="*/ 2414465 h 10800208"/>
                <a:gd name="connsiteX44" fmla="*/ 17157070 w 17157070"/>
                <a:gd name="connsiteY44" fmla="*/ 1473974 h 10800208"/>
                <a:gd name="connsiteX45" fmla="*/ 16433615 w 17157070"/>
                <a:gd name="connsiteY45" fmla="*/ 1383544 h 10800208"/>
                <a:gd name="connsiteX46" fmla="*/ 16415865 w 17157070"/>
                <a:gd name="connsiteY46" fmla="*/ 767392 h 10800208"/>
                <a:gd name="connsiteX47" fmla="*/ 5365184 w 17157070"/>
                <a:gd name="connsiteY47" fmla="*/ 3460880 h 10800208"/>
                <a:gd name="connsiteX48" fmla="*/ 5153802 w 17157070"/>
                <a:gd name="connsiteY48" fmla="*/ 3132314 h 10800208"/>
                <a:gd name="connsiteX49" fmla="*/ 4898441 w 17157070"/>
                <a:gd name="connsiteY49" fmla="*/ 3183022 h 10800208"/>
                <a:gd name="connsiteX50" fmla="*/ 4600673 w 17157070"/>
                <a:gd name="connsiteY50" fmla="*/ 2914551 h 10800208"/>
                <a:gd name="connsiteX51" fmla="*/ 4416749 w 17157070"/>
                <a:gd name="connsiteY51" fmla="*/ 2491544 h 10800208"/>
                <a:gd name="connsiteX52" fmla="*/ 4653822 w 17157070"/>
                <a:gd name="connsiteY52" fmla="*/ 1941377 h 10800208"/>
                <a:gd name="connsiteX53" fmla="*/ 4432864 w 17157070"/>
                <a:gd name="connsiteY53" fmla="*/ 1388142 h 10800208"/>
                <a:gd name="connsiteX54" fmla="*/ 4437471 w 17157070"/>
                <a:gd name="connsiteY54" fmla="*/ 719354 h 10800208"/>
                <a:gd name="connsiteX55" fmla="*/ 4141784 w 17157070"/>
                <a:gd name="connsiteY55" fmla="*/ 0 h 10800208"/>
                <a:gd name="connsiteX56" fmla="*/ 2314296 w 17157070"/>
                <a:gd name="connsiteY56" fmla="*/ 282857 h 10800208"/>
                <a:gd name="connsiteX57" fmla="*/ 1334589 w 17157070"/>
                <a:gd name="connsiteY57" fmla="*/ 1087729 h 10800208"/>
                <a:gd name="connsiteX58" fmla="*/ 0 w 17157070"/>
                <a:gd name="connsiteY58" fmla="*/ 2435175 h 10800208"/>
                <a:gd name="connsiteX0" fmla="*/ 0 w 17157070"/>
                <a:gd name="connsiteY0" fmla="*/ 2435175 h 10800208"/>
                <a:gd name="connsiteX1" fmla="*/ 613837 w 17157070"/>
                <a:gd name="connsiteY1" fmla="*/ 4813533 h 10800208"/>
                <a:gd name="connsiteX2" fmla="*/ 1518338 w 17157070"/>
                <a:gd name="connsiteY2" fmla="*/ 5681683 h 10800208"/>
                <a:gd name="connsiteX3" fmla="*/ 1735898 w 17157070"/>
                <a:gd name="connsiteY3" fmla="*/ 6513607 h 10800208"/>
                <a:gd name="connsiteX4" fmla="*/ 3137400 w 17157070"/>
                <a:gd name="connsiteY4" fmla="*/ 7038167 h 10800208"/>
                <a:gd name="connsiteX5" fmla="*/ 3453963 w 17157070"/>
                <a:gd name="connsiteY5" fmla="*/ 8394658 h 10800208"/>
                <a:gd name="connsiteX6" fmla="*/ 4168520 w 17157070"/>
                <a:gd name="connsiteY6" fmla="*/ 9769227 h 10800208"/>
                <a:gd name="connsiteX7" fmla="*/ 4162343 w 17157070"/>
                <a:gd name="connsiteY7" fmla="*/ 10800208 h 10800208"/>
                <a:gd name="connsiteX8" fmla="*/ 4605215 w 17157070"/>
                <a:gd name="connsiteY8" fmla="*/ 10716044 h 10800208"/>
                <a:gd name="connsiteX9" fmla="*/ 4840336 w 17157070"/>
                <a:gd name="connsiteY9" fmla="*/ 10426662 h 10800208"/>
                <a:gd name="connsiteX10" fmla="*/ 6070201 w 17157070"/>
                <a:gd name="connsiteY10" fmla="*/ 10444754 h 10800208"/>
                <a:gd name="connsiteX11" fmla="*/ 6884082 w 17157070"/>
                <a:gd name="connsiteY11" fmla="*/ 9847902 h 10800208"/>
                <a:gd name="connsiteX12" fmla="*/ 7716051 w 17157070"/>
                <a:gd name="connsiteY12" fmla="*/ 10173461 h 10800208"/>
                <a:gd name="connsiteX13" fmla="*/ 8584189 w 17157070"/>
                <a:gd name="connsiteY13" fmla="*/ 9974509 h 10800208"/>
                <a:gd name="connsiteX14" fmla="*/ 9289552 w 17157070"/>
                <a:gd name="connsiteY14" fmla="*/ 10173461 h 10800208"/>
                <a:gd name="connsiteX15" fmla="*/ 10139605 w 17157070"/>
                <a:gd name="connsiteY15" fmla="*/ 9775561 h 10800208"/>
                <a:gd name="connsiteX16" fmla="*/ 10664108 w 17157070"/>
                <a:gd name="connsiteY16" fmla="*/ 9992597 h 10800208"/>
                <a:gd name="connsiteX17" fmla="*/ 11387555 w 17157070"/>
                <a:gd name="connsiteY17" fmla="*/ 9902167 h 10800208"/>
                <a:gd name="connsiteX18" fmla="*/ 11966315 w 17157070"/>
                <a:gd name="connsiteY18" fmla="*/ 10625622 h 10800208"/>
                <a:gd name="connsiteX19" fmla="*/ 12942975 w 17157070"/>
                <a:gd name="connsiteY19" fmla="*/ 10390493 h 10800208"/>
                <a:gd name="connsiteX20" fmla="*/ 13575992 w 17157070"/>
                <a:gd name="connsiteY20" fmla="*/ 10788393 h 10800208"/>
                <a:gd name="connsiteX21" fmla="*/ 13973888 w 17157070"/>
                <a:gd name="connsiteY21" fmla="*/ 10697960 h 10800208"/>
                <a:gd name="connsiteX22" fmla="*/ 14028146 w 17157070"/>
                <a:gd name="connsiteY22" fmla="*/ 10155369 h 10800208"/>
                <a:gd name="connsiteX23" fmla="*/ 13594073 w 17157070"/>
                <a:gd name="connsiteY23" fmla="*/ 10101112 h 10800208"/>
                <a:gd name="connsiteX24" fmla="*/ 13612161 w 17157070"/>
                <a:gd name="connsiteY24" fmla="*/ 9413833 h 10800208"/>
                <a:gd name="connsiteX25" fmla="*/ 14190925 w 17157070"/>
                <a:gd name="connsiteY25" fmla="*/ 9269146 h 10800208"/>
                <a:gd name="connsiteX26" fmla="*/ 13865366 w 17157070"/>
                <a:gd name="connsiteY26" fmla="*/ 8798901 h 10800208"/>
                <a:gd name="connsiteX27" fmla="*/ 14136664 w 17157070"/>
                <a:gd name="connsiteY27" fmla="*/ 8401005 h 10800208"/>
                <a:gd name="connsiteX28" fmla="*/ 14703435 w 17157070"/>
                <a:gd name="connsiteY28" fmla="*/ 8428101 h 10800208"/>
                <a:gd name="connsiteX29" fmla="*/ 14661163 w 17157070"/>
                <a:gd name="connsiteY29" fmla="*/ 8256317 h 10800208"/>
                <a:gd name="connsiteX30" fmla="*/ 14335608 w 17157070"/>
                <a:gd name="connsiteY30" fmla="*/ 8093542 h 10800208"/>
                <a:gd name="connsiteX31" fmla="*/ 14498387 w 17157070"/>
                <a:gd name="connsiteY31" fmla="*/ 7514778 h 10800208"/>
                <a:gd name="connsiteX32" fmla="*/ 13847278 w 17157070"/>
                <a:gd name="connsiteY32" fmla="*/ 6610464 h 10800208"/>
                <a:gd name="connsiteX33" fmla="*/ 13340864 w 17157070"/>
                <a:gd name="connsiteY33" fmla="*/ 5905101 h 10800208"/>
                <a:gd name="connsiteX34" fmla="*/ 13123831 w 17157070"/>
                <a:gd name="connsiteY34" fmla="*/ 4819923 h 10800208"/>
                <a:gd name="connsiteX35" fmla="*/ 13232349 w 17157070"/>
                <a:gd name="connsiteY35" fmla="*/ 4132649 h 10800208"/>
                <a:gd name="connsiteX36" fmla="*/ 12273778 w 17157070"/>
                <a:gd name="connsiteY36" fmla="*/ 4165810 h 10800208"/>
                <a:gd name="connsiteX37" fmla="*/ 12201432 w 17157070"/>
                <a:gd name="connsiteY37" fmla="*/ 3767910 h 10800208"/>
                <a:gd name="connsiteX38" fmla="*/ 12508887 w 17157070"/>
                <a:gd name="connsiteY38" fmla="*/ 3264515 h 10800208"/>
                <a:gd name="connsiteX39" fmla="*/ 13774933 w 17157070"/>
                <a:gd name="connsiteY39" fmla="*/ 2486799 h 10800208"/>
                <a:gd name="connsiteX40" fmla="*/ 15294184 w 17157070"/>
                <a:gd name="connsiteY40" fmla="*/ 1980384 h 10800208"/>
                <a:gd name="connsiteX41" fmla="*/ 15746333 w 17157070"/>
                <a:gd name="connsiteY41" fmla="*/ 2305939 h 10800208"/>
                <a:gd name="connsiteX42" fmla="*/ 16578306 w 17157070"/>
                <a:gd name="connsiteY42" fmla="*/ 2016557 h 10800208"/>
                <a:gd name="connsiteX43" fmla="*/ 17084732 w 17157070"/>
                <a:gd name="connsiteY43" fmla="*/ 2414465 h 10800208"/>
                <a:gd name="connsiteX44" fmla="*/ 17157070 w 17157070"/>
                <a:gd name="connsiteY44" fmla="*/ 1473974 h 10800208"/>
                <a:gd name="connsiteX45" fmla="*/ 16433615 w 17157070"/>
                <a:gd name="connsiteY45" fmla="*/ 1383544 h 10800208"/>
                <a:gd name="connsiteX46" fmla="*/ 5365184 w 17157070"/>
                <a:gd name="connsiteY46" fmla="*/ 3460880 h 10800208"/>
                <a:gd name="connsiteX47" fmla="*/ 5153802 w 17157070"/>
                <a:gd name="connsiteY47" fmla="*/ 3132314 h 10800208"/>
                <a:gd name="connsiteX48" fmla="*/ 4898441 w 17157070"/>
                <a:gd name="connsiteY48" fmla="*/ 3183022 h 10800208"/>
                <a:gd name="connsiteX49" fmla="*/ 4600673 w 17157070"/>
                <a:gd name="connsiteY49" fmla="*/ 2914551 h 10800208"/>
                <a:gd name="connsiteX50" fmla="*/ 4416749 w 17157070"/>
                <a:gd name="connsiteY50" fmla="*/ 2491544 h 10800208"/>
                <a:gd name="connsiteX51" fmla="*/ 4653822 w 17157070"/>
                <a:gd name="connsiteY51" fmla="*/ 1941377 h 10800208"/>
                <a:gd name="connsiteX52" fmla="*/ 4432864 w 17157070"/>
                <a:gd name="connsiteY52" fmla="*/ 1388142 h 10800208"/>
                <a:gd name="connsiteX53" fmla="*/ 4437471 w 17157070"/>
                <a:gd name="connsiteY53" fmla="*/ 719354 h 10800208"/>
                <a:gd name="connsiteX54" fmla="*/ 4141784 w 17157070"/>
                <a:gd name="connsiteY54" fmla="*/ 0 h 10800208"/>
                <a:gd name="connsiteX55" fmla="*/ 2314296 w 17157070"/>
                <a:gd name="connsiteY55" fmla="*/ 282857 h 10800208"/>
                <a:gd name="connsiteX56" fmla="*/ 1334589 w 17157070"/>
                <a:gd name="connsiteY56" fmla="*/ 1087729 h 10800208"/>
                <a:gd name="connsiteX57" fmla="*/ 0 w 17157070"/>
                <a:gd name="connsiteY57" fmla="*/ 2435175 h 10800208"/>
                <a:gd name="connsiteX0" fmla="*/ 0 w 17157070"/>
                <a:gd name="connsiteY0" fmla="*/ 2435175 h 10800208"/>
                <a:gd name="connsiteX1" fmla="*/ 613837 w 17157070"/>
                <a:gd name="connsiteY1" fmla="*/ 4813533 h 10800208"/>
                <a:gd name="connsiteX2" fmla="*/ 1518338 w 17157070"/>
                <a:gd name="connsiteY2" fmla="*/ 5681683 h 10800208"/>
                <a:gd name="connsiteX3" fmla="*/ 1735898 w 17157070"/>
                <a:gd name="connsiteY3" fmla="*/ 6513607 h 10800208"/>
                <a:gd name="connsiteX4" fmla="*/ 3137400 w 17157070"/>
                <a:gd name="connsiteY4" fmla="*/ 7038167 h 10800208"/>
                <a:gd name="connsiteX5" fmla="*/ 3453963 w 17157070"/>
                <a:gd name="connsiteY5" fmla="*/ 8394658 h 10800208"/>
                <a:gd name="connsiteX6" fmla="*/ 4168520 w 17157070"/>
                <a:gd name="connsiteY6" fmla="*/ 9769227 h 10800208"/>
                <a:gd name="connsiteX7" fmla="*/ 4162343 w 17157070"/>
                <a:gd name="connsiteY7" fmla="*/ 10800208 h 10800208"/>
                <a:gd name="connsiteX8" fmla="*/ 4605215 w 17157070"/>
                <a:gd name="connsiteY8" fmla="*/ 10716044 h 10800208"/>
                <a:gd name="connsiteX9" fmla="*/ 4840336 w 17157070"/>
                <a:gd name="connsiteY9" fmla="*/ 10426662 h 10800208"/>
                <a:gd name="connsiteX10" fmla="*/ 6070201 w 17157070"/>
                <a:gd name="connsiteY10" fmla="*/ 10444754 h 10800208"/>
                <a:gd name="connsiteX11" fmla="*/ 6884082 w 17157070"/>
                <a:gd name="connsiteY11" fmla="*/ 9847902 h 10800208"/>
                <a:gd name="connsiteX12" fmla="*/ 7716051 w 17157070"/>
                <a:gd name="connsiteY12" fmla="*/ 10173461 h 10800208"/>
                <a:gd name="connsiteX13" fmla="*/ 8584189 w 17157070"/>
                <a:gd name="connsiteY13" fmla="*/ 9974509 h 10800208"/>
                <a:gd name="connsiteX14" fmla="*/ 9289552 w 17157070"/>
                <a:gd name="connsiteY14" fmla="*/ 10173461 h 10800208"/>
                <a:gd name="connsiteX15" fmla="*/ 10139605 w 17157070"/>
                <a:gd name="connsiteY15" fmla="*/ 9775561 h 10800208"/>
                <a:gd name="connsiteX16" fmla="*/ 10664108 w 17157070"/>
                <a:gd name="connsiteY16" fmla="*/ 9992597 h 10800208"/>
                <a:gd name="connsiteX17" fmla="*/ 11387555 w 17157070"/>
                <a:gd name="connsiteY17" fmla="*/ 9902167 h 10800208"/>
                <a:gd name="connsiteX18" fmla="*/ 11966315 w 17157070"/>
                <a:gd name="connsiteY18" fmla="*/ 10625622 h 10800208"/>
                <a:gd name="connsiteX19" fmla="*/ 12942975 w 17157070"/>
                <a:gd name="connsiteY19" fmla="*/ 10390493 h 10800208"/>
                <a:gd name="connsiteX20" fmla="*/ 13575992 w 17157070"/>
                <a:gd name="connsiteY20" fmla="*/ 10788393 h 10800208"/>
                <a:gd name="connsiteX21" fmla="*/ 13973888 w 17157070"/>
                <a:gd name="connsiteY21" fmla="*/ 10697960 h 10800208"/>
                <a:gd name="connsiteX22" fmla="*/ 14028146 w 17157070"/>
                <a:gd name="connsiteY22" fmla="*/ 10155369 h 10800208"/>
                <a:gd name="connsiteX23" fmla="*/ 13594073 w 17157070"/>
                <a:gd name="connsiteY23" fmla="*/ 10101112 h 10800208"/>
                <a:gd name="connsiteX24" fmla="*/ 13612161 w 17157070"/>
                <a:gd name="connsiteY24" fmla="*/ 9413833 h 10800208"/>
                <a:gd name="connsiteX25" fmla="*/ 14190925 w 17157070"/>
                <a:gd name="connsiteY25" fmla="*/ 9269146 h 10800208"/>
                <a:gd name="connsiteX26" fmla="*/ 13865366 w 17157070"/>
                <a:gd name="connsiteY26" fmla="*/ 8798901 h 10800208"/>
                <a:gd name="connsiteX27" fmla="*/ 14136664 w 17157070"/>
                <a:gd name="connsiteY27" fmla="*/ 8401005 h 10800208"/>
                <a:gd name="connsiteX28" fmla="*/ 14703435 w 17157070"/>
                <a:gd name="connsiteY28" fmla="*/ 8428101 h 10800208"/>
                <a:gd name="connsiteX29" fmla="*/ 14661163 w 17157070"/>
                <a:gd name="connsiteY29" fmla="*/ 8256317 h 10800208"/>
                <a:gd name="connsiteX30" fmla="*/ 14335608 w 17157070"/>
                <a:gd name="connsiteY30" fmla="*/ 8093542 h 10800208"/>
                <a:gd name="connsiteX31" fmla="*/ 14498387 w 17157070"/>
                <a:gd name="connsiteY31" fmla="*/ 7514778 h 10800208"/>
                <a:gd name="connsiteX32" fmla="*/ 13847278 w 17157070"/>
                <a:gd name="connsiteY32" fmla="*/ 6610464 h 10800208"/>
                <a:gd name="connsiteX33" fmla="*/ 13340864 w 17157070"/>
                <a:gd name="connsiteY33" fmla="*/ 5905101 h 10800208"/>
                <a:gd name="connsiteX34" fmla="*/ 13123831 w 17157070"/>
                <a:gd name="connsiteY34" fmla="*/ 4819923 h 10800208"/>
                <a:gd name="connsiteX35" fmla="*/ 13232349 w 17157070"/>
                <a:gd name="connsiteY35" fmla="*/ 4132649 h 10800208"/>
                <a:gd name="connsiteX36" fmla="*/ 12273778 w 17157070"/>
                <a:gd name="connsiteY36" fmla="*/ 4165810 h 10800208"/>
                <a:gd name="connsiteX37" fmla="*/ 12201432 w 17157070"/>
                <a:gd name="connsiteY37" fmla="*/ 3767910 h 10800208"/>
                <a:gd name="connsiteX38" fmla="*/ 12508887 w 17157070"/>
                <a:gd name="connsiteY38" fmla="*/ 3264515 h 10800208"/>
                <a:gd name="connsiteX39" fmla="*/ 13774933 w 17157070"/>
                <a:gd name="connsiteY39" fmla="*/ 2486799 h 10800208"/>
                <a:gd name="connsiteX40" fmla="*/ 15294184 w 17157070"/>
                <a:gd name="connsiteY40" fmla="*/ 1980384 h 10800208"/>
                <a:gd name="connsiteX41" fmla="*/ 15746333 w 17157070"/>
                <a:gd name="connsiteY41" fmla="*/ 2305939 h 10800208"/>
                <a:gd name="connsiteX42" fmla="*/ 16578306 w 17157070"/>
                <a:gd name="connsiteY42" fmla="*/ 2016557 h 10800208"/>
                <a:gd name="connsiteX43" fmla="*/ 17084732 w 17157070"/>
                <a:gd name="connsiteY43" fmla="*/ 2414465 h 10800208"/>
                <a:gd name="connsiteX44" fmla="*/ 17157070 w 17157070"/>
                <a:gd name="connsiteY44" fmla="*/ 1473974 h 10800208"/>
                <a:gd name="connsiteX45" fmla="*/ 5596373 w 17157070"/>
                <a:gd name="connsiteY45" fmla="*/ 4033059 h 10800208"/>
                <a:gd name="connsiteX46" fmla="*/ 5365184 w 17157070"/>
                <a:gd name="connsiteY46" fmla="*/ 3460880 h 10800208"/>
                <a:gd name="connsiteX47" fmla="*/ 5153802 w 17157070"/>
                <a:gd name="connsiteY47" fmla="*/ 3132314 h 10800208"/>
                <a:gd name="connsiteX48" fmla="*/ 4898441 w 17157070"/>
                <a:gd name="connsiteY48" fmla="*/ 3183022 h 10800208"/>
                <a:gd name="connsiteX49" fmla="*/ 4600673 w 17157070"/>
                <a:gd name="connsiteY49" fmla="*/ 2914551 h 10800208"/>
                <a:gd name="connsiteX50" fmla="*/ 4416749 w 17157070"/>
                <a:gd name="connsiteY50" fmla="*/ 2491544 h 10800208"/>
                <a:gd name="connsiteX51" fmla="*/ 4653822 w 17157070"/>
                <a:gd name="connsiteY51" fmla="*/ 1941377 h 10800208"/>
                <a:gd name="connsiteX52" fmla="*/ 4432864 w 17157070"/>
                <a:gd name="connsiteY52" fmla="*/ 1388142 h 10800208"/>
                <a:gd name="connsiteX53" fmla="*/ 4437471 w 17157070"/>
                <a:gd name="connsiteY53" fmla="*/ 719354 h 10800208"/>
                <a:gd name="connsiteX54" fmla="*/ 4141784 w 17157070"/>
                <a:gd name="connsiteY54" fmla="*/ 0 h 10800208"/>
                <a:gd name="connsiteX55" fmla="*/ 2314296 w 17157070"/>
                <a:gd name="connsiteY55" fmla="*/ 282857 h 10800208"/>
                <a:gd name="connsiteX56" fmla="*/ 1334589 w 17157070"/>
                <a:gd name="connsiteY56" fmla="*/ 1087729 h 10800208"/>
                <a:gd name="connsiteX57" fmla="*/ 0 w 17157070"/>
                <a:gd name="connsiteY57" fmla="*/ 2435175 h 10800208"/>
                <a:gd name="connsiteX0" fmla="*/ 0 w 17084730"/>
                <a:gd name="connsiteY0" fmla="*/ 2435175 h 10800208"/>
                <a:gd name="connsiteX1" fmla="*/ 613837 w 17084730"/>
                <a:gd name="connsiteY1" fmla="*/ 4813533 h 10800208"/>
                <a:gd name="connsiteX2" fmla="*/ 1518338 w 17084730"/>
                <a:gd name="connsiteY2" fmla="*/ 5681683 h 10800208"/>
                <a:gd name="connsiteX3" fmla="*/ 1735898 w 17084730"/>
                <a:gd name="connsiteY3" fmla="*/ 6513607 h 10800208"/>
                <a:gd name="connsiteX4" fmla="*/ 3137400 w 17084730"/>
                <a:gd name="connsiteY4" fmla="*/ 7038167 h 10800208"/>
                <a:gd name="connsiteX5" fmla="*/ 3453963 w 17084730"/>
                <a:gd name="connsiteY5" fmla="*/ 8394658 h 10800208"/>
                <a:gd name="connsiteX6" fmla="*/ 4168520 w 17084730"/>
                <a:gd name="connsiteY6" fmla="*/ 9769227 h 10800208"/>
                <a:gd name="connsiteX7" fmla="*/ 4162343 w 17084730"/>
                <a:gd name="connsiteY7" fmla="*/ 10800208 h 10800208"/>
                <a:gd name="connsiteX8" fmla="*/ 4605215 w 17084730"/>
                <a:gd name="connsiteY8" fmla="*/ 10716044 h 10800208"/>
                <a:gd name="connsiteX9" fmla="*/ 4840336 w 17084730"/>
                <a:gd name="connsiteY9" fmla="*/ 10426662 h 10800208"/>
                <a:gd name="connsiteX10" fmla="*/ 6070201 w 17084730"/>
                <a:gd name="connsiteY10" fmla="*/ 10444754 h 10800208"/>
                <a:gd name="connsiteX11" fmla="*/ 6884082 w 17084730"/>
                <a:gd name="connsiteY11" fmla="*/ 9847902 h 10800208"/>
                <a:gd name="connsiteX12" fmla="*/ 7716051 w 17084730"/>
                <a:gd name="connsiteY12" fmla="*/ 10173461 h 10800208"/>
                <a:gd name="connsiteX13" fmla="*/ 8584189 w 17084730"/>
                <a:gd name="connsiteY13" fmla="*/ 9974509 h 10800208"/>
                <a:gd name="connsiteX14" fmla="*/ 9289552 w 17084730"/>
                <a:gd name="connsiteY14" fmla="*/ 10173461 h 10800208"/>
                <a:gd name="connsiteX15" fmla="*/ 10139605 w 17084730"/>
                <a:gd name="connsiteY15" fmla="*/ 9775561 h 10800208"/>
                <a:gd name="connsiteX16" fmla="*/ 10664108 w 17084730"/>
                <a:gd name="connsiteY16" fmla="*/ 9992597 h 10800208"/>
                <a:gd name="connsiteX17" fmla="*/ 11387555 w 17084730"/>
                <a:gd name="connsiteY17" fmla="*/ 9902167 h 10800208"/>
                <a:gd name="connsiteX18" fmla="*/ 11966315 w 17084730"/>
                <a:gd name="connsiteY18" fmla="*/ 10625622 h 10800208"/>
                <a:gd name="connsiteX19" fmla="*/ 12942975 w 17084730"/>
                <a:gd name="connsiteY19" fmla="*/ 10390493 h 10800208"/>
                <a:gd name="connsiteX20" fmla="*/ 13575992 w 17084730"/>
                <a:gd name="connsiteY20" fmla="*/ 10788393 h 10800208"/>
                <a:gd name="connsiteX21" fmla="*/ 13973888 w 17084730"/>
                <a:gd name="connsiteY21" fmla="*/ 10697960 h 10800208"/>
                <a:gd name="connsiteX22" fmla="*/ 14028146 w 17084730"/>
                <a:gd name="connsiteY22" fmla="*/ 10155369 h 10800208"/>
                <a:gd name="connsiteX23" fmla="*/ 13594073 w 17084730"/>
                <a:gd name="connsiteY23" fmla="*/ 10101112 h 10800208"/>
                <a:gd name="connsiteX24" fmla="*/ 13612161 w 17084730"/>
                <a:gd name="connsiteY24" fmla="*/ 9413833 h 10800208"/>
                <a:gd name="connsiteX25" fmla="*/ 14190925 w 17084730"/>
                <a:gd name="connsiteY25" fmla="*/ 9269146 h 10800208"/>
                <a:gd name="connsiteX26" fmla="*/ 13865366 w 17084730"/>
                <a:gd name="connsiteY26" fmla="*/ 8798901 h 10800208"/>
                <a:gd name="connsiteX27" fmla="*/ 14136664 w 17084730"/>
                <a:gd name="connsiteY27" fmla="*/ 8401005 h 10800208"/>
                <a:gd name="connsiteX28" fmla="*/ 14703435 w 17084730"/>
                <a:gd name="connsiteY28" fmla="*/ 8428101 h 10800208"/>
                <a:gd name="connsiteX29" fmla="*/ 14661163 w 17084730"/>
                <a:gd name="connsiteY29" fmla="*/ 8256317 h 10800208"/>
                <a:gd name="connsiteX30" fmla="*/ 14335608 w 17084730"/>
                <a:gd name="connsiteY30" fmla="*/ 8093542 h 10800208"/>
                <a:gd name="connsiteX31" fmla="*/ 14498387 w 17084730"/>
                <a:gd name="connsiteY31" fmla="*/ 7514778 h 10800208"/>
                <a:gd name="connsiteX32" fmla="*/ 13847278 w 17084730"/>
                <a:gd name="connsiteY32" fmla="*/ 6610464 h 10800208"/>
                <a:gd name="connsiteX33" fmla="*/ 13340864 w 17084730"/>
                <a:gd name="connsiteY33" fmla="*/ 5905101 h 10800208"/>
                <a:gd name="connsiteX34" fmla="*/ 13123831 w 17084730"/>
                <a:gd name="connsiteY34" fmla="*/ 4819923 h 10800208"/>
                <a:gd name="connsiteX35" fmla="*/ 13232349 w 17084730"/>
                <a:gd name="connsiteY35" fmla="*/ 4132649 h 10800208"/>
                <a:gd name="connsiteX36" fmla="*/ 12273778 w 17084730"/>
                <a:gd name="connsiteY36" fmla="*/ 4165810 h 10800208"/>
                <a:gd name="connsiteX37" fmla="*/ 12201432 w 17084730"/>
                <a:gd name="connsiteY37" fmla="*/ 3767910 h 10800208"/>
                <a:gd name="connsiteX38" fmla="*/ 12508887 w 17084730"/>
                <a:gd name="connsiteY38" fmla="*/ 3264515 h 10800208"/>
                <a:gd name="connsiteX39" fmla="*/ 13774933 w 17084730"/>
                <a:gd name="connsiteY39" fmla="*/ 2486799 h 10800208"/>
                <a:gd name="connsiteX40" fmla="*/ 15294184 w 17084730"/>
                <a:gd name="connsiteY40" fmla="*/ 1980384 h 10800208"/>
                <a:gd name="connsiteX41" fmla="*/ 15746333 w 17084730"/>
                <a:gd name="connsiteY41" fmla="*/ 2305939 h 10800208"/>
                <a:gd name="connsiteX42" fmla="*/ 16578306 w 17084730"/>
                <a:gd name="connsiteY42" fmla="*/ 2016557 h 10800208"/>
                <a:gd name="connsiteX43" fmla="*/ 17084732 w 17084730"/>
                <a:gd name="connsiteY43" fmla="*/ 2414465 h 10800208"/>
                <a:gd name="connsiteX44" fmla="*/ 5596373 w 17084730"/>
                <a:gd name="connsiteY44" fmla="*/ 4033059 h 10800208"/>
                <a:gd name="connsiteX45" fmla="*/ 5365184 w 17084730"/>
                <a:gd name="connsiteY45" fmla="*/ 3460880 h 10800208"/>
                <a:gd name="connsiteX46" fmla="*/ 5153802 w 17084730"/>
                <a:gd name="connsiteY46" fmla="*/ 3132314 h 10800208"/>
                <a:gd name="connsiteX47" fmla="*/ 4898441 w 17084730"/>
                <a:gd name="connsiteY47" fmla="*/ 3183022 h 10800208"/>
                <a:gd name="connsiteX48" fmla="*/ 4600673 w 17084730"/>
                <a:gd name="connsiteY48" fmla="*/ 2914551 h 10800208"/>
                <a:gd name="connsiteX49" fmla="*/ 4416749 w 17084730"/>
                <a:gd name="connsiteY49" fmla="*/ 2491544 h 10800208"/>
                <a:gd name="connsiteX50" fmla="*/ 4653822 w 17084730"/>
                <a:gd name="connsiteY50" fmla="*/ 1941377 h 10800208"/>
                <a:gd name="connsiteX51" fmla="*/ 4432864 w 17084730"/>
                <a:gd name="connsiteY51" fmla="*/ 1388142 h 10800208"/>
                <a:gd name="connsiteX52" fmla="*/ 4437471 w 17084730"/>
                <a:gd name="connsiteY52" fmla="*/ 719354 h 10800208"/>
                <a:gd name="connsiteX53" fmla="*/ 4141784 w 17084730"/>
                <a:gd name="connsiteY53" fmla="*/ 0 h 10800208"/>
                <a:gd name="connsiteX54" fmla="*/ 2314296 w 17084730"/>
                <a:gd name="connsiteY54" fmla="*/ 282857 h 10800208"/>
                <a:gd name="connsiteX55" fmla="*/ 1334589 w 17084730"/>
                <a:gd name="connsiteY55" fmla="*/ 1087729 h 10800208"/>
                <a:gd name="connsiteX56" fmla="*/ 0 w 17084730"/>
                <a:gd name="connsiteY56" fmla="*/ 2435175 h 10800208"/>
                <a:gd name="connsiteX0" fmla="*/ 0 w 16578304"/>
                <a:gd name="connsiteY0" fmla="*/ 2435175 h 10800208"/>
                <a:gd name="connsiteX1" fmla="*/ 613837 w 16578304"/>
                <a:gd name="connsiteY1" fmla="*/ 4813533 h 10800208"/>
                <a:gd name="connsiteX2" fmla="*/ 1518338 w 16578304"/>
                <a:gd name="connsiteY2" fmla="*/ 5681683 h 10800208"/>
                <a:gd name="connsiteX3" fmla="*/ 1735898 w 16578304"/>
                <a:gd name="connsiteY3" fmla="*/ 6513607 h 10800208"/>
                <a:gd name="connsiteX4" fmla="*/ 3137400 w 16578304"/>
                <a:gd name="connsiteY4" fmla="*/ 7038167 h 10800208"/>
                <a:gd name="connsiteX5" fmla="*/ 3453963 w 16578304"/>
                <a:gd name="connsiteY5" fmla="*/ 8394658 h 10800208"/>
                <a:gd name="connsiteX6" fmla="*/ 4168520 w 16578304"/>
                <a:gd name="connsiteY6" fmla="*/ 9769227 h 10800208"/>
                <a:gd name="connsiteX7" fmla="*/ 4162343 w 16578304"/>
                <a:gd name="connsiteY7" fmla="*/ 10800208 h 10800208"/>
                <a:gd name="connsiteX8" fmla="*/ 4605215 w 16578304"/>
                <a:gd name="connsiteY8" fmla="*/ 10716044 h 10800208"/>
                <a:gd name="connsiteX9" fmla="*/ 4840336 w 16578304"/>
                <a:gd name="connsiteY9" fmla="*/ 10426662 h 10800208"/>
                <a:gd name="connsiteX10" fmla="*/ 6070201 w 16578304"/>
                <a:gd name="connsiteY10" fmla="*/ 10444754 h 10800208"/>
                <a:gd name="connsiteX11" fmla="*/ 6884082 w 16578304"/>
                <a:gd name="connsiteY11" fmla="*/ 9847902 h 10800208"/>
                <a:gd name="connsiteX12" fmla="*/ 7716051 w 16578304"/>
                <a:gd name="connsiteY12" fmla="*/ 10173461 h 10800208"/>
                <a:gd name="connsiteX13" fmla="*/ 8584189 w 16578304"/>
                <a:gd name="connsiteY13" fmla="*/ 9974509 h 10800208"/>
                <a:gd name="connsiteX14" fmla="*/ 9289552 w 16578304"/>
                <a:gd name="connsiteY14" fmla="*/ 10173461 h 10800208"/>
                <a:gd name="connsiteX15" fmla="*/ 10139605 w 16578304"/>
                <a:gd name="connsiteY15" fmla="*/ 9775561 h 10800208"/>
                <a:gd name="connsiteX16" fmla="*/ 10664108 w 16578304"/>
                <a:gd name="connsiteY16" fmla="*/ 9992597 h 10800208"/>
                <a:gd name="connsiteX17" fmla="*/ 11387555 w 16578304"/>
                <a:gd name="connsiteY17" fmla="*/ 9902167 h 10800208"/>
                <a:gd name="connsiteX18" fmla="*/ 11966315 w 16578304"/>
                <a:gd name="connsiteY18" fmla="*/ 10625622 h 10800208"/>
                <a:gd name="connsiteX19" fmla="*/ 12942975 w 16578304"/>
                <a:gd name="connsiteY19" fmla="*/ 10390493 h 10800208"/>
                <a:gd name="connsiteX20" fmla="*/ 13575992 w 16578304"/>
                <a:gd name="connsiteY20" fmla="*/ 10788393 h 10800208"/>
                <a:gd name="connsiteX21" fmla="*/ 13973888 w 16578304"/>
                <a:gd name="connsiteY21" fmla="*/ 10697960 h 10800208"/>
                <a:gd name="connsiteX22" fmla="*/ 14028146 w 16578304"/>
                <a:gd name="connsiteY22" fmla="*/ 10155369 h 10800208"/>
                <a:gd name="connsiteX23" fmla="*/ 13594073 w 16578304"/>
                <a:gd name="connsiteY23" fmla="*/ 10101112 h 10800208"/>
                <a:gd name="connsiteX24" fmla="*/ 13612161 w 16578304"/>
                <a:gd name="connsiteY24" fmla="*/ 9413833 h 10800208"/>
                <a:gd name="connsiteX25" fmla="*/ 14190925 w 16578304"/>
                <a:gd name="connsiteY25" fmla="*/ 9269146 h 10800208"/>
                <a:gd name="connsiteX26" fmla="*/ 13865366 w 16578304"/>
                <a:gd name="connsiteY26" fmla="*/ 8798901 h 10800208"/>
                <a:gd name="connsiteX27" fmla="*/ 14136664 w 16578304"/>
                <a:gd name="connsiteY27" fmla="*/ 8401005 h 10800208"/>
                <a:gd name="connsiteX28" fmla="*/ 14703435 w 16578304"/>
                <a:gd name="connsiteY28" fmla="*/ 8428101 h 10800208"/>
                <a:gd name="connsiteX29" fmla="*/ 14661163 w 16578304"/>
                <a:gd name="connsiteY29" fmla="*/ 8256317 h 10800208"/>
                <a:gd name="connsiteX30" fmla="*/ 14335608 w 16578304"/>
                <a:gd name="connsiteY30" fmla="*/ 8093542 h 10800208"/>
                <a:gd name="connsiteX31" fmla="*/ 14498387 w 16578304"/>
                <a:gd name="connsiteY31" fmla="*/ 7514778 h 10800208"/>
                <a:gd name="connsiteX32" fmla="*/ 13847278 w 16578304"/>
                <a:gd name="connsiteY32" fmla="*/ 6610464 h 10800208"/>
                <a:gd name="connsiteX33" fmla="*/ 13340864 w 16578304"/>
                <a:gd name="connsiteY33" fmla="*/ 5905101 h 10800208"/>
                <a:gd name="connsiteX34" fmla="*/ 13123831 w 16578304"/>
                <a:gd name="connsiteY34" fmla="*/ 4819923 h 10800208"/>
                <a:gd name="connsiteX35" fmla="*/ 13232349 w 16578304"/>
                <a:gd name="connsiteY35" fmla="*/ 4132649 h 10800208"/>
                <a:gd name="connsiteX36" fmla="*/ 12273778 w 16578304"/>
                <a:gd name="connsiteY36" fmla="*/ 4165810 h 10800208"/>
                <a:gd name="connsiteX37" fmla="*/ 12201432 w 16578304"/>
                <a:gd name="connsiteY37" fmla="*/ 3767910 h 10800208"/>
                <a:gd name="connsiteX38" fmla="*/ 12508887 w 16578304"/>
                <a:gd name="connsiteY38" fmla="*/ 3264515 h 10800208"/>
                <a:gd name="connsiteX39" fmla="*/ 13774933 w 16578304"/>
                <a:gd name="connsiteY39" fmla="*/ 2486799 h 10800208"/>
                <a:gd name="connsiteX40" fmla="*/ 15294184 w 16578304"/>
                <a:gd name="connsiteY40" fmla="*/ 1980384 h 10800208"/>
                <a:gd name="connsiteX41" fmla="*/ 15746333 w 16578304"/>
                <a:gd name="connsiteY41" fmla="*/ 2305939 h 10800208"/>
                <a:gd name="connsiteX42" fmla="*/ 16578306 w 16578304"/>
                <a:gd name="connsiteY42" fmla="*/ 2016557 h 10800208"/>
                <a:gd name="connsiteX43" fmla="*/ 6319261 w 16578304"/>
                <a:gd name="connsiteY43" fmla="*/ 4419497 h 10800208"/>
                <a:gd name="connsiteX44" fmla="*/ 5596373 w 16578304"/>
                <a:gd name="connsiteY44" fmla="*/ 4033059 h 10800208"/>
                <a:gd name="connsiteX45" fmla="*/ 5365184 w 16578304"/>
                <a:gd name="connsiteY45" fmla="*/ 3460880 h 10800208"/>
                <a:gd name="connsiteX46" fmla="*/ 5153802 w 16578304"/>
                <a:gd name="connsiteY46" fmla="*/ 3132314 h 10800208"/>
                <a:gd name="connsiteX47" fmla="*/ 4898441 w 16578304"/>
                <a:gd name="connsiteY47" fmla="*/ 3183022 h 10800208"/>
                <a:gd name="connsiteX48" fmla="*/ 4600673 w 16578304"/>
                <a:gd name="connsiteY48" fmla="*/ 2914551 h 10800208"/>
                <a:gd name="connsiteX49" fmla="*/ 4416749 w 16578304"/>
                <a:gd name="connsiteY49" fmla="*/ 2491544 h 10800208"/>
                <a:gd name="connsiteX50" fmla="*/ 4653822 w 16578304"/>
                <a:gd name="connsiteY50" fmla="*/ 1941377 h 10800208"/>
                <a:gd name="connsiteX51" fmla="*/ 4432864 w 16578304"/>
                <a:gd name="connsiteY51" fmla="*/ 1388142 h 10800208"/>
                <a:gd name="connsiteX52" fmla="*/ 4437471 w 16578304"/>
                <a:gd name="connsiteY52" fmla="*/ 719354 h 10800208"/>
                <a:gd name="connsiteX53" fmla="*/ 4141784 w 16578304"/>
                <a:gd name="connsiteY53" fmla="*/ 0 h 10800208"/>
                <a:gd name="connsiteX54" fmla="*/ 2314296 w 16578304"/>
                <a:gd name="connsiteY54" fmla="*/ 282857 h 10800208"/>
                <a:gd name="connsiteX55" fmla="*/ 1334589 w 16578304"/>
                <a:gd name="connsiteY55" fmla="*/ 1087729 h 10800208"/>
                <a:gd name="connsiteX56" fmla="*/ 0 w 16578304"/>
                <a:gd name="connsiteY56" fmla="*/ 2435175 h 10800208"/>
                <a:gd name="connsiteX0" fmla="*/ 0 w 15746332"/>
                <a:gd name="connsiteY0" fmla="*/ 2435175 h 10800208"/>
                <a:gd name="connsiteX1" fmla="*/ 613837 w 15746332"/>
                <a:gd name="connsiteY1" fmla="*/ 4813533 h 10800208"/>
                <a:gd name="connsiteX2" fmla="*/ 1518338 w 15746332"/>
                <a:gd name="connsiteY2" fmla="*/ 5681683 h 10800208"/>
                <a:gd name="connsiteX3" fmla="*/ 1735898 w 15746332"/>
                <a:gd name="connsiteY3" fmla="*/ 6513607 h 10800208"/>
                <a:gd name="connsiteX4" fmla="*/ 3137400 w 15746332"/>
                <a:gd name="connsiteY4" fmla="*/ 7038167 h 10800208"/>
                <a:gd name="connsiteX5" fmla="*/ 3453963 w 15746332"/>
                <a:gd name="connsiteY5" fmla="*/ 8394658 h 10800208"/>
                <a:gd name="connsiteX6" fmla="*/ 4168520 w 15746332"/>
                <a:gd name="connsiteY6" fmla="*/ 9769227 h 10800208"/>
                <a:gd name="connsiteX7" fmla="*/ 4162343 w 15746332"/>
                <a:gd name="connsiteY7" fmla="*/ 10800208 h 10800208"/>
                <a:gd name="connsiteX8" fmla="*/ 4605215 w 15746332"/>
                <a:gd name="connsiteY8" fmla="*/ 10716044 h 10800208"/>
                <a:gd name="connsiteX9" fmla="*/ 4840336 w 15746332"/>
                <a:gd name="connsiteY9" fmla="*/ 10426662 h 10800208"/>
                <a:gd name="connsiteX10" fmla="*/ 6070201 w 15746332"/>
                <a:gd name="connsiteY10" fmla="*/ 10444754 h 10800208"/>
                <a:gd name="connsiteX11" fmla="*/ 6884082 w 15746332"/>
                <a:gd name="connsiteY11" fmla="*/ 9847902 h 10800208"/>
                <a:gd name="connsiteX12" fmla="*/ 7716051 w 15746332"/>
                <a:gd name="connsiteY12" fmla="*/ 10173461 h 10800208"/>
                <a:gd name="connsiteX13" fmla="*/ 8584189 w 15746332"/>
                <a:gd name="connsiteY13" fmla="*/ 9974509 h 10800208"/>
                <a:gd name="connsiteX14" fmla="*/ 9289552 w 15746332"/>
                <a:gd name="connsiteY14" fmla="*/ 10173461 h 10800208"/>
                <a:gd name="connsiteX15" fmla="*/ 10139605 w 15746332"/>
                <a:gd name="connsiteY15" fmla="*/ 9775561 h 10800208"/>
                <a:gd name="connsiteX16" fmla="*/ 10664108 w 15746332"/>
                <a:gd name="connsiteY16" fmla="*/ 9992597 h 10800208"/>
                <a:gd name="connsiteX17" fmla="*/ 11387555 w 15746332"/>
                <a:gd name="connsiteY17" fmla="*/ 9902167 h 10800208"/>
                <a:gd name="connsiteX18" fmla="*/ 11966315 w 15746332"/>
                <a:gd name="connsiteY18" fmla="*/ 10625622 h 10800208"/>
                <a:gd name="connsiteX19" fmla="*/ 12942975 w 15746332"/>
                <a:gd name="connsiteY19" fmla="*/ 10390493 h 10800208"/>
                <a:gd name="connsiteX20" fmla="*/ 13575992 w 15746332"/>
                <a:gd name="connsiteY20" fmla="*/ 10788393 h 10800208"/>
                <a:gd name="connsiteX21" fmla="*/ 13973888 w 15746332"/>
                <a:gd name="connsiteY21" fmla="*/ 10697960 h 10800208"/>
                <a:gd name="connsiteX22" fmla="*/ 14028146 w 15746332"/>
                <a:gd name="connsiteY22" fmla="*/ 10155369 h 10800208"/>
                <a:gd name="connsiteX23" fmla="*/ 13594073 w 15746332"/>
                <a:gd name="connsiteY23" fmla="*/ 10101112 h 10800208"/>
                <a:gd name="connsiteX24" fmla="*/ 13612161 w 15746332"/>
                <a:gd name="connsiteY24" fmla="*/ 9413833 h 10800208"/>
                <a:gd name="connsiteX25" fmla="*/ 14190925 w 15746332"/>
                <a:gd name="connsiteY25" fmla="*/ 9269146 h 10800208"/>
                <a:gd name="connsiteX26" fmla="*/ 13865366 w 15746332"/>
                <a:gd name="connsiteY26" fmla="*/ 8798901 h 10800208"/>
                <a:gd name="connsiteX27" fmla="*/ 14136664 w 15746332"/>
                <a:gd name="connsiteY27" fmla="*/ 8401005 h 10800208"/>
                <a:gd name="connsiteX28" fmla="*/ 14703435 w 15746332"/>
                <a:gd name="connsiteY28" fmla="*/ 8428101 h 10800208"/>
                <a:gd name="connsiteX29" fmla="*/ 14661163 w 15746332"/>
                <a:gd name="connsiteY29" fmla="*/ 8256317 h 10800208"/>
                <a:gd name="connsiteX30" fmla="*/ 14335608 w 15746332"/>
                <a:gd name="connsiteY30" fmla="*/ 8093542 h 10800208"/>
                <a:gd name="connsiteX31" fmla="*/ 14498387 w 15746332"/>
                <a:gd name="connsiteY31" fmla="*/ 7514778 h 10800208"/>
                <a:gd name="connsiteX32" fmla="*/ 13847278 w 15746332"/>
                <a:gd name="connsiteY32" fmla="*/ 6610464 h 10800208"/>
                <a:gd name="connsiteX33" fmla="*/ 13340864 w 15746332"/>
                <a:gd name="connsiteY33" fmla="*/ 5905101 h 10800208"/>
                <a:gd name="connsiteX34" fmla="*/ 13123831 w 15746332"/>
                <a:gd name="connsiteY34" fmla="*/ 4819923 h 10800208"/>
                <a:gd name="connsiteX35" fmla="*/ 13232349 w 15746332"/>
                <a:gd name="connsiteY35" fmla="*/ 4132649 h 10800208"/>
                <a:gd name="connsiteX36" fmla="*/ 12273778 w 15746332"/>
                <a:gd name="connsiteY36" fmla="*/ 4165810 h 10800208"/>
                <a:gd name="connsiteX37" fmla="*/ 12201432 w 15746332"/>
                <a:gd name="connsiteY37" fmla="*/ 3767910 h 10800208"/>
                <a:gd name="connsiteX38" fmla="*/ 12508887 w 15746332"/>
                <a:gd name="connsiteY38" fmla="*/ 3264515 h 10800208"/>
                <a:gd name="connsiteX39" fmla="*/ 13774933 w 15746332"/>
                <a:gd name="connsiteY39" fmla="*/ 2486799 h 10800208"/>
                <a:gd name="connsiteX40" fmla="*/ 15294184 w 15746332"/>
                <a:gd name="connsiteY40" fmla="*/ 1980384 h 10800208"/>
                <a:gd name="connsiteX41" fmla="*/ 15746333 w 15746332"/>
                <a:gd name="connsiteY41" fmla="*/ 2305939 h 10800208"/>
                <a:gd name="connsiteX42" fmla="*/ 6319261 w 15746332"/>
                <a:gd name="connsiteY42" fmla="*/ 4419497 h 10800208"/>
                <a:gd name="connsiteX43" fmla="*/ 5596373 w 15746332"/>
                <a:gd name="connsiteY43" fmla="*/ 4033059 h 10800208"/>
                <a:gd name="connsiteX44" fmla="*/ 5365184 w 15746332"/>
                <a:gd name="connsiteY44" fmla="*/ 3460880 h 10800208"/>
                <a:gd name="connsiteX45" fmla="*/ 5153802 w 15746332"/>
                <a:gd name="connsiteY45" fmla="*/ 3132314 h 10800208"/>
                <a:gd name="connsiteX46" fmla="*/ 4898441 w 15746332"/>
                <a:gd name="connsiteY46" fmla="*/ 3183022 h 10800208"/>
                <a:gd name="connsiteX47" fmla="*/ 4600673 w 15746332"/>
                <a:gd name="connsiteY47" fmla="*/ 2914551 h 10800208"/>
                <a:gd name="connsiteX48" fmla="*/ 4416749 w 15746332"/>
                <a:gd name="connsiteY48" fmla="*/ 2491544 h 10800208"/>
                <a:gd name="connsiteX49" fmla="*/ 4653822 w 15746332"/>
                <a:gd name="connsiteY49" fmla="*/ 1941377 h 10800208"/>
                <a:gd name="connsiteX50" fmla="*/ 4432864 w 15746332"/>
                <a:gd name="connsiteY50" fmla="*/ 1388142 h 10800208"/>
                <a:gd name="connsiteX51" fmla="*/ 4437471 w 15746332"/>
                <a:gd name="connsiteY51" fmla="*/ 719354 h 10800208"/>
                <a:gd name="connsiteX52" fmla="*/ 4141784 w 15746332"/>
                <a:gd name="connsiteY52" fmla="*/ 0 h 10800208"/>
                <a:gd name="connsiteX53" fmla="*/ 2314296 w 15746332"/>
                <a:gd name="connsiteY53" fmla="*/ 282857 h 10800208"/>
                <a:gd name="connsiteX54" fmla="*/ 1334589 w 15746332"/>
                <a:gd name="connsiteY54" fmla="*/ 1087729 h 10800208"/>
                <a:gd name="connsiteX55" fmla="*/ 0 w 15746332"/>
                <a:gd name="connsiteY55" fmla="*/ 2435175 h 10800208"/>
                <a:gd name="connsiteX0" fmla="*/ 0 w 15294185"/>
                <a:gd name="connsiteY0" fmla="*/ 2435175 h 10800208"/>
                <a:gd name="connsiteX1" fmla="*/ 613837 w 15294185"/>
                <a:gd name="connsiteY1" fmla="*/ 4813533 h 10800208"/>
                <a:gd name="connsiteX2" fmla="*/ 1518338 w 15294185"/>
                <a:gd name="connsiteY2" fmla="*/ 5681683 h 10800208"/>
                <a:gd name="connsiteX3" fmla="*/ 1735898 w 15294185"/>
                <a:gd name="connsiteY3" fmla="*/ 6513607 h 10800208"/>
                <a:gd name="connsiteX4" fmla="*/ 3137400 w 15294185"/>
                <a:gd name="connsiteY4" fmla="*/ 7038167 h 10800208"/>
                <a:gd name="connsiteX5" fmla="*/ 3453963 w 15294185"/>
                <a:gd name="connsiteY5" fmla="*/ 8394658 h 10800208"/>
                <a:gd name="connsiteX6" fmla="*/ 4168520 w 15294185"/>
                <a:gd name="connsiteY6" fmla="*/ 9769227 h 10800208"/>
                <a:gd name="connsiteX7" fmla="*/ 4162343 w 15294185"/>
                <a:gd name="connsiteY7" fmla="*/ 10800208 h 10800208"/>
                <a:gd name="connsiteX8" fmla="*/ 4605215 w 15294185"/>
                <a:gd name="connsiteY8" fmla="*/ 10716044 h 10800208"/>
                <a:gd name="connsiteX9" fmla="*/ 4840336 w 15294185"/>
                <a:gd name="connsiteY9" fmla="*/ 10426662 h 10800208"/>
                <a:gd name="connsiteX10" fmla="*/ 6070201 w 15294185"/>
                <a:gd name="connsiteY10" fmla="*/ 10444754 h 10800208"/>
                <a:gd name="connsiteX11" fmla="*/ 6884082 w 15294185"/>
                <a:gd name="connsiteY11" fmla="*/ 9847902 h 10800208"/>
                <a:gd name="connsiteX12" fmla="*/ 7716051 w 15294185"/>
                <a:gd name="connsiteY12" fmla="*/ 10173461 h 10800208"/>
                <a:gd name="connsiteX13" fmla="*/ 8584189 w 15294185"/>
                <a:gd name="connsiteY13" fmla="*/ 9974509 h 10800208"/>
                <a:gd name="connsiteX14" fmla="*/ 9289552 w 15294185"/>
                <a:gd name="connsiteY14" fmla="*/ 10173461 h 10800208"/>
                <a:gd name="connsiteX15" fmla="*/ 10139605 w 15294185"/>
                <a:gd name="connsiteY15" fmla="*/ 9775561 h 10800208"/>
                <a:gd name="connsiteX16" fmla="*/ 10664108 w 15294185"/>
                <a:gd name="connsiteY16" fmla="*/ 9992597 h 10800208"/>
                <a:gd name="connsiteX17" fmla="*/ 11387555 w 15294185"/>
                <a:gd name="connsiteY17" fmla="*/ 9902167 h 10800208"/>
                <a:gd name="connsiteX18" fmla="*/ 11966315 w 15294185"/>
                <a:gd name="connsiteY18" fmla="*/ 10625622 h 10800208"/>
                <a:gd name="connsiteX19" fmla="*/ 12942975 w 15294185"/>
                <a:gd name="connsiteY19" fmla="*/ 10390493 h 10800208"/>
                <a:gd name="connsiteX20" fmla="*/ 13575992 w 15294185"/>
                <a:gd name="connsiteY20" fmla="*/ 10788393 h 10800208"/>
                <a:gd name="connsiteX21" fmla="*/ 13973888 w 15294185"/>
                <a:gd name="connsiteY21" fmla="*/ 10697960 h 10800208"/>
                <a:gd name="connsiteX22" fmla="*/ 14028146 w 15294185"/>
                <a:gd name="connsiteY22" fmla="*/ 10155369 h 10800208"/>
                <a:gd name="connsiteX23" fmla="*/ 13594073 w 15294185"/>
                <a:gd name="connsiteY23" fmla="*/ 10101112 h 10800208"/>
                <a:gd name="connsiteX24" fmla="*/ 13612161 w 15294185"/>
                <a:gd name="connsiteY24" fmla="*/ 9413833 h 10800208"/>
                <a:gd name="connsiteX25" fmla="*/ 14190925 w 15294185"/>
                <a:gd name="connsiteY25" fmla="*/ 9269146 h 10800208"/>
                <a:gd name="connsiteX26" fmla="*/ 13865366 w 15294185"/>
                <a:gd name="connsiteY26" fmla="*/ 8798901 h 10800208"/>
                <a:gd name="connsiteX27" fmla="*/ 14136664 w 15294185"/>
                <a:gd name="connsiteY27" fmla="*/ 8401005 h 10800208"/>
                <a:gd name="connsiteX28" fmla="*/ 14703435 w 15294185"/>
                <a:gd name="connsiteY28" fmla="*/ 8428101 h 10800208"/>
                <a:gd name="connsiteX29" fmla="*/ 14661163 w 15294185"/>
                <a:gd name="connsiteY29" fmla="*/ 8256317 h 10800208"/>
                <a:gd name="connsiteX30" fmla="*/ 14335608 w 15294185"/>
                <a:gd name="connsiteY30" fmla="*/ 8093542 h 10800208"/>
                <a:gd name="connsiteX31" fmla="*/ 14498387 w 15294185"/>
                <a:gd name="connsiteY31" fmla="*/ 7514778 h 10800208"/>
                <a:gd name="connsiteX32" fmla="*/ 13847278 w 15294185"/>
                <a:gd name="connsiteY32" fmla="*/ 6610464 h 10800208"/>
                <a:gd name="connsiteX33" fmla="*/ 13340864 w 15294185"/>
                <a:gd name="connsiteY33" fmla="*/ 5905101 h 10800208"/>
                <a:gd name="connsiteX34" fmla="*/ 13123831 w 15294185"/>
                <a:gd name="connsiteY34" fmla="*/ 4819923 h 10800208"/>
                <a:gd name="connsiteX35" fmla="*/ 13232349 w 15294185"/>
                <a:gd name="connsiteY35" fmla="*/ 4132649 h 10800208"/>
                <a:gd name="connsiteX36" fmla="*/ 12273778 w 15294185"/>
                <a:gd name="connsiteY36" fmla="*/ 4165810 h 10800208"/>
                <a:gd name="connsiteX37" fmla="*/ 12201432 w 15294185"/>
                <a:gd name="connsiteY37" fmla="*/ 3767910 h 10800208"/>
                <a:gd name="connsiteX38" fmla="*/ 12508887 w 15294185"/>
                <a:gd name="connsiteY38" fmla="*/ 3264515 h 10800208"/>
                <a:gd name="connsiteX39" fmla="*/ 13774933 w 15294185"/>
                <a:gd name="connsiteY39" fmla="*/ 2486799 h 10800208"/>
                <a:gd name="connsiteX40" fmla="*/ 15294184 w 15294185"/>
                <a:gd name="connsiteY40" fmla="*/ 1980384 h 10800208"/>
                <a:gd name="connsiteX41" fmla="*/ 6319261 w 15294185"/>
                <a:gd name="connsiteY41" fmla="*/ 4419497 h 10800208"/>
                <a:gd name="connsiteX42" fmla="*/ 5596373 w 15294185"/>
                <a:gd name="connsiteY42" fmla="*/ 4033059 h 10800208"/>
                <a:gd name="connsiteX43" fmla="*/ 5365184 w 15294185"/>
                <a:gd name="connsiteY43" fmla="*/ 3460880 h 10800208"/>
                <a:gd name="connsiteX44" fmla="*/ 5153802 w 15294185"/>
                <a:gd name="connsiteY44" fmla="*/ 3132314 h 10800208"/>
                <a:gd name="connsiteX45" fmla="*/ 4898441 w 15294185"/>
                <a:gd name="connsiteY45" fmla="*/ 3183022 h 10800208"/>
                <a:gd name="connsiteX46" fmla="*/ 4600673 w 15294185"/>
                <a:gd name="connsiteY46" fmla="*/ 2914551 h 10800208"/>
                <a:gd name="connsiteX47" fmla="*/ 4416749 w 15294185"/>
                <a:gd name="connsiteY47" fmla="*/ 2491544 h 10800208"/>
                <a:gd name="connsiteX48" fmla="*/ 4653822 w 15294185"/>
                <a:gd name="connsiteY48" fmla="*/ 1941377 h 10800208"/>
                <a:gd name="connsiteX49" fmla="*/ 4432864 w 15294185"/>
                <a:gd name="connsiteY49" fmla="*/ 1388142 h 10800208"/>
                <a:gd name="connsiteX50" fmla="*/ 4437471 w 15294185"/>
                <a:gd name="connsiteY50" fmla="*/ 719354 h 10800208"/>
                <a:gd name="connsiteX51" fmla="*/ 4141784 w 15294185"/>
                <a:gd name="connsiteY51" fmla="*/ 0 h 10800208"/>
                <a:gd name="connsiteX52" fmla="*/ 2314296 w 15294185"/>
                <a:gd name="connsiteY52" fmla="*/ 282857 h 10800208"/>
                <a:gd name="connsiteX53" fmla="*/ 1334589 w 15294185"/>
                <a:gd name="connsiteY53" fmla="*/ 1087729 h 10800208"/>
                <a:gd name="connsiteX54" fmla="*/ 0 w 15294185"/>
                <a:gd name="connsiteY54"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12273778 w 14703435"/>
                <a:gd name="connsiteY36" fmla="*/ 4165810 h 10800208"/>
                <a:gd name="connsiteX37" fmla="*/ 12201432 w 14703435"/>
                <a:gd name="connsiteY37" fmla="*/ 3767910 h 10800208"/>
                <a:gd name="connsiteX38" fmla="*/ 12508887 w 14703435"/>
                <a:gd name="connsiteY38" fmla="*/ 3264515 h 10800208"/>
                <a:gd name="connsiteX39" fmla="*/ 13774933 w 14703435"/>
                <a:gd name="connsiteY39" fmla="*/ 2486799 h 10800208"/>
                <a:gd name="connsiteX40" fmla="*/ 6319261 w 14703435"/>
                <a:gd name="connsiteY40" fmla="*/ 4419497 h 10800208"/>
                <a:gd name="connsiteX41" fmla="*/ 5596373 w 14703435"/>
                <a:gd name="connsiteY41" fmla="*/ 4033059 h 10800208"/>
                <a:gd name="connsiteX42" fmla="*/ 5365184 w 14703435"/>
                <a:gd name="connsiteY42" fmla="*/ 3460880 h 10800208"/>
                <a:gd name="connsiteX43" fmla="*/ 5153802 w 14703435"/>
                <a:gd name="connsiteY43" fmla="*/ 3132314 h 10800208"/>
                <a:gd name="connsiteX44" fmla="*/ 4898441 w 14703435"/>
                <a:gd name="connsiteY44" fmla="*/ 3183022 h 10800208"/>
                <a:gd name="connsiteX45" fmla="*/ 4600673 w 14703435"/>
                <a:gd name="connsiteY45" fmla="*/ 2914551 h 10800208"/>
                <a:gd name="connsiteX46" fmla="*/ 4416749 w 14703435"/>
                <a:gd name="connsiteY46" fmla="*/ 2491544 h 10800208"/>
                <a:gd name="connsiteX47" fmla="*/ 4653822 w 14703435"/>
                <a:gd name="connsiteY47" fmla="*/ 1941377 h 10800208"/>
                <a:gd name="connsiteX48" fmla="*/ 4432864 w 14703435"/>
                <a:gd name="connsiteY48" fmla="*/ 1388142 h 10800208"/>
                <a:gd name="connsiteX49" fmla="*/ 4437471 w 14703435"/>
                <a:gd name="connsiteY49" fmla="*/ 719354 h 10800208"/>
                <a:gd name="connsiteX50" fmla="*/ 4141784 w 14703435"/>
                <a:gd name="connsiteY50" fmla="*/ 0 h 10800208"/>
                <a:gd name="connsiteX51" fmla="*/ 2314296 w 14703435"/>
                <a:gd name="connsiteY51" fmla="*/ 282857 h 10800208"/>
                <a:gd name="connsiteX52" fmla="*/ 1334589 w 14703435"/>
                <a:gd name="connsiteY52" fmla="*/ 1087729 h 10800208"/>
                <a:gd name="connsiteX53" fmla="*/ 0 w 14703435"/>
                <a:gd name="connsiteY53"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12273778 w 14703435"/>
                <a:gd name="connsiteY36" fmla="*/ 4165810 h 10800208"/>
                <a:gd name="connsiteX37" fmla="*/ 12201432 w 14703435"/>
                <a:gd name="connsiteY37" fmla="*/ 3767910 h 10800208"/>
                <a:gd name="connsiteX38" fmla="*/ 12508887 w 14703435"/>
                <a:gd name="connsiteY38" fmla="*/ 32645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12273778 w 14703435"/>
                <a:gd name="connsiteY36" fmla="*/ 4165810 h 10800208"/>
                <a:gd name="connsiteX37" fmla="*/ 12201432 w 14703435"/>
                <a:gd name="connsiteY37" fmla="*/ 3767910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12273778 w 14703435"/>
                <a:gd name="connsiteY36" fmla="*/ 4165810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9824147 w 14703435"/>
                <a:gd name="connsiteY33" fmla="*/ 6931488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1909491 w 14703435"/>
                <a:gd name="connsiteY32" fmla="*/ 6300156 h 10800208"/>
                <a:gd name="connsiteX33" fmla="*/ 9824147 w 14703435"/>
                <a:gd name="connsiteY33" fmla="*/ 6931488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3924235 w 14703435"/>
                <a:gd name="connsiteY31" fmla="*/ 6560001 h 10800208"/>
                <a:gd name="connsiteX32" fmla="*/ 11909491 w 14703435"/>
                <a:gd name="connsiteY32" fmla="*/ 6300156 h 10800208"/>
                <a:gd name="connsiteX33" fmla="*/ 9824147 w 14703435"/>
                <a:gd name="connsiteY33" fmla="*/ 6931488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407378 w 14703435"/>
                <a:gd name="connsiteY30" fmla="*/ 7544542 h 10800208"/>
                <a:gd name="connsiteX31" fmla="*/ 13924235 w 14703435"/>
                <a:gd name="connsiteY31" fmla="*/ 6560001 h 10800208"/>
                <a:gd name="connsiteX32" fmla="*/ 11909491 w 14703435"/>
                <a:gd name="connsiteY32" fmla="*/ 6300156 h 10800208"/>
                <a:gd name="connsiteX33" fmla="*/ 9824147 w 14703435"/>
                <a:gd name="connsiteY33" fmla="*/ 6931488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341812 h 10706845"/>
                <a:gd name="connsiteX1" fmla="*/ 613837 w 14703435"/>
                <a:gd name="connsiteY1" fmla="*/ 4720170 h 10706845"/>
                <a:gd name="connsiteX2" fmla="*/ 1518338 w 14703435"/>
                <a:gd name="connsiteY2" fmla="*/ 5588320 h 10706845"/>
                <a:gd name="connsiteX3" fmla="*/ 1735898 w 14703435"/>
                <a:gd name="connsiteY3" fmla="*/ 6420244 h 10706845"/>
                <a:gd name="connsiteX4" fmla="*/ 3137400 w 14703435"/>
                <a:gd name="connsiteY4" fmla="*/ 6944804 h 10706845"/>
                <a:gd name="connsiteX5" fmla="*/ 3453963 w 14703435"/>
                <a:gd name="connsiteY5" fmla="*/ 8301295 h 10706845"/>
                <a:gd name="connsiteX6" fmla="*/ 4168520 w 14703435"/>
                <a:gd name="connsiteY6" fmla="*/ 9675864 h 10706845"/>
                <a:gd name="connsiteX7" fmla="*/ 4162343 w 14703435"/>
                <a:gd name="connsiteY7" fmla="*/ 10706845 h 10706845"/>
                <a:gd name="connsiteX8" fmla="*/ 4605215 w 14703435"/>
                <a:gd name="connsiteY8" fmla="*/ 10622681 h 10706845"/>
                <a:gd name="connsiteX9" fmla="*/ 4840336 w 14703435"/>
                <a:gd name="connsiteY9" fmla="*/ 10333299 h 10706845"/>
                <a:gd name="connsiteX10" fmla="*/ 6070201 w 14703435"/>
                <a:gd name="connsiteY10" fmla="*/ 10351391 h 10706845"/>
                <a:gd name="connsiteX11" fmla="*/ 6884082 w 14703435"/>
                <a:gd name="connsiteY11" fmla="*/ 9754539 h 10706845"/>
                <a:gd name="connsiteX12" fmla="*/ 7716051 w 14703435"/>
                <a:gd name="connsiteY12" fmla="*/ 10080098 h 10706845"/>
                <a:gd name="connsiteX13" fmla="*/ 8584189 w 14703435"/>
                <a:gd name="connsiteY13" fmla="*/ 9881146 h 10706845"/>
                <a:gd name="connsiteX14" fmla="*/ 9289552 w 14703435"/>
                <a:gd name="connsiteY14" fmla="*/ 10080098 h 10706845"/>
                <a:gd name="connsiteX15" fmla="*/ 10139605 w 14703435"/>
                <a:gd name="connsiteY15" fmla="*/ 9682198 h 10706845"/>
                <a:gd name="connsiteX16" fmla="*/ 10664108 w 14703435"/>
                <a:gd name="connsiteY16" fmla="*/ 9899234 h 10706845"/>
                <a:gd name="connsiteX17" fmla="*/ 11387555 w 14703435"/>
                <a:gd name="connsiteY17" fmla="*/ 9808804 h 10706845"/>
                <a:gd name="connsiteX18" fmla="*/ 11966315 w 14703435"/>
                <a:gd name="connsiteY18" fmla="*/ 10532259 h 10706845"/>
                <a:gd name="connsiteX19" fmla="*/ 12942975 w 14703435"/>
                <a:gd name="connsiteY19" fmla="*/ 10297130 h 10706845"/>
                <a:gd name="connsiteX20" fmla="*/ 13575992 w 14703435"/>
                <a:gd name="connsiteY20" fmla="*/ 10695030 h 10706845"/>
                <a:gd name="connsiteX21" fmla="*/ 13973888 w 14703435"/>
                <a:gd name="connsiteY21" fmla="*/ 10604597 h 10706845"/>
                <a:gd name="connsiteX22" fmla="*/ 14028146 w 14703435"/>
                <a:gd name="connsiteY22" fmla="*/ 10062006 h 10706845"/>
                <a:gd name="connsiteX23" fmla="*/ 13594073 w 14703435"/>
                <a:gd name="connsiteY23" fmla="*/ 10007749 h 10706845"/>
                <a:gd name="connsiteX24" fmla="*/ 13612161 w 14703435"/>
                <a:gd name="connsiteY24" fmla="*/ 9320470 h 10706845"/>
                <a:gd name="connsiteX25" fmla="*/ 14190925 w 14703435"/>
                <a:gd name="connsiteY25" fmla="*/ 9175783 h 10706845"/>
                <a:gd name="connsiteX26" fmla="*/ 13865366 w 14703435"/>
                <a:gd name="connsiteY26" fmla="*/ 8705538 h 10706845"/>
                <a:gd name="connsiteX27" fmla="*/ 14136664 w 14703435"/>
                <a:gd name="connsiteY27" fmla="*/ 8307642 h 10706845"/>
                <a:gd name="connsiteX28" fmla="*/ 14703435 w 14703435"/>
                <a:gd name="connsiteY28" fmla="*/ 8334738 h 10706845"/>
                <a:gd name="connsiteX29" fmla="*/ 14661163 w 14703435"/>
                <a:gd name="connsiteY29" fmla="*/ 8162954 h 10706845"/>
                <a:gd name="connsiteX30" fmla="*/ 14407378 w 14703435"/>
                <a:gd name="connsiteY30" fmla="*/ 7451179 h 10706845"/>
                <a:gd name="connsiteX31" fmla="*/ 13924235 w 14703435"/>
                <a:gd name="connsiteY31" fmla="*/ 6466638 h 10706845"/>
                <a:gd name="connsiteX32" fmla="*/ 11909491 w 14703435"/>
                <a:gd name="connsiteY32" fmla="*/ 6206793 h 10706845"/>
                <a:gd name="connsiteX33" fmla="*/ 9824147 w 14703435"/>
                <a:gd name="connsiteY33" fmla="*/ 6838125 h 10706845"/>
                <a:gd name="connsiteX34" fmla="*/ 8482717 w 14703435"/>
                <a:gd name="connsiteY34" fmla="*/ 6994165 h 10706845"/>
                <a:gd name="connsiteX35" fmla="*/ 8328079 w 14703435"/>
                <a:gd name="connsiteY35" fmla="*/ 6569451 h 10706845"/>
                <a:gd name="connsiteX36" fmla="*/ 7632672 w 14703435"/>
                <a:gd name="connsiteY36" fmla="*/ 6387789 h 10706845"/>
                <a:gd name="connsiteX37" fmla="*/ 7081852 w 14703435"/>
                <a:gd name="connsiteY37" fmla="*/ 5966020 h 10706845"/>
                <a:gd name="connsiteX38" fmla="*/ 6336686 w 14703435"/>
                <a:gd name="connsiteY38" fmla="*/ 5128452 h 10706845"/>
                <a:gd name="connsiteX39" fmla="*/ 6319261 w 14703435"/>
                <a:gd name="connsiteY39" fmla="*/ 4326134 h 10706845"/>
                <a:gd name="connsiteX40" fmla="*/ 5596373 w 14703435"/>
                <a:gd name="connsiteY40" fmla="*/ 3939696 h 10706845"/>
                <a:gd name="connsiteX41" fmla="*/ 5365184 w 14703435"/>
                <a:gd name="connsiteY41" fmla="*/ 3367517 h 10706845"/>
                <a:gd name="connsiteX42" fmla="*/ 5153802 w 14703435"/>
                <a:gd name="connsiteY42" fmla="*/ 3038951 h 10706845"/>
                <a:gd name="connsiteX43" fmla="*/ 4898441 w 14703435"/>
                <a:gd name="connsiteY43" fmla="*/ 3089659 h 10706845"/>
                <a:gd name="connsiteX44" fmla="*/ 4600673 w 14703435"/>
                <a:gd name="connsiteY44" fmla="*/ 2821188 h 10706845"/>
                <a:gd name="connsiteX45" fmla="*/ 4416749 w 14703435"/>
                <a:gd name="connsiteY45" fmla="*/ 2398181 h 10706845"/>
                <a:gd name="connsiteX46" fmla="*/ 4653822 w 14703435"/>
                <a:gd name="connsiteY46" fmla="*/ 1848014 h 10706845"/>
                <a:gd name="connsiteX47" fmla="*/ 4432864 w 14703435"/>
                <a:gd name="connsiteY47" fmla="*/ 1294779 h 10706845"/>
                <a:gd name="connsiteX48" fmla="*/ 4437471 w 14703435"/>
                <a:gd name="connsiteY48" fmla="*/ 625991 h 10706845"/>
                <a:gd name="connsiteX49" fmla="*/ 4141784 w 14703435"/>
                <a:gd name="connsiteY49" fmla="*/ 0 h 10706845"/>
                <a:gd name="connsiteX50" fmla="*/ 2314296 w 14703435"/>
                <a:gd name="connsiteY50" fmla="*/ 189494 h 10706845"/>
                <a:gd name="connsiteX51" fmla="*/ 1334589 w 14703435"/>
                <a:gd name="connsiteY51" fmla="*/ 994366 h 10706845"/>
                <a:gd name="connsiteX52" fmla="*/ 0 w 14703435"/>
                <a:gd name="connsiteY52" fmla="*/ 2341812 h 10706845"/>
                <a:gd name="connsiteX0" fmla="*/ 0 w 14703435"/>
                <a:gd name="connsiteY0" fmla="*/ 2341812 h 10706845"/>
                <a:gd name="connsiteX1" fmla="*/ 613837 w 14703435"/>
                <a:gd name="connsiteY1" fmla="*/ 4720170 h 10706845"/>
                <a:gd name="connsiteX2" fmla="*/ 1518338 w 14703435"/>
                <a:gd name="connsiteY2" fmla="*/ 5588320 h 10706845"/>
                <a:gd name="connsiteX3" fmla="*/ 1735898 w 14703435"/>
                <a:gd name="connsiteY3" fmla="*/ 6420244 h 10706845"/>
                <a:gd name="connsiteX4" fmla="*/ 3137400 w 14703435"/>
                <a:gd name="connsiteY4" fmla="*/ 6944804 h 10706845"/>
                <a:gd name="connsiteX5" fmla="*/ 3453963 w 14703435"/>
                <a:gd name="connsiteY5" fmla="*/ 8301295 h 10706845"/>
                <a:gd name="connsiteX6" fmla="*/ 4168520 w 14703435"/>
                <a:gd name="connsiteY6" fmla="*/ 9675864 h 10706845"/>
                <a:gd name="connsiteX7" fmla="*/ 4162343 w 14703435"/>
                <a:gd name="connsiteY7" fmla="*/ 10706845 h 10706845"/>
                <a:gd name="connsiteX8" fmla="*/ 4605215 w 14703435"/>
                <a:gd name="connsiteY8" fmla="*/ 10622681 h 10706845"/>
                <a:gd name="connsiteX9" fmla="*/ 4840336 w 14703435"/>
                <a:gd name="connsiteY9" fmla="*/ 10333299 h 10706845"/>
                <a:gd name="connsiteX10" fmla="*/ 6070201 w 14703435"/>
                <a:gd name="connsiteY10" fmla="*/ 10351391 h 10706845"/>
                <a:gd name="connsiteX11" fmla="*/ 6884082 w 14703435"/>
                <a:gd name="connsiteY11" fmla="*/ 9754539 h 10706845"/>
                <a:gd name="connsiteX12" fmla="*/ 7716051 w 14703435"/>
                <a:gd name="connsiteY12" fmla="*/ 10080098 h 10706845"/>
                <a:gd name="connsiteX13" fmla="*/ 8584189 w 14703435"/>
                <a:gd name="connsiteY13" fmla="*/ 9881146 h 10706845"/>
                <a:gd name="connsiteX14" fmla="*/ 9289552 w 14703435"/>
                <a:gd name="connsiteY14" fmla="*/ 10080098 h 10706845"/>
                <a:gd name="connsiteX15" fmla="*/ 10139605 w 14703435"/>
                <a:gd name="connsiteY15" fmla="*/ 9682198 h 10706845"/>
                <a:gd name="connsiteX16" fmla="*/ 10664108 w 14703435"/>
                <a:gd name="connsiteY16" fmla="*/ 9899234 h 10706845"/>
                <a:gd name="connsiteX17" fmla="*/ 11387555 w 14703435"/>
                <a:gd name="connsiteY17" fmla="*/ 9808804 h 10706845"/>
                <a:gd name="connsiteX18" fmla="*/ 11966315 w 14703435"/>
                <a:gd name="connsiteY18" fmla="*/ 10532259 h 10706845"/>
                <a:gd name="connsiteX19" fmla="*/ 12942975 w 14703435"/>
                <a:gd name="connsiteY19" fmla="*/ 10297130 h 10706845"/>
                <a:gd name="connsiteX20" fmla="*/ 13575992 w 14703435"/>
                <a:gd name="connsiteY20" fmla="*/ 10695030 h 10706845"/>
                <a:gd name="connsiteX21" fmla="*/ 13973888 w 14703435"/>
                <a:gd name="connsiteY21" fmla="*/ 10604597 h 10706845"/>
                <a:gd name="connsiteX22" fmla="*/ 14028146 w 14703435"/>
                <a:gd name="connsiteY22" fmla="*/ 10062006 h 10706845"/>
                <a:gd name="connsiteX23" fmla="*/ 13594073 w 14703435"/>
                <a:gd name="connsiteY23" fmla="*/ 10007749 h 10706845"/>
                <a:gd name="connsiteX24" fmla="*/ 13612161 w 14703435"/>
                <a:gd name="connsiteY24" fmla="*/ 9320470 h 10706845"/>
                <a:gd name="connsiteX25" fmla="*/ 14190925 w 14703435"/>
                <a:gd name="connsiteY25" fmla="*/ 9175783 h 10706845"/>
                <a:gd name="connsiteX26" fmla="*/ 13865366 w 14703435"/>
                <a:gd name="connsiteY26" fmla="*/ 8705538 h 10706845"/>
                <a:gd name="connsiteX27" fmla="*/ 14136664 w 14703435"/>
                <a:gd name="connsiteY27" fmla="*/ 8307642 h 10706845"/>
                <a:gd name="connsiteX28" fmla="*/ 14703435 w 14703435"/>
                <a:gd name="connsiteY28" fmla="*/ 8334738 h 10706845"/>
                <a:gd name="connsiteX29" fmla="*/ 14255660 w 14703435"/>
                <a:gd name="connsiteY29" fmla="*/ 8007340 h 10706845"/>
                <a:gd name="connsiteX30" fmla="*/ 14407378 w 14703435"/>
                <a:gd name="connsiteY30" fmla="*/ 7451179 h 10706845"/>
                <a:gd name="connsiteX31" fmla="*/ 13924235 w 14703435"/>
                <a:gd name="connsiteY31" fmla="*/ 6466638 h 10706845"/>
                <a:gd name="connsiteX32" fmla="*/ 11909491 w 14703435"/>
                <a:gd name="connsiteY32" fmla="*/ 6206793 h 10706845"/>
                <a:gd name="connsiteX33" fmla="*/ 9824147 w 14703435"/>
                <a:gd name="connsiteY33" fmla="*/ 6838125 h 10706845"/>
                <a:gd name="connsiteX34" fmla="*/ 8482717 w 14703435"/>
                <a:gd name="connsiteY34" fmla="*/ 6994165 h 10706845"/>
                <a:gd name="connsiteX35" fmla="*/ 8328079 w 14703435"/>
                <a:gd name="connsiteY35" fmla="*/ 6569451 h 10706845"/>
                <a:gd name="connsiteX36" fmla="*/ 7632672 w 14703435"/>
                <a:gd name="connsiteY36" fmla="*/ 6387789 h 10706845"/>
                <a:gd name="connsiteX37" fmla="*/ 7081852 w 14703435"/>
                <a:gd name="connsiteY37" fmla="*/ 5966020 h 10706845"/>
                <a:gd name="connsiteX38" fmla="*/ 6336686 w 14703435"/>
                <a:gd name="connsiteY38" fmla="*/ 5128452 h 10706845"/>
                <a:gd name="connsiteX39" fmla="*/ 6319261 w 14703435"/>
                <a:gd name="connsiteY39" fmla="*/ 4326134 h 10706845"/>
                <a:gd name="connsiteX40" fmla="*/ 5596373 w 14703435"/>
                <a:gd name="connsiteY40" fmla="*/ 3939696 h 10706845"/>
                <a:gd name="connsiteX41" fmla="*/ 5365184 w 14703435"/>
                <a:gd name="connsiteY41" fmla="*/ 3367517 h 10706845"/>
                <a:gd name="connsiteX42" fmla="*/ 5153802 w 14703435"/>
                <a:gd name="connsiteY42" fmla="*/ 3038951 h 10706845"/>
                <a:gd name="connsiteX43" fmla="*/ 4898441 w 14703435"/>
                <a:gd name="connsiteY43" fmla="*/ 3089659 h 10706845"/>
                <a:gd name="connsiteX44" fmla="*/ 4600673 w 14703435"/>
                <a:gd name="connsiteY44" fmla="*/ 2821188 h 10706845"/>
                <a:gd name="connsiteX45" fmla="*/ 4416749 w 14703435"/>
                <a:gd name="connsiteY45" fmla="*/ 2398181 h 10706845"/>
                <a:gd name="connsiteX46" fmla="*/ 4653822 w 14703435"/>
                <a:gd name="connsiteY46" fmla="*/ 1848014 h 10706845"/>
                <a:gd name="connsiteX47" fmla="*/ 4432864 w 14703435"/>
                <a:gd name="connsiteY47" fmla="*/ 1294779 h 10706845"/>
                <a:gd name="connsiteX48" fmla="*/ 4437471 w 14703435"/>
                <a:gd name="connsiteY48" fmla="*/ 625991 h 10706845"/>
                <a:gd name="connsiteX49" fmla="*/ 4141784 w 14703435"/>
                <a:gd name="connsiteY49" fmla="*/ 0 h 10706845"/>
                <a:gd name="connsiteX50" fmla="*/ 2314296 w 14703435"/>
                <a:gd name="connsiteY50" fmla="*/ 189494 h 10706845"/>
                <a:gd name="connsiteX51" fmla="*/ 1334589 w 14703435"/>
                <a:gd name="connsiteY51" fmla="*/ 994366 h 10706845"/>
                <a:gd name="connsiteX52" fmla="*/ 0 w 14703435"/>
                <a:gd name="connsiteY52" fmla="*/ 2341812 h 10706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4703435" h="10706845">
                  <a:moveTo>
                    <a:pt x="0" y="2341812"/>
                  </a:moveTo>
                  <a:lnTo>
                    <a:pt x="613837" y="4720170"/>
                  </a:lnTo>
                  <a:lnTo>
                    <a:pt x="1518338" y="5588320"/>
                  </a:lnTo>
                  <a:lnTo>
                    <a:pt x="1735898" y="6420244"/>
                  </a:lnTo>
                  <a:lnTo>
                    <a:pt x="3137400" y="6944804"/>
                  </a:lnTo>
                  <a:lnTo>
                    <a:pt x="3453963" y="8301295"/>
                  </a:lnTo>
                  <a:lnTo>
                    <a:pt x="4168520" y="9675864"/>
                  </a:lnTo>
                  <a:lnTo>
                    <a:pt x="4162343" y="10706845"/>
                  </a:lnTo>
                  <a:lnTo>
                    <a:pt x="4605215" y="10622681"/>
                  </a:lnTo>
                  <a:lnTo>
                    <a:pt x="4840336" y="10333299"/>
                  </a:lnTo>
                  <a:lnTo>
                    <a:pt x="6070201" y="10351391"/>
                  </a:lnTo>
                  <a:lnTo>
                    <a:pt x="6884082" y="9754539"/>
                  </a:lnTo>
                  <a:lnTo>
                    <a:pt x="7716051" y="10080098"/>
                  </a:lnTo>
                  <a:lnTo>
                    <a:pt x="8584189" y="9881146"/>
                  </a:lnTo>
                  <a:lnTo>
                    <a:pt x="9289552" y="10080098"/>
                  </a:lnTo>
                  <a:lnTo>
                    <a:pt x="10139605" y="9682198"/>
                  </a:lnTo>
                  <a:lnTo>
                    <a:pt x="10664108" y="9899234"/>
                  </a:lnTo>
                  <a:lnTo>
                    <a:pt x="11387555" y="9808804"/>
                  </a:lnTo>
                  <a:lnTo>
                    <a:pt x="11966315" y="10532259"/>
                  </a:lnTo>
                  <a:lnTo>
                    <a:pt x="12942975" y="10297130"/>
                  </a:lnTo>
                  <a:lnTo>
                    <a:pt x="13575992" y="10695030"/>
                  </a:lnTo>
                  <a:lnTo>
                    <a:pt x="13973888" y="10604597"/>
                  </a:lnTo>
                  <a:lnTo>
                    <a:pt x="14028146" y="10062006"/>
                  </a:lnTo>
                  <a:lnTo>
                    <a:pt x="13594073" y="10007749"/>
                  </a:lnTo>
                  <a:lnTo>
                    <a:pt x="13612161" y="9320470"/>
                  </a:lnTo>
                  <a:lnTo>
                    <a:pt x="14190925" y="9175783"/>
                  </a:lnTo>
                  <a:lnTo>
                    <a:pt x="13865366" y="8705538"/>
                  </a:lnTo>
                  <a:lnTo>
                    <a:pt x="14136664" y="8307642"/>
                  </a:lnTo>
                  <a:lnTo>
                    <a:pt x="14703435" y="8334738"/>
                  </a:lnTo>
                  <a:lnTo>
                    <a:pt x="14255660" y="8007340"/>
                  </a:lnTo>
                  <a:lnTo>
                    <a:pt x="14407378" y="7451179"/>
                  </a:lnTo>
                  <a:lnTo>
                    <a:pt x="13924235" y="6466638"/>
                  </a:lnTo>
                  <a:lnTo>
                    <a:pt x="11909491" y="6206793"/>
                  </a:lnTo>
                  <a:lnTo>
                    <a:pt x="9824147" y="6838125"/>
                  </a:lnTo>
                  <a:lnTo>
                    <a:pt x="8482717" y="6994165"/>
                  </a:lnTo>
                  <a:lnTo>
                    <a:pt x="8328079" y="6569451"/>
                  </a:lnTo>
                  <a:lnTo>
                    <a:pt x="7632672" y="6387789"/>
                  </a:lnTo>
                  <a:lnTo>
                    <a:pt x="7081852" y="5966020"/>
                  </a:lnTo>
                  <a:lnTo>
                    <a:pt x="6336686" y="5128452"/>
                  </a:lnTo>
                  <a:lnTo>
                    <a:pt x="6319261" y="4326134"/>
                  </a:lnTo>
                  <a:lnTo>
                    <a:pt x="5596373" y="3939696"/>
                  </a:lnTo>
                  <a:lnTo>
                    <a:pt x="5365184" y="3367517"/>
                  </a:lnTo>
                  <a:lnTo>
                    <a:pt x="5153802" y="3038951"/>
                  </a:lnTo>
                  <a:lnTo>
                    <a:pt x="4898441" y="3089659"/>
                  </a:lnTo>
                  <a:lnTo>
                    <a:pt x="4600673" y="2821188"/>
                  </a:lnTo>
                  <a:lnTo>
                    <a:pt x="4416749" y="2398181"/>
                  </a:lnTo>
                  <a:lnTo>
                    <a:pt x="4653822" y="1848014"/>
                  </a:lnTo>
                  <a:lnTo>
                    <a:pt x="4432864" y="1294779"/>
                  </a:lnTo>
                  <a:cubicBezTo>
                    <a:pt x="4434400" y="1071850"/>
                    <a:pt x="4435935" y="848920"/>
                    <a:pt x="4437471" y="625991"/>
                  </a:cubicBezTo>
                  <a:lnTo>
                    <a:pt x="4141784" y="0"/>
                  </a:lnTo>
                  <a:lnTo>
                    <a:pt x="2314296" y="189494"/>
                  </a:lnTo>
                  <a:lnTo>
                    <a:pt x="1334589" y="994366"/>
                  </a:lnTo>
                  <a:lnTo>
                    <a:pt x="0" y="2341812"/>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grpSp>
      <p:sp>
        <p:nvSpPr>
          <p:cNvPr id="44" name="TextBox 43">
            <a:extLst>
              <a:ext uri="{FF2B5EF4-FFF2-40B4-BE49-F238E27FC236}">
                <a16:creationId xmlns:a16="http://schemas.microsoft.com/office/drawing/2014/main" id="{ADE70573-C062-596C-E0E9-317D53E5CB66}"/>
              </a:ext>
            </a:extLst>
          </p:cNvPr>
          <p:cNvSpPr txBox="1"/>
          <p:nvPr/>
        </p:nvSpPr>
        <p:spPr>
          <a:xfrm>
            <a:off x="5630471" y="837180"/>
            <a:ext cx="633986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Gross barley harvest by region in 2024, thousand tons</a:t>
            </a:r>
            <a:endParaRPr kumimoji="0" lang="ru-KZ" sz="12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47" name="TextBox 46">
            <a:extLst>
              <a:ext uri="{FF2B5EF4-FFF2-40B4-BE49-F238E27FC236}">
                <a16:creationId xmlns:a16="http://schemas.microsoft.com/office/drawing/2014/main" id="{7F835328-783A-95C3-827A-95168077775D}"/>
              </a:ext>
            </a:extLst>
          </p:cNvPr>
          <p:cNvSpPr txBox="1"/>
          <p:nvPr/>
        </p:nvSpPr>
        <p:spPr>
          <a:xfrm>
            <a:off x="10325067" y="2432334"/>
            <a:ext cx="74333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64,5</a:t>
            </a:r>
          </a:p>
        </p:txBody>
      </p:sp>
      <p:sp>
        <p:nvSpPr>
          <p:cNvPr id="48" name="TextBox 47">
            <a:extLst>
              <a:ext uri="{FF2B5EF4-FFF2-40B4-BE49-F238E27FC236}">
                <a16:creationId xmlns:a16="http://schemas.microsoft.com/office/drawing/2014/main" id="{B553AC6A-4626-0E37-DC46-CAC9A13F0F16}"/>
              </a:ext>
            </a:extLst>
          </p:cNvPr>
          <p:cNvSpPr txBox="1"/>
          <p:nvPr/>
        </p:nvSpPr>
        <p:spPr>
          <a:xfrm>
            <a:off x="9622084" y="1718423"/>
            <a:ext cx="74333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mn-cs"/>
              </a:rPr>
              <a:t>116,1 </a:t>
            </a:r>
            <a:endParaRPr kumimoji="0" lang="ru-KZ" sz="1000" b="1"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49" name="TextBox 48">
            <a:extLst>
              <a:ext uri="{FF2B5EF4-FFF2-40B4-BE49-F238E27FC236}">
                <a16:creationId xmlns:a16="http://schemas.microsoft.com/office/drawing/2014/main" id="{52F7B7CC-0EBA-7A8D-CE81-4F766EDF5C25}"/>
              </a:ext>
            </a:extLst>
          </p:cNvPr>
          <p:cNvSpPr txBox="1"/>
          <p:nvPr/>
        </p:nvSpPr>
        <p:spPr>
          <a:xfrm>
            <a:off x="10181417" y="3102672"/>
            <a:ext cx="74333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278,6</a:t>
            </a:r>
            <a:endParaRPr kumimoji="0" lang="ru-KZ"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50" name="TextBox 49">
            <a:extLst>
              <a:ext uri="{FF2B5EF4-FFF2-40B4-BE49-F238E27FC236}">
                <a16:creationId xmlns:a16="http://schemas.microsoft.com/office/drawing/2014/main" id="{9F401C9F-081B-43E0-E679-5D8FB7722B8B}"/>
              </a:ext>
            </a:extLst>
          </p:cNvPr>
          <p:cNvSpPr txBox="1"/>
          <p:nvPr/>
        </p:nvSpPr>
        <p:spPr>
          <a:xfrm>
            <a:off x="9748465" y="3371140"/>
            <a:ext cx="74333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129,3</a:t>
            </a:r>
            <a:endParaRPr kumimoji="0" lang="ru-KZ"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51" name="TextBox 50">
            <a:extLst>
              <a:ext uri="{FF2B5EF4-FFF2-40B4-BE49-F238E27FC236}">
                <a16:creationId xmlns:a16="http://schemas.microsoft.com/office/drawing/2014/main" id="{4CFB4B2E-DC54-A14F-0F32-3E94DBB63388}"/>
              </a:ext>
            </a:extLst>
          </p:cNvPr>
          <p:cNvSpPr txBox="1"/>
          <p:nvPr/>
        </p:nvSpPr>
        <p:spPr>
          <a:xfrm>
            <a:off x="9438991" y="2555445"/>
            <a:ext cx="74333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179,7</a:t>
            </a:r>
          </a:p>
        </p:txBody>
      </p:sp>
      <p:sp>
        <p:nvSpPr>
          <p:cNvPr id="52" name="TextBox 51">
            <a:extLst>
              <a:ext uri="{FF2B5EF4-FFF2-40B4-BE49-F238E27FC236}">
                <a16:creationId xmlns:a16="http://schemas.microsoft.com/office/drawing/2014/main" id="{47D74F8A-5A29-CF4A-8063-AEC4E8D63097}"/>
              </a:ext>
            </a:extLst>
          </p:cNvPr>
          <p:cNvSpPr txBox="1"/>
          <p:nvPr/>
        </p:nvSpPr>
        <p:spPr>
          <a:xfrm>
            <a:off x="9215328" y="3562538"/>
            <a:ext cx="74333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mn-cs"/>
              </a:rPr>
              <a:t>300,5</a:t>
            </a:r>
          </a:p>
        </p:txBody>
      </p:sp>
      <p:sp>
        <p:nvSpPr>
          <p:cNvPr id="53" name="TextBox 52">
            <a:extLst>
              <a:ext uri="{FF2B5EF4-FFF2-40B4-BE49-F238E27FC236}">
                <a16:creationId xmlns:a16="http://schemas.microsoft.com/office/drawing/2014/main" id="{AEF9FED0-C507-C06C-3CEB-545D7EFB5E6A}"/>
              </a:ext>
            </a:extLst>
          </p:cNvPr>
          <p:cNvSpPr txBox="1"/>
          <p:nvPr/>
        </p:nvSpPr>
        <p:spPr>
          <a:xfrm>
            <a:off x="8645940" y="3428340"/>
            <a:ext cx="74333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77,4</a:t>
            </a:r>
            <a:endParaRPr kumimoji="0" lang="ru-KZ"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54" name="TextBox 53">
            <a:extLst>
              <a:ext uri="{FF2B5EF4-FFF2-40B4-BE49-F238E27FC236}">
                <a16:creationId xmlns:a16="http://schemas.microsoft.com/office/drawing/2014/main" id="{80FF5F32-06D7-2C05-5A5D-DD3C2A2A6A01}"/>
              </a:ext>
            </a:extLst>
          </p:cNvPr>
          <p:cNvSpPr txBox="1"/>
          <p:nvPr/>
        </p:nvSpPr>
        <p:spPr>
          <a:xfrm>
            <a:off x="8774812" y="1809919"/>
            <a:ext cx="74333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985,0</a:t>
            </a:r>
            <a:endParaRPr kumimoji="0" lang="ru-KZ"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56" name="Овал 55">
            <a:extLst>
              <a:ext uri="{FF2B5EF4-FFF2-40B4-BE49-F238E27FC236}">
                <a16:creationId xmlns:a16="http://schemas.microsoft.com/office/drawing/2014/main" id="{C6AAEDA2-B17F-7951-F350-379EF4812E67}"/>
              </a:ext>
            </a:extLst>
          </p:cNvPr>
          <p:cNvSpPr/>
          <p:nvPr/>
        </p:nvSpPr>
        <p:spPr>
          <a:xfrm>
            <a:off x="10176039" y="3740298"/>
            <a:ext cx="63261" cy="68461"/>
          </a:xfrm>
          <a:prstGeom prst="ellipse">
            <a:avLst/>
          </a:prstGeom>
          <a:solidFill>
            <a:srgbClr val="FFFF00"/>
          </a:solidFill>
          <a:ln>
            <a:solidFill>
              <a:srgbClr val="4472C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57" name="Овал 56">
            <a:extLst>
              <a:ext uri="{FF2B5EF4-FFF2-40B4-BE49-F238E27FC236}">
                <a16:creationId xmlns:a16="http://schemas.microsoft.com/office/drawing/2014/main" id="{947F65CA-F04F-F1D5-6D1A-668BF448AD92}"/>
              </a:ext>
            </a:extLst>
          </p:cNvPr>
          <p:cNvSpPr/>
          <p:nvPr/>
        </p:nvSpPr>
        <p:spPr>
          <a:xfrm>
            <a:off x="8946271" y="4132511"/>
            <a:ext cx="63261" cy="68461"/>
          </a:xfrm>
          <a:prstGeom prst="ellipse">
            <a:avLst/>
          </a:prstGeom>
          <a:solidFill>
            <a:schemeClr val="accent4">
              <a:lumMod val="20000"/>
              <a:lumOff val="80000"/>
            </a:schemeClr>
          </a:solidFill>
          <a:ln>
            <a:solidFill>
              <a:srgbClr val="4472C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61" name="TextBox 60">
            <a:extLst>
              <a:ext uri="{FF2B5EF4-FFF2-40B4-BE49-F238E27FC236}">
                <a16:creationId xmlns:a16="http://schemas.microsoft.com/office/drawing/2014/main" id="{25217404-70A9-335C-71DD-8CA40A36CB52}"/>
              </a:ext>
            </a:extLst>
          </p:cNvPr>
          <p:cNvSpPr txBox="1"/>
          <p:nvPr/>
        </p:nvSpPr>
        <p:spPr>
          <a:xfrm>
            <a:off x="8624348" y="4046965"/>
            <a:ext cx="39002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1,1</a:t>
            </a:r>
          </a:p>
        </p:txBody>
      </p:sp>
      <p:sp>
        <p:nvSpPr>
          <p:cNvPr id="62" name="TextBox 61">
            <a:extLst>
              <a:ext uri="{FF2B5EF4-FFF2-40B4-BE49-F238E27FC236}">
                <a16:creationId xmlns:a16="http://schemas.microsoft.com/office/drawing/2014/main" id="{2AF923E6-3C60-BFFC-4FA2-4748E00FEB25}"/>
              </a:ext>
            </a:extLst>
          </p:cNvPr>
          <p:cNvSpPr txBox="1"/>
          <p:nvPr/>
        </p:nvSpPr>
        <p:spPr>
          <a:xfrm>
            <a:off x="8064165" y="3419637"/>
            <a:ext cx="74333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mn-cs"/>
              </a:rPr>
              <a:t>0,2</a:t>
            </a:r>
          </a:p>
        </p:txBody>
      </p:sp>
      <p:sp>
        <p:nvSpPr>
          <p:cNvPr id="63" name="TextBox 62">
            <a:extLst>
              <a:ext uri="{FF2B5EF4-FFF2-40B4-BE49-F238E27FC236}">
                <a16:creationId xmlns:a16="http://schemas.microsoft.com/office/drawing/2014/main" id="{75BC105B-6E48-0C86-833C-22FD4E16B79D}"/>
              </a:ext>
            </a:extLst>
          </p:cNvPr>
          <p:cNvSpPr txBox="1"/>
          <p:nvPr/>
        </p:nvSpPr>
        <p:spPr>
          <a:xfrm>
            <a:off x="8578451" y="2789306"/>
            <a:ext cx="74333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3,1</a:t>
            </a:r>
          </a:p>
        </p:txBody>
      </p:sp>
      <p:sp>
        <p:nvSpPr>
          <p:cNvPr id="64" name="TextBox 63">
            <a:extLst>
              <a:ext uri="{FF2B5EF4-FFF2-40B4-BE49-F238E27FC236}">
                <a16:creationId xmlns:a16="http://schemas.microsoft.com/office/drawing/2014/main" id="{0755DDB0-5D38-44AA-E864-2D0C74C5D6DF}"/>
              </a:ext>
            </a:extLst>
          </p:cNvPr>
          <p:cNvSpPr txBox="1"/>
          <p:nvPr/>
        </p:nvSpPr>
        <p:spPr>
          <a:xfrm>
            <a:off x="7917249" y="1718391"/>
            <a:ext cx="74333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577,9</a:t>
            </a:r>
          </a:p>
        </p:txBody>
      </p:sp>
      <p:sp>
        <p:nvSpPr>
          <p:cNvPr id="65" name="TextBox 64">
            <a:extLst>
              <a:ext uri="{FF2B5EF4-FFF2-40B4-BE49-F238E27FC236}">
                <a16:creationId xmlns:a16="http://schemas.microsoft.com/office/drawing/2014/main" id="{0219F51C-D53F-4253-C09B-D099AB556024}"/>
              </a:ext>
            </a:extLst>
          </p:cNvPr>
          <p:cNvSpPr txBox="1"/>
          <p:nvPr/>
        </p:nvSpPr>
        <p:spPr>
          <a:xfrm>
            <a:off x="7147448" y="2521644"/>
            <a:ext cx="74333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121,3</a:t>
            </a:r>
          </a:p>
        </p:txBody>
      </p:sp>
      <p:sp>
        <p:nvSpPr>
          <p:cNvPr id="66" name="TextBox 65">
            <a:extLst>
              <a:ext uri="{FF2B5EF4-FFF2-40B4-BE49-F238E27FC236}">
                <a16:creationId xmlns:a16="http://schemas.microsoft.com/office/drawing/2014/main" id="{DC7F31E8-3496-06CE-3085-DD4AD5A5CD45}"/>
              </a:ext>
            </a:extLst>
          </p:cNvPr>
          <p:cNvSpPr txBox="1"/>
          <p:nvPr/>
        </p:nvSpPr>
        <p:spPr>
          <a:xfrm>
            <a:off x="6138891" y="2065389"/>
            <a:ext cx="504244"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40,1</a:t>
            </a:r>
          </a:p>
        </p:txBody>
      </p:sp>
      <p:sp>
        <p:nvSpPr>
          <p:cNvPr id="68" name="TextBox 67">
            <a:extLst>
              <a:ext uri="{FF2B5EF4-FFF2-40B4-BE49-F238E27FC236}">
                <a16:creationId xmlns:a16="http://schemas.microsoft.com/office/drawing/2014/main" id="{42AE6203-401E-6555-85C3-659587B4A489}"/>
              </a:ext>
            </a:extLst>
          </p:cNvPr>
          <p:cNvSpPr txBox="1"/>
          <p:nvPr/>
        </p:nvSpPr>
        <p:spPr>
          <a:xfrm>
            <a:off x="8600444" y="1251127"/>
            <a:ext cx="74333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840,7</a:t>
            </a:r>
          </a:p>
        </p:txBody>
      </p:sp>
      <p:sp>
        <p:nvSpPr>
          <p:cNvPr id="69" name="TextBox 68">
            <a:extLst>
              <a:ext uri="{FF2B5EF4-FFF2-40B4-BE49-F238E27FC236}">
                <a16:creationId xmlns:a16="http://schemas.microsoft.com/office/drawing/2014/main" id="{915E6AB9-222A-A467-6B3C-16AB643659B9}"/>
              </a:ext>
            </a:extLst>
          </p:cNvPr>
          <p:cNvSpPr txBox="1"/>
          <p:nvPr/>
        </p:nvSpPr>
        <p:spPr>
          <a:xfrm>
            <a:off x="10860713" y="2153684"/>
            <a:ext cx="74333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mn-cs"/>
              </a:rPr>
              <a:t>124,1</a:t>
            </a:r>
          </a:p>
        </p:txBody>
      </p:sp>
      <p:sp>
        <p:nvSpPr>
          <p:cNvPr id="70" name="TextBox 69">
            <a:extLst>
              <a:ext uri="{FF2B5EF4-FFF2-40B4-BE49-F238E27FC236}">
                <a16:creationId xmlns:a16="http://schemas.microsoft.com/office/drawing/2014/main" id="{CB1E57A8-DEC3-0F67-05B2-E0B77306F5A7}"/>
              </a:ext>
            </a:extLst>
          </p:cNvPr>
          <p:cNvSpPr txBox="1"/>
          <p:nvPr/>
        </p:nvSpPr>
        <p:spPr>
          <a:xfrm>
            <a:off x="10225244" y="3630504"/>
            <a:ext cx="39321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0,2</a:t>
            </a:r>
          </a:p>
        </p:txBody>
      </p:sp>
      <p:sp>
        <p:nvSpPr>
          <p:cNvPr id="74" name="TextBox 73">
            <a:extLst>
              <a:ext uri="{FF2B5EF4-FFF2-40B4-BE49-F238E27FC236}">
                <a16:creationId xmlns:a16="http://schemas.microsoft.com/office/drawing/2014/main" id="{018FEBA3-55F5-4FA6-31C1-0BDD5D57FD6A}"/>
              </a:ext>
            </a:extLst>
          </p:cNvPr>
          <p:cNvSpPr txBox="1"/>
          <p:nvPr/>
        </p:nvSpPr>
        <p:spPr>
          <a:xfrm>
            <a:off x="5105400" y="4749285"/>
            <a:ext cx="6867711" cy="1600438"/>
          </a:xfrm>
          <a:prstGeom prst="rect">
            <a:avLst/>
          </a:prstGeom>
          <a:noFill/>
          <a:ln w="28575">
            <a:solidFill>
              <a:srgbClr val="4472C4"/>
            </a:solidFill>
            <a:prstDash val="sysDot"/>
          </a:ln>
        </p:spPr>
        <p:txBody>
          <a:bodyPr wrap="square" lIns="91440" tIns="45720" rIns="91440" bIns="4572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s of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2024</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Kazakhstan ranks among the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world’s top 10</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barley producer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holding 9th place with a volume of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3.84 million ton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Kazakhstan’s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barley exports increased</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from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976 thousand tons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in 2020 to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1,599 thousand tons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in 2024.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Import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lso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grew</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especially in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2023</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reaching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513 thousand ton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but decreased to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211 thousand tons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in 2024.</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he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leading regions in barley harvesting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in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2024</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were Akmola, North Kazakhstan and </a:t>
            </a:r>
            <a:r>
              <a:rPr kumimoji="0" lang="en-US" sz="14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Kostanay</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regions.</a:t>
            </a: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76" name="Овал 75">
            <a:extLst>
              <a:ext uri="{FF2B5EF4-FFF2-40B4-BE49-F238E27FC236}">
                <a16:creationId xmlns:a16="http://schemas.microsoft.com/office/drawing/2014/main" id="{6F63E8AD-E977-C56A-BB25-4F1690F79E7A}"/>
              </a:ext>
            </a:extLst>
          </p:cNvPr>
          <p:cNvSpPr/>
          <p:nvPr/>
        </p:nvSpPr>
        <p:spPr>
          <a:xfrm>
            <a:off x="7095399" y="4158913"/>
            <a:ext cx="63261" cy="68461"/>
          </a:xfrm>
          <a:prstGeom prst="ellipse">
            <a:avLst/>
          </a:prstGeom>
          <a:solidFill>
            <a:srgbClr val="FFFF00"/>
          </a:solidFill>
          <a:ln>
            <a:solidFill>
              <a:srgbClr val="4472C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77" name="Овал 76">
            <a:extLst>
              <a:ext uri="{FF2B5EF4-FFF2-40B4-BE49-F238E27FC236}">
                <a16:creationId xmlns:a16="http://schemas.microsoft.com/office/drawing/2014/main" id="{400E07D3-DBF2-F14B-5AF5-68A559339292}"/>
              </a:ext>
            </a:extLst>
          </p:cNvPr>
          <p:cNvSpPr/>
          <p:nvPr/>
        </p:nvSpPr>
        <p:spPr>
          <a:xfrm>
            <a:off x="7095398" y="4367528"/>
            <a:ext cx="63261" cy="68461"/>
          </a:xfrm>
          <a:prstGeom prst="ellipse">
            <a:avLst/>
          </a:prstGeom>
          <a:solidFill>
            <a:schemeClr val="accent4">
              <a:lumMod val="20000"/>
              <a:lumOff val="80000"/>
            </a:schemeClr>
          </a:solidFill>
          <a:ln>
            <a:solidFill>
              <a:srgbClr val="4472C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79" name="TextBox 78">
            <a:extLst>
              <a:ext uri="{FF2B5EF4-FFF2-40B4-BE49-F238E27FC236}">
                <a16:creationId xmlns:a16="http://schemas.microsoft.com/office/drawing/2014/main" id="{3FA0AF72-35E2-2770-0796-C52F63B0F340}"/>
              </a:ext>
            </a:extLst>
          </p:cNvPr>
          <p:cNvSpPr txBox="1"/>
          <p:nvPr/>
        </p:nvSpPr>
        <p:spPr>
          <a:xfrm>
            <a:off x="7131569" y="4058055"/>
            <a:ext cx="86047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lmaty</a:t>
            </a:r>
            <a:endParaRPr kumimoji="0" lang="ru-KZ"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80" name="TextBox 79">
            <a:extLst>
              <a:ext uri="{FF2B5EF4-FFF2-40B4-BE49-F238E27FC236}">
                <a16:creationId xmlns:a16="http://schemas.microsoft.com/office/drawing/2014/main" id="{069C45C3-82F8-1AB6-C9BC-71D2FB72E2FB}"/>
              </a:ext>
            </a:extLst>
          </p:cNvPr>
          <p:cNvSpPr txBox="1"/>
          <p:nvPr/>
        </p:nvSpPr>
        <p:spPr>
          <a:xfrm>
            <a:off x="7131570" y="4271115"/>
            <a:ext cx="795728"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Shymkent</a:t>
            </a:r>
            <a:endParaRPr kumimoji="0" lang="ru-KZ"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81" name="Прямоугольник 80">
            <a:extLst>
              <a:ext uri="{FF2B5EF4-FFF2-40B4-BE49-F238E27FC236}">
                <a16:creationId xmlns:a16="http://schemas.microsoft.com/office/drawing/2014/main" id="{023EC8EF-DC0A-C485-80B6-17FBCF1F7417}"/>
              </a:ext>
            </a:extLst>
          </p:cNvPr>
          <p:cNvSpPr/>
          <p:nvPr/>
        </p:nvSpPr>
        <p:spPr>
          <a:xfrm>
            <a:off x="6992051" y="4035699"/>
            <a:ext cx="925198" cy="495624"/>
          </a:xfrm>
          <a:prstGeom prst="rect">
            <a:avLst/>
          </a:prstGeom>
          <a:noFill/>
          <a:ln>
            <a:solidFill>
              <a:srgbClr val="4472C4"/>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58" name="TextBox 57">
            <a:extLst>
              <a:ext uri="{FF2B5EF4-FFF2-40B4-BE49-F238E27FC236}">
                <a16:creationId xmlns:a16="http://schemas.microsoft.com/office/drawing/2014/main" id="{EF43659D-424D-0567-4DCE-F15C12E5683B}"/>
              </a:ext>
            </a:extLst>
          </p:cNvPr>
          <p:cNvSpPr txBox="1"/>
          <p:nvPr/>
        </p:nvSpPr>
        <p:spPr>
          <a:xfrm>
            <a:off x="32427" y="6626899"/>
            <a:ext cx="8913844"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Source</a:t>
            </a:r>
            <a:r>
              <a:rPr kumimoji="0" lang="ru-RU"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he Bureau of National Statistics of the Agency for Strategic Planning and Reforms of the Republic of Kazakhstan</a:t>
            </a:r>
            <a:r>
              <a:rPr kumimoji="0" lang="ru-RU"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United States Department of Agriculture</a:t>
            </a:r>
            <a:endParaRPr kumimoji="0" lang="ru-RU"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graphicFrame>
        <p:nvGraphicFramePr>
          <p:cNvPr id="7" name="Диаграмма 6"/>
          <p:cNvGraphicFramePr/>
          <p:nvPr/>
        </p:nvGraphicFramePr>
        <p:xfrm>
          <a:off x="351982" y="1129644"/>
          <a:ext cx="4665770" cy="2773978"/>
        </p:xfrm>
        <a:graphic>
          <a:graphicData uri="http://schemas.openxmlformats.org/drawingml/2006/chart">
            <c:chart xmlns:c="http://schemas.openxmlformats.org/drawingml/2006/chart" xmlns:r="http://schemas.openxmlformats.org/officeDocument/2006/relationships" r:id="rId3"/>
          </a:graphicData>
        </a:graphic>
      </p:graphicFrame>
      <p:sp>
        <p:nvSpPr>
          <p:cNvPr id="67" name="TextBox 66">
            <a:extLst>
              <a:ext uri="{FF2B5EF4-FFF2-40B4-BE49-F238E27FC236}">
                <a16:creationId xmlns:a16="http://schemas.microsoft.com/office/drawing/2014/main" id="{33EBDB2E-BBDA-4473-6C5F-E3B26A3FDF6D}"/>
              </a:ext>
            </a:extLst>
          </p:cNvPr>
          <p:cNvSpPr txBox="1"/>
          <p:nvPr/>
        </p:nvSpPr>
        <p:spPr>
          <a:xfrm>
            <a:off x="504938" y="871618"/>
            <a:ext cx="4162090"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Barley production worldwide in 2024, million tons</a:t>
            </a:r>
            <a:endParaRPr kumimoji="0" lang="ru-RU" sz="12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graphicFrame>
        <p:nvGraphicFramePr>
          <p:cNvPr id="34" name="Диаграмма 33"/>
          <p:cNvGraphicFramePr/>
          <p:nvPr/>
        </p:nvGraphicFramePr>
        <p:xfrm>
          <a:off x="240667" y="4244534"/>
          <a:ext cx="4690633" cy="2348154"/>
        </p:xfrm>
        <a:graphic>
          <a:graphicData uri="http://schemas.openxmlformats.org/drawingml/2006/chart">
            <c:chart xmlns:c="http://schemas.openxmlformats.org/drawingml/2006/chart" xmlns:r="http://schemas.openxmlformats.org/officeDocument/2006/relationships" r:id="rId4"/>
          </a:graphicData>
        </a:graphic>
      </p:graphicFrame>
      <p:sp>
        <p:nvSpPr>
          <p:cNvPr id="71" name="TextBox 70">
            <a:extLst>
              <a:ext uri="{FF2B5EF4-FFF2-40B4-BE49-F238E27FC236}">
                <a16:creationId xmlns:a16="http://schemas.microsoft.com/office/drawing/2014/main" id="{33EBDB2E-BBDA-4473-6C5F-E3B26A3FDF6D}"/>
              </a:ext>
            </a:extLst>
          </p:cNvPr>
          <p:cNvSpPr txBox="1"/>
          <p:nvPr/>
        </p:nvSpPr>
        <p:spPr>
          <a:xfrm>
            <a:off x="504938" y="3913756"/>
            <a:ext cx="4209937"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Export and import of barley in Kazakhstan,      thousand tons</a:t>
            </a:r>
            <a:endParaRPr kumimoji="0" lang="ru-RU" sz="12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223386379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069525-C3B0-7018-B439-7C02B95D9DFE}"/>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0AA7234B-39CE-80B3-4C32-2E355098762C}"/>
              </a:ext>
            </a:extLst>
          </p:cNvPr>
          <p:cNvSpPr txBox="1"/>
          <p:nvPr/>
        </p:nvSpPr>
        <p:spPr>
          <a:xfrm>
            <a:off x="257489" y="196605"/>
            <a:ext cx="11870942" cy="464230"/>
          </a:xfrm>
          <a:prstGeom prst="rect">
            <a:avLst/>
          </a:prstGeom>
          <a:solidFill>
            <a:schemeClr val="bg1"/>
          </a:solidFill>
        </p:spPr>
        <p:txBody>
          <a:bodyPr wrap="square" rtlCol="0">
            <a:spAutoFit/>
          </a:bodyPr>
          <a:lstStyle/>
          <a:p>
            <a:pPr marL="0" marR="0" lvl="0" indent="0" algn="l" defTabSz="914400" rtl="0" eaLnBrk="1" fontAlgn="auto" latinLnBrk="0" hangingPunct="1">
              <a:lnSpc>
                <a:spcPts val="2946"/>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mn-cs"/>
              </a:rPr>
              <a:t>OAT MARKET OVERVIEW IN THE WORLD AND IN KAZAKHSTAN</a:t>
            </a:r>
            <a:endParaRPr kumimoji="0" lang="ru-RU" sz="30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mn-cs"/>
            </a:endParaRPr>
          </a:p>
        </p:txBody>
      </p:sp>
      <p:grpSp>
        <p:nvGrpSpPr>
          <p:cNvPr id="9" name="Группа 8">
            <a:extLst>
              <a:ext uri="{FF2B5EF4-FFF2-40B4-BE49-F238E27FC236}">
                <a16:creationId xmlns:a16="http://schemas.microsoft.com/office/drawing/2014/main" id="{FBA78527-5BDF-201C-67D0-B104B4347C77}"/>
              </a:ext>
            </a:extLst>
          </p:cNvPr>
          <p:cNvGrpSpPr/>
          <p:nvPr/>
        </p:nvGrpSpPr>
        <p:grpSpPr>
          <a:xfrm>
            <a:off x="5659046" y="1143747"/>
            <a:ext cx="5912848" cy="3388547"/>
            <a:chOff x="135165" y="90519"/>
            <a:chExt cx="11892752" cy="6652893"/>
          </a:xfrm>
          <a:solidFill>
            <a:schemeClr val="tx2">
              <a:lumMod val="10000"/>
              <a:lumOff val="90000"/>
            </a:schemeClr>
          </a:solidFill>
        </p:grpSpPr>
        <p:grpSp>
          <p:nvGrpSpPr>
            <p:cNvPr id="10" name="组合 99">
              <a:extLst>
                <a:ext uri="{FF2B5EF4-FFF2-40B4-BE49-F238E27FC236}">
                  <a16:creationId xmlns:a16="http://schemas.microsoft.com/office/drawing/2014/main" id="{76163DD3-A50B-04EF-669F-76B36DC916B9}"/>
                </a:ext>
              </a:extLst>
            </p:cNvPr>
            <p:cNvGrpSpPr/>
            <p:nvPr/>
          </p:nvGrpSpPr>
          <p:grpSpPr>
            <a:xfrm>
              <a:off x="135165" y="90519"/>
              <a:ext cx="11892752" cy="6652893"/>
              <a:chOff x="719138" y="2320925"/>
              <a:chExt cx="5994400" cy="3346451"/>
            </a:xfrm>
            <a:grpFill/>
          </p:grpSpPr>
          <p:sp>
            <p:nvSpPr>
              <p:cNvPr id="14" name="任意多边形 92">
                <a:extLst>
                  <a:ext uri="{FF2B5EF4-FFF2-40B4-BE49-F238E27FC236}">
                    <a16:creationId xmlns:a16="http://schemas.microsoft.com/office/drawing/2014/main" id="{B7E2DC5A-5E95-93DA-B87F-BD8EEDFDBB50}"/>
                  </a:ext>
                </a:extLst>
              </p:cNvPr>
              <p:cNvSpPr>
                <a:spLocks/>
              </p:cNvSpPr>
              <p:nvPr/>
            </p:nvSpPr>
            <p:spPr bwMode="auto">
              <a:xfrm>
                <a:off x="3513012" y="2697163"/>
                <a:ext cx="1196785" cy="801688"/>
              </a:xfrm>
              <a:custGeom>
                <a:avLst/>
                <a:gdLst/>
                <a:ahLst/>
                <a:cxnLst/>
                <a:rect l="0" t="0" r="r" b="b"/>
                <a:pathLst>
                  <a:path w="14655896" h="9814804">
                    <a:moveTo>
                      <a:pt x="405571" y="5899247"/>
                    </a:moveTo>
                    <a:lnTo>
                      <a:pt x="458180" y="7258616"/>
                    </a:lnTo>
                    <a:lnTo>
                      <a:pt x="1272065" y="7252586"/>
                    </a:lnTo>
                    <a:lnTo>
                      <a:pt x="1645846" y="7927810"/>
                    </a:lnTo>
                    <a:lnTo>
                      <a:pt x="2586337" y="7921779"/>
                    </a:lnTo>
                    <a:lnTo>
                      <a:pt x="2773228" y="8259392"/>
                    </a:lnTo>
                    <a:lnTo>
                      <a:pt x="3159070" y="8518628"/>
                    </a:lnTo>
                    <a:lnTo>
                      <a:pt x="3629312" y="8789925"/>
                    </a:lnTo>
                    <a:lnTo>
                      <a:pt x="4618282" y="8729735"/>
                    </a:lnTo>
                    <a:lnTo>
                      <a:pt x="5401768" y="8042348"/>
                    </a:lnTo>
                    <a:lnTo>
                      <a:pt x="5884064" y="7957948"/>
                    </a:lnTo>
                    <a:lnTo>
                      <a:pt x="6119185" y="8416136"/>
                    </a:lnTo>
                    <a:lnTo>
                      <a:pt x="6450766" y="8795948"/>
                    </a:lnTo>
                    <a:lnTo>
                      <a:pt x="7059919" y="8883564"/>
                    </a:lnTo>
                    <a:lnTo>
                      <a:pt x="7373165" y="9543518"/>
                    </a:lnTo>
                    <a:lnTo>
                      <a:pt x="7825322" y="9356616"/>
                    </a:lnTo>
                    <a:lnTo>
                      <a:pt x="8301595" y="9603798"/>
                    </a:lnTo>
                    <a:lnTo>
                      <a:pt x="8747721" y="9814804"/>
                    </a:lnTo>
                    <a:lnTo>
                      <a:pt x="9175763" y="9519391"/>
                    </a:lnTo>
                    <a:lnTo>
                      <a:pt x="9314424" y="8946658"/>
                    </a:lnTo>
                    <a:lnTo>
                      <a:pt x="9947441" y="8301587"/>
                    </a:lnTo>
                    <a:lnTo>
                      <a:pt x="10839702" y="7740908"/>
                    </a:lnTo>
                    <a:lnTo>
                      <a:pt x="11086876" y="8235273"/>
                    </a:lnTo>
                    <a:lnTo>
                      <a:pt x="11075024" y="8696571"/>
                    </a:lnTo>
                    <a:lnTo>
                      <a:pt x="11611379" y="8801975"/>
                    </a:lnTo>
                    <a:lnTo>
                      <a:pt x="11912815" y="8295557"/>
                    </a:lnTo>
                    <a:lnTo>
                      <a:pt x="12461432" y="7957945"/>
                    </a:lnTo>
                    <a:lnTo>
                      <a:pt x="12690522" y="7409327"/>
                    </a:lnTo>
                    <a:lnTo>
                      <a:pt x="13184879" y="7373158"/>
                    </a:lnTo>
                    <a:lnTo>
                      <a:pt x="13263248" y="7089807"/>
                    </a:lnTo>
                    <a:lnTo>
                      <a:pt x="13817896" y="6655734"/>
                    </a:lnTo>
                    <a:lnTo>
                      <a:pt x="14523274" y="6535166"/>
                    </a:lnTo>
                    <a:lnTo>
                      <a:pt x="14149478" y="6101093"/>
                    </a:lnTo>
                    <a:lnTo>
                      <a:pt x="14276084" y="5558506"/>
                    </a:lnTo>
                    <a:lnTo>
                      <a:pt x="14655896" y="5383676"/>
                    </a:lnTo>
                    <a:lnTo>
                      <a:pt x="14270054" y="4714483"/>
                    </a:lnTo>
                    <a:lnTo>
                      <a:pt x="14541351" y="4171895"/>
                    </a:lnTo>
                    <a:lnTo>
                      <a:pt x="14462975" y="3116859"/>
                    </a:lnTo>
                    <a:lnTo>
                      <a:pt x="14092141" y="2401649"/>
                    </a:lnTo>
                    <a:lnTo>
                      <a:pt x="13347651" y="2219787"/>
                    </a:lnTo>
                    <a:lnTo>
                      <a:pt x="12606112" y="2172764"/>
                    </a:lnTo>
                    <a:lnTo>
                      <a:pt x="12269707" y="1583147"/>
                    </a:lnTo>
                    <a:lnTo>
                      <a:pt x="11032611" y="1894236"/>
                    </a:lnTo>
                    <a:lnTo>
                      <a:pt x="10620246" y="1423994"/>
                    </a:lnTo>
                    <a:lnTo>
                      <a:pt x="10207881" y="874169"/>
                    </a:lnTo>
                    <a:lnTo>
                      <a:pt x="9639971" y="932045"/>
                    </a:lnTo>
                    <a:lnTo>
                      <a:pt x="8862263" y="747562"/>
                    </a:lnTo>
                    <a:lnTo>
                      <a:pt x="8449897" y="1116528"/>
                    </a:lnTo>
                    <a:lnTo>
                      <a:pt x="7728858" y="530533"/>
                    </a:lnTo>
                    <a:lnTo>
                      <a:pt x="7457560" y="96461"/>
                    </a:lnTo>
                    <a:lnTo>
                      <a:pt x="7144071" y="0"/>
                    </a:lnTo>
                    <a:lnTo>
                      <a:pt x="6709998" y="259236"/>
                    </a:lnTo>
                    <a:lnTo>
                      <a:pt x="6239757" y="162775"/>
                    </a:lnTo>
                    <a:lnTo>
                      <a:pt x="5576594" y="247174"/>
                    </a:lnTo>
                    <a:lnTo>
                      <a:pt x="5220882" y="856065"/>
                    </a:lnTo>
                    <a:lnTo>
                      <a:pt x="5744200" y="1836359"/>
                    </a:lnTo>
                    <a:lnTo>
                      <a:pt x="5581424" y="2317455"/>
                    </a:lnTo>
                    <a:lnTo>
                      <a:pt x="4908615" y="2827488"/>
                    </a:lnTo>
                    <a:lnTo>
                      <a:pt x="3993447" y="3608819"/>
                    </a:lnTo>
                    <a:lnTo>
                      <a:pt x="3449906" y="3361159"/>
                    </a:lnTo>
                    <a:lnTo>
                      <a:pt x="3226593" y="3728180"/>
                    </a:lnTo>
                    <a:lnTo>
                      <a:pt x="2629744" y="3728180"/>
                    </a:lnTo>
                    <a:lnTo>
                      <a:pt x="2003958" y="3583489"/>
                    </a:lnTo>
                    <a:lnTo>
                      <a:pt x="1465852" y="3722609"/>
                    </a:lnTo>
                    <a:lnTo>
                      <a:pt x="753604" y="4804916"/>
                    </a:lnTo>
                    <a:lnTo>
                      <a:pt x="0" y="5443964"/>
                    </a:lnTo>
                    <a:lnTo>
                      <a:pt x="405571" y="5899247"/>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15" name="任意多边形 93">
                <a:extLst>
                  <a:ext uri="{FF2B5EF4-FFF2-40B4-BE49-F238E27FC236}">
                    <a16:creationId xmlns:a16="http://schemas.microsoft.com/office/drawing/2014/main" id="{0B06321C-4A24-6073-1892-894CA89DAB00}"/>
                  </a:ext>
                </a:extLst>
              </p:cNvPr>
              <p:cNvSpPr>
                <a:spLocks/>
              </p:cNvSpPr>
              <p:nvPr/>
            </p:nvSpPr>
            <p:spPr bwMode="auto">
              <a:xfrm>
                <a:off x="3622214" y="2320925"/>
                <a:ext cx="1061551" cy="680403"/>
              </a:xfrm>
              <a:custGeom>
                <a:avLst/>
                <a:gdLst/>
                <a:ahLst/>
                <a:cxnLst/>
                <a:rect l="0" t="0" r="r" b="b"/>
                <a:pathLst>
                  <a:path w="12998892" h="8330529">
                    <a:moveTo>
                      <a:pt x="56654" y="7407720"/>
                    </a:moveTo>
                    <a:lnTo>
                      <a:pt x="0" y="6577494"/>
                    </a:lnTo>
                    <a:lnTo>
                      <a:pt x="534863" y="6069743"/>
                    </a:lnTo>
                    <a:lnTo>
                      <a:pt x="401029" y="5783984"/>
                    </a:lnTo>
                    <a:lnTo>
                      <a:pt x="534867" y="5505456"/>
                    </a:lnTo>
                    <a:lnTo>
                      <a:pt x="390176" y="4955630"/>
                    </a:lnTo>
                    <a:lnTo>
                      <a:pt x="708496" y="4716894"/>
                    </a:lnTo>
                    <a:lnTo>
                      <a:pt x="136963" y="4120046"/>
                    </a:lnTo>
                    <a:lnTo>
                      <a:pt x="777226" y="3678742"/>
                    </a:lnTo>
                    <a:lnTo>
                      <a:pt x="263569" y="3411068"/>
                    </a:lnTo>
                    <a:lnTo>
                      <a:pt x="223777" y="3092748"/>
                    </a:lnTo>
                    <a:lnTo>
                      <a:pt x="650619" y="3027641"/>
                    </a:lnTo>
                    <a:lnTo>
                      <a:pt x="321446" y="2535692"/>
                    </a:lnTo>
                    <a:lnTo>
                      <a:pt x="419114" y="2268018"/>
                    </a:lnTo>
                    <a:lnTo>
                      <a:pt x="1099154" y="1909906"/>
                    </a:lnTo>
                    <a:lnTo>
                      <a:pt x="2083052" y="1555417"/>
                    </a:lnTo>
                    <a:lnTo>
                      <a:pt x="2958428" y="1229866"/>
                    </a:lnTo>
                    <a:lnTo>
                      <a:pt x="3435901" y="1327534"/>
                    </a:lnTo>
                    <a:lnTo>
                      <a:pt x="3511862" y="864523"/>
                    </a:lnTo>
                    <a:lnTo>
                      <a:pt x="4097856" y="314697"/>
                    </a:lnTo>
                    <a:lnTo>
                      <a:pt x="4752581" y="0"/>
                    </a:lnTo>
                    <a:lnTo>
                      <a:pt x="5728272" y="81578"/>
                    </a:lnTo>
                    <a:lnTo>
                      <a:pt x="6463541" y="694516"/>
                    </a:lnTo>
                    <a:lnTo>
                      <a:pt x="6987061" y="262437"/>
                    </a:lnTo>
                    <a:lnTo>
                      <a:pt x="7422109" y="231505"/>
                    </a:lnTo>
                    <a:lnTo>
                      <a:pt x="7816390" y="549826"/>
                    </a:lnTo>
                    <a:lnTo>
                      <a:pt x="7921289" y="1464994"/>
                    </a:lnTo>
                    <a:lnTo>
                      <a:pt x="8246840" y="1884590"/>
                    </a:lnTo>
                    <a:lnTo>
                      <a:pt x="8275778" y="2684005"/>
                    </a:lnTo>
                    <a:lnTo>
                      <a:pt x="7888728" y="3085517"/>
                    </a:lnTo>
                    <a:lnTo>
                      <a:pt x="8333655" y="3530443"/>
                    </a:lnTo>
                    <a:lnTo>
                      <a:pt x="8756874" y="3114455"/>
                    </a:lnTo>
                    <a:lnTo>
                      <a:pt x="8908795" y="3327876"/>
                    </a:lnTo>
                    <a:lnTo>
                      <a:pt x="9899924" y="2698467"/>
                    </a:lnTo>
                    <a:lnTo>
                      <a:pt x="10301436" y="3114455"/>
                    </a:lnTo>
                    <a:cubicBezTo>
                      <a:pt x="10303846" y="3332697"/>
                      <a:pt x="10306257" y="3550938"/>
                      <a:pt x="10308667" y="3769180"/>
                    </a:cubicBezTo>
                    <a:lnTo>
                      <a:pt x="10731886" y="3700450"/>
                    </a:lnTo>
                    <a:lnTo>
                      <a:pt x="10876577" y="3150624"/>
                    </a:lnTo>
                    <a:lnTo>
                      <a:pt x="11173189" y="3063810"/>
                    </a:lnTo>
                    <a:lnTo>
                      <a:pt x="11607262" y="3508736"/>
                    </a:lnTo>
                    <a:lnTo>
                      <a:pt x="12081127" y="3664281"/>
                    </a:lnTo>
                    <a:lnTo>
                      <a:pt x="12475408" y="3237439"/>
                    </a:lnTo>
                    <a:lnTo>
                      <a:pt x="12714144" y="3682365"/>
                    </a:lnTo>
                    <a:lnTo>
                      <a:pt x="12583930" y="3874079"/>
                    </a:lnTo>
                    <a:lnTo>
                      <a:pt x="12160711" y="4036854"/>
                    </a:lnTo>
                    <a:lnTo>
                      <a:pt x="11864098" y="4402197"/>
                    </a:lnTo>
                    <a:lnTo>
                      <a:pt x="11889413" y="4915838"/>
                    </a:lnTo>
                    <a:lnTo>
                      <a:pt x="11940051" y="5440349"/>
                    </a:lnTo>
                    <a:lnTo>
                      <a:pt x="12374124" y="5132875"/>
                    </a:lnTo>
                    <a:lnTo>
                      <a:pt x="12536899" y="5548867"/>
                    </a:lnTo>
                    <a:lnTo>
                      <a:pt x="12066654" y="5783984"/>
                    </a:lnTo>
                    <a:lnTo>
                      <a:pt x="12482642" y="6037197"/>
                    </a:lnTo>
                    <a:lnTo>
                      <a:pt x="12998892" y="6082556"/>
                    </a:lnTo>
                    <a:lnTo>
                      <a:pt x="12934799" y="6507438"/>
                    </a:lnTo>
                    <a:lnTo>
                      <a:pt x="12573072" y="6579784"/>
                    </a:lnTo>
                    <a:lnTo>
                      <a:pt x="12756883" y="7003998"/>
                    </a:lnTo>
                    <a:lnTo>
                      <a:pt x="12012393" y="6822136"/>
                    </a:lnTo>
                    <a:lnTo>
                      <a:pt x="11270854" y="6775113"/>
                    </a:lnTo>
                    <a:lnTo>
                      <a:pt x="10934449" y="6185496"/>
                    </a:lnTo>
                    <a:lnTo>
                      <a:pt x="9697353" y="6496585"/>
                    </a:lnTo>
                    <a:lnTo>
                      <a:pt x="9284988" y="6026343"/>
                    </a:lnTo>
                    <a:lnTo>
                      <a:pt x="8872623" y="5476518"/>
                    </a:lnTo>
                    <a:lnTo>
                      <a:pt x="8304713" y="5534394"/>
                    </a:lnTo>
                    <a:lnTo>
                      <a:pt x="7527005" y="5349911"/>
                    </a:lnTo>
                    <a:lnTo>
                      <a:pt x="7114639" y="5718877"/>
                    </a:lnTo>
                    <a:lnTo>
                      <a:pt x="6393600" y="5132882"/>
                    </a:lnTo>
                    <a:lnTo>
                      <a:pt x="6122302" y="4698810"/>
                    </a:lnTo>
                    <a:lnTo>
                      <a:pt x="5808813" y="4602349"/>
                    </a:lnTo>
                    <a:lnTo>
                      <a:pt x="5374740" y="4861585"/>
                    </a:lnTo>
                    <a:lnTo>
                      <a:pt x="4904499" y="4765124"/>
                    </a:lnTo>
                    <a:lnTo>
                      <a:pt x="4241336" y="4849523"/>
                    </a:lnTo>
                    <a:lnTo>
                      <a:pt x="3885624" y="5458414"/>
                    </a:lnTo>
                    <a:lnTo>
                      <a:pt x="4408942" y="6438708"/>
                    </a:lnTo>
                    <a:lnTo>
                      <a:pt x="4246166" y="6919804"/>
                    </a:lnTo>
                    <a:lnTo>
                      <a:pt x="3573357" y="7429837"/>
                    </a:lnTo>
                    <a:lnTo>
                      <a:pt x="2658189" y="8211168"/>
                    </a:lnTo>
                    <a:lnTo>
                      <a:pt x="2114648" y="7963508"/>
                    </a:lnTo>
                    <a:lnTo>
                      <a:pt x="1891335" y="8330529"/>
                    </a:lnTo>
                    <a:lnTo>
                      <a:pt x="1294486" y="8330529"/>
                    </a:lnTo>
                    <a:lnTo>
                      <a:pt x="668700" y="8185838"/>
                    </a:lnTo>
                    <a:lnTo>
                      <a:pt x="130594" y="8324958"/>
                    </a:lnTo>
                    <a:cubicBezTo>
                      <a:pt x="133152" y="8054892"/>
                      <a:pt x="54096" y="7677786"/>
                      <a:pt x="56654" y="7407720"/>
                    </a:cubicBez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16" name="任意多边形 94">
                <a:extLst>
                  <a:ext uri="{FF2B5EF4-FFF2-40B4-BE49-F238E27FC236}">
                    <a16:creationId xmlns:a16="http://schemas.microsoft.com/office/drawing/2014/main" id="{F260A8D4-B864-0987-2760-BB30B7FF1180}"/>
                  </a:ext>
                </a:extLst>
              </p:cNvPr>
              <p:cNvSpPr>
                <a:spLocks/>
              </p:cNvSpPr>
              <p:nvPr/>
            </p:nvSpPr>
            <p:spPr bwMode="auto">
              <a:xfrm>
                <a:off x="771835" y="3539490"/>
                <a:ext cx="1323130" cy="793750"/>
              </a:xfrm>
              <a:custGeom>
                <a:avLst/>
                <a:gdLst/>
                <a:ahLst/>
                <a:cxnLst/>
                <a:rect l="0" t="0" r="r" b="b"/>
                <a:pathLst>
                  <a:path w="16203348" h="9718224">
                    <a:moveTo>
                      <a:pt x="375091" y="608910"/>
                    </a:moveTo>
                    <a:lnTo>
                      <a:pt x="39792" y="995215"/>
                    </a:lnTo>
                    <a:lnTo>
                      <a:pt x="0" y="1552271"/>
                    </a:lnTo>
                    <a:lnTo>
                      <a:pt x="202567" y="1743985"/>
                    </a:lnTo>
                    <a:lnTo>
                      <a:pt x="694516" y="1396727"/>
                    </a:lnTo>
                    <a:lnTo>
                      <a:pt x="962191" y="1830800"/>
                    </a:lnTo>
                    <a:lnTo>
                      <a:pt x="1569893" y="1762069"/>
                    </a:lnTo>
                    <a:lnTo>
                      <a:pt x="1975027" y="2282957"/>
                    </a:lnTo>
                    <a:lnTo>
                      <a:pt x="2040134" y="2789367"/>
                    </a:lnTo>
                    <a:lnTo>
                      <a:pt x="2387392" y="3223440"/>
                    </a:lnTo>
                    <a:lnTo>
                      <a:pt x="2329516" y="3646659"/>
                    </a:lnTo>
                    <a:lnTo>
                      <a:pt x="2376539" y="4243507"/>
                    </a:lnTo>
                    <a:lnTo>
                      <a:pt x="2890195" y="5100799"/>
                    </a:lnTo>
                    <a:lnTo>
                      <a:pt x="2405477" y="5270805"/>
                    </a:lnTo>
                    <a:lnTo>
                      <a:pt x="2003965" y="4869294"/>
                    </a:lnTo>
                    <a:lnTo>
                      <a:pt x="1598831" y="4887378"/>
                    </a:lnTo>
                    <a:lnTo>
                      <a:pt x="1663938" y="5252721"/>
                    </a:lnTo>
                    <a:lnTo>
                      <a:pt x="2603631" y="6079544"/>
                    </a:lnTo>
                    <a:lnTo>
                      <a:pt x="3248292" y="5853177"/>
                    </a:lnTo>
                    <a:lnTo>
                      <a:pt x="4047708" y="5921907"/>
                    </a:lnTo>
                    <a:lnTo>
                      <a:pt x="5161820" y="5419104"/>
                    </a:lnTo>
                    <a:lnTo>
                      <a:pt x="6362747" y="5006739"/>
                    </a:lnTo>
                    <a:lnTo>
                      <a:pt x="7006618" y="4970570"/>
                    </a:lnTo>
                    <a:lnTo>
                      <a:pt x="7513029" y="5346766"/>
                    </a:lnTo>
                    <a:lnTo>
                      <a:pt x="8406489" y="6019575"/>
                    </a:lnTo>
                    <a:lnTo>
                      <a:pt x="8974399" y="5939991"/>
                    </a:lnTo>
                    <a:lnTo>
                      <a:pt x="9364309" y="5717573"/>
                    </a:lnTo>
                    <a:lnTo>
                      <a:pt x="10280226" y="6171497"/>
                    </a:lnTo>
                    <a:lnTo>
                      <a:pt x="10229580" y="6941974"/>
                    </a:lnTo>
                    <a:lnTo>
                      <a:pt x="10421293" y="7922249"/>
                    </a:lnTo>
                    <a:lnTo>
                      <a:pt x="10102973" y="8468451"/>
                    </a:lnTo>
                    <a:lnTo>
                      <a:pt x="10808344" y="8573351"/>
                    </a:lnTo>
                    <a:lnTo>
                      <a:pt x="11423276" y="8244177"/>
                    </a:lnTo>
                    <a:lnTo>
                      <a:pt x="11958625" y="8475682"/>
                    </a:lnTo>
                    <a:lnTo>
                      <a:pt x="12237153" y="8215239"/>
                    </a:lnTo>
                    <a:lnTo>
                      <a:pt x="13054653" y="8226092"/>
                    </a:lnTo>
                    <a:lnTo>
                      <a:pt x="13564687" y="8631227"/>
                    </a:lnTo>
                    <a:lnTo>
                      <a:pt x="13973429" y="8135655"/>
                    </a:lnTo>
                    <a:lnTo>
                      <a:pt x="15282878" y="9275098"/>
                    </a:lnTo>
                    <a:lnTo>
                      <a:pt x="16203348" y="9718224"/>
                    </a:lnTo>
                    <a:lnTo>
                      <a:pt x="16024417" y="8265884"/>
                    </a:lnTo>
                    <a:lnTo>
                      <a:pt x="15677159" y="7893311"/>
                    </a:lnTo>
                    <a:lnTo>
                      <a:pt x="15206917" y="7770327"/>
                    </a:lnTo>
                    <a:lnTo>
                      <a:pt x="14320687" y="7249440"/>
                    </a:lnTo>
                    <a:lnTo>
                      <a:pt x="14353249" y="6547693"/>
                    </a:lnTo>
                    <a:lnTo>
                      <a:pt x="14005990" y="5856800"/>
                    </a:lnTo>
                    <a:lnTo>
                      <a:pt x="14277288" y="5183991"/>
                    </a:lnTo>
                    <a:lnTo>
                      <a:pt x="14758383" y="4326699"/>
                    </a:lnTo>
                    <a:lnTo>
                      <a:pt x="14429209" y="3889018"/>
                    </a:lnTo>
                    <a:lnTo>
                      <a:pt x="14382187" y="2395087"/>
                    </a:lnTo>
                    <a:lnTo>
                      <a:pt x="14584754" y="1877822"/>
                    </a:lnTo>
                    <a:lnTo>
                      <a:pt x="14139828" y="1570356"/>
                    </a:lnTo>
                    <a:lnTo>
                      <a:pt x="13467019" y="1754839"/>
                    </a:lnTo>
                    <a:lnTo>
                      <a:pt x="13177637" y="1425665"/>
                    </a:lnTo>
                    <a:lnTo>
                      <a:pt x="13004008" y="948193"/>
                    </a:lnTo>
                    <a:lnTo>
                      <a:pt x="13344035" y="398367"/>
                    </a:lnTo>
                    <a:lnTo>
                      <a:pt x="12534905" y="0"/>
                    </a:lnTo>
                    <a:lnTo>
                      <a:pt x="12027355" y="479159"/>
                    </a:lnTo>
                    <a:lnTo>
                      <a:pt x="11141125" y="177715"/>
                    </a:lnTo>
                    <a:lnTo>
                      <a:pt x="10652799" y="1082030"/>
                    </a:lnTo>
                    <a:lnTo>
                      <a:pt x="10146388" y="1654770"/>
                    </a:lnTo>
                    <a:lnTo>
                      <a:pt x="9019466" y="675175"/>
                    </a:lnTo>
                    <a:lnTo>
                      <a:pt x="7994124" y="340491"/>
                    </a:lnTo>
                    <a:lnTo>
                      <a:pt x="7608756" y="988664"/>
                    </a:lnTo>
                    <a:lnTo>
                      <a:pt x="6306078" y="907193"/>
                    </a:lnTo>
                    <a:lnTo>
                      <a:pt x="5226927" y="1437726"/>
                    </a:lnTo>
                    <a:lnTo>
                      <a:pt x="4618018" y="1389496"/>
                    </a:lnTo>
                    <a:lnTo>
                      <a:pt x="4214091" y="1624625"/>
                    </a:lnTo>
                    <a:lnTo>
                      <a:pt x="2984241" y="744418"/>
                    </a:lnTo>
                    <a:lnTo>
                      <a:pt x="375091" y="608910"/>
                    </a:lnTo>
                    <a:close/>
                  </a:path>
                </a:pathLst>
              </a:custGeom>
              <a:solidFill>
                <a:schemeClr val="bg2">
                  <a:lumMod val="90000"/>
                </a:schemeClr>
              </a:solid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17" name="任意多边形 98">
                <a:extLst>
                  <a:ext uri="{FF2B5EF4-FFF2-40B4-BE49-F238E27FC236}">
                    <a16:creationId xmlns:a16="http://schemas.microsoft.com/office/drawing/2014/main" id="{66B1B1C1-63D6-1DA5-F991-90717A6663C6}"/>
                  </a:ext>
                </a:extLst>
              </p:cNvPr>
              <p:cNvSpPr>
                <a:spLocks/>
              </p:cNvSpPr>
              <p:nvPr/>
            </p:nvSpPr>
            <p:spPr bwMode="auto">
              <a:xfrm>
                <a:off x="719138" y="2930525"/>
                <a:ext cx="1264719" cy="744538"/>
              </a:xfrm>
              <a:custGeom>
                <a:avLst/>
                <a:gdLst>
                  <a:gd name="T0" fmla="*/ 268633 w 2569"/>
                  <a:gd name="T1" fmla="*/ 2124829 h 1512"/>
                  <a:gd name="T2" fmla="*/ 228602 w 2569"/>
                  <a:gd name="T3" fmla="*/ 1992205 h 1512"/>
                  <a:gd name="T4" fmla="*/ 0 w 2569"/>
                  <a:gd name="T5" fmla="*/ 1788951 h 1512"/>
                  <a:gd name="T6" fmla="*/ 186057 w 2569"/>
                  <a:gd name="T7" fmla="*/ 1506302 h 1512"/>
                  <a:gd name="T8" fmla="*/ 376558 w 2569"/>
                  <a:gd name="T9" fmla="*/ 1437704 h 1512"/>
                  <a:gd name="T10" fmla="*/ 406085 w 2569"/>
                  <a:gd name="T11" fmla="*/ 1350051 h 1512"/>
                  <a:gd name="T12" fmla="*/ 307024 w 2569"/>
                  <a:gd name="T13" fmla="*/ 1246201 h 1512"/>
                  <a:gd name="T14" fmla="*/ 430849 w 2569"/>
                  <a:gd name="T15" fmla="*/ 883201 h 1512"/>
                  <a:gd name="T16" fmla="*/ 572771 w 2569"/>
                  <a:gd name="T17" fmla="*/ 868912 h 1512"/>
                  <a:gd name="T18" fmla="*/ 699454 w 2569"/>
                  <a:gd name="T19" fmla="*/ 780305 h 1512"/>
                  <a:gd name="T20" fmla="*/ 681356 w 2569"/>
                  <a:gd name="T21" fmla="*/ 676455 h 1512"/>
                  <a:gd name="T22" fmla="*/ 819392 w 2569"/>
                  <a:gd name="T23" fmla="*/ 496787 h 1512"/>
                  <a:gd name="T24" fmla="*/ 947104 w 2569"/>
                  <a:gd name="T25" fmla="*/ 583086 h 1512"/>
                  <a:gd name="T26" fmla="*/ 1032828 w 2569"/>
                  <a:gd name="T27" fmla="*/ 717424 h 1512"/>
                  <a:gd name="T28" fmla="*/ 1063309 w 2569"/>
                  <a:gd name="T29" fmla="*/ 826038 h 1512"/>
                  <a:gd name="T30" fmla="*/ 1029970 w 2569"/>
                  <a:gd name="T31" fmla="*/ 990864 h 1512"/>
                  <a:gd name="T32" fmla="*/ 1106171 w 2569"/>
                  <a:gd name="T33" fmla="*/ 1091856 h 1512"/>
                  <a:gd name="T34" fmla="*/ 1263334 w 2569"/>
                  <a:gd name="T35" fmla="*/ 1028020 h 1512"/>
                  <a:gd name="T36" fmla="*/ 1405257 w 2569"/>
                  <a:gd name="T37" fmla="*/ 1043264 h 1512"/>
                  <a:gd name="T38" fmla="*/ 1427163 w 2569"/>
                  <a:gd name="T39" fmla="*/ 913690 h 1512"/>
                  <a:gd name="T40" fmla="*/ 1338391 w 2569"/>
                  <a:gd name="T41" fmla="*/ 826543 h 1512"/>
                  <a:gd name="T42" fmla="*/ 1369061 w 2569"/>
                  <a:gd name="T43" fmla="*/ 533541 h 1512"/>
                  <a:gd name="T44" fmla="*/ 1457643 w 2569"/>
                  <a:gd name="T45" fmla="*/ 567842 h 1512"/>
                  <a:gd name="T46" fmla="*/ 1599566 w 2569"/>
                  <a:gd name="T47" fmla="*/ 496385 h 1512"/>
                  <a:gd name="T48" fmla="*/ 1728152 w 2569"/>
                  <a:gd name="T49" fmla="*/ 453511 h 1512"/>
                  <a:gd name="T50" fmla="*/ 1748155 w 2569"/>
                  <a:gd name="T51" fmla="*/ 258196 h 1512"/>
                  <a:gd name="T52" fmla="*/ 1996758 w 2569"/>
                  <a:gd name="T53" fmla="*/ 309646 h 1512"/>
                  <a:gd name="T54" fmla="*/ 2018664 w 2569"/>
                  <a:gd name="T55" fmla="*/ 248670 h 1512"/>
                  <a:gd name="T56" fmla="*/ 2209165 w 2569"/>
                  <a:gd name="T57" fmla="*/ 233425 h 1512"/>
                  <a:gd name="T58" fmla="*/ 2458718 w 2569"/>
                  <a:gd name="T59" fmla="*/ 0 h 1512"/>
                  <a:gd name="T60" fmla="*/ 2649220 w 2569"/>
                  <a:gd name="T61" fmla="*/ 20962 h 1512"/>
                  <a:gd name="T62" fmla="*/ 2726371 w 2569"/>
                  <a:gd name="T63" fmla="*/ 208655 h 1512"/>
                  <a:gd name="T64" fmla="*/ 2861428 w 2569"/>
                  <a:gd name="T65" fmla="*/ 217740 h 1512"/>
                  <a:gd name="T66" fmla="*/ 3020695 w 2569"/>
                  <a:gd name="T67" fmla="*/ 68599 h 1512"/>
                  <a:gd name="T68" fmla="*/ 3157538 w 2569"/>
                  <a:gd name="T69" fmla="*/ 107341 h 1512"/>
                  <a:gd name="T70" fmla="*/ 3279772 w 2569"/>
                  <a:gd name="T71" fmla="*/ 262959 h 1512"/>
                  <a:gd name="T72" fmla="*/ 3495674 w 2569"/>
                  <a:gd name="T73" fmla="*/ 305833 h 1512"/>
                  <a:gd name="T74" fmla="*/ 3678236 w 2569"/>
                  <a:gd name="T75" fmla="*/ 420164 h 1512"/>
                  <a:gd name="T76" fmla="*/ 3708398 w 2569"/>
                  <a:gd name="T77" fmla="*/ 595471 h 1512"/>
                  <a:gd name="T78" fmla="*/ 3835399 w 2569"/>
                  <a:gd name="T79" fmla="*/ 663116 h 1512"/>
                  <a:gd name="T80" fmla="*/ 3913618 w 2569"/>
                  <a:gd name="T81" fmla="*/ 717293 h 1512"/>
                  <a:gd name="T82" fmla="*/ 3920806 w 2569"/>
                  <a:gd name="T83" fmla="*/ 843186 h 1512"/>
                  <a:gd name="T84" fmla="*/ 4030664 w 2569"/>
                  <a:gd name="T85" fmla="*/ 890187 h 1512"/>
                  <a:gd name="T86" fmla="*/ 4076701 w 2569"/>
                  <a:gd name="T87" fmla="*/ 1123613 h 1512"/>
                  <a:gd name="T88" fmla="*/ 3982318 w 2569"/>
                  <a:gd name="T89" fmla="*/ 1208414 h 1512"/>
                  <a:gd name="T90" fmla="*/ 4078287 w 2569"/>
                  <a:gd name="T91" fmla="*/ 1514242 h 1512"/>
                  <a:gd name="T92" fmla="*/ 3890962 w 2569"/>
                  <a:gd name="T93" fmla="*/ 1714320 h 1512"/>
                  <a:gd name="T94" fmla="*/ 3551235 w 2569"/>
                  <a:gd name="T95" fmla="*/ 1787364 h 1512"/>
                  <a:gd name="T96" fmla="*/ 3470575 w 2569"/>
                  <a:gd name="T97" fmla="*/ 1964448 h 1512"/>
                  <a:gd name="T98" fmla="*/ 3336925 w 2569"/>
                  <a:gd name="T99" fmla="*/ 2090655 h 1512"/>
                  <a:gd name="T100" fmla="*/ 3103561 w 2569"/>
                  <a:gd name="T101" fmla="*/ 2011257 h 1512"/>
                  <a:gd name="T102" fmla="*/ 2974974 w 2569"/>
                  <a:gd name="T103" fmla="*/ 2249444 h 1512"/>
                  <a:gd name="T104" fmla="*/ 2841626 w 2569"/>
                  <a:gd name="T105" fmla="*/ 2400300 h 1512"/>
                  <a:gd name="T106" fmla="*/ 2544884 w 2569"/>
                  <a:gd name="T107" fmla="*/ 2142284 h 1512"/>
                  <a:gd name="T108" fmla="*/ 2274888 w 2569"/>
                  <a:gd name="T109" fmla="*/ 2054131 h 1512"/>
                  <a:gd name="T110" fmla="*/ 2173412 w 2569"/>
                  <a:gd name="T111" fmla="*/ 2224854 h 1512"/>
                  <a:gd name="T112" fmla="*/ 1830390 w 2569"/>
                  <a:gd name="T113" fmla="*/ 2203395 h 1512"/>
                  <a:gd name="T114" fmla="*/ 1546226 w 2569"/>
                  <a:gd name="T115" fmla="*/ 2343131 h 1512"/>
                  <a:gd name="T116" fmla="*/ 1385887 w 2569"/>
                  <a:gd name="T117" fmla="*/ 2330430 h 1512"/>
                  <a:gd name="T118" fmla="*/ 1279524 w 2569"/>
                  <a:gd name="T119" fmla="*/ 2392360 h 1512"/>
                  <a:gd name="T120" fmla="*/ 955678 w 2569"/>
                  <a:gd name="T121" fmla="*/ 2160521 h 1512"/>
                  <a:gd name="T122" fmla="*/ 268633 w 2569"/>
                  <a:gd name="T123" fmla="*/ 2124829 h 151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569" h="1512">
                    <a:moveTo>
                      <a:pt x="169" y="1338"/>
                    </a:moveTo>
                    <a:lnTo>
                      <a:pt x="144" y="1255"/>
                    </a:lnTo>
                    <a:lnTo>
                      <a:pt x="0" y="1127"/>
                    </a:lnTo>
                    <a:lnTo>
                      <a:pt x="117" y="949"/>
                    </a:lnTo>
                    <a:lnTo>
                      <a:pt x="237" y="906"/>
                    </a:lnTo>
                    <a:lnTo>
                      <a:pt x="256" y="850"/>
                    </a:lnTo>
                    <a:lnTo>
                      <a:pt x="193" y="785"/>
                    </a:lnTo>
                    <a:lnTo>
                      <a:pt x="271" y="556"/>
                    </a:lnTo>
                    <a:lnTo>
                      <a:pt x="361" y="547"/>
                    </a:lnTo>
                    <a:lnTo>
                      <a:pt x="441" y="492"/>
                    </a:lnTo>
                    <a:lnTo>
                      <a:pt x="429" y="426"/>
                    </a:lnTo>
                    <a:lnTo>
                      <a:pt x="516" y="313"/>
                    </a:lnTo>
                    <a:lnTo>
                      <a:pt x="597" y="367"/>
                    </a:lnTo>
                    <a:lnTo>
                      <a:pt x="651" y="452"/>
                    </a:lnTo>
                    <a:lnTo>
                      <a:pt x="670" y="520"/>
                    </a:lnTo>
                    <a:lnTo>
                      <a:pt x="649" y="624"/>
                    </a:lnTo>
                    <a:lnTo>
                      <a:pt x="697" y="688"/>
                    </a:lnTo>
                    <a:lnTo>
                      <a:pt x="796" y="648"/>
                    </a:lnTo>
                    <a:lnTo>
                      <a:pt x="885" y="657"/>
                    </a:lnTo>
                    <a:lnTo>
                      <a:pt x="899" y="576"/>
                    </a:lnTo>
                    <a:lnTo>
                      <a:pt x="843" y="521"/>
                    </a:lnTo>
                    <a:lnTo>
                      <a:pt x="862" y="336"/>
                    </a:lnTo>
                    <a:lnTo>
                      <a:pt x="918" y="358"/>
                    </a:lnTo>
                    <a:lnTo>
                      <a:pt x="1008" y="313"/>
                    </a:lnTo>
                    <a:lnTo>
                      <a:pt x="1089" y="286"/>
                    </a:lnTo>
                    <a:lnTo>
                      <a:pt x="1101" y="163"/>
                    </a:lnTo>
                    <a:lnTo>
                      <a:pt x="1258" y="195"/>
                    </a:lnTo>
                    <a:lnTo>
                      <a:pt x="1272" y="157"/>
                    </a:lnTo>
                    <a:lnTo>
                      <a:pt x="1392" y="147"/>
                    </a:lnTo>
                    <a:lnTo>
                      <a:pt x="1549" y="0"/>
                    </a:lnTo>
                    <a:lnTo>
                      <a:pt x="1669" y="13"/>
                    </a:lnTo>
                    <a:lnTo>
                      <a:pt x="1717" y="131"/>
                    </a:lnTo>
                    <a:lnTo>
                      <a:pt x="1802" y="137"/>
                    </a:lnTo>
                    <a:lnTo>
                      <a:pt x="1903" y="43"/>
                    </a:lnTo>
                    <a:lnTo>
                      <a:pt x="1989" y="68"/>
                    </a:lnTo>
                    <a:lnTo>
                      <a:pt x="2066" y="166"/>
                    </a:lnTo>
                    <a:lnTo>
                      <a:pt x="2202" y="193"/>
                    </a:lnTo>
                    <a:lnTo>
                      <a:pt x="2317" y="265"/>
                    </a:lnTo>
                    <a:lnTo>
                      <a:pt x="2336" y="375"/>
                    </a:lnTo>
                    <a:lnTo>
                      <a:pt x="2416" y="418"/>
                    </a:lnTo>
                    <a:lnTo>
                      <a:pt x="2465" y="452"/>
                    </a:lnTo>
                    <a:lnTo>
                      <a:pt x="2470" y="531"/>
                    </a:lnTo>
                    <a:lnTo>
                      <a:pt x="2539" y="561"/>
                    </a:lnTo>
                    <a:lnTo>
                      <a:pt x="2568" y="708"/>
                    </a:lnTo>
                    <a:lnTo>
                      <a:pt x="2509" y="761"/>
                    </a:lnTo>
                    <a:lnTo>
                      <a:pt x="2569" y="954"/>
                    </a:lnTo>
                    <a:lnTo>
                      <a:pt x="2451" y="1080"/>
                    </a:lnTo>
                    <a:lnTo>
                      <a:pt x="2237" y="1126"/>
                    </a:lnTo>
                    <a:lnTo>
                      <a:pt x="2186" y="1237"/>
                    </a:lnTo>
                    <a:lnTo>
                      <a:pt x="2102" y="1317"/>
                    </a:lnTo>
                    <a:lnTo>
                      <a:pt x="1955" y="1267"/>
                    </a:lnTo>
                    <a:lnTo>
                      <a:pt x="1874" y="1417"/>
                    </a:lnTo>
                    <a:lnTo>
                      <a:pt x="1790" y="1512"/>
                    </a:lnTo>
                    <a:lnTo>
                      <a:pt x="1603" y="1349"/>
                    </a:lnTo>
                    <a:lnTo>
                      <a:pt x="1433" y="1294"/>
                    </a:lnTo>
                    <a:lnTo>
                      <a:pt x="1369" y="1401"/>
                    </a:lnTo>
                    <a:lnTo>
                      <a:pt x="1153" y="1388"/>
                    </a:lnTo>
                    <a:lnTo>
                      <a:pt x="974" y="1476"/>
                    </a:lnTo>
                    <a:lnTo>
                      <a:pt x="873" y="1468"/>
                    </a:lnTo>
                    <a:lnTo>
                      <a:pt x="806" y="1507"/>
                    </a:lnTo>
                    <a:lnTo>
                      <a:pt x="602" y="1361"/>
                    </a:lnTo>
                    <a:lnTo>
                      <a:pt x="169" y="1338"/>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18" name="任意多边形 100">
                <a:extLst>
                  <a:ext uri="{FF2B5EF4-FFF2-40B4-BE49-F238E27FC236}">
                    <a16:creationId xmlns:a16="http://schemas.microsoft.com/office/drawing/2014/main" id="{91C955C6-1454-A63D-EB94-A94819A4D19D}"/>
                  </a:ext>
                </a:extLst>
              </p:cNvPr>
              <p:cNvSpPr>
                <a:spLocks/>
              </p:cNvSpPr>
              <p:nvPr/>
            </p:nvSpPr>
            <p:spPr bwMode="auto">
              <a:xfrm>
                <a:off x="5207240" y="2977198"/>
                <a:ext cx="1506298" cy="1302385"/>
              </a:xfrm>
              <a:custGeom>
                <a:avLst/>
                <a:gdLst/>
                <a:ahLst/>
                <a:cxnLst/>
                <a:rect l="0" t="0" r="r" b="b"/>
                <a:pathLst>
                  <a:path w="18447968" h="15946069">
                    <a:moveTo>
                      <a:pt x="477776" y="7436569"/>
                    </a:moveTo>
                    <a:lnTo>
                      <a:pt x="271294" y="8060457"/>
                    </a:lnTo>
                    <a:lnTo>
                      <a:pt x="379812" y="8675382"/>
                    </a:lnTo>
                    <a:lnTo>
                      <a:pt x="759624" y="9217969"/>
                    </a:lnTo>
                    <a:lnTo>
                      <a:pt x="687278" y="9670126"/>
                    </a:lnTo>
                    <a:lnTo>
                      <a:pt x="144687" y="9941420"/>
                    </a:lnTo>
                    <a:lnTo>
                      <a:pt x="343643" y="10592536"/>
                    </a:lnTo>
                    <a:lnTo>
                      <a:pt x="940487" y="10954252"/>
                    </a:lnTo>
                    <a:lnTo>
                      <a:pt x="596844" y="11786221"/>
                    </a:lnTo>
                    <a:lnTo>
                      <a:pt x="633017" y="12780969"/>
                    </a:lnTo>
                    <a:lnTo>
                      <a:pt x="198944" y="13341645"/>
                    </a:lnTo>
                    <a:lnTo>
                      <a:pt x="723451" y="13757629"/>
                    </a:lnTo>
                    <a:lnTo>
                      <a:pt x="1640036" y="13197151"/>
                    </a:lnTo>
                    <a:lnTo>
                      <a:pt x="1880971" y="13395906"/>
                    </a:lnTo>
                    <a:lnTo>
                      <a:pt x="2930086" y="12952832"/>
                    </a:lnTo>
                    <a:lnTo>
                      <a:pt x="3828256" y="13245188"/>
                    </a:lnTo>
                    <a:lnTo>
                      <a:pt x="4768739" y="13040205"/>
                    </a:lnTo>
                    <a:lnTo>
                      <a:pt x="5190751" y="13649115"/>
                    </a:lnTo>
                    <a:lnTo>
                      <a:pt x="5932290" y="13444132"/>
                    </a:lnTo>
                    <a:lnTo>
                      <a:pt x="6498992" y="12991975"/>
                    </a:lnTo>
                    <a:lnTo>
                      <a:pt x="7373161" y="13582800"/>
                    </a:lnTo>
                    <a:lnTo>
                      <a:pt x="8512588" y="13570738"/>
                    </a:lnTo>
                    <a:lnTo>
                      <a:pt x="9416903" y="13281357"/>
                    </a:lnTo>
                    <a:lnTo>
                      <a:pt x="9742454" y="14004811"/>
                    </a:lnTo>
                    <a:lnTo>
                      <a:pt x="10080066" y="14716204"/>
                    </a:lnTo>
                    <a:lnTo>
                      <a:pt x="10616683" y="15358294"/>
                    </a:lnTo>
                    <a:lnTo>
                      <a:pt x="11117010" y="15946069"/>
                    </a:lnTo>
                    <a:lnTo>
                      <a:pt x="11593335" y="15822497"/>
                    </a:lnTo>
                    <a:lnTo>
                      <a:pt x="11780218" y="13579811"/>
                    </a:lnTo>
                    <a:lnTo>
                      <a:pt x="11954994" y="12135890"/>
                    </a:lnTo>
                    <a:lnTo>
                      <a:pt x="12196146" y="11388328"/>
                    </a:lnTo>
                    <a:lnTo>
                      <a:pt x="13166775" y="11707856"/>
                    </a:lnTo>
                    <a:lnTo>
                      <a:pt x="14004775" y="11611395"/>
                    </a:lnTo>
                    <a:lnTo>
                      <a:pt x="14939235" y="11322014"/>
                    </a:lnTo>
                    <a:lnTo>
                      <a:pt x="15409477" y="11882693"/>
                    </a:lnTo>
                    <a:lnTo>
                      <a:pt x="15861634" y="11273783"/>
                    </a:lnTo>
                    <a:lnTo>
                      <a:pt x="16413199" y="10920339"/>
                    </a:lnTo>
                    <a:lnTo>
                      <a:pt x="16765948" y="10200671"/>
                    </a:lnTo>
                    <a:lnTo>
                      <a:pt x="16428336" y="9374732"/>
                    </a:lnTo>
                    <a:lnTo>
                      <a:pt x="15946033" y="8440272"/>
                    </a:lnTo>
                    <a:lnTo>
                      <a:pt x="16024409" y="7433474"/>
                    </a:lnTo>
                    <a:lnTo>
                      <a:pt x="16958870" y="6776350"/>
                    </a:lnTo>
                    <a:lnTo>
                      <a:pt x="17911414" y="6083041"/>
                    </a:lnTo>
                    <a:lnTo>
                      <a:pt x="17694370" y="5570592"/>
                    </a:lnTo>
                    <a:lnTo>
                      <a:pt x="17385711" y="5219213"/>
                    </a:lnTo>
                    <a:lnTo>
                      <a:pt x="17637701" y="4819407"/>
                    </a:lnTo>
                    <a:lnTo>
                      <a:pt x="18171858" y="4701949"/>
                    </a:lnTo>
                    <a:lnTo>
                      <a:pt x="18447970" y="4316604"/>
                    </a:lnTo>
                    <a:lnTo>
                      <a:pt x="17814953" y="4117660"/>
                    </a:lnTo>
                    <a:lnTo>
                      <a:pt x="17067422" y="3472551"/>
                    </a:lnTo>
                    <a:lnTo>
                      <a:pt x="16852763" y="3282076"/>
                    </a:lnTo>
                    <a:lnTo>
                      <a:pt x="16161870" y="4063407"/>
                    </a:lnTo>
                    <a:lnTo>
                      <a:pt x="14429201" y="4027238"/>
                    </a:lnTo>
                    <a:lnTo>
                      <a:pt x="13854061" y="3658272"/>
                    </a:lnTo>
                    <a:lnTo>
                      <a:pt x="13383819" y="2963756"/>
                    </a:lnTo>
                    <a:lnTo>
                      <a:pt x="12493981" y="2927587"/>
                    </a:lnTo>
                    <a:lnTo>
                      <a:pt x="11976717" y="2139025"/>
                    </a:lnTo>
                    <a:lnTo>
                      <a:pt x="11484768" y="1495155"/>
                    </a:lnTo>
                    <a:lnTo>
                      <a:pt x="10830043" y="1256418"/>
                    </a:lnTo>
                    <a:lnTo>
                      <a:pt x="10323633" y="1220249"/>
                    </a:lnTo>
                    <a:lnTo>
                      <a:pt x="9802745" y="1603676"/>
                    </a:lnTo>
                    <a:lnTo>
                      <a:pt x="9223982" y="1621761"/>
                    </a:lnTo>
                    <a:lnTo>
                      <a:pt x="8782678" y="2171586"/>
                    </a:lnTo>
                    <a:lnTo>
                      <a:pt x="8272645" y="2102856"/>
                    </a:lnTo>
                    <a:lnTo>
                      <a:pt x="7853048" y="2526075"/>
                    </a:lnTo>
                    <a:lnTo>
                      <a:pt x="7323799" y="2632907"/>
                    </a:lnTo>
                    <a:lnTo>
                      <a:pt x="6977672" y="2178817"/>
                    </a:lnTo>
                    <a:lnTo>
                      <a:pt x="6594245" y="2055834"/>
                    </a:lnTo>
                    <a:lnTo>
                      <a:pt x="6431470" y="1314295"/>
                    </a:lnTo>
                    <a:lnTo>
                      <a:pt x="5642908" y="1343233"/>
                    </a:lnTo>
                    <a:lnTo>
                      <a:pt x="5150959" y="1610907"/>
                    </a:lnTo>
                    <a:lnTo>
                      <a:pt x="5480133" y="2167963"/>
                    </a:lnTo>
                    <a:lnTo>
                      <a:pt x="4742216" y="2862495"/>
                    </a:lnTo>
                    <a:lnTo>
                      <a:pt x="2658667" y="0"/>
                    </a:lnTo>
                    <a:lnTo>
                      <a:pt x="2658682" y="1018890"/>
                    </a:lnTo>
                    <a:lnTo>
                      <a:pt x="1850829" y="1730283"/>
                    </a:lnTo>
                    <a:lnTo>
                      <a:pt x="1404694" y="2272862"/>
                    </a:lnTo>
                    <a:lnTo>
                      <a:pt x="2351216" y="3388182"/>
                    </a:lnTo>
                    <a:lnTo>
                      <a:pt x="2658682" y="4286458"/>
                    </a:lnTo>
                    <a:lnTo>
                      <a:pt x="1935228" y="5220918"/>
                    </a:lnTo>
                    <a:lnTo>
                      <a:pt x="875281" y="5166646"/>
                    </a:lnTo>
                    <a:lnTo>
                      <a:pt x="0" y="5890112"/>
                    </a:lnTo>
                    <a:lnTo>
                      <a:pt x="72345" y="6921032"/>
                    </a:lnTo>
                    <a:lnTo>
                      <a:pt x="477776" y="7436569"/>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19" name="任意多边形 101">
                <a:extLst>
                  <a:ext uri="{FF2B5EF4-FFF2-40B4-BE49-F238E27FC236}">
                    <a16:creationId xmlns:a16="http://schemas.microsoft.com/office/drawing/2014/main" id="{B9C96D0B-B3D3-3009-246A-CE8DFA021E01}"/>
                  </a:ext>
                </a:extLst>
              </p:cNvPr>
              <p:cNvSpPr>
                <a:spLocks/>
              </p:cNvSpPr>
              <p:nvPr/>
            </p:nvSpPr>
            <p:spPr bwMode="auto">
              <a:xfrm>
                <a:off x="1796244" y="3167380"/>
                <a:ext cx="1550424" cy="1358583"/>
              </a:xfrm>
              <a:custGeom>
                <a:avLst/>
                <a:gdLst/>
                <a:ahLst/>
                <a:cxnLst/>
                <a:rect l="0" t="0" r="r" b="b"/>
                <a:pathLst>
                  <a:path w="4884" h="4279">
                    <a:moveTo>
                      <a:pt x="544" y="127"/>
                    </a:moveTo>
                    <a:lnTo>
                      <a:pt x="590" y="351"/>
                    </a:lnTo>
                    <a:lnTo>
                      <a:pt x="499" y="437"/>
                    </a:lnTo>
                    <a:lnTo>
                      <a:pt x="590" y="732"/>
                    </a:lnTo>
                    <a:lnTo>
                      <a:pt x="403" y="934"/>
                    </a:lnTo>
                    <a:lnTo>
                      <a:pt x="79" y="1000"/>
                    </a:lnTo>
                    <a:lnTo>
                      <a:pt x="0" y="1172"/>
                    </a:lnTo>
                    <a:lnTo>
                      <a:pt x="204" y="1276"/>
                    </a:lnTo>
                    <a:lnTo>
                      <a:pt x="120" y="1417"/>
                    </a:lnTo>
                    <a:lnTo>
                      <a:pt x="161" y="1538"/>
                    </a:lnTo>
                    <a:lnTo>
                      <a:pt x="239" y="1624"/>
                    </a:lnTo>
                    <a:lnTo>
                      <a:pt x="410" y="1577"/>
                    </a:lnTo>
                    <a:lnTo>
                      <a:pt x="523" y="1653"/>
                    </a:lnTo>
                    <a:lnTo>
                      <a:pt x="476" y="1787"/>
                    </a:lnTo>
                    <a:lnTo>
                      <a:pt x="486" y="2172"/>
                    </a:lnTo>
                    <a:lnTo>
                      <a:pt x="568" y="2287"/>
                    </a:lnTo>
                    <a:lnTo>
                      <a:pt x="448" y="2508"/>
                    </a:lnTo>
                    <a:lnTo>
                      <a:pt x="377" y="2683"/>
                    </a:lnTo>
                    <a:lnTo>
                      <a:pt x="464" y="2859"/>
                    </a:lnTo>
                    <a:lnTo>
                      <a:pt x="457" y="3038"/>
                    </a:lnTo>
                    <a:lnTo>
                      <a:pt x="685" y="3172"/>
                    </a:lnTo>
                    <a:lnTo>
                      <a:pt x="811" y="3206"/>
                    </a:lnTo>
                    <a:lnTo>
                      <a:pt x="898" y="3302"/>
                    </a:lnTo>
                    <a:lnTo>
                      <a:pt x="943" y="3673"/>
                    </a:lnTo>
                    <a:lnTo>
                      <a:pt x="1043" y="4279"/>
                    </a:lnTo>
                    <a:lnTo>
                      <a:pt x="1904" y="4098"/>
                    </a:lnTo>
                    <a:lnTo>
                      <a:pt x="2021" y="4051"/>
                    </a:lnTo>
                    <a:lnTo>
                      <a:pt x="1989" y="3979"/>
                    </a:lnTo>
                    <a:lnTo>
                      <a:pt x="2056" y="3893"/>
                    </a:lnTo>
                    <a:lnTo>
                      <a:pt x="2060" y="3814"/>
                    </a:lnTo>
                    <a:lnTo>
                      <a:pt x="2224" y="3774"/>
                    </a:lnTo>
                    <a:lnTo>
                      <a:pt x="2369" y="3651"/>
                    </a:lnTo>
                    <a:lnTo>
                      <a:pt x="2705" y="3438"/>
                    </a:lnTo>
                    <a:lnTo>
                      <a:pt x="2798" y="3396"/>
                    </a:lnTo>
                    <a:lnTo>
                      <a:pt x="2854" y="3305"/>
                    </a:lnTo>
                    <a:lnTo>
                      <a:pt x="2914" y="3215"/>
                    </a:lnTo>
                    <a:lnTo>
                      <a:pt x="3007" y="3248"/>
                    </a:lnTo>
                    <a:lnTo>
                      <a:pt x="3139" y="3230"/>
                    </a:lnTo>
                    <a:lnTo>
                      <a:pt x="3218" y="3147"/>
                    </a:lnTo>
                    <a:lnTo>
                      <a:pt x="3406" y="2847"/>
                    </a:lnTo>
                    <a:lnTo>
                      <a:pt x="3620" y="2846"/>
                    </a:lnTo>
                    <a:lnTo>
                      <a:pt x="3751" y="2933"/>
                    </a:lnTo>
                    <a:lnTo>
                      <a:pt x="3818" y="3038"/>
                    </a:lnTo>
                    <a:lnTo>
                      <a:pt x="3991" y="3096"/>
                    </a:lnTo>
                    <a:lnTo>
                      <a:pt x="4140" y="3230"/>
                    </a:lnTo>
                    <a:lnTo>
                      <a:pt x="4400" y="3032"/>
                    </a:lnTo>
                    <a:lnTo>
                      <a:pt x="4884" y="2731"/>
                    </a:lnTo>
                    <a:lnTo>
                      <a:pt x="4794" y="2593"/>
                    </a:lnTo>
                    <a:lnTo>
                      <a:pt x="4755" y="2422"/>
                    </a:lnTo>
                    <a:lnTo>
                      <a:pt x="4673" y="2234"/>
                    </a:lnTo>
                    <a:lnTo>
                      <a:pt x="4452" y="2187"/>
                    </a:lnTo>
                    <a:lnTo>
                      <a:pt x="4314" y="2026"/>
                    </a:lnTo>
                    <a:lnTo>
                      <a:pt x="4318" y="1915"/>
                    </a:lnTo>
                    <a:lnTo>
                      <a:pt x="4274" y="1878"/>
                    </a:lnTo>
                    <a:lnTo>
                      <a:pt x="4179" y="2007"/>
                    </a:lnTo>
                    <a:lnTo>
                      <a:pt x="4021" y="1780"/>
                    </a:lnTo>
                    <a:lnTo>
                      <a:pt x="4065" y="1572"/>
                    </a:lnTo>
                    <a:lnTo>
                      <a:pt x="3994" y="1448"/>
                    </a:lnTo>
                    <a:lnTo>
                      <a:pt x="4140" y="1294"/>
                    </a:lnTo>
                    <a:lnTo>
                      <a:pt x="4322" y="1231"/>
                    </a:lnTo>
                    <a:lnTo>
                      <a:pt x="4284" y="1073"/>
                    </a:lnTo>
                    <a:lnTo>
                      <a:pt x="4242" y="877"/>
                    </a:lnTo>
                    <a:lnTo>
                      <a:pt x="4159" y="719"/>
                    </a:lnTo>
                    <a:lnTo>
                      <a:pt x="4032" y="548"/>
                    </a:lnTo>
                    <a:lnTo>
                      <a:pt x="4153" y="494"/>
                    </a:lnTo>
                    <a:lnTo>
                      <a:pt x="4003" y="289"/>
                    </a:lnTo>
                    <a:lnTo>
                      <a:pt x="3896" y="364"/>
                    </a:lnTo>
                    <a:lnTo>
                      <a:pt x="3946" y="187"/>
                    </a:lnTo>
                    <a:lnTo>
                      <a:pt x="3763" y="204"/>
                    </a:lnTo>
                    <a:lnTo>
                      <a:pt x="3711" y="337"/>
                    </a:lnTo>
                    <a:lnTo>
                      <a:pt x="3647" y="498"/>
                    </a:lnTo>
                    <a:lnTo>
                      <a:pt x="3455" y="547"/>
                    </a:lnTo>
                    <a:lnTo>
                      <a:pt x="3142" y="565"/>
                    </a:lnTo>
                    <a:lnTo>
                      <a:pt x="3095" y="451"/>
                    </a:lnTo>
                    <a:lnTo>
                      <a:pt x="2977" y="482"/>
                    </a:lnTo>
                    <a:lnTo>
                      <a:pt x="2950" y="569"/>
                    </a:lnTo>
                    <a:lnTo>
                      <a:pt x="2906" y="668"/>
                    </a:lnTo>
                    <a:lnTo>
                      <a:pt x="2733" y="567"/>
                    </a:lnTo>
                    <a:lnTo>
                      <a:pt x="2545" y="570"/>
                    </a:lnTo>
                    <a:lnTo>
                      <a:pt x="2411" y="407"/>
                    </a:lnTo>
                    <a:lnTo>
                      <a:pt x="2357" y="213"/>
                    </a:lnTo>
                    <a:lnTo>
                      <a:pt x="2071" y="181"/>
                    </a:lnTo>
                    <a:lnTo>
                      <a:pt x="1947" y="285"/>
                    </a:lnTo>
                    <a:lnTo>
                      <a:pt x="1819" y="280"/>
                    </a:lnTo>
                    <a:lnTo>
                      <a:pt x="1769" y="164"/>
                    </a:lnTo>
                    <a:lnTo>
                      <a:pt x="1490" y="146"/>
                    </a:lnTo>
                    <a:lnTo>
                      <a:pt x="1403" y="221"/>
                    </a:lnTo>
                    <a:lnTo>
                      <a:pt x="1275" y="237"/>
                    </a:lnTo>
                    <a:lnTo>
                      <a:pt x="1211" y="354"/>
                    </a:lnTo>
                    <a:lnTo>
                      <a:pt x="1021" y="417"/>
                    </a:lnTo>
                    <a:lnTo>
                      <a:pt x="796" y="140"/>
                    </a:lnTo>
                    <a:lnTo>
                      <a:pt x="615" y="0"/>
                    </a:lnTo>
                    <a:lnTo>
                      <a:pt x="544" y="127"/>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20" name="任意多边形 109">
                <a:extLst>
                  <a:ext uri="{FF2B5EF4-FFF2-40B4-BE49-F238E27FC236}">
                    <a16:creationId xmlns:a16="http://schemas.microsoft.com/office/drawing/2014/main" id="{EE056C75-CE6B-1A81-D842-558664CCD7DC}"/>
                  </a:ext>
                </a:extLst>
              </p:cNvPr>
              <p:cNvSpPr>
                <a:spLocks/>
              </p:cNvSpPr>
              <p:nvPr/>
            </p:nvSpPr>
            <p:spPr bwMode="auto">
              <a:xfrm>
                <a:off x="2788274" y="2490788"/>
                <a:ext cx="1112343" cy="1445260"/>
              </a:xfrm>
              <a:custGeom>
                <a:avLst/>
                <a:gdLst/>
                <a:ahLst/>
                <a:cxnLst/>
                <a:rect l="0" t="0" r="r" b="b"/>
                <a:pathLst>
                  <a:path w="13622565" h="17699749">
                    <a:moveTo>
                      <a:pt x="10642295" y="190148"/>
                    </a:moveTo>
                    <a:lnTo>
                      <a:pt x="10541327" y="440405"/>
                    </a:lnTo>
                    <a:lnTo>
                      <a:pt x="10876011" y="946970"/>
                    </a:lnTo>
                    <a:lnTo>
                      <a:pt x="10454429" y="1010619"/>
                    </a:lnTo>
                    <a:lnTo>
                      <a:pt x="10487052" y="1326891"/>
                    </a:lnTo>
                    <a:lnTo>
                      <a:pt x="11002646" y="1598265"/>
                    </a:lnTo>
                    <a:lnTo>
                      <a:pt x="10369457" y="2041512"/>
                    </a:lnTo>
                    <a:lnTo>
                      <a:pt x="10948375" y="2647578"/>
                    </a:lnTo>
                    <a:lnTo>
                      <a:pt x="10622736" y="2882765"/>
                    </a:lnTo>
                    <a:lnTo>
                      <a:pt x="10752935" y="3452960"/>
                    </a:lnTo>
                    <a:lnTo>
                      <a:pt x="10626295" y="3697184"/>
                    </a:lnTo>
                    <a:lnTo>
                      <a:pt x="10758424" y="4004449"/>
                    </a:lnTo>
                    <a:lnTo>
                      <a:pt x="10215688" y="4529111"/>
                    </a:lnTo>
                    <a:lnTo>
                      <a:pt x="10282575" y="5542511"/>
                    </a:lnTo>
                    <a:lnTo>
                      <a:pt x="10362483" y="6248949"/>
                    </a:lnTo>
                    <a:lnTo>
                      <a:pt x="9654875" y="7324261"/>
                    </a:lnTo>
                    <a:lnTo>
                      <a:pt x="8885999" y="7975560"/>
                    </a:lnTo>
                    <a:lnTo>
                      <a:pt x="9293054" y="8427848"/>
                    </a:lnTo>
                    <a:lnTo>
                      <a:pt x="9342463" y="9786535"/>
                    </a:lnTo>
                    <a:lnTo>
                      <a:pt x="10161417" y="9793764"/>
                    </a:lnTo>
                    <a:lnTo>
                      <a:pt x="10532279" y="10454115"/>
                    </a:lnTo>
                    <a:lnTo>
                      <a:pt x="11482058" y="10463152"/>
                    </a:lnTo>
                    <a:lnTo>
                      <a:pt x="11653917" y="10779759"/>
                    </a:lnTo>
                    <a:lnTo>
                      <a:pt x="12033827" y="11051133"/>
                    </a:lnTo>
                    <a:lnTo>
                      <a:pt x="12531328" y="11331556"/>
                    </a:lnTo>
                    <a:lnTo>
                      <a:pt x="13525033" y="11264884"/>
                    </a:lnTo>
                    <a:lnTo>
                      <a:pt x="13622565" y="11784996"/>
                    </a:lnTo>
                    <a:lnTo>
                      <a:pt x="13072739" y="12075586"/>
                    </a:lnTo>
                    <a:lnTo>
                      <a:pt x="12397515" y="12497597"/>
                    </a:lnTo>
                    <a:lnTo>
                      <a:pt x="12090048" y="13287367"/>
                    </a:lnTo>
                    <a:lnTo>
                      <a:pt x="11571576" y="13691294"/>
                    </a:lnTo>
                    <a:lnTo>
                      <a:pt x="10824014" y="14318273"/>
                    </a:lnTo>
                    <a:lnTo>
                      <a:pt x="10691385" y="15186418"/>
                    </a:lnTo>
                    <a:lnTo>
                      <a:pt x="10076452" y="15753121"/>
                    </a:lnTo>
                    <a:lnTo>
                      <a:pt x="9690609" y="15897811"/>
                    </a:lnTo>
                    <a:lnTo>
                      <a:pt x="9316828" y="16253508"/>
                    </a:lnTo>
                    <a:lnTo>
                      <a:pt x="8762187" y="16349969"/>
                    </a:lnTo>
                    <a:lnTo>
                      <a:pt x="8117109" y="15867666"/>
                    </a:lnTo>
                    <a:lnTo>
                      <a:pt x="7616721" y="15873689"/>
                    </a:lnTo>
                    <a:lnTo>
                      <a:pt x="7435861" y="16741834"/>
                    </a:lnTo>
                    <a:lnTo>
                      <a:pt x="6887243" y="17181930"/>
                    </a:lnTo>
                    <a:lnTo>
                      <a:pt x="6676238" y="17664233"/>
                    </a:lnTo>
                    <a:lnTo>
                      <a:pt x="6335576" y="17699749"/>
                    </a:lnTo>
                    <a:lnTo>
                      <a:pt x="6015490" y="16968505"/>
                    </a:lnTo>
                    <a:lnTo>
                      <a:pt x="5158198" y="16787645"/>
                    </a:lnTo>
                    <a:lnTo>
                      <a:pt x="4619226" y="16161859"/>
                    </a:lnTo>
                    <a:lnTo>
                      <a:pt x="4637311" y="15727786"/>
                    </a:lnTo>
                    <a:lnTo>
                      <a:pt x="4467305" y="15583095"/>
                    </a:lnTo>
                    <a:lnTo>
                      <a:pt x="4097454" y="16087770"/>
                    </a:lnTo>
                    <a:lnTo>
                      <a:pt x="3482522" y="15203956"/>
                    </a:lnTo>
                    <a:lnTo>
                      <a:pt x="3653428" y="14396645"/>
                    </a:lnTo>
                    <a:lnTo>
                      <a:pt x="3378507" y="13914342"/>
                    </a:lnTo>
                    <a:lnTo>
                      <a:pt x="3945210" y="13317494"/>
                    </a:lnTo>
                    <a:lnTo>
                      <a:pt x="4650580" y="13070319"/>
                    </a:lnTo>
                    <a:lnTo>
                      <a:pt x="4505889" y="12455386"/>
                    </a:lnTo>
                    <a:lnTo>
                      <a:pt x="4343114" y="11695763"/>
                    </a:lnTo>
                    <a:lnTo>
                      <a:pt x="4017563" y="11080830"/>
                    </a:lnTo>
                    <a:lnTo>
                      <a:pt x="3523198" y="10417667"/>
                    </a:lnTo>
                    <a:lnTo>
                      <a:pt x="3996178" y="10206164"/>
                    </a:lnTo>
                    <a:lnTo>
                      <a:pt x="3411391" y="9409164"/>
                    </a:lnTo>
                    <a:lnTo>
                      <a:pt x="2997818" y="9699753"/>
                    </a:lnTo>
                    <a:lnTo>
                      <a:pt x="3191625" y="9012965"/>
                    </a:lnTo>
                    <a:lnTo>
                      <a:pt x="2481120" y="9079257"/>
                    </a:lnTo>
                    <a:lnTo>
                      <a:pt x="2307810" y="8862270"/>
                    </a:lnTo>
                    <a:lnTo>
                      <a:pt x="1902675" y="8435428"/>
                    </a:lnTo>
                    <a:lnTo>
                      <a:pt x="1461371" y="8522243"/>
                    </a:lnTo>
                    <a:lnTo>
                      <a:pt x="1211781" y="8156900"/>
                    </a:lnTo>
                    <a:lnTo>
                      <a:pt x="528118" y="8099024"/>
                    </a:lnTo>
                    <a:lnTo>
                      <a:pt x="549825" y="7444299"/>
                    </a:lnTo>
                    <a:lnTo>
                      <a:pt x="0" y="7252585"/>
                    </a:lnTo>
                    <a:lnTo>
                      <a:pt x="79584" y="6858305"/>
                    </a:lnTo>
                    <a:lnTo>
                      <a:pt x="745162" y="6648506"/>
                    </a:lnTo>
                    <a:lnTo>
                      <a:pt x="1291365" y="6409770"/>
                    </a:lnTo>
                    <a:lnTo>
                      <a:pt x="1645854" y="6207203"/>
                    </a:lnTo>
                    <a:lnTo>
                      <a:pt x="1663938" y="5650147"/>
                    </a:lnTo>
                    <a:lnTo>
                      <a:pt x="1171989" y="5140113"/>
                    </a:lnTo>
                    <a:lnTo>
                      <a:pt x="1848421" y="4217714"/>
                    </a:lnTo>
                    <a:lnTo>
                      <a:pt x="2492292" y="4441989"/>
                    </a:lnTo>
                    <a:lnTo>
                      <a:pt x="3280854" y="4470927"/>
                    </a:lnTo>
                    <a:lnTo>
                      <a:pt x="3761949" y="4152607"/>
                    </a:lnTo>
                    <a:lnTo>
                      <a:pt x="3114455" y="3606404"/>
                    </a:lnTo>
                    <a:lnTo>
                      <a:pt x="2673152" y="3541297"/>
                    </a:lnTo>
                    <a:lnTo>
                      <a:pt x="1989489" y="3570235"/>
                    </a:lnTo>
                    <a:lnTo>
                      <a:pt x="2018427" y="3063810"/>
                    </a:lnTo>
                    <a:lnTo>
                      <a:pt x="2831435" y="3080250"/>
                    </a:lnTo>
                    <a:lnTo>
                      <a:pt x="2904657" y="2857635"/>
                    </a:lnTo>
                    <a:lnTo>
                      <a:pt x="2307809" y="2694859"/>
                    </a:lnTo>
                    <a:lnTo>
                      <a:pt x="1757984" y="2579106"/>
                    </a:lnTo>
                    <a:lnTo>
                      <a:pt x="2376539" y="2040135"/>
                    </a:lnTo>
                    <a:lnTo>
                      <a:pt x="1786922" y="1692876"/>
                    </a:lnTo>
                    <a:lnTo>
                      <a:pt x="2353928" y="1376505"/>
                    </a:lnTo>
                    <a:lnTo>
                      <a:pt x="3392984" y="1616916"/>
                    </a:lnTo>
                    <a:lnTo>
                      <a:pt x="4807332" y="1461371"/>
                    </a:lnTo>
                    <a:lnTo>
                      <a:pt x="5613078" y="1412704"/>
                    </a:lnTo>
                    <a:lnTo>
                      <a:pt x="6427855" y="1211781"/>
                    </a:lnTo>
                    <a:lnTo>
                      <a:pt x="7110603" y="895439"/>
                    </a:lnTo>
                    <a:lnTo>
                      <a:pt x="8674165" y="1059859"/>
                    </a:lnTo>
                    <a:lnTo>
                      <a:pt x="8850487" y="790540"/>
                    </a:lnTo>
                    <a:lnTo>
                      <a:pt x="8804379" y="405135"/>
                    </a:lnTo>
                    <a:lnTo>
                      <a:pt x="9412081" y="144691"/>
                    </a:lnTo>
                    <a:lnTo>
                      <a:pt x="10153621" y="0"/>
                    </a:lnTo>
                    <a:lnTo>
                      <a:pt x="10642295" y="190148"/>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21" name="任意多边形 110">
                <a:extLst>
                  <a:ext uri="{FF2B5EF4-FFF2-40B4-BE49-F238E27FC236}">
                    <a16:creationId xmlns:a16="http://schemas.microsoft.com/office/drawing/2014/main" id="{6B687E29-0651-6F74-E7C7-3E4FC8748A13}"/>
                  </a:ext>
                </a:extLst>
              </p:cNvPr>
              <p:cNvSpPr>
                <a:spLocks/>
              </p:cNvSpPr>
              <p:nvPr/>
            </p:nvSpPr>
            <p:spPr bwMode="auto">
              <a:xfrm>
                <a:off x="3109851" y="3231198"/>
                <a:ext cx="2250717" cy="1237933"/>
              </a:xfrm>
              <a:custGeom>
                <a:avLst/>
                <a:gdLst/>
                <a:ahLst/>
                <a:cxnLst/>
                <a:rect l="0" t="0" r="r" b="b"/>
                <a:pathLst>
                  <a:path w="27560432" h="15152939">
                    <a:moveTo>
                      <a:pt x="26157237" y="4322377"/>
                    </a:moveTo>
                    <a:lnTo>
                      <a:pt x="25950755" y="4946265"/>
                    </a:lnTo>
                    <a:lnTo>
                      <a:pt x="26059273" y="5561190"/>
                    </a:lnTo>
                    <a:lnTo>
                      <a:pt x="26439085" y="6103777"/>
                    </a:lnTo>
                    <a:lnTo>
                      <a:pt x="26366739" y="6555934"/>
                    </a:lnTo>
                    <a:lnTo>
                      <a:pt x="25824148" y="6827228"/>
                    </a:lnTo>
                    <a:lnTo>
                      <a:pt x="26023104" y="7478344"/>
                    </a:lnTo>
                    <a:lnTo>
                      <a:pt x="26619948" y="7840060"/>
                    </a:lnTo>
                    <a:lnTo>
                      <a:pt x="26276305" y="8672029"/>
                    </a:lnTo>
                    <a:lnTo>
                      <a:pt x="26312478" y="9666777"/>
                    </a:lnTo>
                    <a:lnTo>
                      <a:pt x="25878405" y="10227453"/>
                    </a:lnTo>
                    <a:lnTo>
                      <a:pt x="26402912" y="10643437"/>
                    </a:lnTo>
                    <a:lnTo>
                      <a:pt x="27319497" y="10082959"/>
                    </a:lnTo>
                    <a:lnTo>
                      <a:pt x="27560432" y="10281714"/>
                    </a:lnTo>
                    <a:lnTo>
                      <a:pt x="27325315" y="10860465"/>
                    </a:lnTo>
                    <a:lnTo>
                      <a:pt x="27542355" y="12005935"/>
                    </a:lnTo>
                    <a:lnTo>
                      <a:pt x="26089423" y="11975789"/>
                    </a:lnTo>
                    <a:lnTo>
                      <a:pt x="24473715" y="12090334"/>
                    </a:lnTo>
                    <a:lnTo>
                      <a:pt x="23135328" y="12222964"/>
                    </a:lnTo>
                    <a:lnTo>
                      <a:pt x="22261159" y="12934357"/>
                    </a:lnTo>
                    <a:lnTo>
                      <a:pt x="20826342" y="14369204"/>
                    </a:lnTo>
                    <a:lnTo>
                      <a:pt x="12952786" y="14960014"/>
                    </a:lnTo>
                    <a:lnTo>
                      <a:pt x="11934663" y="15008264"/>
                    </a:lnTo>
                    <a:lnTo>
                      <a:pt x="8506848" y="15152939"/>
                    </a:lnTo>
                    <a:lnTo>
                      <a:pt x="7985095" y="14507857"/>
                    </a:lnTo>
                    <a:lnTo>
                      <a:pt x="7400308" y="14477712"/>
                    </a:lnTo>
                    <a:lnTo>
                      <a:pt x="6972273" y="14749009"/>
                    </a:lnTo>
                    <a:lnTo>
                      <a:pt x="5181729" y="14664610"/>
                    </a:lnTo>
                    <a:lnTo>
                      <a:pt x="4397998" y="14031593"/>
                    </a:lnTo>
                    <a:lnTo>
                      <a:pt x="2908896" y="13223739"/>
                    </a:lnTo>
                    <a:lnTo>
                      <a:pt x="1263043" y="12512346"/>
                    </a:lnTo>
                    <a:lnTo>
                      <a:pt x="485320" y="12060189"/>
                    </a:lnTo>
                    <a:lnTo>
                      <a:pt x="0" y="11767077"/>
                    </a:lnTo>
                    <a:lnTo>
                      <a:pt x="1003686" y="11021112"/>
                    </a:lnTo>
                    <a:lnTo>
                      <a:pt x="2902551" y="9836713"/>
                    </a:lnTo>
                    <a:lnTo>
                      <a:pt x="2558940" y="9303282"/>
                    </a:lnTo>
                    <a:lnTo>
                      <a:pt x="2402508" y="8616199"/>
                    </a:lnTo>
                    <a:lnTo>
                      <a:pt x="2730740" y="8589028"/>
                    </a:lnTo>
                    <a:lnTo>
                      <a:pt x="2947754" y="8118883"/>
                    </a:lnTo>
                    <a:lnTo>
                      <a:pt x="3499325" y="7675866"/>
                    </a:lnTo>
                    <a:lnTo>
                      <a:pt x="3680166" y="6798868"/>
                    </a:lnTo>
                    <a:lnTo>
                      <a:pt x="4186528" y="6807904"/>
                    </a:lnTo>
                    <a:lnTo>
                      <a:pt x="4837569" y="7278054"/>
                    </a:lnTo>
                    <a:lnTo>
                      <a:pt x="5352976" y="7196687"/>
                    </a:lnTo>
                    <a:lnTo>
                      <a:pt x="5741786" y="6825992"/>
                    </a:lnTo>
                    <a:lnTo>
                      <a:pt x="6157723" y="6663251"/>
                    </a:lnTo>
                    <a:lnTo>
                      <a:pt x="6745471" y="6093658"/>
                    </a:lnTo>
                    <a:lnTo>
                      <a:pt x="6890140" y="5243782"/>
                    </a:lnTo>
                    <a:lnTo>
                      <a:pt x="7568305" y="4674188"/>
                    </a:lnTo>
                    <a:lnTo>
                      <a:pt x="8137967" y="4231167"/>
                    </a:lnTo>
                    <a:lnTo>
                      <a:pt x="8463480" y="3426500"/>
                    </a:lnTo>
                    <a:lnTo>
                      <a:pt x="9024093" y="3073893"/>
                    </a:lnTo>
                    <a:lnTo>
                      <a:pt x="9675138" y="2721291"/>
                    </a:lnTo>
                    <a:lnTo>
                      <a:pt x="9558580" y="2173007"/>
                    </a:lnTo>
                    <a:lnTo>
                      <a:pt x="10353296" y="1500723"/>
                    </a:lnTo>
                    <a:lnTo>
                      <a:pt x="10832530" y="1428389"/>
                    </a:lnTo>
                    <a:lnTo>
                      <a:pt x="11058585" y="1880458"/>
                    </a:lnTo>
                    <a:lnTo>
                      <a:pt x="11411229" y="2260189"/>
                    </a:lnTo>
                    <a:lnTo>
                      <a:pt x="11998974" y="2341559"/>
                    </a:lnTo>
                    <a:lnTo>
                      <a:pt x="12315449" y="3001571"/>
                    </a:lnTo>
                    <a:lnTo>
                      <a:pt x="12785642" y="2820742"/>
                    </a:lnTo>
                    <a:lnTo>
                      <a:pt x="13671776" y="3272803"/>
                    </a:lnTo>
                    <a:lnTo>
                      <a:pt x="14123886" y="2974450"/>
                    </a:lnTo>
                    <a:lnTo>
                      <a:pt x="14259509" y="2404849"/>
                    </a:lnTo>
                    <a:lnTo>
                      <a:pt x="14892468" y="1762918"/>
                    </a:lnTo>
                    <a:lnTo>
                      <a:pt x="15778605" y="1211398"/>
                    </a:lnTo>
                    <a:lnTo>
                      <a:pt x="16022739" y="1681548"/>
                    </a:lnTo>
                    <a:lnTo>
                      <a:pt x="16013694" y="2169778"/>
                    </a:lnTo>
                    <a:lnTo>
                      <a:pt x="16556232" y="2260200"/>
                    </a:lnTo>
                    <a:lnTo>
                      <a:pt x="16863663" y="1744834"/>
                    </a:lnTo>
                    <a:lnTo>
                      <a:pt x="17406193" y="1410312"/>
                    </a:lnTo>
                    <a:lnTo>
                      <a:pt x="17623203" y="867840"/>
                    </a:lnTo>
                    <a:lnTo>
                      <a:pt x="18120524" y="831675"/>
                    </a:lnTo>
                    <a:lnTo>
                      <a:pt x="18201903" y="542358"/>
                    </a:lnTo>
                    <a:lnTo>
                      <a:pt x="18744437" y="117414"/>
                    </a:lnTo>
                    <a:lnTo>
                      <a:pt x="19443290" y="0"/>
                    </a:lnTo>
                    <a:lnTo>
                      <a:pt x="19982300" y="460880"/>
                    </a:lnTo>
                    <a:lnTo>
                      <a:pt x="19530143" y="913038"/>
                    </a:lnTo>
                    <a:lnTo>
                      <a:pt x="19837609" y="1238588"/>
                    </a:lnTo>
                    <a:lnTo>
                      <a:pt x="20886614" y="1546055"/>
                    </a:lnTo>
                    <a:lnTo>
                      <a:pt x="21881359" y="1889694"/>
                    </a:lnTo>
                    <a:lnTo>
                      <a:pt x="21772837" y="2269505"/>
                    </a:lnTo>
                    <a:lnTo>
                      <a:pt x="21537712" y="2884438"/>
                    </a:lnTo>
                    <a:lnTo>
                      <a:pt x="21996067" y="2911656"/>
                    </a:lnTo>
                    <a:lnTo>
                      <a:pt x="22478203" y="2414189"/>
                    </a:lnTo>
                    <a:lnTo>
                      <a:pt x="23292084" y="2016293"/>
                    </a:lnTo>
                    <a:lnTo>
                      <a:pt x="23888932" y="1998212"/>
                    </a:lnTo>
                    <a:lnTo>
                      <a:pt x="24612383" y="1582227"/>
                    </a:lnTo>
                    <a:lnTo>
                      <a:pt x="25010275" y="695990"/>
                    </a:lnTo>
                    <a:lnTo>
                      <a:pt x="25769899" y="840685"/>
                    </a:lnTo>
                    <a:lnTo>
                      <a:pt x="26402920" y="876857"/>
                    </a:lnTo>
                    <a:lnTo>
                      <a:pt x="26240141" y="1491794"/>
                    </a:lnTo>
                    <a:lnTo>
                      <a:pt x="26554742" y="2052454"/>
                    </a:lnTo>
                    <a:lnTo>
                      <a:pt x="25679461" y="2775920"/>
                    </a:lnTo>
                    <a:lnTo>
                      <a:pt x="25751806" y="3806840"/>
                    </a:lnTo>
                    <a:lnTo>
                      <a:pt x="26157237" y="4322377"/>
                    </a:lnTo>
                    <a:close/>
                  </a:path>
                </a:pathLst>
              </a:custGeom>
              <a:grpFill/>
              <a:ln w="9525" cap="flat">
                <a:solidFill>
                  <a:schemeClr val="bg1"/>
                </a:solidFill>
                <a:prstDash val="solid"/>
                <a:miter/>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22" name="任意多边形 111">
                <a:extLst>
                  <a:ext uri="{FF2B5EF4-FFF2-40B4-BE49-F238E27FC236}">
                    <a16:creationId xmlns:a16="http://schemas.microsoft.com/office/drawing/2014/main" id="{933A9C54-1B6D-FCD1-A420-D44664E86945}"/>
                  </a:ext>
                </a:extLst>
              </p:cNvPr>
              <p:cNvSpPr>
                <a:spLocks/>
              </p:cNvSpPr>
              <p:nvPr/>
            </p:nvSpPr>
            <p:spPr bwMode="auto">
              <a:xfrm>
                <a:off x="4595197" y="2461260"/>
                <a:ext cx="830131" cy="1007110"/>
              </a:xfrm>
              <a:custGeom>
                <a:avLst/>
                <a:gdLst>
                  <a:gd name="T0" fmla="*/ 0 w 2615"/>
                  <a:gd name="T1" fmla="*/ 877971 h 3172"/>
                  <a:gd name="T2" fmla="*/ 9526 w 2615"/>
                  <a:gd name="T3" fmla="*/ 982701 h 3172"/>
                  <a:gd name="T4" fmla="*/ 123826 w 2615"/>
                  <a:gd name="T5" fmla="*/ 901738 h 3172"/>
                  <a:gd name="T6" fmla="*/ 164307 w 2615"/>
                  <a:gd name="T7" fmla="*/ 1013658 h 3172"/>
                  <a:gd name="T8" fmla="*/ 45243 w 2615"/>
                  <a:gd name="T9" fmla="*/ 1070806 h 3172"/>
                  <a:gd name="T10" fmla="*/ 150019 w 2615"/>
                  <a:gd name="T11" fmla="*/ 1139863 h 3172"/>
                  <a:gd name="T12" fmla="*/ 288132 w 2615"/>
                  <a:gd name="T13" fmla="*/ 1149388 h 3172"/>
                  <a:gd name="T14" fmla="*/ 269080 w 2615"/>
                  <a:gd name="T15" fmla="*/ 1258924 h 3172"/>
                  <a:gd name="T16" fmla="*/ 178593 w 2615"/>
                  <a:gd name="T17" fmla="*/ 1282737 h 3172"/>
                  <a:gd name="T18" fmla="*/ 228600 w 2615"/>
                  <a:gd name="T19" fmla="*/ 1401799 h 3172"/>
                  <a:gd name="T20" fmla="*/ 319086 w 2615"/>
                  <a:gd name="T21" fmla="*/ 1589915 h 3172"/>
                  <a:gd name="T22" fmla="*/ 340517 w 2615"/>
                  <a:gd name="T23" fmla="*/ 1861376 h 3172"/>
                  <a:gd name="T24" fmla="*/ 269079 w 2615"/>
                  <a:gd name="T25" fmla="*/ 2001869 h 3172"/>
                  <a:gd name="T26" fmla="*/ 371473 w 2615"/>
                  <a:gd name="T27" fmla="*/ 2180463 h 3172"/>
                  <a:gd name="T28" fmla="*/ 271460 w 2615"/>
                  <a:gd name="T29" fmla="*/ 2225705 h 3172"/>
                  <a:gd name="T30" fmla="*/ 238123 w 2615"/>
                  <a:gd name="T31" fmla="*/ 2368579 h 3172"/>
                  <a:gd name="T32" fmla="*/ 334487 w 2615"/>
                  <a:gd name="T33" fmla="*/ 2484765 h 3172"/>
                  <a:gd name="T34" fmla="*/ 471485 w 2615"/>
                  <a:gd name="T35" fmla="*/ 2606703 h 3172"/>
                  <a:gd name="T36" fmla="*/ 357185 w 2615"/>
                  <a:gd name="T37" fmla="*/ 2723382 h 3172"/>
                  <a:gd name="T38" fmla="*/ 440527 w 2615"/>
                  <a:gd name="T39" fmla="*/ 2811489 h 3172"/>
                  <a:gd name="T40" fmla="*/ 769139 w 2615"/>
                  <a:gd name="T41" fmla="*/ 2906739 h 3172"/>
                  <a:gd name="T42" fmla="*/ 973926 w 2615"/>
                  <a:gd name="T43" fmla="*/ 2985319 h 3172"/>
                  <a:gd name="T44" fmla="*/ 950112 w 2615"/>
                  <a:gd name="T45" fmla="*/ 3075806 h 3172"/>
                  <a:gd name="T46" fmla="*/ 885818 w 2615"/>
                  <a:gd name="T47" fmla="*/ 3242493 h 3172"/>
                  <a:gd name="T48" fmla="*/ 1007259 w 2615"/>
                  <a:gd name="T49" fmla="*/ 3249638 h 3172"/>
                  <a:gd name="T50" fmla="*/ 1131085 w 2615"/>
                  <a:gd name="T51" fmla="*/ 3121049 h 3172"/>
                  <a:gd name="T52" fmla="*/ 1345398 w 2615"/>
                  <a:gd name="T53" fmla="*/ 3013894 h 3172"/>
                  <a:gd name="T54" fmla="*/ 1502558 w 2615"/>
                  <a:gd name="T55" fmla="*/ 3009131 h 3172"/>
                  <a:gd name="T56" fmla="*/ 1697821 w 2615"/>
                  <a:gd name="T57" fmla="*/ 2899594 h 3172"/>
                  <a:gd name="T58" fmla="*/ 1800212 w 2615"/>
                  <a:gd name="T59" fmla="*/ 2668613 h 3172"/>
                  <a:gd name="T60" fmla="*/ 2016905 w 2615"/>
                  <a:gd name="T61" fmla="*/ 2709095 h 3172"/>
                  <a:gd name="T62" fmla="*/ 2164543 w 2615"/>
                  <a:gd name="T63" fmla="*/ 2713858 h 3172"/>
                  <a:gd name="T64" fmla="*/ 2121679 w 2615"/>
                  <a:gd name="T65" fmla="*/ 2871020 h 3172"/>
                  <a:gd name="T66" fmla="*/ 2207907 w 2615"/>
                  <a:gd name="T67" fmla="*/ 3025008 h 3172"/>
                  <a:gd name="T68" fmla="*/ 2488389 w 2615"/>
                  <a:gd name="T69" fmla="*/ 3037709 h 3172"/>
                  <a:gd name="T70" fmla="*/ 2676509 w 2615"/>
                  <a:gd name="T71" fmla="*/ 2792441 h 3172"/>
                  <a:gd name="T72" fmla="*/ 2595546 w 2615"/>
                  <a:gd name="T73" fmla="*/ 2559078 h 3172"/>
                  <a:gd name="T74" fmla="*/ 2347133 w 2615"/>
                  <a:gd name="T75" fmla="*/ 2261454 h 3172"/>
                  <a:gd name="T76" fmla="*/ 2464577 w 2615"/>
                  <a:gd name="T77" fmla="*/ 2116168 h 3172"/>
                  <a:gd name="T78" fmla="*/ 2678889 w 2615"/>
                  <a:gd name="T79" fmla="*/ 1930432 h 3172"/>
                  <a:gd name="T80" fmla="*/ 2678093 w 2615"/>
                  <a:gd name="T81" fmla="*/ 1666453 h 3172"/>
                  <a:gd name="T82" fmla="*/ 2048418 w 2615"/>
                  <a:gd name="T83" fmla="*/ 889742 h 3172"/>
                  <a:gd name="T84" fmla="*/ 1796250 w 2615"/>
                  <a:gd name="T85" fmla="*/ 626836 h 3172"/>
                  <a:gd name="T86" fmla="*/ 1502649 w 2615"/>
                  <a:gd name="T87" fmla="*/ 460378 h 3172"/>
                  <a:gd name="T88" fmla="*/ 1364578 w 2615"/>
                  <a:gd name="T89" fmla="*/ 395289 h 3172"/>
                  <a:gd name="T90" fmla="*/ 1264594 w 2615"/>
                  <a:gd name="T91" fmla="*/ 266701 h 3172"/>
                  <a:gd name="T92" fmla="*/ 1435995 w 2615"/>
                  <a:gd name="T93" fmla="*/ 190501 h 3172"/>
                  <a:gd name="T94" fmla="*/ 1469322 w 2615"/>
                  <a:gd name="T95" fmla="*/ 0 h 3172"/>
                  <a:gd name="T96" fmla="*/ 1231267 w 2615"/>
                  <a:gd name="T97" fmla="*/ 104775 h 3172"/>
                  <a:gd name="T98" fmla="*/ 1144255 w 2615"/>
                  <a:gd name="T99" fmla="*/ 92908 h 3172"/>
                  <a:gd name="T100" fmla="*/ 1102720 w 2615"/>
                  <a:gd name="T101" fmla="*/ 257179 h 3172"/>
                  <a:gd name="T102" fmla="*/ 888470 w 2615"/>
                  <a:gd name="T103" fmla="*/ 357191 h 3172"/>
                  <a:gd name="T104" fmla="*/ 755159 w 2615"/>
                  <a:gd name="T105" fmla="*/ 528641 h 3172"/>
                  <a:gd name="T106" fmla="*/ 531389 w 2615"/>
                  <a:gd name="T107" fmla="*/ 623889 h 3172"/>
                  <a:gd name="T108" fmla="*/ 459972 w 2615"/>
                  <a:gd name="T109" fmla="*/ 766766 h 3172"/>
                  <a:gd name="T110" fmla="*/ 264769 w 2615"/>
                  <a:gd name="T111" fmla="*/ 728663 h 3172"/>
                  <a:gd name="T112" fmla="*/ 0 w 2615"/>
                  <a:gd name="T113" fmla="*/ 877971 h 31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615" h="3172">
                    <a:moveTo>
                      <a:pt x="0" y="858"/>
                    </a:moveTo>
                    <a:lnTo>
                      <a:pt x="7" y="955"/>
                    </a:lnTo>
                    <a:lnTo>
                      <a:pt x="119" y="880"/>
                    </a:lnTo>
                    <a:lnTo>
                      <a:pt x="160" y="990"/>
                    </a:lnTo>
                    <a:lnTo>
                      <a:pt x="44" y="1046"/>
                    </a:lnTo>
                    <a:lnTo>
                      <a:pt x="146" y="1114"/>
                    </a:lnTo>
                    <a:lnTo>
                      <a:pt x="281" y="1123"/>
                    </a:lnTo>
                    <a:lnTo>
                      <a:pt x="263" y="1230"/>
                    </a:lnTo>
                    <a:lnTo>
                      <a:pt x="174" y="1253"/>
                    </a:lnTo>
                    <a:lnTo>
                      <a:pt x="223" y="1370"/>
                    </a:lnTo>
                    <a:lnTo>
                      <a:pt x="312" y="1553"/>
                    </a:lnTo>
                    <a:lnTo>
                      <a:pt x="333" y="1819"/>
                    </a:lnTo>
                    <a:lnTo>
                      <a:pt x="263" y="1956"/>
                    </a:lnTo>
                    <a:lnTo>
                      <a:pt x="363" y="2130"/>
                    </a:lnTo>
                    <a:lnTo>
                      <a:pt x="265" y="2175"/>
                    </a:lnTo>
                    <a:lnTo>
                      <a:pt x="233" y="2314"/>
                    </a:lnTo>
                    <a:lnTo>
                      <a:pt x="327" y="2428"/>
                    </a:lnTo>
                    <a:lnTo>
                      <a:pt x="460" y="2547"/>
                    </a:lnTo>
                    <a:lnTo>
                      <a:pt x="349" y="2661"/>
                    </a:lnTo>
                    <a:lnTo>
                      <a:pt x="430" y="2747"/>
                    </a:lnTo>
                    <a:lnTo>
                      <a:pt x="751" y="2840"/>
                    </a:lnTo>
                    <a:lnTo>
                      <a:pt x="952" y="2913"/>
                    </a:lnTo>
                    <a:lnTo>
                      <a:pt x="922" y="3013"/>
                    </a:lnTo>
                    <a:lnTo>
                      <a:pt x="863" y="3165"/>
                    </a:lnTo>
                    <a:lnTo>
                      <a:pt x="977" y="3172"/>
                    </a:lnTo>
                    <a:lnTo>
                      <a:pt x="1105" y="3049"/>
                    </a:lnTo>
                    <a:lnTo>
                      <a:pt x="1314" y="2945"/>
                    </a:lnTo>
                    <a:lnTo>
                      <a:pt x="1467" y="2940"/>
                    </a:lnTo>
                    <a:lnTo>
                      <a:pt x="1651" y="2835"/>
                    </a:lnTo>
                    <a:lnTo>
                      <a:pt x="1756" y="2602"/>
                    </a:lnTo>
                    <a:lnTo>
                      <a:pt x="1948" y="2641"/>
                    </a:lnTo>
                    <a:lnTo>
                      <a:pt x="2114" y="2652"/>
                    </a:lnTo>
                    <a:lnTo>
                      <a:pt x="2072" y="2805"/>
                    </a:lnTo>
                    <a:lnTo>
                      <a:pt x="2156" y="2956"/>
                    </a:lnTo>
                    <a:lnTo>
                      <a:pt x="2430" y="2968"/>
                    </a:lnTo>
                    <a:lnTo>
                      <a:pt x="2614" y="2728"/>
                    </a:lnTo>
                    <a:lnTo>
                      <a:pt x="2535" y="2500"/>
                    </a:lnTo>
                    <a:lnTo>
                      <a:pt x="2292" y="2210"/>
                    </a:lnTo>
                    <a:lnTo>
                      <a:pt x="2407" y="2068"/>
                    </a:lnTo>
                    <a:lnTo>
                      <a:pt x="2609" y="1891"/>
                    </a:lnTo>
                    <a:lnTo>
                      <a:pt x="2615" y="1628"/>
                    </a:lnTo>
                    <a:lnTo>
                      <a:pt x="2000" y="869"/>
                    </a:lnTo>
                    <a:lnTo>
                      <a:pt x="1754" y="612"/>
                    </a:lnTo>
                    <a:lnTo>
                      <a:pt x="1467" y="450"/>
                    </a:lnTo>
                    <a:lnTo>
                      <a:pt x="1333" y="386"/>
                    </a:lnTo>
                    <a:lnTo>
                      <a:pt x="1235" y="261"/>
                    </a:lnTo>
                    <a:lnTo>
                      <a:pt x="1402" y="186"/>
                    </a:lnTo>
                    <a:lnTo>
                      <a:pt x="1435" y="0"/>
                    </a:lnTo>
                    <a:lnTo>
                      <a:pt x="1207" y="97"/>
                    </a:lnTo>
                    <a:lnTo>
                      <a:pt x="1123" y="94"/>
                    </a:lnTo>
                    <a:lnTo>
                      <a:pt x="1077" y="251"/>
                    </a:lnTo>
                    <a:lnTo>
                      <a:pt x="868" y="349"/>
                    </a:lnTo>
                    <a:lnTo>
                      <a:pt x="737" y="516"/>
                    </a:lnTo>
                    <a:lnTo>
                      <a:pt x="519" y="610"/>
                    </a:lnTo>
                    <a:lnTo>
                      <a:pt x="449" y="749"/>
                    </a:lnTo>
                    <a:lnTo>
                      <a:pt x="259" y="712"/>
                    </a:lnTo>
                    <a:lnTo>
                      <a:pt x="0" y="858"/>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23" name="任意多边形 112">
                <a:extLst>
                  <a:ext uri="{FF2B5EF4-FFF2-40B4-BE49-F238E27FC236}">
                    <a16:creationId xmlns:a16="http://schemas.microsoft.com/office/drawing/2014/main" id="{D89937E2-6C41-BEA4-C127-1DEB3CBB0AB8}"/>
                  </a:ext>
                </a:extLst>
              </p:cNvPr>
              <p:cNvSpPr>
                <a:spLocks/>
              </p:cNvSpPr>
              <p:nvPr/>
            </p:nvSpPr>
            <p:spPr bwMode="auto">
              <a:xfrm>
                <a:off x="4082516" y="4405630"/>
                <a:ext cx="1070440" cy="855980"/>
              </a:xfrm>
              <a:custGeom>
                <a:avLst/>
                <a:gdLst>
                  <a:gd name="T0" fmla="*/ 215558 w 13103724"/>
                  <a:gd name="T1" fmla="*/ 1849899 h 10479261"/>
                  <a:gd name="T2" fmla="*/ 264663 w 13103724"/>
                  <a:gd name="T3" fmla="*/ 2011576 h 10479261"/>
                  <a:gd name="T4" fmla="*/ 339518 w 13103724"/>
                  <a:gd name="T5" fmla="*/ 2103213 h 10479261"/>
                  <a:gd name="T6" fmla="*/ 499210 w 13103724"/>
                  <a:gd name="T7" fmla="*/ 2104344 h 10479261"/>
                  <a:gd name="T8" fmla="*/ 617617 w 13103724"/>
                  <a:gd name="T9" fmla="*/ 2307580 h 10479261"/>
                  <a:gd name="T10" fmla="*/ 633269 w 13103724"/>
                  <a:gd name="T11" fmla="*/ 2513082 h 10479261"/>
                  <a:gd name="T12" fmla="*/ 773543 w 13103724"/>
                  <a:gd name="T13" fmla="*/ 2644339 h 10479261"/>
                  <a:gd name="T14" fmla="*/ 1027507 w 13103724"/>
                  <a:gd name="T15" fmla="*/ 2759865 h 10479261"/>
                  <a:gd name="T16" fmla="*/ 1051685 w 13103724"/>
                  <a:gd name="T17" fmla="*/ 2610750 h 10479261"/>
                  <a:gd name="T18" fmla="*/ 1166964 w 13103724"/>
                  <a:gd name="T19" fmla="*/ 2547876 h 10479261"/>
                  <a:gd name="T20" fmla="*/ 1146003 w 13103724"/>
                  <a:gd name="T21" fmla="*/ 2436415 h 10479261"/>
                  <a:gd name="T22" fmla="*/ 1506126 w 13103724"/>
                  <a:gd name="T23" fmla="*/ 2365920 h 10479261"/>
                  <a:gd name="T24" fmla="*/ 1740489 w 13103724"/>
                  <a:gd name="T25" fmla="*/ 2396405 h 10479261"/>
                  <a:gd name="T26" fmla="*/ 1973903 w 13103724"/>
                  <a:gd name="T27" fmla="*/ 2426890 h 10479261"/>
                  <a:gd name="T28" fmla="*/ 2112996 w 13103724"/>
                  <a:gd name="T29" fmla="*/ 2515488 h 10479261"/>
                  <a:gd name="T30" fmla="*/ 2225144 w 13103724"/>
                  <a:gd name="T31" fmla="*/ 2500704 h 10479261"/>
                  <a:gd name="T32" fmla="*/ 2314968 w 13103724"/>
                  <a:gd name="T33" fmla="*/ 2588842 h 10479261"/>
                  <a:gd name="T34" fmla="*/ 2423577 w 13103724"/>
                  <a:gd name="T35" fmla="*/ 2555498 h 10479261"/>
                  <a:gd name="T36" fmla="*/ 2370225 w 13103724"/>
                  <a:gd name="T37" fmla="*/ 2466900 h 10479261"/>
                  <a:gd name="T38" fmla="*/ 2377846 w 13103724"/>
                  <a:gd name="T39" fmla="*/ 2324955 h 10479261"/>
                  <a:gd name="T40" fmla="*/ 2454063 w 13103724"/>
                  <a:gd name="T41" fmla="*/ 2147761 h 10479261"/>
                  <a:gd name="T42" fmla="*/ 2550287 w 13103724"/>
                  <a:gd name="T43" fmla="*/ 2046780 h 10479261"/>
                  <a:gd name="T44" fmla="*/ 2727489 w 13103724"/>
                  <a:gd name="T45" fmla="*/ 1942940 h 10479261"/>
                  <a:gd name="T46" fmla="*/ 2885636 w 13103724"/>
                  <a:gd name="T47" fmla="*/ 2026775 h 10479261"/>
                  <a:gd name="T48" fmla="*/ 3164778 w 13103724"/>
                  <a:gd name="T49" fmla="*/ 2145856 h 10479261"/>
                  <a:gd name="T50" fmla="*/ 3450477 w 13103724"/>
                  <a:gd name="T51" fmla="*/ 2203796 h 10479261"/>
                  <a:gd name="T52" fmla="*/ 3451225 w 13103724"/>
                  <a:gd name="T53" fmla="*/ 1928333 h 10479261"/>
                  <a:gd name="T54" fmla="*/ 3260683 w 13103724"/>
                  <a:gd name="T55" fmla="*/ 1567910 h 10479261"/>
                  <a:gd name="T56" fmla="*/ 3182087 w 13103724"/>
                  <a:gd name="T57" fmla="*/ 1211289 h 10479261"/>
                  <a:gd name="T58" fmla="*/ 2804975 w 13103724"/>
                  <a:gd name="T59" fmla="*/ 1066182 h 10479261"/>
                  <a:gd name="T60" fmla="*/ 2749400 w 13103724"/>
                  <a:gd name="T61" fmla="*/ 853422 h 10479261"/>
                  <a:gd name="T62" fmla="*/ 2511225 w 13103724"/>
                  <a:gd name="T63" fmla="*/ 615257 h 10479261"/>
                  <a:gd name="T64" fmla="*/ 2442947 w 13103724"/>
                  <a:gd name="T65" fmla="*/ 336606 h 10479261"/>
                  <a:gd name="T66" fmla="*/ 2352490 w 13103724"/>
                  <a:gd name="T67" fmla="*/ 0 h 10479261"/>
                  <a:gd name="T68" fmla="*/ 420012 w 13103724"/>
                  <a:gd name="T69" fmla="*/ 146051 h 10479261"/>
                  <a:gd name="T70" fmla="*/ 0 w 13103724"/>
                  <a:gd name="T71" fmla="*/ 165957 h 10479261"/>
                  <a:gd name="T72" fmla="*/ 420954 w 13103724"/>
                  <a:gd name="T73" fmla="*/ 1212935 h 10479261"/>
                  <a:gd name="T74" fmla="*/ 391919 w 13103724"/>
                  <a:gd name="T75" fmla="*/ 1419571 h 10479261"/>
                  <a:gd name="T76" fmla="*/ 331583 w 13103724"/>
                  <a:gd name="T77" fmla="*/ 1649571 h 10479261"/>
                  <a:gd name="T78" fmla="*/ 215558 w 13103724"/>
                  <a:gd name="T79" fmla="*/ 1849899 h 1047926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3103724" h="10479261">
                    <a:moveTo>
                      <a:pt x="818438" y="7024103"/>
                    </a:moveTo>
                    <a:lnTo>
                      <a:pt x="1004880" y="7637995"/>
                    </a:lnTo>
                    <a:lnTo>
                      <a:pt x="1289094" y="7985936"/>
                    </a:lnTo>
                    <a:lnTo>
                      <a:pt x="1895417" y="7990235"/>
                    </a:lnTo>
                    <a:lnTo>
                      <a:pt x="2344988" y="8761920"/>
                    </a:lnTo>
                    <a:lnTo>
                      <a:pt x="2404414" y="9542218"/>
                    </a:lnTo>
                    <a:lnTo>
                      <a:pt x="2937013" y="10040601"/>
                    </a:lnTo>
                    <a:lnTo>
                      <a:pt x="3901270" y="10479261"/>
                    </a:lnTo>
                    <a:lnTo>
                      <a:pt x="3993071" y="9913071"/>
                    </a:lnTo>
                    <a:lnTo>
                      <a:pt x="4430767" y="9674335"/>
                    </a:lnTo>
                    <a:lnTo>
                      <a:pt x="4351183" y="9251116"/>
                    </a:lnTo>
                    <a:lnTo>
                      <a:pt x="5718509" y="8983442"/>
                    </a:lnTo>
                    <a:lnTo>
                      <a:pt x="6608347" y="9099194"/>
                    </a:lnTo>
                    <a:lnTo>
                      <a:pt x="7494577" y="9214947"/>
                    </a:lnTo>
                    <a:lnTo>
                      <a:pt x="8022695" y="9551352"/>
                    </a:lnTo>
                    <a:lnTo>
                      <a:pt x="8448500" y="9495222"/>
                    </a:lnTo>
                    <a:lnTo>
                      <a:pt x="8789549" y="9829880"/>
                    </a:lnTo>
                    <a:lnTo>
                      <a:pt x="9201915" y="9703273"/>
                    </a:lnTo>
                    <a:lnTo>
                      <a:pt x="8999347" y="9366869"/>
                    </a:lnTo>
                    <a:lnTo>
                      <a:pt x="9028285" y="8827897"/>
                    </a:lnTo>
                    <a:lnTo>
                      <a:pt x="9317667" y="8155088"/>
                    </a:lnTo>
                    <a:lnTo>
                      <a:pt x="9683010" y="7771661"/>
                    </a:lnTo>
                    <a:lnTo>
                      <a:pt x="10355819" y="7377380"/>
                    </a:lnTo>
                    <a:lnTo>
                      <a:pt x="10956275" y="7695700"/>
                    </a:lnTo>
                    <a:lnTo>
                      <a:pt x="12016134" y="8147857"/>
                    </a:lnTo>
                    <a:lnTo>
                      <a:pt x="13100884" y="8367852"/>
                    </a:lnTo>
                    <a:cubicBezTo>
                      <a:pt x="13101831" y="8019208"/>
                      <a:pt x="13102777" y="7670563"/>
                      <a:pt x="13103724" y="7321919"/>
                    </a:cubicBezTo>
                    <a:lnTo>
                      <a:pt x="12380269" y="5953386"/>
                    </a:lnTo>
                    <a:lnTo>
                      <a:pt x="12081849" y="4599284"/>
                    </a:lnTo>
                    <a:lnTo>
                      <a:pt x="10650016" y="4048312"/>
                    </a:lnTo>
                    <a:lnTo>
                      <a:pt x="10439011" y="3240458"/>
                    </a:lnTo>
                    <a:lnTo>
                      <a:pt x="9534696" y="2336143"/>
                    </a:lnTo>
                    <a:lnTo>
                      <a:pt x="9275460" y="1278099"/>
                    </a:lnTo>
                    <a:lnTo>
                      <a:pt x="8932015" y="0"/>
                    </a:lnTo>
                    <a:lnTo>
                      <a:pt x="1594715" y="554558"/>
                    </a:lnTo>
                    <a:lnTo>
                      <a:pt x="0" y="630142"/>
                    </a:lnTo>
                    <a:lnTo>
                      <a:pt x="1598292" y="4605539"/>
                    </a:lnTo>
                    <a:lnTo>
                      <a:pt x="1488049" y="5390136"/>
                    </a:lnTo>
                    <a:lnTo>
                      <a:pt x="1258963" y="6263454"/>
                    </a:lnTo>
                    <a:lnTo>
                      <a:pt x="818438" y="7024103"/>
                    </a:lnTo>
                    <a:close/>
                  </a:path>
                </a:pathLst>
              </a:custGeom>
              <a:solidFill>
                <a:schemeClr val="bg2">
                  <a:lumMod val="90000"/>
                </a:schemeClr>
              </a:solid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24" name="任意多边形 113">
                <a:extLst>
                  <a:ext uri="{FF2B5EF4-FFF2-40B4-BE49-F238E27FC236}">
                    <a16:creationId xmlns:a16="http://schemas.microsoft.com/office/drawing/2014/main" id="{91C9594D-046D-6352-A273-5AE083BAE14E}"/>
                  </a:ext>
                </a:extLst>
              </p:cNvPr>
              <p:cNvSpPr>
                <a:spLocks/>
              </p:cNvSpPr>
              <p:nvPr/>
            </p:nvSpPr>
            <p:spPr bwMode="auto">
              <a:xfrm>
                <a:off x="3578406" y="4457383"/>
                <a:ext cx="830765" cy="1209993"/>
              </a:xfrm>
              <a:custGeom>
                <a:avLst/>
                <a:gdLst>
                  <a:gd name="T0" fmla="*/ 1841986 w 10172266"/>
                  <a:gd name="T1" fmla="*/ 1683352 h 14815417"/>
                  <a:gd name="T2" fmla="*/ 1891073 w 10172266"/>
                  <a:gd name="T3" fmla="*/ 1844973 h 14815417"/>
                  <a:gd name="T4" fmla="*/ 1965899 w 10172266"/>
                  <a:gd name="T5" fmla="*/ 1936575 h 14815417"/>
                  <a:gd name="T6" fmla="*/ 2125529 w 10172266"/>
                  <a:gd name="T7" fmla="*/ 1937708 h 14815417"/>
                  <a:gd name="T8" fmla="*/ 2243890 w 10172266"/>
                  <a:gd name="T9" fmla="*/ 2140870 h 14815417"/>
                  <a:gd name="T10" fmla="*/ 2259535 w 10172266"/>
                  <a:gd name="T11" fmla="*/ 2346301 h 14815417"/>
                  <a:gd name="T12" fmla="*/ 2399756 w 10172266"/>
                  <a:gd name="T13" fmla="*/ 2477512 h 14815417"/>
                  <a:gd name="T14" fmla="*/ 2653621 w 10172266"/>
                  <a:gd name="T15" fmla="*/ 2592998 h 14815417"/>
                  <a:gd name="T16" fmla="*/ 2678112 w 10172266"/>
                  <a:gd name="T17" fmla="*/ 2693443 h 14815417"/>
                  <a:gd name="T18" fmla="*/ 2565419 w 10172266"/>
                  <a:gd name="T19" fmla="*/ 2728360 h 14815417"/>
                  <a:gd name="T20" fmla="*/ 2479707 w 10172266"/>
                  <a:gd name="T21" fmla="*/ 2874385 h 14815417"/>
                  <a:gd name="T22" fmla="*/ 2355905 w 10172266"/>
                  <a:gd name="T23" fmla="*/ 2798198 h 14815417"/>
                  <a:gd name="T24" fmla="*/ 2194007 w 10172266"/>
                  <a:gd name="T25" fmla="*/ 3021994 h 14815417"/>
                  <a:gd name="T26" fmla="*/ 1917831 w 10172266"/>
                  <a:gd name="T27" fmla="*/ 3136271 h 14815417"/>
                  <a:gd name="T28" fmla="*/ 1746412 w 10172266"/>
                  <a:gd name="T29" fmla="*/ 3312451 h 14815417"/>
                  <a:gd name="T30" fmla="*/ 1427378 w 10172266"/>
                  <a:gd name="T31" fmla="*/ 3664810 h 14815417"/>
                  <a:gd name="T32" fmla="*/ 1451188 w 10172266"/>
                  <a:gd name="T33" fmla="*/ 3850512 h 14815417"/>
                  <a:gd name="T34" fmla="*/ 1243325 w 10172266"/>
                  <a:gd name="T35" fmla="*/ 3900487 h 14815417"/>
                  <a:gd name="T36" fmla="*/ 1103584 w 10172266"/>
                  <a:gd name="T37" fmla="*/ 3764805 h 14815417"/>
                  <a:gd name="T38" fmla="*/ 1203582 w 10172266"/>
                  <a:gd name="T39" fmla="*/ 3588625 h 14815417"/>
                  <a:gd name="T40" fmla="*/ 998830 w 10172266"/>
                  <a:gd name="T41" fmla="*/ 3464824 h 14815417"/>
                  <a:gd name="T42" fmla="*/ 379810 w 10172266"/>
                  <a:gd name="T43" fmla="*/ 3493399 h 14815417"/>
                  <a:gd name="T44" fmla="*/ 256009 w 10172266"/>
                  <a:gd name="T45" fmla="*/ 2874383 h 14815417"/>
                  <a:gd name="T46" fmla="*/ 0 w 10172266"/>
                  <a:gd name="T47" fmla="*/ 2870986 h 14815417"/>
                  <a:gd name="T48" fmla="*/ 21025 w 10172266"/>
                  <a:gd name="T49" fmla="*/ 2662512 h 14815417"/>
                  <a:gd name="T50" fmla="*/ 189345 w 10172266"/>
                  <a:gd name="T51" fmla="*/ 2512504 h 14815417"/>
                  <a:gd name="T52" fmla="*/ 379813 w 10172266"/>
                  <a:gd name="T53" fmla="*/ 2369657 h 14815417"/>
                  <a:gd name="T54" fmla="*/ 598850 w 10172266"/>
                  <a:gd name="T55" fmla="*/ 2217285 h 14815417"/>
                  <a:gd name="T56" fmla="*/ 770270 w 10172266"/>
                  <a:gd name="T57" fmla="*/ 2164907 h 14815417"/>
                  <a:gd name="T58" fmla="*/ 967152 w 10172266"/>
                  <a:gd name="T59" fmla="*/ 2010141 h 14815417"/>
                  <a:gd name="T60" fmla="*/ 865501 w 10172266"/>
                  <a:gd name="T61" fmla="*/ 1864925 h 14815417"/>
                  <a:gd name="T62" fmla="*/ 1046447 w 10172266"/>
                  <a:gd name="T63" fmla="*/ 1669700 h 14815417"/>
                  <a:gd name="T64" fmla="*/ 1003590 w 10172266"/>
                  <a:gd name="T65" fmla="*/ 1550660 h 14815417"/>
                  <a:gd name="T66" fmla="*/ 1070254 w 10172266"/>
                  <a:gd name="T67" fmla="*/ 1379243 h 14815417"/>
                  <a:gd name="T68" fmla="*/ 832169 w 10172266"/>
                  <a:gd name="T69" fmla="*/ 1160207 h 14815417"/>
                  <a:gd name="T70" fmla="*/ 813123 w 10172266"/>
                  <a:gd name="T71" fmla="*/ 712616 h 14815417"/>
                  <a:gd name="T72" fmla="*/ 675034 w 10172266"/>
                  <a:gd name="T73" fmla="*/ 455490 h 14815417"/>
                  <a:gd name="T74" fmla="*/ 703605 w 10172266"/>
                  <a:gd name="T75" fmla="*/ 322166 h 14815417"/>
                  <a:gd name="T76" fmla="*/ 732174 w 10172266"/>
                  <a:gd name="T77" fmla="*/ 40437 h 14815417"/>
                  <a:gd name="T78" fmla="*/ 1626512 w 10172266"/>
                  <a:gd name="T79" fmla="*/ 0 h 14815417"/>
                  <a:gd name="T80" fmla="*/ 2047304 w 10172266"/>
                  <a:gd name="T81" fmla="*/ 1046611 h 14815417"/>
                  <a:gd name="T82" fmla="*/ 2018279 w 10172266"/>
                  <a:gd name="T83" fmla="*/ 1253174 h 14815417"/>
                  <a:gd name="T84" fmla="*/ 1957966 w 10172266"/>
                  <a:gd name="T85" fmla="*/ 1483095 h 14815417"/>
                  <a:gd name="T86" fmla="*/ 1841986 w 10172266"/>
                  <a:gd name="T87" fmla="*/ 1683352 h 1481541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0172266" h="14815417">
                    <a:moveTo>
                      <a:pt x="6996414" y="6393961"/>
                    </a:moveTo>
                    <a:lnTo>
                      <a:pt x="7182856" y="7007853"/>
                    </a:lnTo>
                    <a:lnTo>
                      <a:pt x="7467070" y="7355794"/>
                    </a:lnTo>
                    <a:lnTo>
                      <a:pt x="8073393" y="7360093"/>
                    </a:lnTo>
                    <a:lnTo>
                      <a:pt x="8522964" y="8131778"/>
                    </a:lnTo>
                    <a:lnTo>
                      <a:pt x="8582390" y="8912076"/>
                    </a:lnTo>
                    <a:lnTo>
                      <a:pt x="9114989" y="9410459"/>
                    </a:lnTo>
                    <a:lnTo>
                      <a:pt x="10079246" y="9849119"/>
                    </a:lnTo>
                    <a:lnTo>
                      <a:pt x="10172266" y="10230640"/>
                    </a:lnTo>
                    <a:lnTo>
                      <a:pt x="9744224" y="10363269"/>
                    </a:lnTo>
                    <a:lnTo>
                      <a:pt x="9418669" y="10917922"/>
                    </a:lnTo>
                    <a:lnTo>
                      <a:pt x="8948428" y="10628536"/>
                    </a:lnTo>
                    <a:lnTo>
                      <a:pt x="8333495" y="11478594"/>
                    </a:lnTo>
                    <a:lnTo>
                      <a:pt x="7284493" y="11912659"/>
                    </a:lnTo>
                    <a:lnTo>
                      <a:pt x="6633392" y="12581849"/>
                    </a:lnTo>
                    <a:lnTo>
                      <a:pt x="5421607" y="13920232"/>
                    </a:lnTo>
                    <a:lnTo>
                      <a:pt x="5512045" y="14625598"/>
                    </a:lnTo>
                    <a:lnTo>
                      <a:pt x="4722518" y="14815417"/>
                    </a:lnTo>
                    <a:lnTo>
                      <a:pt x="4191742" y="14300055"/>
                    </a:lnTo>
                    <a:lnTo>
                      <a:pt x="4571561" y="13630861"/>
                    </a:lnTo>
                    <a:lnTo>
                      <a:pt x="3793853" y="13160620"/>
                    </a:lnTo>
                    <a:lnTo>
                      <a:pt x="1442633" y="13269153"/>
                    </a:lnTo>
                    <a:lnTo>
                      <a:pt x="972399" y="10917914"/>
                    </a:lnTo>
                    <a:lnTo>
                      <a:pt x="0" y="10905013"/>
                    </a:lnTo>
                    <a:lnTo>
                      <a:pt x="79861" y="10113155"/>
                    </a:lnTo>
                    <a:lnTo>
                      <a:pt x="719190" y="9543373"/>
                    </a:lnTo>
                    <a:lnTo>
                      <a:pt x="1442641" y="9000786"/>
                    </a:lnTo>
                    <a:lnTo>
                      <a:pt x="2274610" y="8422026"/>
                    </a:lnTo>
                    <a:lnTo>
                      <a:pt x="2925715" y="8223078"/>
                    </a:lnTo>
                    <a:lnTo>
                      <a:pt x="3673532" y="7635222"/>
                    </a:lnTo>
                    <a:lnTo>
                      <a:pt x="3287431" y="7083642"/>
                    </a:lnTo>
                    <a:lnTo>
                      <a:pt x="3974717" y="6342107"/>
                    </a:lnTo>
                    <a:lnTo>
                      <a:pt x="3811934" y="5889950"/>
                    </a:lnTo>
                    <a:lnTo>
                      <a:pt x="4065143" y="5238848"/>
                    </a:lnTo>
                    <a:lnTo>
                      <a:pt x="3160825" y="4406875"/>
                    </a:lnTo>
                    <a:lnTo>
                      <a:pt x="3088483" y="2706765"/>
                    </a:lnTo>
                    <a:lnTo>
                      <a:pt x="2563980" y="1730112"/>
                    </a:lnTo>
                    <a:lnTo>
                      <a:pt x="2672502" y="1223698"/>
                    </a:lnTo>
                    <a:lnTo>
                      <a:pt x="2781017" y="153593"/>
                    </a:lnTo>
                    <a:lnTo>
                      <a:pt x="6177976" y="0"/>
                    </a:lnTo>
                    <a:lnTo>
                      <a:pt x="7776268" y="3975397"/>
                    </a:lnTo>
                    <a:lnTo>
                      <a:pt x="7666025" y="4759994"/>
                    </a:lnTo>
                    <a:lnTo>
                      <a:pt x="7436939" y="5633312"/>
                    </a:lnTo>
                    <a:lnTo>
                      <a:pt x="6996414" y="6393961"/>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25" name="任意多边形 114">
                <a:extLst>
                  <a:ext uri="{FF2B5EF4-FFF2-40B4-BE49-F238E27FC236}">
                    <a16:creationId xmlns:a16="http://schemas.microsoft.com/office/drawing/2014/main" id="{521BB658-E9BB-77B1-4DD6-06F1F73DF6F2}"/>
                  </a:ext>
                </a:extLst>
              </p:cNvPr>
              <p:cNvSpPr>
                <a:spLocks/>
              </p:cNvSpPr>
              <p:nvPr/>
            </p:nvSpPr>
            <p:spPr bwMode="auto">
              <a:xfrm>
                <a:off x="4812333" y="4036060"/>
                <a:ext cx="1400587" cy="1052195"/>
              </a:xfrm>
              <a:custGeom>
                <a:avLst/>
                <a:gdLst/>
                <a:ahLst/>
                <a:cxnLst/>
                <a:rect l="0" t="0" r="r" b="b"/>
                <a:pathLst>
                  <a:path w="17157070" h="12886678">
                    <a:moveTo>
                      <a:pt x="0" y="4521645"/>
                    </a:moveTo>
                    <a:lnTo>
                      <a:pt x="613837" y="6900003"/>
                    </a:lnTo>
                    <a:lnTo>
                      <a:pt x="1518338" y="7768153"/>
                    </a:lnTo>
                    <a:lnTo>
                      <a:pt x="1735898" y="8600077"/>
                    </a:lnTo>
                    <a:lnTo>
                      <a:pt x="3137400" y="9124637"/>
                    </a:lnTo>
                    <a:lnTo>
                      <a:pt x="3453963" y="10481128"/>
                    </a:lnTo>
                    <a:lnTo>
                      <a:pt x="4168520" y="11855697"/>
                    </a:lnTo>
                    <a:lnTo>
                      <a:pt x="4162343" y="12886678"/>
                    </a:lnTo>
                    <a:lnTo>
                      <a:pt x="4605215" y="12802514"/>
                    </a:lnTo>
                    <a:lnTo>
                      <a:pt x="4840336" y="12513132"/>
                    </a:lnTo>
                    <a:lnTo>
                      <a:pt x="6070201" y="12531224"/>
                    </a:lnTo>
                    <a:lnTo>
                      <a:pt x="6884082" y="11934372"/>
                    </a:lnTo>
                    <a:lnTo>
                      <a:pt x="7716051" y="12259931"/>
                    </a:lnTo>
                    <a:lnTo>
                      <a:pt x="8584189" y="12060979"/>
                    </a:lnTo>
                    <a:lnTo>
                      <a:pt x="9289552" y="12259931"/>
                    </a:lnTo>
                    <a:lnTo>
                      <a:pt x="10139605" y="11862031"/>
                    </a:lnTo>
                    <a:lnTo>
                      <a:pt x="10664108" y="12079067"/>
                    </a:lnTo>
                    <a:lnTo>
                      <a:pt x="11387555" y="11988637"/>
                    </a:lnTo>
                    <a:lnTo>
                      <a:pt x="11966315" y="12712092"/>
                    </a:lnTo>
                    <a:lnTo>
                      <a:pt x="12942975" y="12476963"/>
                    </a:lnTo>
                    <a:lnTo>
                      <a:pt x="13575992" y="12874863"/>
                    </a:lnTo>
                    <a:lnTo>
                      <a:pt x="13973888" y="12784430"/>
                    </a:lnTo>
                    <a:lnTo>
                      <a:pt x="14028146" y="12241839"/>
                    </a:lnTo>
                    <a:lnTo>
                      <a:pt x="13594073" y="12187582"/>
                    </a:lnTo>
                    <a:lnTo>
                      <a:pt x="13612161" y="11500303"/>
                    </a:lnTo>
                    <a:lnTo>
                      <a:pt x="14190925" y="11355616"/>
                    </a:lnTo>
                    <a:lnTo>
                      <a:pt x="13865366" y="10885371"/>
                    </a:lnTo>
                    <a:lnTo>
                      <a:pt x="14136664" y="10487475"/>
                    </a:lnTo>
                    <a:lnTo>
                      <a:pt x="14703435" y="10514571"/>
                    </a:lnTo>
                    <a:lnTo>
                      <a:pt x="14661163" y="10342787"/>
                    </a:lnTo>
                    <a:lnTo>
                      <a:pt x="14335608" y="10180012"/>
                    </a:lnTo>
                    <a:lnTo>
                      <a:pt x="14498387" y="9601248"/>
                    </a:lnTo>
                    <a:lnTo>
                      <a:pt x="13847278" y="8696934"/>
                    </a:lnTo>
                    <a:lnTo>
                      <a:pt x="13340864" y="7991571"/>
                    </a:lnTo>
                    <a:lnTo>
                      <a:pt x="13123831" y="6906393"/>
                    </a:lnTo>
                    <a:lnTo>
                      <a:pt x="13232349" y="6219119"/>
                    </a:lnTo>
                    <a:lnTo>
                      <a:pt x="12273778" y="6252280"/>
                    </a:lnTo>
                    <a:lnTo>
                      <a:pt x="12201432" y="5854380"/>
                    </a:lnTo>
                    <a:lnTo>
                      <a:pt x="12508887" y="5350985"/>
                    </a:lnTo>
                    <a:lnTo>
                      <a:pt x="13774933" y="4573269"/>
                    </a:lnTo>
                    <a:lnTo>
                      <a:pt x="15294184" y="4066854"/>
                    </a:lnTo>
                    <a:lnTo>
                      <a:pt x="15746333" y="4392409"/>
                    </a:lnTo>
                    <a:lnTo>
                      <a:pt x="16578306" y="4103027"/>
                    </a:lnTo>
                    <a:lnTo>
                      <a:pt x="17084732" y="4500935"/>
                    </a:lnTo>
                    <a:lnTo>
                      <a:pt x="17157070" y="3560444"/>
                    </a:lnTo>
                    <a:lnTo>
                      <a:pt x="16433615" y="3470014"/>
                    </a:lnTo>
                    <a:lnTo>
                      <a:pt x="16415865" y="2853862"/>
                    </a:lnTo>
                    <a:lnTo>
                      <a:pt x="15963191" y="2993318"/>
                    </a:lnTo>
                    <a:lnTo>
                      <a:pt x="14923009" y="1763435"/>
                    </a:lnTo>
                    <a:lnTo>
                      <a:pt x="14244644" y="325540"/>
                    </a:lnTo>
                    <a:lnTo>
                      <a:pt x="13367278" y="614945"/>
                    </a:lnTo>
                    <a:lnTo>
                      <a:pt x="12218563" y="623988"/>
                    </a:lnTo>
                    <a:lnTo>
                      <a:pt x="11323109" y="36169"/>
                    </a:lnTo>
                    <a:lnTo>
                      <a:pt x="10780410" y="488337"/>
                    </a:lnTo>
                    <a:lnTo>
                      <a:pt x="10038717" y="687288"/>
                    </a:lnTo>
                    <a:lnTo>
                      <a:pt x="9622651" y="81389"/>
                    </a:lnTo>
                    <a:lnTo>
                      <a:pt x="8672925" y="280344"/>
                    </a:lnTo>
                    <a:lnTo>
                      <a:pt x="7759379" y="0"/>
                    </a:lnTo>
                    <a:lnTo>
                      <a:pt x="6729494" y="443189"/>
                    </a:lnTo>
                    <a:lnTo>
                      <a:pt x="6493079" y="1012843"/>
                    </a:lnTo>
                    <a:lnTo>
                      <a:pt x="6710175" y="2161345"/>
                    </a:lnTo>
                    <a:lnTo>
                      <a:pt x="5290099" y="2134207"/>
                    </a:lnTo>
                    <a:lnTo>
                      <a:pt x="2314296" y="2369327"/>
                    </a:lnTo>
                    <a:lnTo>
                      <a:pt x="1334589" y="3174199"/>
                    </a:lnTo>
                    <a:lnTo>
                      <a:pt x="0" y="4521645"/>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26" name="任意多边形 115">
                <a:extLst>
                  <a:ext uri="{FF2B5EF4-FFF2-40B4-BE49-F238E27FC236}">
                    <a16:creationId xmlns:a16="http://schemas.microsoft.com/office/drawing/2014/main" id="{D7D9F622-7A26-8FD6-55D4-6DE5256D701A}"/>
                  </a:ext>
                </a:extLst>
              </p:cNvPr>
              <p:cNvSpPr>
                <a:spLocks/>
              </p:cNvSpPr>
              <p:nvPr/>
            </p:nvSpPr>
            <p:spPr bwMode="auto">
              <a:xfrm>
                <a:off x="1061349" y="4204335"/>
                <a:ext cx="1065678" cy="1160145"/>
              </a:xfrm>
              <a:custGeom>
                <a:avLst/>
                <a:gdLst>
                  <a:gd name="T0" fmla="*/ 610215 w 2165"/>
                  <a:gd name="T1" fmla="*/ 867849 h 2356"/>
                  <a:gd name="T2" fmla="*/ 666918 w 2165"/>
                  <a:gd name="T3" fmla="*/ 1036045 h 2356"/>
                  <a:gd name="T4" fmla="*/ 466843 w 2165"/>
                  <a:gd name="T5" fmla="*/ 978906 h 2356"/>
                  <a:gd name="T6" fmla="*/ 414444 w 2165"/>
                  <a:gd name="T7" fmla="*/ 874947 h 2356"/>
                  <a:gd name="T8" fmla="*/ 85749 w 2165"/>
                  <a:gd name="T9" fmla="*/ 789239 h 2356"/>
                  <a:gd name="T10" fmla="*/ 4766 w 2165"/>
                  <a:gd name="T11" fmla="*/ 826537 h 2356"/>
                  <a:gd name="T12" fmla="*/ 0 w 2165"/>
                  <a:gd name="T13" fmla="*/ 1017789 h 2356"/>
                  <a:gd name="T14" fmla="*/ 238190 w 2165"/>
                  <a:gd name="T15" fmla="*/ 1117782 h 2356"/>
                  <a:gd name="T16" fmla="*/ 257243 w 2165"/>
                  <a:gd name="T17" fmla="*/ 1370144 h 2356"/>
                  <a:gd name="T18" fmla="*/ 357280 w 2165"/>
                  <a:gd name="T19" fmla="*/ 1670119 h 2356"/>
                  <a:gd name="T20" fmla="*/ 400154 w 2165"/>
                  <a:gd name="T21" fmla="*/ 1812965 h 2356"/>
                  <a:gd name="T22" fmla="*/ 292304 w 2165"/>
                  <a:gd name="T23" fmla="*/ 1996277 h 2356"/>
                  <a:gd name="T24" fmla="*/ 540015 w 2165"/>
                  <a:gd name="T25" fmla="*/ 1981991 h 2356"/>
                  <a:gd name="T26" fmla="*/ 614518 w 2165"/>
                  <a:gd name="T27" fmla="*/ 2265306 h 2356"/>
                  <a:gd name="T28" fmla="*/ 766956 w 2165"/>
                  <a:gd name="T29" fmla="*/ 2274830 h 2356"/>
                  <a:gd name="T30" fmla="*/ 952739 w 2165"/>
                  <a:gd name="T31" fmla="*/ 2365299 h 2356"/>
                  <a:gd name="T32" fmla="*/ 1009903 w 2165"/>
                  <a:gd name="T33" fmla="*/ 2503384 h 2356"/>
                  <a:gd name="T34" fmla="*/ 771718 w 2165"/>
                  <a:gd name="T35" fmla="*/ 2831929 h 2356"/>
                  <a:gd name="T36" fmla="*/ 770098 w 2165"/>
                  <a:gd name="T37" fmla="*/ 3077228 h 2356"/>
                  <a:gd name="T38" fmla="*/ 1194094 w 2165"/>
                  <a:gd name="T39" fmla="*/ 2879544 h 2356"/>
                  <a:gd name="T40" fmla="*/ 1513260 w 2165"/>
                  <a:gd name="T41" fmla="*/ 2849389 h 2356"/>
                  <a:gd name="T42" fmla="*/ 1757794 w 2165"/>
                  <a:gd name="T43" fmla="*/ 2855736 h 2356"/>
                  <a:gd name="T44" fmla="*/ 2142066 w 2165"/>
                  <a:gd name="T45" fmla="*/ 3169997 h 2356"/>
                  <a:gd name="T46" fmla="*/ 2100779 w 2165"/>
                  <a:gd name="T47" fmla="*/ 3354108 h 2356"/>
                  <a:gd name="T48" fmla="*/ 2370719 w 2165"/>
                  <a:gd name="T49" fmla="*/ 3739792 h 2356"/>
                  <a:gd name="T50" fmla="*/ 2608902 w 2165"/>
                  <a:gd name="T51" fmla="*/ 3731869 h 2356"/>
                  <a:gd name="T52" fmla="*/ 2959820 w 2165"/>
                  <a:gd name="T53" fmla="*/ 1113016 h 2356"/>
                  <a:gd name="T54" fmla="*/ 3436938 w 2165"/>
                  <a:gd name="T55" fmla="*/ 1033503 h 2356"/>
                  <a:gd name="T56" fmla="*/ 3340126 w 2165"/>
                  <a:gd name="T57" fmla="*/ 413238 h 2356"/>
                  <a:gd name="T58" fmla="*/ 3090563 w 2165"/>
                  <a:gd name="T59" fmla="*/ 300724 h 2356"/>
                  <a:gd name="T60" fmla="*/ 2745757 w 2165"/>
                  <a:gd name="T61" fmla="*/ 0 h 2356"/>
                  <a:gd name="T62" fmla="*/ 2639556 w 2165"/>
                  <a:gd name="T63" fmla="*/ 131187 h 2356"/>
                  <a:gd name="T64" fmla="*/ 2503712 w 2165"/>
                  <a:gd name="T65" fmla="*/ 20629 h 2356"/>
                  <a:gd name="T66" fmla="*/ 2292074 w 2165"/>
                  <a:gd name="T67" fmla="*/ 23075 h 2356"/>
                  <a:gd name="T68" fmla="*/ 2214906 w 2165"/>
                  <a:gd name="T69" fmla="*/ 89622 h 2356"/>
                  <a:gd name="T70" fmla="*/ 2071192 w 2165"/>
                  <a:gd name="T71" fmla="*/ 30409 h 2356"/>
                  <a:gd name="T72" fmla="*/ 1918768 w 2165"/>
                  <a:gd name="T73" fmla="*/ 113536 h 2356"/>
                  <a:gd name="T74" fmla="*/ 1729255 w 2165"/>
                  <a:gd name="T75" fmla="*/ 88595 h 2356"/>
                  <a:gd name="T76" fmla="*/ 1648230 w 2165"/>
                  <a:gd name="T77" fmla="*/ 246426 h 2356"/>
                  <a:gd name="T78" fmla="*/ 1572011 w 2165"/>
                  <a:gd name="T79" fmla="*/ 351179 h 2356"/>
                  <a:gd name="T80" fmla="*/ 1643466 w 2165"/>
                  <a:gd name="T81" fmla="*/ 551163 h 2356"/>
                  <a:gd name="T82" fmla="*/ 1786377 w 2165"/>
                  <a:gd name="T83" fmla="*/ 617826 h 2356"/>
                  <a:gd name="T84" fmla="*/ 1938814 w 2165"/>
                  <a:gd name="T85" fmla="*/ 646395 h 2356"/>
                  <a:gd name="T86" fmla="*/ 2053143 w 2165"/>
                  <a:gd name="T87" fmla="*/ 551163 h 2356"/>
                  <a:gd name="T88" fmla="*/ 2157943 w 2165"/>
                  <a:gd name="T89" fmla="*/ 598778 h 2356"/>
                  <a:gd name="T90" fmla="*/ 2096015 w 2165"/>
                  <a:gd name="T91" fmla="*/ 722579 h 2356"/>
                  <a:gd name="T92" fmla="*/ 2191292 w 2165"/>
                  <a:gd name="T93" fmla="*/ 913044 h 2356"/>
                  <a:gd name="T94" fmla="*/ 1914995 w 2165"/>
                  <a:gd name="T95" fmla="*/ 979701 h 2356"/>
                  <a:gd name="T96" fmla="*/ 1891177 w 2165"/>
                  <a:gd name="T97" fmla="*/ 889232 h 2356"/>
                  <a:gd name="T98" fmla="*/ 2091252 w 2165"/>
                  <a:gd name="T99" fmla="*/ 803524 h 2356"/>
                  <a:gd name="T100" fmla="*/ 2015033 w 2165"/>
                  <a:gd name="T101" fmla="*/ 722578 h 2356"/>
                  <a:gd name="T102" fmla="*/ 1867359 w 2165"/>
                  <a:gd name="T103" fmla="*/ 736863 h 2356"/>
                  <a:gd name="T104" fmla="*/ 1714924 w 2165"/>
                  <a:gd name="T105" fmla="*/ 703536 h 2356"/>
                  <a:gd name="T106" fmla="*/ 1471977 w 2165"/>
                  <a:gd name="T107" fmla="*/ 608304 h 2356"/>
                  <a:gd name="T108" fmla="*/ 981317 w 2165"/>
                  <a:gd name="T109" fmla="*/ 398796 h 2356"/>
                  <a:gd name="T110" fmla="*/ 833647 w 2165"/>
                  <a:gd name="T111" fmla="*/ 422604 h 2356"/>
                  <a:gd name="T112" fmla="*/ 666918 w 2165"/>
                  <a:gd name="T113" fmla="*/ 408318 h 2356"/>
                  <a:gd name="T114" fmla="*/ 590700 w 2165"/>
                  <a:gd name="T115" fmla="*/ 608302 h 2356"/>
                  <a:gd name="T116" fmla="*/ 409678 w 2165"/>
                  <a:gd name="T117" fmla="*/ 679724 h 2356"/>
                  <a:gd name="T118" fmla="*/ 610215 w 2165"/>
                  <a:gd name="T119" fmla="*/ 867849 h 23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165" h="2356">
                    <a:moveTo>
                      <a:pt x="384" y="547"/>
                    </a:moveTo>
                    <a:lnTo>
                      <a:pt x="420" y="653"/>
                    </a:lnTo>
                    <a:lnTo>
                      <a:pt x="294" y="617"/>
                    </a:lnTo>
                    <a:lnTo>
                      <a:pt x="261" y="551"/>
                    </a:lnTo>
                    <a:lnTo>
                      <a:pt x="54" y="497"/>
                    </a:lnTo>
                    <a:lnTo>
                      <a:pt x="3" y="521"/>
                    </a:lnTo>
                    <a:lnTo>
                      <a:pt x="0" y="641"/>
                    </a:lnTo>
                    <a:lnTo>
                      <a:pt x="150" y="704"/>
                    </a:lnTo>
                    <a:lnTo>
                      <a:pt x="162" y="863"/>
                    </a:lnTo>
                    <a:lnTo>
                      <a:pt x="225" y="1052"/>
                    </a:lnTo>
                    <a:lnTo>
                      <a:pt x="252" y="1142"/>
                    </a:lnTo>
                    <a:lnTo>
                      <a:pt x="184" y="1258"/>
                    </a:lnTo>
                    <a:lnTo>
                      <a:pt x="340" y="1249"/>
                    </a:lnTo>
                    <a:lnTo>
                      <a:pt x="387" y="1427"/>
                    </a:lnTo>
                    <a:lnTo>
                      <a:pt x="483" y="1433"/>
                    </a:lnTo>
                    <a:lnTo>
                      <a:pt x="600" y="1490"/>
                    </a:lnTo>
                    <a:lnTo>
                      <a:pt x="636" y="1577"/>
                    </a:lnTo>
                    <a:lnTo>
                      <a:pt x="486" y="1784"/>
                    </a:lnTo>
                    <a:cubicBezTo>
                      <a:pt x="486" y="1836"/>
                      <a:pt x="485" y="1887"/>
                      <a:pt x="485" y="1939"/>
                    </a:cubicBezTo>
                    <a:lnTo>
                      <a:pt x="752" y="1814"/>
                    </a:lnTo>
                    <a:lnTo>
                      <a:pt x="953" y="1795"/>
                    </a:lnTo>
                    <a:lnTo>
                      <a:pt x="1107" y="1799"/>
                    </a:lnTo>
                    <a:lnTo>
                      <a:pt x="1349" y="1997"/>
                    </a:lnTo>
                    <a:lnTo>
                      <a:pt x="1323" y="2113"/>
                    </a:lnTo>
                    <a:lnTo>
                      <a:pt x="1493" y="2356"/>
                    </a:lnTo>
                    <a:lnTo>
                      <a:pt x="1643" y="2351"/>
                    </a:lnTo>
                    <a:lnTo>
                      <a:pt x="1864" y="701"/>
                    </a:lnTo>
                    <a:lnTo>
                      <a:pt x="2165" y="651"/>
                    </a:lnTo>
                    <a:lnTo>
                      <a:pt x="2104" y="260"/>
                    </a:lnTo>
                    <a:lnTo>
                      <a:pt x="1947" y="189"/>
                    </a:lnTo>
                    <a:lnTo>
                      <a:pt x="1730" y="0"/>
                    </a:lnTo>
                    <a:lnTo>
                      <a:pt x="1663" y="83"/>
                    </a:lnTo>
                    <a:lnTo>
                      <a:pt x="1577" y="13"/>
                    </a:lnTo>
                    <a:lnTo>
                      <a:pt x="1444" y="15"/>
                    </a:lnTo>
                    <a:lnTo>
                      <a:pt x="1395" y="56"/>
                    </a:lnTo>
                    <a:lnTo>
                      <a:pt x="1305" y="19"/>
                    </a:lnTo>
                    <a:lnTo>
                      <a:pt x="1209" y="72"/>
                    </a:lnTo>
                    <a:lnTo>
                      <a:pt x="1089" y="56"/>
                    </a:lnTo>
                    <a:lnTo>
                      <a:pt x="1038" y="155"/>
                    </a:lnTo>
                    <a:lnTo>
                      <a:pt x="990" y="221"/>
                    </a:lnTo>
                    <a:lnTo>
                      <a:pt x="1035" y="347"/>
                    </a:lnTo>
                    <a:lnTo>
                      <a:pt x="1125" y="389"/>
                    </a:lnTo>
                    <a:lnTo>
                      <a:pt x="1221" y="407"/>
                    </a:lnTo>
                    <a:lnTo>
                      <a:pt x="1293" y="347"/>
                    </a:lnTo>
                    <a:lnTo>
                      <a:pt x="1359" y="377"/>
                    </a:lnTo>
                    <a:lnTo>
                      <a:pt x="1320" y="455"/>
                    </a:lnTo>
                    <a:lnTo>
                      <a:pt x="1380" y="575"/>
                    </a:lnTo>
                    <a:lnTo>
                      <a:pt x="1206" y="617"/>
                    </a:lnTo>
                    <a:lnTo>
                      <a:pt x="1191" y="560"/>
                    </a:lnTo>
                    <a:lnTo>
                      <a:pt x="1317" y="506"/>
                    </a:lnTo>
                    <a:lnTo>
                      <a:pt x="1269" y="455"/>
                    </a:lnTo>
                    <a:lnTo>
                      <a:pt x="1176" y="464"/>
                    </a:lnTo>
                    <a:lnTo>
                      <a:pt x="1080" y="443"/>
                    </a:lnTo>
                    <a:lnTo>
                      <a:pt x="927" y="383"/>
                    </a:lnTo>
                    <a:lnTo>
                      <a:pt x="618" y="251"/>
                    </a:lnTo>
                    <a:lnTo>
                      <a:pt x="525" y="266"/>
                    </a:lnTo>
                    <a:lnTo>
                      <a:pt x="420" y="257"/>
                    </a:lnTo>
                    <a:lnTo>
                      <a:pt x="372" y="383"/>
                    </a:lnTo>
                    <a:lnTo>
                      <a:pt x="258" y="428"/>
                    </a:lnTo>
                    <a:lnTo>
                      <a:pt x="384" y="547"/>
                    </a:lnTo>
                    <a:close/>
                  </a:path>
                </a:pathLst>
              </a:custGeom>
              <a:solidFill>
                <a:schemeClr val="bg2">
                  <a:lumMod val="90000"/>
                </a:schemeClr>
              </a:solid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27" name="任意多边形 116">
                <a:extLst>
                  <a:ext uri="{FF2B5EF4-FFF2-40B4-BE49-F238E27FC236}">
                    <a16:creationId xmlns:a16="http://schemas.microsoft.com/office/drawing/2014/main" id="{01F47E3B-317E-E255-E2BF-872D7EF982AD}"/>
                  </a:ext>
                </a:extLst>
              </p:cNvPr>
              <p:cNvSpPr>
                <a:spLocks/>
              </p:cNvSpPr>
              <p:nvPr/>
            </p:nvSpPr>
            <p:spPr bwMode="auto">
              <a:xfrm>
                <a:off x="2488602" y="4070985"/>
                <a:ext cx="1421222" cy="1212215"/>
              </a:xfrm>
              <a:custGeom>
                <a:avLst/>
                <a:gdLst>
                  <a:gd name="T0" fmla="*/ 1155932 w 4477"/>
                  <a:gd name="T1" fmla="*/ 0 h 3818"/>
                  <a:gd name="T2" fmla="*/ 0 w 4477"/>
                  <a:gd name="T3" fmla="*/ 497666 h 3818"/>
                  <a:gd name="T4" fmla="*/ 1209770 w 4477"/>
                  <a:gd name="T5" fmla="*/ 1447800 h 3818"/>
                  <a:gd name="T6" fmla="*/ 1235166 w 4477"/>
                  <a:gd name="T7" fmla="*/ 1633535 h 3818"/>
                  <a:gd name="T8" fmla="*/ 1676486 w 4477"/>
                  <a:gd name="T9" fmla="*/ 2171696 h 3818"/>
                  <a:gd name="T10" fmla="*/ 2024148 w 4477"/>
                  <a:gd name="T11" fmla="*/ 2098668 h 3818"/>
                  <a:gd name="T12" fmla="*/ 2286081 w 4477"/>
                  <a:gd name="T13" fmla="*/ 2044692 h 3818"/>
                  <a:gd name="T14" fmla="*/ 2448006 w 4477"/>
                  <a:gd name="T15" fmla="*/ 2141530 h 3818"/>
                  <a:gd name="T16" fmla="*/ 2670254 w 4477"/>
                  <a:gd name="T17" fmla="*/ 2130416 h 3818"/>
                  <a:gd name="T18" fmla="*/ 2929015 w 4477"/>
                  <a:gd name="T19" fmla="*/ 2197092 h 3818"/>
                  <a:gd name="T20" fmla="*/ 3175077 w 4477"/>
                  <a:gd name="T21" fmla="*/ 2024055 h 3818"/>
                  <a:gd name="T22" fmla="*/ 3352877 w 4477"/>
                  <a:gd name="T23" fmla="*/ 2262181 h 3818"/>
                  <a:gd name="T24" fmla="*/ 3532265 w 4477"/>
                  <a:gd name="T25" fmla="*/ 2341555 h 3818"/>
                  <a:gd name="T26" fmla="*/ 3630687 w 4477"/>
                  <a:gd name="T27" fmla="*/ 2687631 h 3818"/>
                  <a:gd name="T28" fmla="*/ 3833889 w 4477"/>
                  <a:gd name="T29" fmla="*/ 2617778 h 3818"/>
                  <a:gd name="T30" fmla="*/ 3797351 w 4477"/>
                  <a:gd name="T31" fmla="*/ 3075550 h 3818"/>
                  <a:gd name="T32" fmla="*/ 4318074 w 4477"/>
                  <a:gd name="T33" fmla="*/ 2492368 h 3818"/>
                  <a:gd name="T34" fmla="*/ 3921210 w 4477"/>
                  <a:gd name="T35" fmla="*/ 695326 h 3818"/>
                  <a:gd name="T36" fmla="*/ 1186022 w 4477"/>
                  <a:gd name="T37" fmla="*/ 0 h 3818"/>
                  <a:gd name="T38" fmla="*/ 1155932 w 4477"/>
                  <a:gd name="T39" fmla="*/ 0 h 38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477" h="3818">
                    <a:moveTo>
                      <a:pt x="680" y="448"/>
                    </a:moveTo>
                    <a:lnTo>
                      <a:pt x="616" y="552"/>
                    </a:lnTo>
                    <a:lnTo>
                      <a:pt x="528" y="592"/>
                    </a:lnTo>
                    <a:lnTo>
                      <a:pt x="197" y="797"/>
                    </a:lnTo>
                    <a:lnTo>
                      <a:pt x="41" y="928"/>
                    </a:lnTo>
                    <a:lnTo>
                      <a:pt x="0" y="1032"/>
                    </a:lnTo>
                    <a:lnTo>
                      <a:pt x="120" y="1024"/>
                    </a:lnTo>
                    <a:lnTo>
                      <a:pt x="176" y="1056"/>
                    </a:lnTo>
                    <a:lnTo>
                      <a:pt x="152" y="1112"/>
                    </a:lnTo>
                    <a:lnTo>
                      <a:pt x="120" y="1184"/>
                    </a:lnTo>
                    <a:lnTo>
                      <a:pt x="240" y="1128"/>
                    </a:lnTo>
                    <a:lnTo>
                      <a:pt x="224" y="1008"/>
                    </a:lnTo>
                    <a:lnTo>
                      <a:pt x="272" y="920"/>
                    </a:lnTo>
                    <a:lnTo>
                      <a:pt x="232" y="800"/>
                    </a:lnTo>
                    <a:lnTo>
                      <a:pt x="336" y="824"/>
                    </a:lnTo>
                    <a:lnTo>
                      <a:pt x="392" y="864"/>
                    </a:lnTo>
                    <a:lnTo>
                      <a:pt x="400" y="984"/>
                    </a:lnTo>
                    <a:lnTo>
                      <a:pt x="488" y="936"/>
                    </a:lnTo>
                    <a:lnTo>
                      <a:pt x="560" y="936"/>
                    </a:lnTo>
                    <a:lnTo>
                      <a:pt x="632" y="968"/>
                    </a:lnTo>
                    <a:lnTo>
                      <a:pt x="696" y="960"/>
                    </a:lnTo>
                    <a:lnTo>
                      <a:pt x="776" y="984"/>
                    </a:lnTo>
                    <a:lnTo>
                      <a:pt x="832" y="984"/>
                    </a:lnTo>
                    <a:lnTo>
                      <a:pt x="816" y="912"/>
                    </a:lnTo>
                    <a:lnTo>
                      <a:pt x="656" y="904"/>
                    </a:lnTo>
                    <a:lnTo>
                      <a:pt x="552" y="888"/>
                    </a:lnTo>
                    <a:lnTo>
                      <a:pt x="512" y="800"/>
                    </a:lnTo>
                    <a:lnTo>
                      <a:pt x="480" y="760"/>
                    </a:lnTo>
                    <a:lnTo>
                      <a:pt x="456" y="704"/>
                    </a:lnTo>
                    <a:lnTo>
                      <a:pt x="520" y="640"/>
                    </a:lnTo>
                    <a:lnTo>
                      <a:pt x="648" y="600"/>
                    </a:lnTo>
                    <a:lnTo>
                      <a:pt x="768" y="648"/>
                    </a:lnTo>
                    <a:lnTo>
                      <a:pt x="832" y="680"/>
                    </a:lnTo>
                    <a:lnTo>
                      <a:pt x="816" y="616"/>
                    </a:lnTo>
                    <a:lnTo>
                      <a:pt x="760" y="552"/>
                    </a:lnTo>
                    <a:lnTo>
                      <a:pt x="864" y="552"/>
                    </a:lnTo>
                    <a:lnTo>
                      <a:pt x="920" y="608"/>
                    </a:lnTo>
                    <a:lnTo>
                      <a:pt x="912" y="680"/>
                    </a:lnTo>
                    <a:lnTo>
                      <a:pt x="952" y="720"/>
                    </a:lnTo>
                    <a:lnTo>
                      <a:pt x="1024" y="752"/>
                    </a:lnTo>
                    <a:lnTo>
                      <a:pt x="1080" y="720"/>
                    </a:lnTo>
                    <a:lnTo>
                      <a:pt x="1096" y="640"/>
                    </a:lnTo>
                    <a:lnTo>
                      <a:pt x="1184" y="584"/>
                    </a:lnTo>
                    <a:lnTo>
                      <a:pt x="1256" y="560"/>
                    </a:lnTo>
                    <a:lnTo>
                      <a:pt x="1360" y="616"/>
                    </a:lnTo>
                    <a:lnTo>
                      <a:pt x="1288" y="704"/>
                    </a:lnTo>
                    <a:lnTo>
                      <a:pt x="1200" y="784"/>
                    </a:lnTo>
                    <a:lnTo>
                      <a:pt x="1120" y="888"/>
                    </a:lnTo>
                    <a:lnTo>
                      <a:pt x="1048" y="1016"/>
                    </a:lnTo>
                    <a:lnTo>
                      <a:pt x="960" y="1000"/>
                    </a:lnTo>
                    <a:lnTo>
                      <a:pt x="920" y="1056"/>
                    </a:lnTo>
                    <a:lnTo>
                      <a:pt x="984" y="1128"/>
                    </a:lnTo>
                    <a:lnTo>
                      <a:pt x="992" y="1192"/>
                    </a:lnTo>
                    <a:lnTo>
                      <a:pt x="928" y="1264"/>
                    </a:lnTo>
                    <a:lnTo>
                      <a:pt x="896" y="1368"/>
                    </a:lnTo>
                    <a:lnTo>
                      <a:pt x="1008" y="1312"/>
                    </a:lnTo>
                    <a:lnTo>
                      <a:pt x="1080" y="1384"/>
                    </a:lnTo>
                    <a:lnTo>
                      <a:pt x="1040" y="1472"/>
                    </a:lnTo>
                    <a:lnTo>
                      <a:pt x="1144" y="1568"/>
                    </a:lnTo>
                    <a:lnTo>
                      <a:pt x="1176" y="1648"/>
                    </a:lnTo>
                    <a:lnTo>
                      <a:pt x="1208" y="1696"/>
                    </a:lnTo>
                    <a:lnTo>
                      <a:pt x="1296" y="1728"/>
                    </a:lnTo>
                    <a:lnTo>
                      <a:pt x="1280" y="1792"/>
                    </a:lnTo>
                    <a:lnTo>
                      <a:pt x="1384" y="1816"/>
                    </a:lnTo>
                    <a:lnTo>
                      <a:pt x="1312" y="1912"/>
                    </a:lnTo>
                    <a:lnTo>
                      <a:pt x="1128" y="2024"/>
                    </a:lnTo>
                    <a:lnTo>
                      <a:pt x="984" y="2072"/>
                    </a:lnTo>
                    <a:lnTo>
                      <a:pt x="946" y="2186"/>
                    </a:lnTo>
                    <a:lnTo>
                      <a:pt x="970" y="2368"/>
                    </a:lnTo>
                    <a:lnTo>
                      <a:pt x="1402" y="2894"/>
                    </a:lnTo>
                    <a:lnTo>
                      <a:pt x="1741" y="2822"/>
                    </a:lnTo>
                    <a:lnTo>
                      <a:pt x="1997" y="2769"/>
                    </a:lnTo>
                    <a:lnTo>
                      <a:pt x="2155" y="2864"/>
                    </a:lnTo>
                    <a:lnTo>
                      <a:pt x="2372" y="2853"/>
                    </a:lnTo>
                    <a:lnTo>
                      <a:pt x="2625" y="2918"/>
                    </a:lnTo>
                    <a:lnTo>
                      <a:pt x="2866" y="2749"/>
                    </a:lnTo>
                    <a:lnTo>
                      <a:pt x="3039" y="2982"/>
                    </a:lnTo>
                    <a:lnTo>
                      <a:pt x="3215" y="3060"/>
                    </a:lnTo>
                    <a:lnTo>
                      <a:pt x="3311" y="3399"/>
                    </a:lnTo>
                    <a:lnTo>
                      <a:pt x="3509" y="3331"/>
                    </a:lnTo>
                    <a:lnTo>
                      <a:pt x="3453" y="3818"/>
                    </a:lnTo>
                    <a:lnTo>
                      <a:pt x="3621" y="3669"/>
                    </a:lnTo>
                    <a:lnTo>
                      <a:pt x="3801" y="3534"/>
                    </a:lnTo>
                    <a:lnTo>
                      <a:pt x="4015" y="3385"/>
                    </a:lnTo>
                    <a:lnTo>
                      <a:pt x="4184" y="3329"/>
                    </a:lnTo>
                    <a:lnTo>
                      <a:pt x="4379" y="3184"/>
                    </a:lnTo>
                    <a:lnTo>
                      <a:pt x="4280" y="3041"/>
                    </a:lnTo>
                    <a:lnTo>
                      <a:pt x="4454" y="2849"/>
                    </a:lnTo>
                    <a:lnTo>
                      <a:pt x="4415" y="2734"/>
                    </a:lnTo>
                    <a:lnTo>
                      <a:pt x="4477" y="2566"/>
                    </a:lnTo>
                    <a:lnTo>
                      <a:pt x="4244" y="2348"/>
                    </a:lnTo>
                    <a:lnTo>
                      <a:pt x="4230" y="1913"/>
                    </a:lnTo>
                    <a:lnTo>
                      <a:pt x="4091" y="1662"/>
                    </a:lnTo>
                    <a:lnTo>
                      <a:pt x="4122" y="1533"/>
                    </a:lnTo>
                    <a:lnTo>
                      <a:pt x="4150" y="1254"/>
                    </a:lnTo>
                    <a:lnTo>
                      <a:pt x="4012" y="1090"/>
                    </a:lnTo>
                    <a:lnTo>
                      <a:pt x="3861" y="1082"/>
                    </a:lnTo>
                    <a:lnTo>
                      <a:pt x="3747" y="1152"/>
                    </a:lnTo>
                    <a:lnTo>
                      <a:pt x="3294" y="1127"/>
                    </a:lnTo>
                    <a:lnTo>
                      <a:pt x="3090" y="966"/>
                    </a:lnTo>
                    <a:lnTo>
                      <a:pt x="2717" y="761"/>
                    </a:lnTo>
                    <a:lnTo>
                      <a:pt x="2284" y="575"/>
                    </a:lnTo>
                    <a:lnTo>
                      <a:pt x="1960" y="382"/>
                    </a:lnTo>
                    <a:lnTo>
                      <a:pt x="1809" y="249"/>
                    </a:lnTo>
                    <a:lnTo>
                      <a:pt x="1640" y="192"/>
                    </a:lnTo>
                    <a:lnTo>
                      <a:pt x="1568" y="88"/>
                    </a:lnTo>
                    <a:lnTo>
                      <a:pt x="1440" y="0"/>
                    </a:lnTo>
                    <a:lnTo>
                      <a:pt x="1224" y="0"/>
                    </a:lnTo>
                    <a:lnTo>
                      <a:pt x="1040" y="296"/>
                    </a:lnTo>
                    <a:lnTo>
                      <a:pt x="960" y="384"/>
                    </a:lnTo>
                    <a:lnTo>
                      <a:pt x="824" y="400"/>
                    </a:lnTo>
                    <a:lnTo>
                      <a:pt x="736" y="368"/>
                    </a:lnTo>
                    <a:lnTo>
                      <a:pt x="680" y="448"/>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28" name="任意多边形 117">
                <a:extLst>
                  <a:ext uri="{FF2B5EF4-FFF2-40B4-BE49-F238E27FC236}">
                    <a16:creationId xmlns:a16="http://schemas.microsoft.com/office/drawing/2014/main" id="{9E8081A8-8038-ADD7-096D-C36D0C2E76FB}"/>
                  </a:ext>
                </a:extLst>
              </p:cNvPr>
              <p:cNvSpPr>
                <a:spLocks/>
              </p:cNvSpPr>
              <p:nvPr/>
            </p:nvSpPr>
            <p:spPr bwMode="auto">
              <a:xfrm>
                <a:off x="2591455" y="4479925"/>
                <a:ext cx="59681" cy="27940"/>
              </a:xfrm>
              <a:custGeom>
                <a:avLst/>
                <a:gdLst>
                  <a:gd name="T0" fmla="*/ 195587 w 188"/>
                  <a:gd name="T1" fmla="*/ 0 h 88"/>
                  <a:gd name="T2" fmla="*/ 0 w 188"/>
                  <a:gd name="T3" fmla="*/ 2919412 h 88"/>
                  <a:gd name="T4" fmla="*/ 3309938 w 188"/>
                  <a:gd name="T5" fmla="*/ 827669 h 88"/>
                  <a:gd name="T6" fmla="*/ 225678 w 188"/>
                  <a:gd name="T7" fmla="*/ 0 h 88"/>
                  <a:gd name="T8" fmla="*/ 195587 w 188"/>
                  <a:gd name="T9" fmla="*/ 0 h 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8" h="88">
                    <a:moveTo>
                      <a:pt x="32" y="32"/>
                    </a:moveTo>
                    <a:lnTo>
                      <a:pt x="0" y="60"/>
                    </a:lnTo>
                    <a:lnTo>
                      <a:pt x="64" y="88"/>
                    </a:lnTo>
                    <a:lnTo>
                      <a:pt x="108" y="60"/>
                    </a:lnTo>
                    <a:lnTo>
                      <a:pt x="188" y="12"/>
                    </a:lnTo>
                    <a:lnTo>
                      <a:pt x="152" y="12"/>
                    </a:lnTo>
                    <a:lnTo>
                      <a:pt x="76" y="0"/>
                    </a:lnTo>
                    <a:lnTo>
                      <a:pt x="48" y="0"/>
                    </a:lnTo>
                    <a:lnTo>
                      <a:pt x="32" y="32"/>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29" name="任意多边形 10">
                <a:extLst>
                  <a:ext uri="{FF2B5EF4-FFF2-40B4-BE49-F238E27FC236}">
                    <a16:creationId xmlns:a16="http://schemas.microsoft.com/office/drawing/2014/main" id="{BBABE8A5-CDF6-B1E0-B1E6-57565E86B9E1}"/>
                  </a:ext>
                </a:extLst>
              </p:cNvPr>
              <p:cNvSpPr>
                <a:spLocks/>
              </p:cNvSpPr>
              <p:nvPr/>
            </p:nvSpPr>
            <p:spPr bwMode="auto">
              <a:xfrm>
                <a:off x="2454317" y="4485005"/>
                <a:ext cx="71109" cy="97790"/>
              </a:xfrm>
              <a:custGeom>
                <a:avLst/>
                <a:gdLst>
                  <a:gd name="T0" fmla="*/ 195587 w 224"/>
                  <a:gd name="T1" fmla="*/ 0 h 308"/>
                  <a:gd name="T2" fmla="*/ 0 w 224"/>
                  <a:gd name="T3" fmla="*/ 2919412 h 308"/>
                  <a:gd name="T4" fmla="*/ 3309938 w 224"/>
                  <a:gd name="T5" fmla="*/ 827669 h 308"/>
                  <a:gd name="T6" fmla="*/ 225678 w 224"/>
                  <a:gd name="T7" fmla="*/ 0 h 308"/>
                  <a:gd name="T8" fmla="*/ 195587 w 224"/>
                  <a:gd name="T9" fmla="*/ 0 h 30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4" h="308">
                    <a:moveTo>
                      <a:pt x="28" y="72"/>
                    </a:moveTo>
                    <a:lnTo>
                      <a:pt x="0" y="108"/>
                    </a:lnTo>
                    <a:lnTo>
                      <a:pt x="140" y="226"/>
                    </a:lnTo>
                    <a:lnTo>
                      <a:pt x="180" y="216"/>
                    </a:lnTo>
                    <a:lnTo>
                      <a:pt x="224" y="200"/>
                    </a:lnTo>
                    <a:lnTo>
                      <a:pt x="224" y="308"/>
                    </a:lnTo>
                    <a:lnTo>
                      <a:pt x="140" y="224"/>
                    </a:lnTo>
                    <a:lnTo>
                      <a:pt x="140" y="132"/>
                    </a:lnTo>
                    <a:lnTo>
                      <a:pt x="164" y="80"/>
                    </a:lnTo>
                    <a:lnTo>
                      <a:pt x="200" y="36"/>
                    </a:lnTo>
                    <a:lnTo>
                      <a:pt x="180" y="4"/>
                    </a:lnTo>
                    <a:lnTo>
                      <a:pt x="132" y="0"/>
                    </a:lnTo>
                    <a:lnTo>
                      <a:pt x="108" y="36"/>
                    </a:lnTo>
                    <a:lnTo>
                      <a:pt x="80" y="52"/>
                    </a:lnTo>
                    <a:lnTo>
                      <a:pt x="28" y="72"/>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grpSp>
        <p:sp>
          <p:nvSpPr>
            <p:cNvPr id="11" name="任意多边形 110">
              <a:extLst>
                <a:ext uri="{FF2B5EF4-FFF2-40B4-BE49-F238E27FC236}">
                  <a16:creationId xmlns:a16="http://schemas.microsoft.com/office/drawing/2014/main" id="{392D68A7-0326-E699-DD94-E3493B221CBD}"/>
                </a:ext>
              </a:extLst>
            </p:cNvPr>
            <p:cNvSpPr>
              <a:spLocks/>
            </p:cNvSpPr>
            <p:nvPr/>
          </p:nvSpPr>
          <p:spPr bwMode="auto">
            <a:xfrm>
              <a:off x="4878284" y="2556792"/>
              <a:ext cx="2702929" cy="1810252"/>
            </a:xfrm>
            <a:custGeom>
              <a:avLst/>
              <a:gdLst>
                <a:gd name="connsiteX0" fmla="*/ 26157237 w 27560432"/>
                <a:gd name="connsiteY0" fmla="*/ 4322377 h 15152939"/>
                <a:gd name="connsiteX1" fmla="*/ 25950755 w 27560432"/>
                <a:gd name="connsiteY1" fmla="*/ 4946265 h 15152939"/>
                <a:gd name="connsiteX2" fmla="*/ 26059273 w 27560432"/>
                <a:gd name="connsiteY2" fmla="*/ 5561190 h 15152939"/>
                <a:gd name="connsiteX3" fmla="*/ 26439085 w 27560432"/>
                <a:gd name="connsiteY3" fmla="*/ 6103777 h 15152939"/>
                <a:gd name="connsiteX4" fmla="*/ 26366739 w 27560432"/>
                <a:gd name="connsiteY4" fmla="*/ 6555934 h 15152939"/>
                <a:gd name="connsiteX5" fmla="*/ 25824148 w 27560432"/>
                <a:gd name="connsiteY5" fmla="*/ 6827228 h 15152939"/>
                <a:gd name="connsiteX6" fmla="*/ 26023104 w 27560432"/>
                <a:gd name="connsiteY6" fmla="*/ 7478344 h 15152939"/>
                <a:gd name="connsiteX7" fmla="*/ 26619948 w 27560432"/>
                <a:gd name="connsiteY7" fmla="*/ 7840060 h 15152939"/>
                <a:gd name="connsiteX8" fmla="*/ 26276305 w 27560432"/>
                <a:gd name="connsiteY8" fmla="*/ 8672029 h 15152939"/>
                <a:gd name="connsiteX9" fmla="*/ 26312478 w 27560432"/>
                <a:gd name="connsiteY9" fmla="*/ 9666777 h 15152939"/>
                <a:gd name="connsiteX10" fmla="*/ 25878405 w 27560432"/>
                <a:gd name="connsiteY10" fmla="*/ 10227453 h 15152939"/>
                <a:gd name="connsiteX11" fmla="*/ 26402912 w 27560432"/>
                <a:gd name="connsiteY11" fmla="*/ 10643437 h 15152939"/>
                <a:gd name="connsiteX12" fmla="*/ 27319497 w 27560432"/>
                <a:gd name="connsiteY12" fmla="*/ 10082959 h 15152939"/>
                <a:gd name="connsiteX13" fmla="*/ 27560432 w 27560432"/>
                <a:gd name="connsiteY13" fmla="*/ 10281714 h 15152939"/>
                <a:gd name="connsiteX14" fmla="*/ 27542355 w 27560432"/>
                <a:gd name="connsiteY14" fmla="*/ 12005935 h 15152939"/>
                <a:gd name="connsiteX15" fmla="*/ 26089423 w 27560432"/>
                <a:gd name="connsiteY15" fmla="*/ 11975789 h 15152939"/>
                <a:gd name="connsiteX16" fmla="*/ 24473715 w 27560432"/>
                <a:gd name="connsiteY16" fmla="*/ 12090334 h 15152939"/>
                <a:gd name="connsiteX17" fmla="*/ 23135328 w 27560432"/>
                <a:gd name="connsiteY17" fmla="*/ 12222964 h 15152939"/>
                <a:gd name="connsiteX18" fmla="*/ 22261159 w 27560432"/>
                <a:gd name="connsiteY18" fmla="*/ 12934357 h 15152939"/>
                <a:gd name="connsiteX19" fmla="*/ 20826342 w 27560432"/>
                <a:gd name="connsiteY19" fmla="*/ 14369204 h 15152939"/>
                <a:gd name="connsiteX20" fmla="*/ 12952786 w 27560432"/>
                <a:gd name="connsiteY20" fmla="*/ 14960014 h 15152939"/>
                <a:gd name="connsiteX21" fmla="*/ 11934663 w 27560432"/>
                <a:gd name="connsiteY21" fmla="*/ 15008264 h 15152939"/>
                <a:gd name="connsiteX22" fmla="*/ 8506848 w 27560432"/>
                <a:gd name="connsiteY22" fmla="*/ 15152939 h 15152939"/>
                <a:gd name="connsiteX23" fmla="*/ 7985095 w 27560432"/>
                <a:gd name="connsiteY23" fmla="*/ 14507857 h 15152939"/>
                <a:gd name="connsiteX24" fmla="*/ 7400308 w 27560432"/>
                <a:gd name="connsiteY24" fmla="*/ 14477712 h 15152939"/>
                <a:gd name="connsiteX25" fmla="*/ 6972273 w 27560432"/>
                <a:gd name="connsiteY25" fmla="*/ 14749009 h 15152939"/>
                <a:gd name="connsiteX26" fmla="*/ 5181729 w 27560432"/>
                <a:gd name="connsiteY26" fmla="*/ 14664610 h 15152939"/>
                <a:gd name="connsiteX27" fmla="*/ 4397998 w 27560432"/>
                <a:gd name="connsiteY27" fmla="*/ 14031593 h 15152939"/>
                <a:gd name="connsiteX28" fmla="*/ 2908896 w 27560432"/>
                <a:gd name="connsiteY28" fmla="*/ 13223739 h 15152939"/>
                <a:gd name="connsiteX29" fmla="*/ 1263043 w 27560432"/>
                <a:gd name="connsiteY29" fmla="*/ 12512346 h 15152939"/>
                <a:gd name="connsiteX30" fmla="*/ 485320 w 27560432"/>
                <a:gd name="connsiteY30" fmla="*/ 12060189 h 15152939"/>
                <a:gd name="connsiteX31" fmla="*/ 0 w 27560432"/>
                <a:gd name="connsiteY31" fmla="*/ 11767077 h 15152939"/>
                <a:gd name="connsiteX32" fmla="*/ 1003686 w 27560432"/>
                <a:gd name="connsiteY32" fmla="*/ 11021112 h 15152939"/>
                <a:gd name="connsiteX33" fmla="*/ 2902551 w 27560432"/>
                <a:gd name="connsiteY33" fmla="*/ 9836713 h 15152939"/>
                <a:gd name="connsiteX34" fmla="*/ 2558940 w 27560432"/>
                <a:gd name="connsiteY34" fmla="*/ 9303282 h 15152939"/>
                <a:gd name="connsiteX35" fmla="*/ 2402508 w 27560432"/>
                <a:gd name="connsiteY35" fmla="*/ 8616199 h 15152939"/>
                <a:gd name="connsiteX36" fmla="*/ 2730740 w 27560432"/>
                <a:gd name="connsiteY36" fmla="*/ 8589028 h 15152939"/>
                <a:gd name="connsiteX37" fmla="*/ 2947754 w 27560432"/>
                <a:gd name="connsiteY37" fmla="*/ 8118883 h 15152939"/>
                <a:gd name="connsiteX38" fmla="*/ 3499325 w 27560432"/>
                <a:gd name="connsiteY38" fmla="*/ 7675866 h 15152939"/>
                <a:gd name="connsiteX39" fmla="*/ 3680166 w 27560432"/>
                <a:gd name="connsiteY39" fmla="*/ 6798868 h 15152939"/>
                <a:gd name="connsiteX40" fmla="*/ 4186528 w 27560432"/>
                <a:gd name="connsiteY40" fmla="*/ 6807904 h 15152939"/>
                <a:gd name="connsiteX41" fmla="*/ 4837569 w 27560432"/>
                <a:gd name="connsiteY41" fmla="*/ 7278054 h 15152939"/>
                <a:gd name="connsiteX42" fmla="*/ 5352976 w 27560432"/>
                <a:gd name="connsiteY42" fmla="*/ 7196687 h 15152939"/>
                <a:gd name="connsiteX43" fmla="*/ 5741786 w 27560432"/>
                <a:gd name="connsiteY43" fmla="*/ 6825992 h 15152939"/>
                <a:gd name="connsiteX44" fmla="*/ 6157723 w 27560432"/>
                <a:gd name="connsiteY44" fmla="*/ 6663251 h 15152939"/>
                <a:gd name="connsiteX45" fmla="*/ 6745471 w 27560432"/>
                <a:gd name="connsiteY45" fmla="*/ 6093658 h 15152939"/>
                <a:gd name="connsiteX46" fmla="*/ 6890140 w 27560432"/>
                <a:gd name="connsiteY46" fmla="*/ 5243782 h 15152939"/>
                <a:gd name="connsiteX47" fmla="*/ 7568305 w 27560432"/>
                <a:gd name="connsiteY47" fmla="*/ 4674188 h 15152939"/>
                <a:gd name="connsiteX48" fmla="*/ 8137967 w 27560432"/>
                <a:gd name="connsiteY48" fmla="*/ 4231167 h 15152939"/>
                <a:gd name="connsiteX49" fmla="*/ 8463480 w 27560432"/>
                <a:gd name="connsiteY49" fmla="*/ 3426500 h 15152939"/>
                <a:gd name="connsiteX50" fmla="*/ 9024093 w 27560432"/>
                <a:gd name="connsiteY50" fmla="*/ 3073893 h 15152939"/>
                <a:gd name="connsiteX51" fmla="*/ 9675138 w 27560432"/>
                <a:gd name="connsiteY51" fmla="*/ 2721291 h 15152939"/>
                <a:gd name="connsiteX52" fmla="*/ 9558580 w 27560432"/>
                <a:gd name="connsiteY52" fmla="*/ 2173007 h 15152939"/>
                <a:gd name="connsiteX53" fmla="*/ 10353296 w 27560432"/>
                <a:gd name="connsiteY53" fmla="*/ 1500723 h 15152939"/>
                <a:gd name="connsiteX54" fmla="*/ 10832530 w 27560432"/>
                <a:gd name="connsiteY54" fmla="*/ 1428389 h 15152939"/>
                <a:gd name="connsiteX55" fmla="*/ 11058585 w 27560432"/>
                <a:gd name="connsiteY55" fmla="*/ 1880458 h 15152939"/>
                <a:gd name="connsiteX56" fmla="*/ 11411229 w 27560432"/>
                <a:gd name="connsiteY56" fmla="*/ 2260189 h 15152939"/>
                <a:gd name="connsiteX57" fmla="*/ 11998974 w 27560432"/>
                <a:gd name="connsiteY57" fmla="*/ 2341559 h 15152939"/>
                <a:gd name="connsiteX58" fmla="*/ 12315449 w 27560432"/>
                <a:gd name="connsiteY58" fmla="*/ 3001571 h 15152939"/>
                <a:gd name="connsiteX59" fmla="*/ 12785642 w 27560432"/>
                <a:gd name="connsiteY59" fmla="*/ 2820742 h 15152939"/>
                <a:gd name="connsiteX60" fmla="*/ 13671776 w 27560432"/>
                <a:gd name="connsiteY60" fmla="*/ 3272803 h 15152939"/>
                <a:gd name="connsiteX61" fmla="*/ 14123886 w 27560432"/>
                <a:gd name="connsiteY61" fmla="*/ 2974450 h 15152939"/>
                <a:gd name="connsiteX62" fmla="*/ 14259509 w 27560432"/>
                <a:gd name="connsiteY62" fmla="*/ 2404849 h 15152939"/>
                <a:gd name="connsiteX63" fmla="*/ 14892468 w 27560432"/>
                <a:gd name="connsiteY63" fmla="*/ 1762918 h 15152939"/>
                <a:gd name="connsiteX64" fmla="*/ 15778605 w 27560432"/>
                <a:gd name="connsiteY64" fmla="*/ 1211398 h 15152939"/>
                <a:gd name="connsiteX65" fmla="*/ 16022739 w 27560432"/>
                <a:gd name="connsiteY65" fmla="*/ 1681548 h 15152939"/>
                <a:gd name="connsiteX66" fmla="*/ 16013694 w 27560432"/>
                <a:gd name="connsiteY66" fmla="*/ 2169778 h 15152939"/>
                <a:gd name="connsiteX67" fmla="*/ 16556232 w 27560432"/>
                <a:gd name="connsiteY67" fmla="*/ 2260200 h 15152939"/>
                <a:gd name="connsiteX68" fmla="*/ 16863663 w 27560432"/>
                <a:gd name="connsiteY68" fmla="*/ 1744834 h 15152939"/>
                <a:gd name="connsiteX69" fmla="*/ 17406193 w 27560432"/>
                <a:gd name="connsiteY69" fmla="*/ 1410312 h 15152939"/>
                <a:gd name="connsiteX70" fmla="*/ 17623203 w 27560432"/>
                <a:gd name="connsiteY70" fmla="*/ 867840 h 15152939"/>
                <a:gd name="connsiteX71" fmla="*/ 18120524 w 27560432"/>
                <a:gd name="connsiteY71" fmla="*/ 831675 h 15152939"/>
                <a:gd name="connsiteX72" fmla="*/ 18201903 w 27560432"/>
                <a:gd name="connsiteY72" fmla="*/ 542358 h 15152939"/>
                <a:gd name="connsiteX73" fmla="*/ 18744437 w 27560432"/>
                <a:gd name="connsiteY73" fmla="*/ 117414 h 15152939"/>
                <a:gd name="connsiteX74" fmla="*/ 19443290 w 27560432"/>
                <a:gd name="connsiteY74" fmla="*/ 0 h 15152939"/>
                <a:gd name="connsiteX75" fmla="*/ 19982300 w 27560432"/>
                <a:gd name="connsiteY75" fmla="*/ 460880 h 15152939"/>
                <a:gd name="connsiteX76" fmla="*/ 19530143 w 27560432"/>
                <a:gd name="connsiteY76" fmla="*/ 913038 h 15152939"/>
                <a:gd name="connsiteX77" fmla="*/ 19837609 w 27560432"/>
                <a:gd name="connsiteY77" fmla="*/ 1238588 h 15152939"/>
                <a:gd name="connsiteX78" fmla="*/ 20886614 w 27560432"/>
                <a:gd name="connsiteY78" fmla="*/ 1546055 h 15152939"/>
                <a:gd name="connsiteX79" fmla="*/ 21881359 w 27560432"/>
                <a:gd name="connsiteY79" fmla="*/ 1889694 h 15152939"/>
                <a:gd name="connsiteX80" fmla="*/ 21772837 w 27560432"/>
                <a:gd name="connsiteY80" fmla="*/ 2269505 h 15152939"/>
                <a:gd name="connsiteX81" fmla="*/ 21537712 w 27560432"/>
                <a:gd name="connsiteY81" fmla="*/ 2884438 h 15152939"/>
                <a:gd name="connsiteX82" fmla="*/ 21996067 w 27560432"/>
                <a:gd name="connsiteY82" fmla="*/ 2911656 h 15152939"/>
                <a:gd name="connsiteX83" fmla="*/ 22478203 w 27560432"/>
                <a:gd name="connsiteY83" fmla="*/ 2414189 h 15152939"/>
                <a:gd name="connsiteX84" fmla="*/ 23292084 w 27560432"/>
                <a:gd name="connsiteY84" fmla="*/ 2016293 h 15152939"/>
                <a:gd name="connsiteX85" fmla="*/ 23888932 w 27560432"/>
                <a:gd name="connsiteY85" fmla="*/ 1998212 h 15152939"/>
                <a:gd name="connsiteX86" fmla="*/ 24612383 w 27560432"/>
                <a:gd name="connsiteY86" fmla="*/ 1582227 h 15152939"/>
                <a:gd name="connsiteX87" fmla="*/ 25010275 w 27560432"/>
                <a:gd name="connsiteY87" fmla="*/ 695990 h 15152939"/>
                <a:gd name="connsiteX88" fmla="*/ 25769899 w 27560432"/>
                <a:gd name="connsiteY88" fmla="*/ 840685 h 15152939"/>
                <a:gd name="connsiteX89" fmla="*/ 26402920 w 27560432"/>
                <a:gd name="connsiteY89" fmla="*/ 876857 h 15152939"/>
                <a:gd name="connsiteX90" fmla="*/ 26240141 w 27560432"/>
                <a:gd name="connsiteY90" fmla="*/ 1491794 h 15152939"/>
                <a:gd name="connsiteX91" fmla="*/ 26554742 w 27560432"/>
                <a:gd name="connsiteY91" fmla="*/ 2052454 h 15152939"/>
                <a:gd name="connsiteX92" fmla="*/ 25679461 w 27560432"/>
                <a:gd name="connsiteY92" fmla="*/ 2775920 h 15152939"/>
                <a:gd name="connsiteX93" fmla="*/ 25751806 w 27560432"/>
                <a:gd name="connsiteY93" fmla="*/ 3806840 h 15152939"/>
                <a:gd name="connsiteX94" fmla="*/ 26157237 w 27560432"/>
                <a:gd name="connsiteY94"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023104 w 27542354"/>
                <a:gd name="connsiteY6" fmla="*/ 7478344 h 15152939"/>
                <a:gd name="connsiteX7" fmla="*/ 26619948 w 27542354"/>
                <a:gd name="connsiteY7" fmla="*/ 7840060 h 15152939"/>
                <a:gd name="connsiteX8" fmla="*/ 26276305 w 27542354"/>
                <a:gd name="connsiteY8" fmla="*/ 8672029 h 15152939"/>
                <a:gd name="connsiteX9" fmla="*/ 26312478 w 27542354"/>
                <a:gd name="connsiteY9" fmla="*/ 9666777 h 15152939"/>
                <a:gd name="connsiteX10" fmla="*/ 25878405 w 27542354"/>
                <a:gd name="connsiteY10" fmla="*/ 10227453 h 15152939"/>
                <a:gd name="connsiteX11" fmla="*/ 26402912 w 27542354"/>
                <a:gd name="connsiteY11" fmla="*/ 10643437 h 15152939"/>
                <a:gd name="connsiteX12" fmla="*/ 27319497 w 27542354"/>
                <a:gd name="connsiteY12" fmla="*/ 10082959 h 15152939"/>
                <a:gd name="connsiteX13" fmla="*/ 27542355 w 27542354"/>
                <a:gd name="connsiteY13" fmla="*/ 12005935 h 15152939"/>
                <a:gd name="connsiteX14" fmla="*/ 26089423 w 27542354"/>
                <a:gd name="connsiteY14" fmla="*/ 11975789 h 15152939"/>
                <a:gd name="connsiteX15" fmla="*/ 24473715 w 27542354"/>
                <a:gd name="connsiteY15" fmla="*/ 12090334 h 15152939"/>
                <a:gd name="connsiteX16" fmla="*/ 23135328 w 27542354"/>
                <a:gd name="connsiteY16" fmla="*/ 12222964 h 15152939"/>
                <a:gd name="connsiteX17" fmla="*/ 22261159 w 27542354"/>
                <a:gd name="connsiteY17" fmla="*/ 12934357 h 15152939"/>
                <a:gd name="connsiteX18" fmla="*/ 20826342 w 27542354"/>
                <a:gd name="connsiteY18" fmla="*/ 14369204 h 15152939"/>
                <a:gd name="connsiteX19" fmla="*/ 12952786 w 27542354"/>
                <a:gd name="connsiteY19" fmla="*/ 14960014 h 15152939"/>
                <a:gd name="connsiteX20" fmla="*/ 11934663 w 27542354"/>
                <a:gd name="connsiteY20" fmla="*/ 15008264 h 15152939"/>
                <a:gd name="connsiteX21" fmla="*/ 8506848 w 27542354"/>
                <a:gd name="connsiteY21" fmla="*/ 15152939 h 15152939"/>
                <a:gd name="connsiteX22" fmla="*/ 7985095 w 27542354"/>
                <a:gd name="connsiteY22" fmla="*/ 14507857 h 15152939"/>
                <a:gd name="connsiteX23" fmla="*/ 7400308 w 27542354"/>
                <a:gd name="connsiteY23" fmla="*/ 14477712 h 15152939"/>
                <a:gd name="connsiteX24" fmla="*/ 6972273 w 27542354"/>
                <a:gd name="connsiteY24" fmla="*/ 14749009 h 15152939"/>
                <a:gd name="connsiteX25" fmla="*/ 5181729 w 27542354"/>
                <a:gd name="connsiteY25" fmla="*/ 14664610 h 15152939"/>
                <a:gd name="connsiteX26" fmla="*/ 4397998 w 27542354"/>
                <a:gd name="connsiteY26" fmla="*/ 14031593 h 15152939"/>
                <a:gd name="connsiteX27" fmla="*/ 2908896 w 27542354"/>
                <a:gd name="connsiteY27" fmla="*/ 13223739 h 15152939"/>
                <a:gd name="connsiteX28" fmla="*/ 1263043 w 27542354"/>
                <a:gd name="connsiteY28" fmla="*/ 12512346 h 15152939"/>
                <a:gd name="connsiteX29" fmla="*/ 485320 w 27542354"/>
                <a:gd name="connsiteY29" fmla="*/ 12060189 h 15152939"/>
                <a:gd name="connsiteX30" fmla="*/ 0 w 27542354"/>
                <a:gd name="connsiteY30" fmla="*/ 11767077 h 15152939"/>
                <a:gd name="connsiteX31" fmla="*/ 1003686 w 27542354"/>
                <a:gd name="connsiteY31" fmla="*/ 11021112 h 15152939"/>
                <a:gd name="connsiteX32" fmla="*/ 2902551 w 27542354"/>
                <a:gd name="connsiteY32" fmla="*/ 9836713 h 15152939"/>
                <a:gd name="connsiteX33" fmla="*/ 2558940 w 27542354"/>
                <a:gd name="connsiteY33" fmla="*/ 9303282 h 15152939"/>
                <a:gd name="connsiteX34" fmla="*/ 2402508 w 27542354"/>
                <a:gd name="connsiteY34" fmla="*/ 8616199 h 15152939"/>
                <a:gd name="connsiteX35" fmla="*/ 2730740 w 27542354"/>
                <a:gd name="connsiteY35" fmla="*/ 8589028 h 15152939"/>
                <a:gd name="connsiteX36" fmla="*/ 2947754 w 27542354"/>
                <a:gd name="connsiteY36" fmla="*/ 8118883 h 15152939"/>
                <a:gd name="connsiteX37" fmla="*/ 3499325 w 27542354"/>
                <a:gd name="connsiteY37" fmla="*/ 7675866 h 15152939"/>
                <a:gd name="connsiteX38" fmla="*/ 3680166 w 27542354"/>
                <a:gd name="connsiteY38" fmla="*/ 6798868 h 15152939"/>
                <a:gd name="connsiteX39" fmla="*/ 4186528 w 27542354"/>
                <a:gd name="connsiteY39" fmla="*/ 6807904 h 15152939"/>
                <a:gd name="connsiteX40" fmla="*/ 4837569 w 27542354"/>
                <a:gd name="connsiteY40" fmla="*/ 7278054 h 15152939"/>
                <a:gd name="connsiteX41" fmla="*/ 5352976 w 27542354"/>
                <a:gd name="connsiteY41" fmla="*/ 7196687 h 15152939"/>
                <a:gd name="connsiteX42" fmla="*/ 5741786 w 27542354"/>
                <a:gd name="connsiteY42" fmla="*/ 6825992 h 15152939"/>
                <a:gd name="connsiteX43" fmla="*/ 6157723 w 27542354"/>
                <a:gd name="connsiteY43" fmla="*/ 6663251 h 15152939"/>
                <a:gd name="connsiteX44" fmla="*/ 6745471 w 27542354"/>
                <a:gd name="connsiteY44" fmla="*/ 6093658 h 15152939"/>
                <a:gd name="connsiteX45" fmla="*/ 6890140 w 27542354"/>
                <a:gd name="connsiteY45" fmla="*/ 5243782 h 15152939"/>
                <a:gd name="connsiteX46" fmla="*/ 7568305 w 27542354"/>
                <a:gd name="connsiteY46" fmla="*/ 4674188 h 15152939"/>
                <a:gd name="connsiteX47" fmla="*/ 8137967 w 27542354"/>
                <a:gd name="connsiteY47" fmla="*/ 4231167 h 15152939"/>
                <a:gd name="connsiteX48" fmla="*/ 8463480 w 27542354"/>
                <a:gd name="connsiteY48" fmla="*/ 3426500 h 15152939"/>
                <a:gd name="connsiteX49" fmla="*/ 9024093 w 27542354"/>
                <a:gd name="connsiteY49" fmla="*/ 3073893 h 15152939"/>
                <a:gd name="connsiteX50" fmla="*/ 9675138 w 27542354"/>
                <a:gd name="connsiteY50" fmla="*/ 2721291 h 15152939"/>
                <a:gd name="connsiteX51" fmla="*/ 9558580 w 27542354"/>
                <a:gd name="connsiteY51" fmla="*/ 2173007 h 15152939"/>
                <a:gd name="connsiteX52" fmla="*/ 10353296 w 27542354"/>
                <a:gd name="connsiteY52" fmla="*/ 1500723 h 15152939"/>
                <a:gd name="connsiteX53" fmla="*/ 10832530 w 27542354"/>
                <a:gd name="connsiteY53" fmla="*/ 1428389 h 15152939"/>
                <a:gd name="connsiteX54" fmla="*/ 11058585 w 27542354"/>
                <a:gd name="connsiteY54" fmla="*/ 1880458 h 15152939"/>
                <a:gd name="connsiteX55" fmla="*/ 11411229 w 27542354"/>
                <a:gd name="connsiteY55" fmla="*/ 2260189 h 15152939"/>
                <a:gd name="connsiteX56" fmla="*/ 11998974 w 27542354"/>
                <a:gd name="connsiteY56" fmla="*/ 2341559 h 15152939"/>
                <a:gd name="connsiteX57" fmla="*/ 12315449 w 27542354"/>
                <a:gd name="connsiteY57" fmla="*/ 3001571 h 15152939"/>
                <a:gd name="connsiteX58" fmla="*/ 12785642 w 27542354"/>
                <a:gd name="connsiteY58" fmla="*/ 2820742 h 15152939"/>
                <a:gd name="connsiteX59" fmla="*/ 13671776 w 27542354"/>
                <a:gd name="connsiteY59" fmla="*/ 3272803 h 15152939"/>
                <a:gd name="connsiteX60" fmla="*/ 14123886 w 27542354"/>
                <a:gd name="connsiteY60" fmla="*/ 2974450 h 15152939"/>
                <a:gd name="connsiteX61" fmla="*/ 14259509 w 27542354"/>
                <a:gd name="connsiteY61" fmla="*/ 2404849 h 15152939"/>
                <a:gd name="connsiteX62" fmla="*/ 14892468 w 27542354"/>
                <a:gd name="connsiteY62" fmla="*/ 1762918 h 15152939"/>
                <a:gd name="connsiteX63" fmla="*/ 15778605 w 27542354"/>
                <a:gd name="connsiteY63" fmla="*/ 1211398 h 15152939"/>
                <a:gd name="connsiteX64" fmla="*/ 16022739 w 27542354"/>
                <a:gd name="connsiteY64" fmla="*/ 1681548 h 15152939"/>
                <a:gd name="connsiteX65" fmla="*/ 16013694 w 27542354"/>
                <a:gd name="connsiteY65" fmla="*/ 2169778 h 15152939"/>
                <a:gd name="connsiteX66" fmla="*/ 16556232 w 27542354"/>
                <a:gd name="connsiteY66" fmla="*/ 2260200 h 15152939"/>
                <a:gd name="connsiteX67" fmla="*/ 16863663 w 27542354"/>
                <a:gd name="connsiteY67" fmla="*/ 1744834 h 15152939"/>
                <a:gd name="connsiteX68" fmla="*/ 17406193 w 27542354"/>
                <a:gd name="connsiteY68" fmla="*/ 1410312 h 15152939"/>
                <a:gd name="connsiteX69" fmla="*/ 17623203 w 27542354"/>
                <a:gd name="connsiteY69" fmla="*/ 867840 h 15152939"/>
                <a:gd name="connsiteX70" fmla="*/ 18120524 w 27542354"/>
                <a:gd name="connsiteY70" fmla="*/ 831675 h 15152939"/>
                <a:gd name="connsiteX71" fmla="*/ 18201903 w 27542354"/>
                <a:gd name="connsiteY71" fmla="*/ 542358 h 15152939"/>
                <a:gd name="connsiteX72" fmla="*/ 18744437 w 27542354"/>
                <a:gd name="connsiteY72" fmla="*/ 117414 h 15152939"/>
                <a:gd name="connsiteX73" fmla="*/ 19443290 w 27542354"/>
                <a:gd name="connsiteY73" fmla="*/ 0 h 15152939"/>
                <a:gd name="connsiteX74" fmla="*/ 19982300 w 27542354"/>
                <a:gd name="connsiteY74" fmla="*/ 460880 h 15152939"/>
                <a:gd name="connsiteX75" fmla="*/ 19530143 w 27542354"/>
                <a:gd name="connsiteY75" fmla="*/ 913038 h 15152939"/>
                <a:gd name="connsiteX76" fmla="*/ 19837609 w 27542354"/>
                <a:gd name="connsiteY76" fmla="*/ 1238588 h 15152939"/>
                <a:gd name="connsiteX77" fmla="*/ 20886614 w 27542354"/>
                <a:gd name="connsiteY77" fmla="*/ 1546055 h 15152939"/>
                <a:gd name="connsiteX78" fmla="*/ 21881359 w 27542354"/>
                <a:gd name="connsiteY78" fmla="*/ 1889694 h 15152939"/>
                <a:gd name="connsiteX79" fmla="*/ 21772837 w 27542354"/>
                <a:gd name="connsiteY79" fmla="*/ 2269505 h 15152939"/>
                <a:gd name="connsiteX80" fmla="*/ 21537712 w 27542354"/>
                <a:gd name="connsiteY80" fmla="*/ 2884438 h 15152939"/>
                <a:gd name="connsiteX81" fmla="*/ 21996067 w 27542354"/>
                <a:gd name="connsiteY81" fmla="*/ 2911656 h 15152939"/>
                <a:gd name="connsiteX82" fmla="*/ 22478203 w 27542354"/>
                <a:gd name="connsiteY82" fmla="*/ 2414189 h 15152939"/>
                <a:gd name="connsiteX83" fmla="*/ 23292084 w 27542354"/>
                <a:gd name="connsiteY83" fmla="*/ 2016293 h 15152939"/>
                <a:gd name="connsiteX84" fmla="*/ 23888932 w 27542354"/>
                <a:gd name="connsiteY84" fmla="*/ 1998212 h 15152939"/>
                <a:gd name="connsiteX85" fmla="*/ 24612383 w 27542354"/>
                <a:gd name="connsiteY85" fmla="*/ 1582227 h 15152939"/>
                <a:gd name="connsiteX86" fmla="*/ 25010275 w 27542354"/>
                <a:gd name="connsiteY86" fmla="*/ 695990 h 15152939"/>
                <a:gd name="connsiteX87" fmla="*/ 25769899 w 27542354"/>
                <a:gd name="connsiteY87" fmla="*/ 840685 h 15152939"/>
                <a:gd name="connsiteX88" fmla="*/ 26402920 w 27542354"/>
                <a:gd name="connsiteY88" fmla="*/ 876857 h 15152939"/>
                <a:gd name="connsiteX89" fmla="*/ 26240141 w 27542354"/>
                <a:gd name="connsiteY89" fmla="*/ 1491794 h 15152939"/>
                <a:gd name="connsiteX90" fmla="*/ 26554742 w 27542354"/>
                <a:gd name="connsiteY90" fmla="*/ 2052454 h 15152939"/>
                <a:gd name="connsiteX91" fmla="*/ 25679461 w 27542354"/>
                <a:gd name="connsiteY91" fmla="*/ 2775920 h 15152939"/>
                <a:gd name="connsiteX92" fmla="*/ 25751806 w 27542354"/>
                <a:gd name="connsiteY92" fmla="*/ 3806840 h 15152939"/>
                <a:gd name="connsiteX93" fmla="*/ 26157237 w 27542354"/>
                <a:gd name="connsiteY93"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023104 w 27542354"/>
                <a:gd name="connsiteY6" fmla="*/ 7478344 h 15152939"/>
                <a:gd name="connsiteX7" fmla="*/ 26619948 w 27542354"/>
                <a:gd name="connsiteY7" fmla="*/ 7840060 h 15152939"/>
                <a:gd name="connsiteX8" fmla="*/ 26276305 w 27542354"/>
                <a:gd name="connsiteY8" fmla="*/ 8672029 h 15152939"/>
                <a:gd name="connsiteX9" fmla="*/ 26312478 w 27542354"/>
                <a:gd name="connsiteY9" fmla="*/ 9666777 h 15152939"/>
                <a:gd name="connsiteX10" fmla="*/ 25878405 w 27542354"/>
                <a:gd name="connsiteY10" fmla="*/ 10227453 h 15152939"/>
                <a:gd name="connsiteX11" fmla="*/ 26402912 w 27542354"/>
                <a:gd name="connsiteY11" fmla="*/ 10643437 h 15152939"/>
                <a:gd name="connsiteX12" fmla="*/ 27542355 w 27542354"/>
                <a:gd name="connsiteY12" fmla="*/ 12005935 h 15152939"/>
                <a:gd name="connsiteX13" fmla="*/ 26089423 w 27542354"/>
                <a:gd name="connsiteY13" fmla="*/ 11975789 h 15152939"/>
                <a:gd name="connsiteX14" fmla="*/ 24473715 w 27542354"/>
                <a:gd name="connsiteY14" fmla="*/ 12090334 h 15152939"/>
                <a:gd name="connsiteX15" fmla="*/ 23135328 w 27542354"/>
                <a:gd name="connsiteY15" fmla="*/ 12222964 h 15152939"/>
                <a:gd name="connsiteX16" fmla="*/ 22261159 w 27542354"/>
                <a:gd name="connsiteY16" fmla="*/ 12934357 h 15152939"/>
                <a:gd name="connsiteX17" fmla="*/ 20826342 w 27542354"/>
                <a:gd name="connsiteY17" fmla="*/ 14369204 h 15152939"/>
                <a:gd name="connsiteX18" fmla="*/ 12952786 w 27542354"/>
                <a:gd name="connsiteY18" fmla="*/ 14960014 h 15152939"/>
                <a:gd name="connsiteX19" fmla="*/ 11934663 w 27542354"/>
                <a:gd name="connsiteY19" fmla="*/ 15008264 h 15152939"/>
                <a:gd name="connsiteX20" fmla="*/ 8506848 w 27542354"/>
                <a:gd name="connsiteY20" fmla="*/ 15152939 h 15152939"/>
                <a:gd name="connsiteX21" fmla="*/ 7985095 w 27542354"/>
                <a:gd name="connsiteY21" fmla="*/ 14507857 h 15152939"/>
                <a:gd name="connsiteX22" fmla="*/ 7400308 w 27542354"/>
                <a:gd name="connsiteY22" fmla="*/ 14477712 h 15152939"/>
                <a:gd name="connsiteX23" fmla="*/ 6972273 w 27542354"/>
                <a:gd name="connsiteY23" fmla="*/ 14749009 h 15152939"/>
                <a:gd name="connsiteX24" fmla="*/ 5181729 w 27542354"/>
                <a:gd name="connsiteY24" fmla="*/ 14664610 h 15152939"/>
                <a:gd name="connsiteX25" fmla="*/ 4397998 w 27542354"/>
                <a:gd name="connsiteY25" fmla="*/ 14031593 h 15152939"/>
                <a:gd name="connsiteX26" fmla="*/ 2908896 w 27542354"/>
                <a:gd name="connsiteY26" fmla="*/ 13223739 h 15152939"/>
                <a:gd name="connsiteX27" fmla="*/ 1263043 w 27542354"/>
                <a:gd name="connsiteY27" fmla="*/ 12512346 h 15152939"/>
                <a:gd name="connsiteX28" fmla="*/ 485320 w 27542354"/>
                <a:gd name="connsiteY28" fmla="*/ 12060189 h 15152939"/>
                <a:gd name="connsiteX29" fmla="*/ 0 w 27542354"/>
                <a:gd name="connsiteY29" fmla="*/ 11767077 h 15152939"/>
                <a:gd name="connsiteX30" fmla="*/ 1003686 w 27542354"/>
                <a:gd name="connsiteY30" fmla="*/ 11021112 h 15152939"/>
                <a:gd name="connsiteX31" fmla="*/ 2902551 w 27542354"/>
                <a:gd name="connsiteY31" fmla="*/ 9836713 h 15152939"/>
                <a:gd name="connsiteX32" fmla="*/ 2558940 w 27542354"/>
                <a:gd name="connsiteY32" fmla="*/ 9303282 h 15152939"/>
                <a:gd name="connsiteX33" fmla="*/ 2402508 w 27542354"/>
                <a:gd name="connsiteY33" fmla="*/ 8616199 h 15152939"/>
                <a:gd name="connsiteX34" fmla="*/ 2730740 w 27542354"/>
                <a:gd name="connsiteY34" fmla="*/ 8589028 h 15152939"/>
                <a:gd name="connsiteX35" fmla="*/ 2947754 w 27542354"/>
                <a:gd name="connsiteY35" fmla="*/ 8118883 h 15152939"/>
                <a:gd name="connsiteX36" fmla="*/ 3499325 w 27542354"/>
                <a:gd name="connsiteY36" fmla="*/ 7675866 h 15152939"/>
                <a:gd name="connsiteX37" fmla="*/ 3680166 w 27542354"/>
                <a:gd name="connsiteY37" fmla="*/ 6798868 h 15152939"/>
                <a:gd name="connsiteX38" fmla="*/ 4186528 w 27542354"/>
                <a:gd name="connsiteY38" fmla="*/ 6807904 h 15152939"/>
                <a:gd name="connsiteX39" fmla="*/ 4837569 w 27542354"/>
                <a:gd name="connsiteY39" fmla="*/ 7278054 h 15152939"/>
                <a:gd name="connsiteX40" fmla="*/ 5352976 w 27542354"/>
                <a:gd name="connsiteY40" fmla="*/ 7196687 h 15152939"/>
                <a:gd name="connsiteX41" fmla="*/ 5741786 w 27542354"/>
                <a:gd name="connsiteY41" fmla="*/ 6825992 h 15152939"/>
                <a:gd name="connsiteX42" fmla="*/ 6157723 w 27542354"/>
                <a:gd name="connsiteY42" fmla="*/ 6663251 h 15152939"/>
                <a:gd name="connsiteX43" fmla="*/ 6745471 w 27542354"/>
                <a:gd name="connsiteY43" fmla="*/ 6093658 h 15152939"/>
                <a:gd name="connsiteX44" fmla="*/ 6890140 w 27542354"/>
                <a:gd name="connsiteY44" fmla="*/ 5243782 h 15152939"/>
                <a:gd name="connsiteX45" fmla="*/ 7568305 w 27542354"/>
                <a:gd name="connsiteY45" fmla="*/ 4674188 h 15152939"/>
                <a:gd name="connsiteX46" fmla="*/ 8137967 w 27542354"/>
                <a:gd name="connsiteY46" fmla="*/ 4231167 h 15152939"/>
                <a:gd name="connsiteX47" fmla="*/ 8463480 w 27542354"/>
                <a:gd name="connsiteY47" fmla="*/ 3426500 h 15152939"/>
                <a:gd name="connsiteX48" fmla="*/ 9024093 w 27542354"/>
                <a:gd name="connsiteY48" fmla="*/ 3073893 h 15152939"/>
                <a:gd name="connsiteX49" fmla="*/ 9675138 w 27542354"/>
                <a:gd name="connsiteY49" fmla="*/ 2721291 h 15152939"/>
                <a:gd name="connsiteX50" fmla="*/ 9558580 w 27542354"/>
                <a:gd name="connsiteY50" fmla="*/ 2173007 h 15152939"/>
                <a:gd name="connsiteX51" fmla="*/ 10353296 w 27542354"/>
                <a:gd name="connsiteY51" fmla="*/ 1500723 h 15152939"/>
                <a:gd name="connsiteX52" fmla="*/ 10832530 w 27542354"/>
                <a:gd name="connsiteY52" fmla="*/ 1428389 h 15152939"/>
                <a:gd name="connsiteX53" fmla="*/ 11058585 w 27542354"/>
                <a:gd name="connsiteY53" fmla="*/ 1880458 h 15152939"/>
                <a:gd name="connsiteX54" fmla="*/ 11411229 w 27542354"/>
                <a:gd name="connsiteY54" fmla="*/ 2260189 h 15152939"/>
                <a:gd name="connsiteX55" fmla="*/ 11998974 w 27542354"/>
                <a:gd name="connsiteY55" fmla="*/ 2341559 h 15152939"/>
                <a:gd name="connsiteX56" fmla="*/ 12315449 w 27542354"/>
                <a:gd name="connsiteY56" fmla="*/ 3001571 h 15152939"/>
                <a:gd name="connsiteX57" fmla="*/ 12785642 w 27542354"/>
                <a:gd name="connsiteY57" fmla="*/ 2820742 h 15152939"/>
                <a:gd name="connsiteX58" fmla="*/ 13671776 w 27542354"/>
                <a:gd name="connsiteY58" fmla="*/ 3272803 h 15152939"/>
                <a:gd name="connsiteX59" fmla="*/ 14123886 w 27542354"/>
                <a:gd name="connsiteY59" fmla="*/ 2974450 h 15152939"/>
                <a:gd name="connsiteX60" fmla="*/ 14259509 w 27542354"/>
                <a:gd name="connsiteY60" fmla="*/ 2404849 h 15152939"/>
                <a:gd name="connsiteX61" fmla="*/ 14892468 w 27542354"/>
                <a:gd name="connsiteY61" fmla="*/ 1762918 h 15152939"/>
                <a:gd name="connsiteX62" fmla="*/ 15778605 w 27542354"/>
                <a:gd name="connsiteY62" fmla="*/ 1211398 h 15152939"/>
                <a:gd name="connsiteX63" fmla="*/ 16022739 w 27542354"/>
                <a:gd name="connsiteY63" fmla="*/ 1681548 h 15152939"/>
                <a:gd name="connsiteX64" fmla="*/ 16013694 w 27542354"/>
                <a:gd name="connsiteY64" fmla="*/ 2169778 h 15152939"/>
                <a:gd name="connsiteX65" fmla="*/ 16556232 w 27542354"/>
                <a:gd name="connsiteY65" fmla="*/ 2260200 h 15152939"/>
                <a:gd name="connsiteX66" fmla="*/ 16863663 w 27542354"/>
                <a:gd name="connsiteY66" fmla="*/ 1744834 h 15152939"/>
                <a:gd name="connsiteX67" fmla="*/ 17406193 w 27542354"/>
                <a:gd name="connsiteY67" fmla="*/ 1410312 h 15152939"/>
                <a:gd name="connsiteX68" fmla="*/ 17623203 w 27542354"/>
                <a:gd name="connsiteY68" fmla="*/ 867840 h 15152939"/>
                <a:gd name="connsiteX69" fmla="*/ 18120524 w 27542354"/>
                <a:gd name="connsiteY69" fmla="*/ 831675 h 15152939"/>
                <a:gd name="connsiteX70" fmla="*/ 18201903 w 27542354"/>
                <a:gd name="connsiteY70" fmla="*/ 542358 h 15152939"/>
                <a:gd name="connsiteX71" fmla="*/ 18744437 w 27542354"/>
                <a:gd name="connsiteY71" fmla="*/ 117414 h 15152939"/>
                <a:gd name="connsiteX72" fmla="*/ 19443290 w 27542354"/>
                <a:gd name="connsiteY72" fmla="*/ 0 h 15152939"/>
                <a:gd name="connsiteX73" fmla="*/ 19982300 w 27542354"/>
                <a:gd name="connsiteY73" fmla="*/ 460880 h 15152939"/>
                <a:gd name="connsiteX74" fmla="*/ 19530143 w 27542354"/>
                <a:gd name="connsiteY74" fmla="*/ 913038 h 15152939"/>
                <a:gd name="connsiteX75" fmla="*/ 19837609 w 27542354"/>
                <a:gd name="connsiteY75" fmla="*/ 1238588 h 15152939"/>
                <a:gd name="connsiteX76" fmla="*/ 20886614 w 27542354"/>
                <a:gd name="connsiteY76" fmla="*/ 1546055 h 15152939"/>
                <a:gd name="connsiteX77" fmla="*/ 21881359 w 27542354"/>
                <a:gd name="connsiteY77" fmla="*/ 1889694 h 15152939"/>
                <a:gd name="connsiteX78" fmla="*/ 21772837 w 27542354"/>
                <a:gd name="connsiteY78" fmla="*/ 2269505 h 15152939"/>
                <a:gd name="connsiteX79" fmla="*/ 21537712 w 27542354"/>
                <a:gd name="connsiteY79" fmla="*/ 2884438 h 15152939"/>
                <a:gd name="connsiteX80" fmla="*/ 21996067 w 27542354"/>
                <a:gd name="connsiteY80" fmla="*/ 2911656 h 15152939"/>
                <a:gd name="connsiteX81" fmla="*/ 22478203 w 27542354"/>
                <a:gd name="connsiteY81" fmla="*/ 2414189 h 15152939"/>
                <a:gd name="connsiteX82" fmla="*/ 23292084 w 27542354"/>
                <a:gd name="connsiteY82" fmla="*/ 2016293 h 15152939"/>
                <a:gd name="connsiteX83" fmla="*/ 23888932 w 27542354"/>
                <a:gd name="connsiteY83" fmla="*/ 1998212 h 15152939"/>
                <a:gd name="connsiteX84" fmla="*/ 24612383 w 27542354"/>
                <a:gd name="connsiteY84" fmla="*/ 1582227 h 15152939"/>
                <a:gd name="connsiteX85" fmla="*/ 25010275 w 27542354"/>
                <a:gd name="connsiteY85" fmla="*/ 695990 h 15152939"/>
                <a:gd name="connsiteX86" fmla="*/ 25769899 w 27542354"/>
                <a:gd name="connsiteY86" fmla="*/ 840685 h 15152939"/>
                <a:gd name="connsiteX87" fmla="*/ 26402920 w 27542354"/>
                <a:gd name="connsiteY87" fmla="*/ 876857 h 15152939"/>
                <a:gd name="connsiteX88" fmla="*/ 26240141 w 27542354"/>
                <a:gd name="connsiteY88" fmla="*/ 1491794 h 15152939"/>
                <a:gd name="connsiteX89" fmla="*/ 26554742 w 27542354"/>
                <a:gd name="connsiteY89" fmla="*/ 2052454 h 15152939"/>
                <a:gd name="connsiteX90" fmla="*/ 25679461 w 27542354"/>
                <a:gd name="connsiteY90" fmla="*/ 2775920 h 15152939"/>
                <a:gd name="connsiteX91" fmla="*/ 25751806 w 27542354"/>
                <a:gd name="connsiteY91" fmla="*/ 3806840 h 15152939"/>
                <a:gd name="connsiteX92" fmla="*/ 26157237 w 27542354"/>
                <a:gd name="connsiteY92"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023104 w 27542354"/>
                <a:gd name="connsiteY6" fmla="*/ 7478344 h 15152939"/>
                <a:gd name="connsiteX7" fmla="*/ 26619948 w 27542354"/>
                <a:gd name="connsiteY7" fmla="*/ 7840060 h 15152939"/>
                <a:gd name="connsiteX8" fmla="*/ 26276305 w 27542354"/>
                <a:gd name="connsiteY8" fmla="*/ 8672029 h 15152939"/>
                <a:gd name="connsiteX9" fmla="*/ 26312478 w 27542354"/>
                <a:gd name="connsiteY9" fmla="*/ 9666777 h 15152939"/>
                <a:gd name="connsiteX10" fmla="*/ 26402912 w 27542354"/>
                <a:gd name="connsiteY10" fmla="*/ 10643437 h 15152939"/>
                <a:gd name="connsiteX11" fmla="*/ 27542355 w 27542354"/>
                <a:gd name="connsiteY11" fmla="*/ 12005935 h 15152939"/>
                <a:gd name="connsiteX12" fmla="*/ 26089423 w 27542354"/>
                <a:gd name="connsiteY12" fmla="*/ 11975789 h 15152939"/>
                <a:gd name="connsiteX13" fmla="*/ 24473715 w 27542354"/>
                <a:gd name="connsiteY13" fmla="*/ 12090334 h 15152939"/>
                <a:gd name="connsiteX14" fmla="*/ 23135328 w 27542354"/>
                <a:gd name="connsiteY14" fmla="*/ 12222964 h 15152939"/>
                <a:gd name="connsiteX15" fmla="*/ 22261159 w 27542354"/>
                <a:gd name="connsiteY15" fmla="*/ 12934357 h 15152939"/>
                <a:gd name="connsiteX16" fmla="*/ 20826342 w 27542354"/>
                <a:gd name="connsiteY16" fmla="*/ 14369204 h 15152939"/>
                <a:gd name="connsiteX17" fmla="*/ 12952786 w 27542354"/>
                <a:gd name="connsiteY17" fmla="*/ 14960014 h 15152939"/>
                <a:gd name="connsiteX18" fmla="*/ 11934663 w 27542354"/>
                <a:gd name="connsiteY18" fmla="*/ 15008264 h 15152939"/>
                <a:gd name="connsiteX19" fmla="*/ 8506848 w 27542354"/>
                <a:gd name="connsiteY19" fmla="*/ 15152939 h 15152939"/>
                <a:gd name="connsiteX20" fmla="*/ 7985095 w 27542354"/>
                <a:gd name="connsiteY20" fmla="*/ 14507857 h 15152939"/>
                <a:gd name="connsiteX21" fmla="*/ 7400308 w 27542354"/>
                <a:gd name="connsiteY21" fmla="*/ 14477712 h 15152939"/>
                <a:gd name="connsiteX22" fmla="*/ 6972273 w 27542354"/>
                <a:gd name="connsiteY22" fmla="*/ 14749009 h 15152939"/>
                <a:gd name="connsiteX23" fmla="*/ 5181729 w 27542354"/>
                <a:gd name="connsiteY23" fmla="*/ 14664610 h 15152939"/>
                <a:gd name="connsiteX24" fmla="*/ 4397998 w 27542354"/>
                <a:gd name="connsiteY24" fmla="*/ 14031593 h 15152939"/>
                <a:gd name="connsiteX25" fmla="*/ 2908896 w 27542354"/>
                <a:gd name="connsiteY25" fmla="*/ 13223739 h 15152939"/>
                <a:gd name="connsiteX26" fmla="*/ 1263043 w 27542354"/>
                <a:gd name="connsiteY26" fmla="*/ 12512346 h 15152939"/>
                <a:gd name="connsiteX27" fmla="*/ 485320 w 27542354"/>
                <a:gd name="connsiteY27" fmla="*/ 12060189 h 15152939"/>
                <a:gd name="connsiteX28" fmla="*/ 0 w 27542354"/>
                <a:gd name="connsiteY28" fmla="*/ 11767077 h 15152939"/>
                <a:gd name="connsiteX29" fmla="*/ 1003686 w 27542354"/>
                <a:gd name="connsiteY29" fmla="*/ 11021112 h 15152939"/>
                <a:gd name="connsiteX30" fmla="*/ 2902551 w 27542354"/>
                <a:gd name="connsiteY30" fmla="*/ 9836713 h 15152939"/>
                <a:gd name="connsiteX31" fmla="*/ 2558940 w 27542354"/>
                <a:gd name="connsiteY31" fmla="*/ 9303282 h 15152939"/>
                <a:gd name="connsiteX32" fmla="*/ 2402508 w 27542354"/>
                <a:gd name="connsiteY32" fmla="*/ 8616199 h 15152939"/>
                <a:gd name="connsiteX33" fmla="*/ 2730740 w 27542354"/>
                <a:gd name="connsiteY33" fmla="*/ 8589028 h 15152939"/>
                <a:gd name="connsiteX34" fmla="*/ 2947754 w 27542354"/>
                <a:gd name="connsiteY34" fmla="*/ 8118883 h 15152939"/>
                <a:gd name="connsiteX35" fmla="*/ 3499325 w 27542354"/>
                <a:gd name="connsiteY35" fmla="*/ 7675866 h 15152939"/>
                <a:gd name="connsiteX36" fmla="*/ 3680166 w 27542354"/>
                <a:gd name="connsiteY36" fmla="*/ 6798868 h 15152939"/>
                <a:gd name="connsiteX37" fmla="*/ 4186528 w 27542354"/>
                <a:gd name="connsiteY37" fmla="*/ 6807904 h 15152939"/>
                <a:gd name="connsiteX38" fmla="*/ 4837569 w 27542354"/>
                <a:gd name="connsiteY38" fmla="*/ 7278054 h 15152939"/>
                <a:gd name="connsiteX39" fmla="*/ 5352976 w 27542354"/>
                <a:gd name="connsiteY39" fmla="*/ 7196687 h 15152939"/>
                <a:gd name="connsiteX40" fmla="*/ 5741786 w 27542354"/>
                <a:gd name="connsiteY40" fmla="*/ 6825992 h 15152939"/>
                <a:gd name="connsiteX41" fmla="*/ 6157723 w 27542354"/>
                <a:gd name="connsiteY41" fmla="*/ 6663251 h 15152939"/>
                <a:gd name="connsiteX42" fmla="*/ 6745471 w 27542354"/>
                <a:gd name="connsiteY42" fmla="*/ 6093658 h 15152939"/>
                <a:gd name="connsiteX43" fmla="*/ 6890140 w 27542354"/>
                <a:gd name="connsiteY43" fmla="*/ 5243782 h 15152939"/>
                <a:gd name="connsiteX44" fmla="*/ 7568305 w 27542354"/>
                <a:gd name="connsiteY44" fmla="*/ 4674188 h 15152939"/>
                <a:gd name="connsiteX45" fmla="*/ 8137967 w 27542354"/>
                <a:gd name="connsiteY45" fmla="*/ 4231167 h 15152939"/>
                <a:gd name="connsiteX46" fmla="*/ 8463480 w 27542354"/>
                <a:gd name="connsiteY46" fmla="*/ 3426500 h 15152939"/>
                <a:gd name="connsiteX47" fmla="*/ 9024093 w 27542354"/>
                <a:gd name="connsiteY47" fmla="*/ 3073893 h 15152939"/>
                <a:gd name="connsiteX48" fmla="*/ 9675138 w 27542354"/>
                <a:gd name="connsiteY48" fmla="*/ 2721291 h 15152939"/>
                <a:gd name="connsiteX49" fmla="*/ 9558580 w 27542354"/>
                <a:gd name="connsiteY49" fmla="*/ 2173007 h 15152939"/>
                <a:gd name="connsiteX50" fmla="*/ 10353296 w 27542354"/>
                <a:gd name="connsiteY50" fmla="*/ 1500723 h 15152939"/>
                <a:gd name="connsiteX51" fmla="*/ 10832530 w 27542354"/>
                <a:gd name="connsiteY51" fmla="*/ 1428389 h 15152939"/>
                <a:gd name="connsiteX52" fmla="*/ 11058585 w 27542354"/>
                <a:gd name="connsiteY52" fmla="*/ 1880458 h 15152939"/>
                <a:gd name="connsiteX53" fmla="*/ 11411229 w 27542354"/>
                <a:gd name="connsiteY53" fmla="*/ 2260189 h 15152939"/>
                <a:gd name="connsiteX54" fmla="*/ 11998974 w 27542354"/>
                <a:gd name="connsiteY54" fmla="*/ 2341559 h 15152939"/>
                <a:gd name="connsiteX55" fmla="*/ 12315449 w 27542354"/>
                <a:gd name="connsiteY55" fmla="*/ 3001571 h 15152939"/>
                <a:gd name="connsiteX56" fmla="*/ 12785642 w 27542354"/>
                <a:gd name="connsiteY56" fmla="*/ 2820742 h 15152939"/>
                <a:gd name="connsiteX57" fmla="*/ 13671776 w 27542354"/>
                <a:gd name="connsiteY57" fmla="*/ 3272803 h 15152939"/>
                <a:gd name="connsiteX58" fmla="*/ 14123886 w 27542354"/>
                <a:gd name="connsiteY58" fmla="*/ 2974450 h 15152939"/>
                <a:gd name="connsiteX59" fmla="*/ 14259509 w 27542354"/>
                <a:gd name="connsiteY59" fmla="*/ 2404849 h 15152939"/>
                <a:gd name="connsiteX60" fmla="*/ 14892468 w 27542354"/>
                <a:gd name="connsiteY60" fmla="*/ 1762918 h 15152939"/>
                <a:gd name="connsiteX61" fmla="*/ 15778605 w 27542354"/>
                <a:gd name="connsiteY61" fmla="*/ 1211398 h 15152939"/>
                <a:gd name="connsiteX62" fmla="*/ 16022739 w 27542354"/>
                <a:gd name="connsiteY62" fmla="*/ 1681548 h 15152939"/>
                <a:gd name="connsiteX63" fmla="*/ 16013694 w 27542354"/>
                <a:gd name="connsiteY63" fmla="*/ 2169778 h 15152939"/>
                <a:gd name="connsiteX64" fmla="*/ 16556232 w 27542354"/>
                <a:gd name="connsiteY64" fmla="*/ 2260200 h 15152939"/>
                <a:gd name="connsiteX65" fmla="*/ 16863663 w 27542354"/>
                <a:gd name="connsiteY65" fmla="*/ 1744834 h 15152939"/>
                <a:gd name="connsiteX66" fmla="*/ 17406193 w 27542354"/>
                <a:gd name="connsiteY66" fmla="*/ 1410312 h 15152939"/>
                <a:gd name="connsiteX67" fmla="*/ 17623203 w 27542354"/>
                <a:gd name="connsiteY67" fmla="*/ 867840 h 15152939"/>
                <a:gd name="connsiteX68" fmla="*/ 18120524 w 27542354"/>
                <a:gd name="connsiteY68" fmla="*/ 831675 h 15152939"/>
                <a:gd name="connsiteX69" fmla="*/ 18201903 w 27542354"/>
                <a:gd name="connsiteY69" fmla="*/ 542358 h 15152939"/>
                <a:gd name="connsiteX70" fmla="*/ 18744437 w 27542354"/>
                <a:gd name="connsiteY70" fmla="*/ 117414 h 15152939"/>
                <a:gd name="connsiteX71" fmla="*/ 19443290 w 27542354"/>
                <a:gd name="connsiteY71" fmla="*/ 0 h 15152939"/>
                <a:gd name="connsiteX72" fmla="*/ 19982300 w 27542354"/>
                <a:gd name="connsiteY72" fmla="*/ 460880 h 15152939"/>
                <a:gd name="connsiteX73" fmla="*/ 19530143 w 27542354"/>
                <a:gd name="connsiteY73" fmla="*/ 913038 h 15152939"/>
                <a:gd name="connsiteX74" fmla="*/ 19837609 w 27542354"/>
                <a:gd name="connsiteY74" fmla="*/ 1238588 h 15152939"/>
                <a:gd name="connsiteX75" fmla="*/ 20886614 w 27542354"/>
                <a:gd name="connsiteY75" fmla="*/ 1546055 h 15152939"/>
                <a:gd name="connsiteX76" fmla="*/ 21881359 w 27542354"/>
                <a:gd name="connsiteY76" fmla="*/ 1889694 h 15152939"/>
                <a:gd name="connsiteX77" fmla="*/ 21772837 w 27542354"/>
                <a:gd name="connsiteY77" fmla="*/ 2269505 h 15152939"/>
                <a:gd name="connsiteX78" fmla="*/ 21537712 w 27542354"/>
                <a:gd name="connsiteY78" fmla="*/ 2884438 h 15152939"/>
                <a:gd name="connsiteX79" fmla="*/ 21996067 w 27542354"/>
                <a:gd name="connsiteY79" fmla="*/ 2911656 h 15152939"/>
                <a:gd name="connsiteX80" fmla="*/ 22478203 w 27542354"/>
                <a:gd name="connsiteY80" fmla="*/ 2414189 h 15152939"/>
                <a:gd name="connsiteX81" fmla="*/ 23292084 w 27542354"/>
                <a:gd name="connsiteY81" fmla="*/ 2016293 h 15152939"/>
                <a:gd name="connsiteX82" fmla="*/ 23888932 w 27542354"/>
                <a:gd name="connsiteY82" fmla="*/ 1998212 h 15152939"/>
                <a:gd name="connsiteX83" fmla="*/ 24612383 w 27542354"/>
                <a:gd name="connsiteY83" fmla="*/ 1582227 h 15152939"/>
                <a:gd name="connsiteX84" fmla="*/ 25010275 w 27542354"/>
                <a:gd name="connsiteY84" fmla="*/ 695990 h 15152939"/>
                <a:gd name="connsiteX85" fmla="*/ 25769899 w 27542354"/>
                <a:gd name="connsiteY85" fmla="*/ 840685 h 15152939"/>
                <a:gd name="connsiteX86" fmla="*/ 26402920 w 27542354"/>
                <a:gd name="connsiteY86" fmla="*/ 876857 h 15152939"/>
                <a:gd name="connsiteX87" fmla="*/ 26240141 w 27542354"/>
                <a:gd name="connsiteY87" fmla="*/ 1491794 h 15152939"/>
                <a:gd name="connsiteX88" fmla="*/ 26554742 w 27542354"/>
                <a:gd name="connsiteY88" fmla="*/ 2052454 h 15152939"/>
                <a:gd name="connsiteX89" fmla="*/ 25679461 w 27542354"/>
                <a:gd name="connsiteY89" fmla="*/ 2775920 h 15152939"/>
                <a:gd name="connsiteX90" fmla="*/ 25751806 w 27542354"/>
                <a:gd name="connsiteY90" fmla="*/ 3806840 h 15152939"/>
                <a:gd name="connsiteX91" fmla="*/ 26157237 w 27542354"/>
                <a:gd name="connsiteY91"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023104 w 27542354"/>
                <a:gd name="connsiteY6" fmla="*/ 7478344 h 15152939"/>
                <a:gd name="connsiteX7" fmla="*/ 26619948 w 27542354"/>
                <a:gd name="connsiteY7" fmla="*/ 7840060 h 15152939"/>
                <a:gd name="connsiteX8" fmla="*/ 26312478 w 27542354"/>
                <a:gd name="connsiteY8" fmla="*/ 9666777 h 15152939"/>
                <a:gd name="connsiteX9" fmla="*/ 26402912 w 27542354"/>
                <a:gd name="connsiteY9" fmla="*/ 10643437 h 15152939"/>
                <a:gd name="connsiteX10" fmla="*/ 27542355 w 27542354"/>
                <a:gd name="connsiteY10" fmla="*/ 12005935 h 15152939"/>
                <a:gd name="connsiteX11" fmla="*/ 26089423 w 27542354"/>
                <a:gd name="connsiteY11" fmla="*/ 11975789 h 15152939"/>
                <a:gd name="connsiteX12" fmla="*/ 24473715 w 27542354"/>
                <a:gd name="connsiteY12" fmla="*/ 12090334 h 15152939"/>
                <a:gd name="connsiteX13" fmla="*/ 23135328 w 27542354"/>
                <a:gd name="connsiteY13" fmla="*/ 12222964 h 15152939"/>
                <a:gd name="connsiteX14" fmla="*/ 22261159 w 27542354"/>
                <a:gd name="connsiteY14" fmla="*/ 12934357 h 15152939"/>
                <a:gd name="connsiteX15" fmla="*/ 20826342 w 27542354"/>
                <a:gd name="connsiteY15" fmla="*/ 14369204 h 15152939"/>
                <a:gd name="connsiteX16" fmla="*/ 12952786 w 27542354"/>
                <a:gd name="connsiteY16" fmla="*/ 14960014 h 15152939"/>
                <a:gd name="connsiteX17" fmla="*/ 11934663 w 27542354"/>
                <a:gd name="connsiteY17" fmla="*/ 15008264 h 15152939"/>
                <a:gd name="connsiteX18" fmla="*/ 8506848 w 27542354"/>
                <a:gd name="connsiteY18" fmla="*/ 15152939 h 15152939"/>
                <a:gd name="connsiteX19" fmla="*/ 7985095 w 27542354"/>
                <a:gd name="connsiteY19" fmla="*/ 14507857 h 15152939"/>
                <a:gd name="connsiteX20" fmla="*/ 7400308 w 27542354"/>
                <a:gd name="connsiteY20" fmla="*/ 14477712 h 15152939"/>
                <a:gd name="connsiteX21" fmla="*/ 6972273 w 27542354"/>
                <a:gd name="connsiteY21" fmla="*/ 14749009 h 15152939"/>
                <a:gd name="connsiteX22" fmla="*/ 5181729 w 27542354"/>
                <a:gd name="connsiteY22" fmla="*/ 14664610 h 15152939"/>
                <a:gd name="connsiteX23" fmla="*/ 4397998 w 27542354"/>
                <a:gd name="connsiteY23" fmla="*/ 14031593 h 15152939"/>
                <a:gd name="connsiteX24" fmla="*/ 2908896 w 27542354"/>
                <a:gd name="connsiteY24" fmla="*/ 13223739 h 15152939"/>
                <a:gd name="connsiteX25" fmla="*/ 1263043 w 27542354"/>
                <a:gd name="connsiteY25" fmla="*/ 12512346 h 15152939"/>
                <a:gd name="connsiteX26" fmla="*/ 485320 w 27542354"/>
                <a:gd name="connsiteY26" fmla="*/ 12060189 h 15152939"/>
                <a:gd name="connsiteX27" fmla="*/ 0 w 27542354"/>
                <a:gd name="connsiteY27" fmla="*/ 11767077 h 15152939"/>
                <a:gd name="connsiteX28" fmla="*/ 1003686 w 27542354"/>
                <a:gd name="connsiteY28" fmla="*/ 11021112 h 15152939"/>
                <a:gd name="connsiteX29" fmla="*/ 2902551 w 27542354"/>
                <a:gd name="connsiteY29" fmla="*/ 9836713 h 15152939"/>
                <a:gd name="connsiteX30" fmla="*/ 2558940 w 27542354"/>
                <a:gd name="connsiteY30" fmla="*/ 9303282 h 15152939"/>
                <a:gd name="connsiteX31" fmla="*/ 2402508 w 27542354"/>
                <a:gd name="connsiteY31" fmla="*/ 8616199 h 15152939"/>
                <a:gd name="connsiteX32" fmla="*/ 2730740 w 27542354"/>
                <a:gd name="connsiteY32" fmla="*/ 8589028 h 15152939"/>
                <a:gd name="connsiteX33" fmla="*/ 2947754 w 27542354"/>
                <a:gd name="connsiteY33" fmla="*/ 8118883 h 15152939"/>
                <a:gd name="connsiteX34" fmla="*/ 3499325 w 27542354"/>
                <a:gd name="connsiteY34" fmla="*/ 7675866 h 15152939"/>
                <a:gd name="connsiteX35" fmla="*/ 3680166 w 27542354"/>
                <a:gd name="connsiteY35" fmla="*/ 6798868 h 15152939"/>
                <a:gd name="connsiteX36" fmla="*/ 4186528 w 27542354"/>
                <a:gd name="connsiteY36" fmla="*/ 6807904 h 15152939"/>
                <a:gd name="connsiteX37" fmla="*/ 4837569 w 27542354"/>
                <a:gd name="connsiteY37" fmla="*/ 7278054 h 15152939"/>
                <a:gd name="connsiteX38" fmla="*/ 5352976 w 27542354"/>
                <a:gd name="connsiteY38" fmla="*/ 7196687 h 15152939"/>
                <a:gd name="connsiteX39" fmla="*/ 5741786 w 27542354"/>
                <a:gd name="connsiteY39" fmla="*/ 6825992 h 15152939"/>
                <a:gd name="connsiteX40" fmla="*/ 6157723 w 27542354"/>
                <a:gd name="connsiteY40" fmla="*/ 6663251 h 15152939"/>
                <a:gd name="connsiteX41" fmla="*/ 6745471 w 27542354"/>
                <a:gd name="connsiteY41" fmla="*/ 6093658 h 15152939"/>
                <a:gd name="connsiteX42" fmla="*/ 6890140 w 27542354"/>
                <a:gd name="connsiteY42" fmla="*/ 5243782 h 15152939"/>
                <a:gd name="connsiteX43" fmla="*/ 7568305 w 27542354"/>
                <a:gd name="connsiteY43" fmla="*/ 4674188 h 15152939"/>
                <a:gd name="connsiteX44" fmla="*/ 8137967 w 27542354"/>
                <a:gd name="connsiteY44" fmla="*/ 4231167 h 15152939"/>
                <a:gd name="connsiteX45" fmla="*/ 8463480 w 27542354"/>
                <a:gd name="connsiteY45" fmla="*/ 3426500 h 15152939"/>
                <a:gd name="connsiteX46" fmla="*/ 9024093 w 27542354"/>
                <a:gd name="connsiteY46" fmla="*/ 3073893 h 15152939"/>
                <a:gd name="connsiteX47" fmla="*/ 9675138 w 27542354"/>
                <a:gd name="connsiteY47" fmla="*/ 2721291 h 15152939"/>
                <a:gd name="connsiteX48" fmla="*/ 9558580 w 27542354"/>
                <a:gd name="connsiteY48" fmla="*/ 2173007 h 15152939"/>
                <a:gd name="connsiteX49" fmla="*/ 10353296 w 27542354"/>
                <a:gd name="connsiteY49" fmla="*/ 1500723 h 15152939"/>
                <a:gd name="connsiteX50" fmla="*/ 10832530 w 27542354"/>
                <a:gd name="connsiteY50" fmla="*/ 1428389 h 15152939"/>
                <a:gd name="connsiteX51" fmla="*/ 11058585 w 27542354"/>
                <a:gd name="connsiteY51" fmla="*/ 1880458 h 15152939"/>
                <a:gd name="connsiteX52" fmla="*/ 11411229 w 27542354"/>
                <a:gd name="connsiteY52" fmla="*/ 2260189 h 15152939"/>
                <a:gd name="connsiteX53" fmla="*/ 11998974 w 27542354"/>
                <a:gd name="connsiteY53" fmla="*/ 2341559 h 15152939"/>
                <a:gd name="connsiteX54" fmla="*/ 12315449 w 27542354"/>
                <a:gd name="connsiteY54" fmla="*/ 3001571 h 15152939"/>
                <a:gd name="connsiteX55" fmla="*/ 12785642 w 27542354"/>
                <a:gd name="connsiteY55" fmla="*/ 2820742 h 15152939"/>
                <a:gd name="connsiteX56" fmla="*/ 13671776 w 27542354"/>
                <a:gd name="connsiteY56" fmla="*/ 3272803 h 15152939"/>
                <a:gd name="connsiteX57" fmla="*/ 14123886 w 27542354"/>
                <a:gd name="connsiteY57" fmla="*/ 2974450 h 15152939"/>
                <a:gd name="connsiteX58" fmla="*/ 14259509 w 27542354"/>
                <a:gd name="connsiteY58" fmla="*/ 2404849 h 15152939"/>
                <a:gd name="connsiteX59" fmla="*/ 14892468 w 27542354"/>
                <a:gd name="connsiteY59" fmla="*/ 1762918 h 15152939"/>
                <a:gd name="connsiteX60" fmla="*/ 15778605 w 27542354"/>
                <a:gd name="connsiteY60" fmla="*/ 1211398 h 15152939"/>
                <a:gd name="connsiteX61" fmla="*/ 16022739 w 27542354"/>
                <a:gd name="connsiteY61" fmla="*/ 1681548 h 15152939"/>
                <a:gd name="connsiteX62" fmla="*/ 16013694 w 27542354"/>
                <a:gd name="connsiteY62" fmla="*/ 2169778 h 15152939"/>
                <a:gd name="connsiteX63" fmla="*/ 16556232 w 27542354"/>
                <a:gd name="connsiteY63" fmla="*/ 2260200 h 15152939"/>
                <a:gd name="connsiteX64" fmla="*/ 16863663 w 27542354"/>
                <a:gd name="connsiteY64" fmla="*/ 1744834 h 15152939"/>
                <a:gd name="connsiteX65" fmla="*/ 17406193 w 27542354"/>
                <a:gd name="connsiteY65" fmla="*/ 1410312 h 15152939"/>
                <a:gd name="connsiteX66" fmla="*/ 17623203 w 27542354"/>
                <a:gd name="connsiteY66" fmla="*/ 867840 h 15152939"/>
                <a:gd name="connsiteX67" fmla="*/ 18120524 w 27542354"/>
                <a:gd name="connsiteY67" fmla="*/ 831675 h 15152939"/>
                <a:gd name="connsiteX68" fmla="*/ 18201903 w 27542354"/>
                <a:gd name="connsiteY68" fmla="*/ 542358 h 15152939"/>
                <a:gd name="connsiteX69" fmla="*/ 18744437 w 27542354"/>
                <a:gd name="connsiteY69" fmla="*/ 117414 h 15152939"/>
                <a:gd name="connsiteX70" fmla="*/ 19443290 w 27542354"/>
                <a:gd name="connsiteY70" fmla="*/ 0 h 15152939"/>
                <a:gd name="connsiteX71" fmla="*/ 19982300 w 27542354"/>
                <a:gd name="connsiteY71" fmla="*/ 460880 h 15152939"/>
                <a:gd name="connsiteX72" fmla="*/ 19530143 w 27542354"/>
                <a:gd name="connsiteY72" fmla="*/ 913038 h 15152939"/>
                <a:gd name="connsiteX73" fmla="*/ 19837609 w 27542354"/>
                <a:gd name="connsiteY73" fmla="*/ 1238588 h 15152939"/>
                <a:gd name="connsiteX74" fmla="*/ 20886614 w 27542354"/>
                <a:gd name="connsiteY74" fmla="*/ 1546055 h 15152939"/>
                <a:gd name="connsiteX75" fmla="*/ 21881359 w 27542354"/>
                <a:gd name="connsiteY75" fmla="*/ 1889694 h 15152939"/>
                <a:gd name="connsiteX76" fmla="*/ 21772837 w 27542354"/>
                <a:gd name="connsiteY76" fmla="*/ 2269505 h 15152939"/>
                <a:gd name="connsiteX77" fmla="*/ 21537712 w 27542354"/>
                <a:gd name="connsiteY77" fmla="*/ 2884438 h 15152939"/>
                <a:gd name="connsiteX78" fmla="*/ 21996067 w 27542354"/>
                <a:gd name="connsiteY78" fmla="*/ 2911656 h 15152939"/>
                <a:gd name="connsiteX79" fmla="*/ 22478203 w 27542354"/>
                <a:gd name="connsiteY79" fmla="*/ 2414189 h 15152939"/>
                <a:gd name="connsiteX80" fmla="*/ 23292084 w 27542354"/>
                <a:gd name="connsiteY80" fmla="*/ 2016293 h 15152939"/>
                <a:gd name="connsiteX81" fmla="*/ 23888932 w 27542354"/>
                <a:gd name="connsiteY81" fmla="*/ 1998212 h 15152939"/>
                <a:gd name="connsiteX82" fmla="*/ 24612383 w 27542354"/>
                <a:gd name="connsiteY82" fmla="*/ 1582227 h 15152939"/>
                <a:gd name="connsiteX83" fmla="*/ 25010275 w 27542354"/>
                <a:gd name="connsiteY83" fmla="*/ 695990 h 15152939"/>
                <a:gd name="connsiteX84" fmla="*/ 25769899 w 27542354"/>
                <a:gd name="connsiteY84" fmla="*/ 840685 h 15152939"/>
                <a:gd name="connsiteX85" fmla="*/ 26402920 w 27542354"/>
                <a:gd name="connsiteY85" fmla="*/ 876857 h 15152939"/>
                <a:gd name="connsiteX86" fmla="*/ 26240141 w 27542354"/>
                <a:gd name="connsiteY86" fmla="*/ 1491794 h 15152939"/>
                <a:gd name="connsiteX87" fmla="*/ 26554742 w 27542354"/>
                <a:gd name="connsiteY87" fmla="*/ 2052454 h 15152939"/>
                <a:gd name="connsiteX88" fmla="*/ 25679461 w 27542354"/>
                <a:gd name="connsiteY88" fmla="*/ 2775920 h 15152939"/>
                <a:gd name="connsiteX89" fmla="*/ 25751806 w 27542354"/>
                <a:gd name="connsiteY89" fmla="*/ 3806840 h 15152939"/>
                <a:gd name="connsiteX90" fmla="*/ 26157237 w 27542354"/>
                <a:gd name="connsiteY90"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619948 w 27542354"/>
                <a:gd name="connsiteY6" fmla="*/ 7840060 h 15152939"/>
                <a:gd name="connsiteX7" fmla="*/ 26312478 w 27542354"/>
                <a:gd name="connsiteY7" fmla="*/ 9666777 h 15152939"/>
                <a:gd name="connsiteX8" fmla="*/ 26402912 w 27542354"/>
                <a:gd name="connsiteY8" fmla="*/ 10643437 h 15152939"/>
                <a:gd name="connsiteX9" fmla="*/ 27542355 w 27542354"/>
                <a:gd name="connsiteY9" fmla="*/ 12005935 h 15152939"/>
                <a:gd name="connsiteX10" fmla="*/ 26089423 w 27542354"/>
                <a:gd name="connsiteY10" fmla="*/ 11975789 h 15152939"/>
                <a:gd name="connsiteX11" fmla="*/ 24473715 w 27542354"/>
                <a:gd name="connsiteY11" fmla="*/ 12090334 h 15152939"/>
                <a:gd name="connsiteX12" fmla="*/ 23135328 w 27542354"/>
                <a:gd name="connsiteY12" fmla="*/ 12222964 h 15152939"/>
                <a:gd name="connsiteX13" fmla="*/ 22261159 w 27542354"/>
                <a:gd name="connsiteY13" fmla="*/ 12934357 h 15152939"/>
                <a:gd name="connsiteX14" fmla="*/ 20826342 w 27542354"/>
                <a:gd name="connsiteY14" fmla="*/ 14369204 h 15152939"/>
                <a:gd name="connsiteX15" fmla="*/ 12952786 w 27542354"/>
                <a:gd name="connsiteY15" fmla="*/ 14960014 h 15152939"/>
                <a:gd name="connsiteX16" fmla="*/ 11934663 w 27542354"/>
                <a:gd name="connsiteY16" fmla="*/ 15008264 h 15152939"/>
                <a:gd name="connsiteX17" fmla="*/ 8506848 w 27542354"/>
                <a:gd name="connsiteY17" fmla="*/ 15152939 h 15152939"/>
                <a:gd name="connsiteX18" fmla="*/ 7985095 w 27542354"/>
                <a:gd name="connsiteY18" fmla="*/ 14507857 h 15152939"/>
                <a:gd name="connsiteX19" fmla="*/ 7400308 w 27542354"/>
                <a:gd name="connsiteY19" fmla="*/ 14477712 h 15152939"/>
                <a:gd name="connsiteX20" fmla="*/ 6972273 w 27542354"/>
                <a:gd name="connsiteY20" fmla="*/ 14749009 h 15152939"/>
                <a:gd name="connsiteX21" fmla="*/ 5181729 w 27542354"/>
                <a:gd name="connsiteY21" fmla="*/ 14664610 h 15152939"/>
                <a:gd name="connsiteX22" fmla="*/ 4397998 w 27542354"/>
                <a:gd name="connsiteY22" fmla="*/ 14031593 h 15152939"/>
                <a:gd name="connsiteX23" fmla="*/ 2908896 w 27542354"/>
                <a:gd name="connsiteY23" fmla="*/ 13223739 h 15152939"/>
                <a:gd name="connsiteX24" fmla="*/ 1263043 w 27542354"/>
                <a:gd name="connsiteY24" fmla="*/ 12512346 h 15152939"/>
                <a:gd name="connsiteX25" fmla="*/ 485320 w 27542354"/>
                <a:gd name="connsiteY25" fmla="*/ 12060189 h 15152939"/>
                <a:gd name="connsiteX26" fmla="*/ 0 w 27542354"/>
                <a:gd name="connsiteY26" fmla="*/ 11767077 h 15152939"/>
                <a:gd name="connsiteX27" fmla="*/ 1003686 w 27542354"/>
                <a:gd name="connsiteY27" fmla="*/ 11021112 h 15152939"/>
                <a:gd name="connsiteX28" fmla="*/ 2902551 w 27542354"/>
                <a:gd name="connsiteY28" fmla="*/ 9836713 h 15152939"/>
                <a:gd name="connsiteX29" fmla="*/ 2558940 w 27542354"/>
                <a:gd name="connsiteY29" fmla="*/ 9303282 h 15152939"/>
                <a:gd name="connsiteX30" fmla="*/ 2402508 w 27542354"/>
                <a:gd name="connsiteY30" fmla="*/ 8616199 h 15152939"/>
                <a:gd name="connsiteX31" fmla="*/ 2730740 w 27542354"/>
                <a:gd name="connsiteY31" fmla="*/ 8589028 h 15152939"/>
                <a:gd name="connsiteX32" fmla="*/ 2947754 w 27542354"/>
                <a:gd name="connsiteY32" fmla="*/ 8118883 h 15152939"/>
                <a:gd name="connsiteX33" fmla="*/ 3499325 w 27542354"/>
                <a:gd name="connsiteY33" fmla="*/ 7675866 h 15152939"/>
                <a:gd name="connsiteX34" fmla="*/ 3680166 w 27542354"/>
                <a:gd name="connsiteY34" fmla="*/ 6798868 h 15152939"/>
                <a:gd name="connsiteX35" fmla="*/ 4186528 w 27542354"/>
                <a:gd name="connsiteY35" fmla="*/ 6807904 h 15152939"/>
                <a:gd name="connsiteX36" fmla="*/ 4837569 w 27542354"/>
                <a:gd name="connsiteY36" fmla="*/ 7278054 h 15152939"/>
                <a:gd name="connsiteX37" fmla="*/ 5352976 w 27542354"/>
                <a:gd name="connsiteY37" fmla="*/ 7196687 h 15152939"/>
                <a:gd name="connsiteX38" fmla="*/ 5741786 w 27542354"/>
                <a:gd name="connsiteY38" fmla="*/ 6825992 h 15152939"/>
                <a:gd name="connsiteX39" fmla="*/ 6157723 w 27542354"/>
                <a:gd name="connsiteY39" fmla="*/ 6663251 h 15152939"/>
                <a:gd name="connsiteX40" fmla="*/ 6745471 w 27542354"/>
                <a:gd name="connsiteY40" fmla="*/ 6093658 h 15152939"/>
                <a:gd name="connsiteX41" fmla="*/ 6890140 w 27542354"/>
                <a:gd name="connsiteY41" fmla="*/ 5243782 h 15152939"/>
                <a:gd name="connsiteX42" fmla="*/ 7568305 w 27542354"/>
                <a:gd name="connsiteY42" fmla="*/ 4674188 h 15152939"/>
                <a:gd name="connsiteX43" fmla="*/ 8137967 w 27542354"/>
                <a:gd name="connsiteY43" fmla="*/ 4231167 h 15152939"/>
                <a:gd name="connsiteX44" fmla="*/ 8463480 w 27542354"/>
                <a:gd name="connsiteY44" fmla="*/ 3426500 h 15152939"/>
                <a:gd name="connsiteX45" fmla="*/ 9024093 w 27542354"/>
                <a:gd name="connsiteY45" fmla="*/ 3073893 h 15152939"/>
                <a:gd name="connsiteX46" fmla="*/ 9675138 w 27542354"/>
                <a:gd name="connsiteY46" fmla="*/ 2721291 h 15152939"/>
                <a:gd name="connsiteX47" fmla="*/ 9558580 w 27542354"/>
                <a:gd name="connsiteY47" fmla="*/ 2173007 h 15152939"/>
                <a:gd name="connsiteX48" fmla="*/ 10353296 w 27542354"/>
                <a:gd name="connsiteY48" fmla="*/ 1500723 h 15152939"/>
                <a:gd name="connsiteX49" fmla="*/ 10832530 w 27542354"/>
                <a:gd name="connsiteY49" fmla="*/ 1428389 h 15152939"/>
                <a:gd name="connsiteX50" fmla="*/ 11058585 w 27542354"/>
                <a:gd name="connsiteY50" fmla="*/ 1880458 h 15152939"/>
                <a:gd name="connsiteX51" fmla="*/ 11411229 w 27542354"/>
                <a:gd name="connsiteY51" fmla="*/ 2260189 h 15152939"/>
                <a:gd name="connsiteX52" fmla="*/ 11998974 w 27542354"/>
                <a:gd name="connsiteY52" fmla="*/ 2341559 h 15152939"/>
                <a:gd name="connsiteX53" fmla="*/ 12315449 w 27542354"/>
                <a:gd name="connsiteY53" fmla="*/ 3001571 h 15152939"/>
                <a:gd name="connsiteX54" fmla="*/ 12785642 w 27542354"/>
                <a:gd name="connsiteY54" fmla="*/ 2820742 h 15152939"/>
                <a:gd name="connsiteX55" fmla="*/ 13671776 w 27542354"/>
                <a:gd name="connsiteY55" fmla="*/ 3272803 h 15152939"/>
                <a:gd name="connsiteX56" fmla="*/ 14123886 w 27542354"/>
                <a:gd name="connsiteY56" fmla="*/ 2974450 h 15152939"/>
                <a:gd name="connsiteX57" fmla="*/ 14259509 w 27542354"/>
                <a:gd name="connsiteY57" fmla="*/ 2404849 h 15152939"/>
                <a:gd name="connsiteX58" fmla="*/ 14892468 w 27542354"/>
                <a:gd name="connsiteY58" fmla="*/ 1762918 h 15152939"/>
                <a:gd name="connsiteX59" fmla="*/ 15778605 w 27542354"/>
                <a:gd name="connsiteY59" fmla="*/ 1211398 h 15152939"/>
                <a:gd name="connsiteX60" fmla="*/ 16022739 w 27542354"/>
                <a:gd name="connsiteY60" fmla="*/ 1681548 h 15152939"/>
                <a:gd name="connsiteX61" fmla="*/ 16013694 w 27542354"/>
                <a:gd name="connsiteY61" fmla="*/ 2169778 h 15152939"/>
                <a:gd name="connsiteX62" fmla="*/ 16556232 w 27542354"/>
                <a:gd name="connsiteY62" fmla="*/ 2260200 h 15152939"/>
                <a:gd name="connsiteX63" fmla="*/ 16863663 w 27542354"/>
                <a:gd name="connsiteY63" fmla="*/ 1744834 h 15152939"/>
                <a:gd name="connsiteX64" fmla="*/ 17406193 w 27542354"/>
                <a:gd name="connsiteY64" fmla="*/ 1410312 h 15152939"/>
                <a:gd name="connsiteX65" fmla="*/ 17623203 w 27542354"/>
                <a:gd name="connsiteY65" fmla="*/ 867840 h 15152939"/>
                <a:gd name="connsiteX66" fmla="*/ 18120524 w 27542354"/>
                <a:gd name="connsiteY66" fmla="*/ 831675 h 15152939"/>
                <a:gd name="connsiteX67" fmla="*/ 18201903 w 27542354"/>
                <a:gd name="connsiteY67" fmla="*/ 542358 h 15152939"/>
                <a:gd name="connsiteX68" fmla="*/ 18744437 w 27542354"/>
                <a:gd name="connsiteY68" fmla="*/ 117414 h 15152939"/>
                <a:gd name="connsiteX69" fmla="*/ 19443290 w 27542354"/>
                <a:gd name="connsiteY69" fmla="*/ 0 h 15152939"/>
                <a:gd name="connsiteX70" fmla="*/ 19982300 w 27542354"/>
                <a:gd name="connsiteY70" fmla="*/ 460880 h 15152939"/>
                <a:gd name="connsiteX71" fmla="*/ 19530143 w 27542354"/>
                <a:gd name="connsiteY71" fmla="*/ 913038 h 15152939"/>
                <a:gd name="connsiteX72" fmla="*/ 19837609 w 27542354"/>
                <a:gd name="connsiteY72" fmla="*/ 1238588 h 15152939"/>
                <a:gd name="connsiteX73" fmla="*/ 20886614 w 27542354"/>
                <a:gd name="connsiteY73" fmla="*/ 1546055 h 15152939"/>
                <a:gd name="connsiteX74" fmla="*/ 21881359 w 27542354"/>
                <a:gd name="connsiteY74" fmla="*/ 1889694 h 15152939"/>
                <a:gd name="connsiteX75" fmla="*/ 21772837 w 27542354"/>
                <a:gd name="connsiteY75" fmla="*/ 2269505 h 15152939"/>
                <a:gd name="connsiteX76" fmla="*/ 21537712 w 27542354"/>
                <a:gd name="connsiteY76" fmla="*/ 2884438 h 15152939"/>
                <a:gd name="connsiteX77" fmla="*/ 21996067 w 27542354"/>
                <a:gd name="connsiteY77" fmla="*/ 2911656 h 15152939"/>
                <a:gd name="connsiteX78" fmla="*/ 22478203 w 27542354"/>
                <a:gd name="connsiteY78" fmla="*/ 2414189 h 15152939"/>
                <a:gd name="connsiteX79" fmla="*/ 23292084 w 27542354"/>
                <a:gd name="connsiteY79" fmla="*/ 2016293 h 15152939"/>
                <a:gd name="connsiteX80" fmla="*/ 23888932 w 27542354"/>
                <a:gd name="connsiteY80" fmla="*/ 1998212 h 15152939"/>
                <a:gd name="connsiteX81" fmla="*/ 24612383 w 27542354"/>
                <a:gd name="connsiteY81" fmla="*/ 1582227 h 15152939"/>
                <a:gd name="connsiteX82" fmla="*/ 25010275 w 27542354"/>
                <a:gd name="connsiteY82" fmla="*/ 695990 h 15152939"/>
                <a:gd name="connsiteX83" fmla="*/ 25769899 w 27542354"/>
                <a:gd name="connsiteY83" fmla="*/ 840685 h 15152939"/>
                <a:gd name="connsiteX84" fmla="*/ 26402920 w 27542354"/>
                <a:gd name="connsiteY84" fmla="*/ 876857 h 15152939"/>
                <a:gd name="connsiteX85" fmla="*/ 26240141 w 27542354"/>
                <a:gd name="connsiteY85" fmla="*/ 1491794 h 15152939"/>
                <a:gd name="connsiteX86" fmla="*/ 26554742 w 27542354"/>
                <a:gd name="connsiteY86" fmla="*/ 2052454 h 15152939"/>
                <a:gd name="connsiteX87" fmla="*/ 25679461 w 27542354"/>
                <a:gd name="connsiteY87" fmla="*/ 2775920 h 15152939"/>
                <a:gd name="connsiteX88" fmla="*/ 25751806 w 27542354"/>
                <a:gd name="connsiteY88" fmla="*/ 3806840 h 15152939"/>
                <a:gd name="connsiteX89" fmla="*/ 26157237 w 27542354"/>
                <a:gd name="connsiteY89"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5824148 w 27542354"/>
                <a:gd name="connsiteY4" fmla="*/ 6827228 h 15152939"/>
                <a:gd name="connsiteX5" fmla="*/ 26619948 w 27542354"/>
                <a:gd name="connsiteY5" fmla="*/ 7840060 h 15152939"/>
                <a:gd name="connsiteX6" fmla="*/ 26312478 w 27542354"/>
                <a:gd name="connsiteY6" fmla="*/ 9666777 h 15152939"/>
                <a:gd name="connsiteX7" fmla="*/ 26402912 w 27542354"/>
                <a:gd name="connsiteY7" fmla="*/ 10643437 h 15152939"/>
                <a:gd name="connsiteX8" fmla="*/ 27542355 w 27542354"/>
                <a:gd name="connsiteY8" fmla="*/ 12005935 h 15152939"/>
                <a:gd name="connsiteX9" fmla="*/ 26089423 w 27542354"/>
                <a:gd name="connsiteY9" fmla="*/ 11975789 h 15152939"/>
                <a:gd name="connsiteX10" fmla="*/ 24473715 w 27542354"/>
                <a:gd name="connsiteY10" fmla="*/ 12090334 h 15152939"/>
                <a:gd name="connsiteX11" fmla="*/ 23135328 w 27542354"/>
                <a:gd name="connsiteY11" fmla="*/ 12222964 h 15152939"/>
                <a:gd name="connsiteX12" fmla="*/ 22261159 w 27542354"/>
                <a:gd name="connsiteY12" fmla="*/ 12934357 h 15152939"/>
                <a:gd name="connsiteX13" fmla="*/ 20826342 w 27542354"/>
                <a:gd name="connsiteY13" fmla="*/ 14369204 h 15152939"/>
                <a:gd name="connsiteX14" fmla="*/ 12952786 w 27542354"/>
                <a:gd name="connsiteY14" fmla="*/ 14960014 h 15152939"/>
                <a:gd name="connsiteX15" fmla="*/ 11934663 w 27542354"/>
                <a:gd name="connsiteY15" fmla="*/ 15008264 h 15152939"/>
                <a:gd name="connsiteX16" fmla="*/ 8506848 w 27542354"/>
                <a:gd name="connsiteY16" fmla="*/ 15152939 h 15152939"/>
                <a:gd name="connsiteX17" fmla="*/ 7985095 w 27542354"/>
                <a:gd name="connsiteY17" fmla="*/ 14507857 h 15152939"/>
                <a:gd name="connsiteX18" fmla="*/ 7400308 w 27542354"/>
                <a:gd name="connsiteY18" fmla="*/ 14477712 h 15152939"/>
                <a:gd name="connsiteX19" fmla="*/ 6972273 w 27542354"/>
                <a:gd name="connsiteY19" fmla="*/ 14749009 h 15152939"/>
                <a:gd name="connsiteX20" fmla="*/ 5181729 w 27542354"/>
                <a:gd name="connsiteY20" fmla="*/ 14664610 h 15152939"/>
                <a:gd name="connsiteX21" fmla="*/ 4397998 w 27542354"/>
                <a:gd name="connsiteY21" fmla="*/ 14031593 h 15152939"/>
                <a:gd name="connsiteX22" fmla="*/ 2908896 w 27542354"/>
                <a:gd name="connsiteY22" fmla="*/ 13223739 h 15152939"/>
                <a:gd name="connsiteX23" fmla="*/ 1263043 w 27542354"/>
                <a:gd name="connsiteY23" fmla="*/ 12512346 h 15152939"/>
                <a:gd name="connsiteX24" fmla="*/ 485320 w 27542354"/>
                <a:gd name="connsiteY24" fmla="*/ 12060189 h 15152939"/>
                <a:gd name="connsiteX25" fmla="*/ 0 w 27542354"/>
                <a:gd name="connsiteY25" fmla="*/ 11767077 h 15152939"/>
                <a:gd name="connsiteX26" fmla="*/ 1003686 w 27542354"/>
                <a:gd name="connsiteY26" fmla="*/ 11021112 h 15152939"/>
                <a:gd name="connsiteX27" fmla="*/ 2902551 w 27542354"/>
                <a:gd name="connsiteY27" fmla="*/ 9836713 h 15152939"/>
                <a:gd name="connsiteX28" fmla="*/ 2558940 w 27542354"/>
                <a:gd name="connsiteY28" fmla="*/ 9303282 h 15152939"/>
                <a:gd name="connsiteX29" fmla="*/ 2402508 w 27542354"/>
                <a:gd name="connsiteY29" fmla="*/ 8616199 h 15152939"/>
                <a:gd name="connsiteX30" fmla="*/ 2730740 w 27542354"/>
                <a:gd name="connsiteY30" fmla="*/ 8589028 h 15152939"/>
                <a:gd name="connsiteX31" fmla="*/ 2947754 w 27542354"/>
                <a:gd name="connsiteY31" fmla="*/ 8118883 h 15152939"/>
                <a:gd name="connsiteX32" fmla="*/ 3499325 w 27542354"/>
                <a:gd name="connsiteY32" fmla="*/ 7675866 h 15152939"/>
                <a:gd name="connsiteX33" fmla="*/ 3680166 w 27542354"/>
                <a:gd name="connsiteY33" fmla="*/ 6798868 h 15152939"/>
                <a:gd name="connsiteX34" fmla="*/ 4186528 w 27542354"/>
                <a:gd name="connsiteY34" fmla="*/ 6807904 h 15152939"/>
                <a:gd name="connsiteX35" fmla="*/ 4837569 w 27542354"/>
                <a:gd name="connsiteY35" fmla="*/ 7278054 h 15152939"/>
                <a:gd name="connsiteX36" fmla="*/ 5352976 w 27542354"/>
                <a:gd name="connsiteY36" fmla="*/ 7196687 h 15152939"/>
                <a:gd name="connsiteX37" fmla="*/ 5741786 w 27542354"/>
                <a:gd name="connsiteY37" fmla="*/ 6825992 h 15152939"/>
                <a:gd name="connsiteX38" fmla="*/ 6157723 w 27542354"/>
                <a:gd name="connsiteY38" fmla="*/ 6663251 h 15152939"/>
                <a:gd name="connsiteX39" fmla="*/ 6745471 w 27542354"/>
                <a:gd name="connsiteY39" fmla="*/ 6093658 h 15152939"/>
                <a:gd name="connsiteX40" fmla="*/ 6890140 w 27542354"/>
                <a:gd name="connsiteY40" fmla="*/ 5243782 h 15152939"/>
                <a:gd name="connsiteX41" fmla="*/ 7568305 w 27542354"/>
                <a:gd name="connsiteY41" fmla="*/ 4674188 h 15152939"/>
                <a:gd name="connsiteX42" fmla="*/ 8137967 w 27542354"/>
                <a:gd name="connsiteY42" fmla="*/ 4231167 h 15152939"/>
                <a:gd name="connsiteX43" fmla="*/ 8463480 w 27542354"/>
                <a:gd name="connsiteY43" fmla="*/ 3426500 h 15152939"/>
                <a:gd name="connsiteX44" fmla="*/ 9024093 w 27542354"/>
                <a:gd name="connsiteY44" fmla="*/ 3073893 h 15152939"/>
                <a:gd name="connsiteX45" fmla="*/ 9675138 w 27542354"/>
                <a:gd name="connsiteY45" fmla="*/ 2721291 h 15152939"/>
                <a:gd name="connsiteX46" fmla="*/ 9558580 w 27542354"/>
                <a:gd name="connsiteY46" fmla="*/ 2173007 h 15152939"/>
                <a:gd name="connsiteX47" fmla="*/ 10353296 w 27542354"/>
                <a:gd name="connsiteY47" fmla="*/ 1500723 h 15152939"/>
                <a:gd name="connsiteX48" fmla="*/ 10832530 w 27542354"/>
                <a:gd name="connsiteY48" fmla="*/ 1428389 h 15152939"/>
                <a:gd name="connsiteX49" fmla="*/ 11058585 w 27542354"/>
                <a:gd name="connsiteY49" fmla="*/ 1880458 h 15152939"/>
                <a:gd name="connsiteX50" fmla="*/ 11411229 w 27542354"/>
                <a:gd name="connsiteY50" fmla="*/ 2260189 h 15152939"/>
                <a:gd name="connsiteX51" fmla="*/ 11998974 w 27542354"/>
                <a:gd name="connsiteY51" fmla="*/ 2341559 h 15152939"/>
                <a:gd name="connsiteX52" fmla="*/ 12315449 w 27542354"/>
                <a:gd name="connsiteY52" fmla="*/ 3001571 h 15152939"/>
                <a:gd name="connsiteX53" fmla="*/ 12785642 w 27542354"/>
                <a:gd name="connsiteY53" fmla="*/ 2820742 h 15152939"/>
                <a:gd name="connsiteX54" fmla="*/ 13671776 w 27542354"/>
                <a:gd name="connsiteY54" fmla="*/ 3272803 h 15152939"/>
                <a:gd name="connsiteX55" fmla="*/ 14123886 w 27542354"/>
                <a:gd name="connsiteY55" fmla="*/ 2974450 h 15152939"/>
                <a:gd name="connsiteX56" fmla="*/ 14259509 w 27542354"/>
                <a:gd name="connsiteY56" fmla="*/ 2404849 h 15152939"/>
                <a:gd name="connsiteX57" fmla="*/ 14892468 w 27542354"/>
                <a:gd name="connsiteY57" fmla="*/ 1762918 h 15152939"/>
                <a:gd name="connsiteX58" fmla="*/ 15778605 w 27542354"/>
                <a:gd name="connsiteY58" fmla="*/ 1211398 h 15152939"/>
                <a:gd name="connsiteX59" fmla="*/ 16022739 w 27542354"/>
                <a:gd name="connsiteY59" fmla="*/ 1681548 h 15152939"/>
                <a:gd name="connsiteX60" fmla="*/ 16013694 w 27542354"/>
                <a:gd name="connsiteY60" fmla="*/ 2169778 h 15152939"/>
                <a:gd name="connsiteX61" fmla="*/ 16556232 w 27542354"/>
                <a:gd name="connsiteY61" fmla="*/ 2260200 h 15152939"/>
                <a:gd name="connsiteX62" fmla="*/ 16863663 w 27542354"/>
                <a:gd name="connsiteY62" fmla="*/ 1744834 h 15152939"/>
                <a:gd name="connsiteX63" fmla="*/ 17406193 w 27542354"/>
                <a:gd name="connsiteY63" fmla="*/ 1410312 h 15152939"/>
                <a:gd name="connsiteX64" fmla="*/ 17623203 w 27542354"/>
                <a:gd name="connsiteY64" fmla="*/ 867840 h 15152939"/>
                <a:gd name="connsiteX65" fmla="*/ 18120524 w 27542354"/>
                <a:gd name="connsiteY65" fmla="*/ 831675 h 15152939"/>
                <a:gd name="connsiteX66" fmla="*/ 18201903 w 27542354"/>
                <a:gd name="connsiteY66" fmla="*/ 542358 h 15152939"/>
                <a:gd name="connsiteX67" fmla="*/ 18744437 w 27542354"/>
                <a:gd name="connsiteY67" fmla="*/ 117414 h 15152939"/>
                <a:gd name="connsiteX68" fmla="*/ 19443290 w 27542354"/>
                <a:gd name="connsiteY68" fmla="*/ 0 h 15152939"/>
                <a:gd name="connsiteX69" fmla="*/ 19982300 w 27542354"/>
                <a:gd name="connsiteY69" fmla="*/ 460880 h 15152939"/>
                <a:gd name="connsiteX70" fmla="*/ 19530143 w 27542354"/>
                <a:gd name="connsiteY70" fmla="*/ 913038 h 15152939"/>
                <a:gd name="connsiteX71" fmla="*/ 19837609 w 27542354"/>
                <a:gd name="connsiteY71" fmla="*/ 1238588 h 15152939"/>
                <a:gd name="connsiteX72" fmla="*/ 20886614 w 27542354"/>
                <a:gd name="connsiteY72" fmla="*/ 1546055 h 15152939"/>
                <a:gd name="connsiteX73" fmla="*/ 21881359 w 27542354"/>
                <a:gd name="connsiteY73" fmla="*/ 1889694 h 15152939"/>
                <a:gd name="connsiteX74" fmla="*/ 21772837 w 27542354"/>
                <a:gd name="connsiteY74" fmla="*/ 2269505 h 15152939"/>
                <a:gd name="connsiteX75" fmla="*/ 21537712 w 27542354"/>
                <a:gd name="connsiteY75" fmla="*/ 2884438 h 15152939"/>
                <a:gd name="connsiteX76" fmla="*/ 21996067 w 27542354"/>
                <a:gd name="connsiteY76" fmla="*/ 2911656 h 15152939"/>
                <a:gd name="connsiteX77" fmla="*/ 22478203 w 27542354"/>
                <a:gd name="connsiteY77" fmla="*/ 2414189 h 15152939"/>
                <a:gd name="connsiteX78" fmla="*/ 23292084 w 27542354"/>
                <a:gd name="connsiteY78" fmla="*/ 2016293 h 15152939"/>
                <a:gd name="connsiteX79" fmla="*/ 23888932 w 27542354"/>
                <a:gd name="connsiteY79" fmla="*/ 1998212 h 15152939"/>
                <a:gd name="connsiteX80" fmla="*/ 24612383 w 27542354"/>
                <a:gd name="connsiteY80" fmla="*/ 1582227 h 15152939"/>
                <a:gd name="connsiteX81" fmla="*/ 25010275 w 27542354"/>
                <a:gd name="connsiteY81" fmla="*/ 695990 h 15152939"/>
                <a:gd name="connsiteX82" fmla="*/ 25769899 w 27542354"/>
                <a:gd name="connsiteY82" fmla="*/ 840685 h 15152939"/>
                <a:gd name="connsiteX83" fmla="*/ 26402920 w 27542354"/>
                <a:gd name="connsiteY83" fmla="*/ 876857 h 15152939"/>
                <a:gd name="connsiteX84" fmla="*/ 26240141 w 27542354"/>
                <a:gd name="connsiteY84" fmla="*/ 1491794 h 15152939"/>
                <a:gd name="connsiteX85" fmla="*/ 26554742 w 27542354"/>
                <a:gd name="connsiteY85" fmla="*/ 2052454 h 15152939"/>
                <a:gd name="connsiteX86" fmla="*/ 25679461 w 27542354"/>
                <a:gd name="connsiteY86" fmla="*/ 2775920 h 15152939"/>
                <a:gd name="connsiteX87" fmla="*/ 25751806 w 27542354"/>
                <a:gd name="connsiteY87" fmla="*/ 3806840 h 15152939"/>
                <a:gd name="connsiteX88" fmla="*/ 26157237 w 27542354"/>
                <a:gd name="connsiteY88" fmla="*/ 4322377 h 15152939"/>
                <a:gd name="connsiteX0" fmla="*/ 26157237 w 27542354"/>
                <a:gd name="connsiteY0" fmla="*/ 4322377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5769899 w 27542354"/>
                <a:gd name="connsiteY81" fmla="*/ 840685 h 15152939"/>
                <a:gd name="connsiteX82" fmla="*/ 26402920 w 27542354"/>
                <a:gd name="connsiteY82" fmla="*/ 876857 h 15152939"/>
                <a:gd name="connsiteX83" fmla="*/ 26240141 w 27542354"/>
                <a:gd name="connsiteY83" fmla="*/ 1491794 h 15152939"/>
                <a:gd name="connsiteX84" fmla="*/ 26554742 w 27542354"/>
                <a:gd name="connsiteY84" fmla="*/ 2052454 h 15152939"/>
                <a:gd name="connsiteX85" fmla="*/ 25679461 w 27542354"/>
                <a:gd name="connsiteY85" fmla="*/ 2775920 h 15152939"/>
                <a:gd name="connsiteX86" fmla="*/ 25751806 w 27542354"/>
                <a:gd name="connsiteY86" fmla="*/ 3806840 h 15152939"/>
                <a:gd name="connsiteX87" fmla="*/ 26157237 w 27542354"/>
                <a:gd name="connsiteY87" fmla="*/ 4322377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5769899 w 27542354"/>
                <a:gd name="connsiteY81" fmla="*/ 840685 h 15152939"/>
                <a:gd name="connsiteX82" fmla="*/ 26402920 w 27542354"/>
                <a:gd name="connsiteY82" fmla="*/ 876857 h 15152939"/>
                <a:gd name="connsiteX83" fmla="*/ 26240141 w 27542354"/>
                <a:gd name="connsiteY83" fmla="*/ 1491794 h 15152939"/>
                <a:gd name="connsiteX84" fmla="*/ 26554742 w 27542354"/>
                <a:gd name="connsiteY84" fmla="*/ 2052454 h 15152939"/>
                <a:gd name="connsiteX85" fmla="*/ 25679461 w 27542354"/>
                <a:gd name="connsiteY85" fmla="*/ 2775920 h 15152939"/>
                <a:gd name="connsiteX86" fmla="*/ 25751806 w 27542354"/>
                <a:gd name="connsiteY86"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5769899 w 27542354"/>
                <a:gd name="connsiteY81" fmla="*/ 840685 h 15152939"/>
                <a:gd name="connsiteX82" fmla="*/ 26402920 w 27542354"/>
                <a:gd name="connsiteY82" fmla="*/ 876857 h 15152939"/>
                <a:gd name="connsiteX83" fmla="*/ 26240141 w 27542354"/>
                <a:gd name="connsiteY83" fmla="*/ 1491794 h 15152939"/>
                <a:gd name="connsiteX84" fmla="*/ 26554742 w 27542354"/>
                <a:gd name="connsiteY84" fmla="*/ 2052454 h 15152939"/>
                <a:gd name="connsiteX85" fmla="*/ 25751806 w 27542354"/>
                <a:gd name="connsiteY85"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5769899 w 27542354"/>
                <a:gd name="connsiteY81" fmla="*/ 840685 h 15152939"/>
                <a:gd name="connsiteX82" fmla="*/ 26402920 w 27542354"/>
                <a:gd name="connsiteY82" fmla="*/ 876857 h 15152939"/>
                <a:gd name="connsiteX83" fmla="*/ 26554742 w 27542354"/>
                <a:gd name="connsiteY83" fmla="*/ 2052454 h 15152939"/>
                <a:gd name="connsiteX84" fmla="*/ 25751806 w 27542354"/>
                <a:gd name="connsiteY84"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6402920 w 27542354"/>
                <a:gd name="connsiteY81" fmla="*/ 876857 h 15152939"/>
                <a:gd name="connsiteX82" fmla="*/ 26554742 w 27542354"/>
                <a:gd name="connsiteY82" fmla="*/ 2052454 h 15152939"/>
                <a:gd name="connsiteX83" fmla="*/ 25751806 w 27542354"/>
                <a:gd name="connsiteY83"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5010275 w 27542354"/>
                <a:gd name="connsiteY79" fmla="*/ 695990 h 15152939"/>
                <a:gd name="connsiteX80" fmla="*/ 26402920 w 27542354"/>
                <a:gd name="connsiteY80" fmla="*/ 876857 h 15152939"/>
                <a:gd name="connsiteX81" fmla="*/ 26554742 w 27542354"/>
                <a:gd name="connsiteY81" fmla="*/ 2052454 h 15152939"/>
                <a:gd name="connsiteX82" fmla="*/ 25751806 w 27542354"/>
                <a:gd name="connsiteY82"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888932 w 27542354"/>
                <a:gd name="connsiteY77" fmla="*/ 1998212 h 15152939"/>
                <a:gd name="connsiteX78" fmla="*/ 25010275 w 27542354"/>
                <a:gd name="connsiteY78" fmla="*/ 695990 h 15152939"/>
                <a:gd name="connsiteX79" fmla="*/ 26402920 w 27542354"/>
                <a:gd name="connsiteY79" fmla="*/ 876857 h 15152939"/>
                <a:gd name="connsiteX80" fmla="*/ 26554742 w 27542354"/>
                <a:gd name="connsiteY80" fmla="*/ 2052454 h 15152939"/>
                <a:gd name="connsiteX81" fmla="*/ 25751806 w 27542354"/>
                <a:gd name="connsiteY81"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2478203 w 27542354"/>
                <a:gd name="connsiteY75" fmla="*/ 2414189 h 15152939"/>
                <a:gd name="connsiteX76" fmla="*/ 23888932 w 27542354"/>
                <a:gd name="connsiteY76" fmla="*/ 1998212 h 15152939"/>
                <a:gd name="connsiteX77" fmla="*/ 25010275 w 27542354"/>
                <a:gd name="connsiteY77" fmla="*/ 695990 h 15152939"/>
                <a:gd name="connsiteX78" fmla="*/ 26402920 w 27542354"/>
                <a:gd name="connsiteY78" fmla="*/ 876857 h 15152939"/>
                <a:gd name="connsiteX79" fmla="*/ 26554742 w 27542354"/>
                <a:gd name="connsiteY79" fmla="*/ 2052454 h 15152939"/>
                <a:gd name="connsiteX80" fmla="*/ 25751806 w 27542354"/>
                <a:gd name="connsiteY80"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537712 w 27542354"/>
                <a:gd name="connsiteY73" fmla="*/ 2884438 h 15152939"/>
                <a:gd name="connsiteX74" fmla="*/ 22478203 w 27542354"/>
                <a:gd name="connsiteY74" fmla="*/ 2414189 h 15152939"/>
                <a:gd name="connsiteX75" fmla="*/ 23888932 w 27542354"/>
                <a:gd name="connsiteY75" fmla="*/ 1998212 h 15152939"/>
                <a:gd name="connsiteX76" fmla="*/ 25010275 w 27542354"/>
                <a:gd name="connsiteY76" fmla="*/ 695990 h 15152939"/>
                <a:gd name="connsiteX77" fmla="*/ 26402920 w 27542354"/>
                <a:gd name="connsiteY77" fmla="*/ 876857 h 15152939"/>
                <a:gd name="connsiteX78" fmla="*/ 26554742 w 27542354"/>
                <a:gd name="connsiteY78" fmla="*/ 2052454 h 15152939"/>
                <a:gd name="connsiteX79" fmla="*/ 25751806 w 27542354"/>
                <a:gd name="connsiteY79"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1881359 w 27542354"/>
                <a:gd name="connsiteY71" fmla="*/ 1889694 h 15152939"/>
                <a:gd name="connsiteX72" fmla="*/ 21537712 w 27542354"/>
                <a:gd name="connsiteY72" fmla="*/ 2884438 h 15152939"/>
                <a:gd name="connsiteX73" fmla="*/ 22478203 w 27542354"/>
                <a:gd name="connsiteY73" fmla="*/ 2414189 h 15152939"/>
                <a:gd name="connsiteX74" fmla="*/ 23888932 w 27542354"/>
                <a:gd name="connsiteY74" fmla="*/ 1998212 h 15152939"/>
                <a:gd name="connsiteX75" fmla="*/ 25010275 w 27542354"/>
                <a:gd name="connsiteY75" fmla="*/ 695990 h 15152939"/>
                <a:gd name="connsiteX76" fmla="*/ 26402920 w 27542354"/>
                <a:gd name="connsiteY76" fmla="*/ 876857 h 15152939"/>
                <a:gd name="connsiteX77" fmla="*/ 26554742 w 27542354"/>
                <a:gd name="connsiteY77" fmla="*/ 2052454 h 15152939"/>
                <a:gd name="connsiteX78" fmla="*/ 25751806 w 27542354"/>
                <a:gd name="connsiteY78"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837609 w 27542354"/>
                <a:gd name="connsiteY69" fmla="*/ 1238588 h 15152939"/>
                <a:gd name="connsiteX70" fmla="*/ 21881359 w 27542354"/>
                <a:gd name="connsiteY70" fmla="*/ 1889694 h 15152939"/>
                <a:gd name="connsiteX71" fmla="*/ 21537712 w 27542354"/>
                <a:gd name="connsiteY71" fmla="*/ 2884438 h 15152939"/>
                <a:gd name="connsiteX72" fmla="*/ 22478203 w 27542354"/>
                <a:gd name="connsiteY72" fmla="*/ 2414189 h 15152939"/>
                <a:gd name="connsiteX73" fmla="*/ 23888932 w 27542354"/>
                <a:gd name="connsiteY73" fmla="*/ 1998212 h 15152939"/>
                <a:gd name="connsiteX74" fmla="*/ 25010275 w 27542354"/>
                <a:gd name="connsiteY74" fmla="*/ 695990 h 15152939"/>
                <a:gd name="connsiteX75" fmla="*/ 26402920 w 27542354"/>
                <a:gd name="connsiteY75" fmla="*/ 876857 h 15152939"/>
                <a:gd name="connsiteX76" fmla="*/ 26554742 w 27542354"/>
                <a:gd name="connsiteY76" fmla="*/ 2052454 h 15152939"/>
                <a:gd name="connsiteX77" fmla="*/ 25751806 w 27542354"/>
                <a:gd name="connsiteY77" fmla="*/ 3806840 h 15152939"/>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013694 w 27542354"/>
                <a:gd name="connsiteY59" fmla="*/ 2052363 h 15035524"/>
                <a:gd name="connsiteX60" fmla="*/ 16556232 w 27542354"/>
                <a:gd name="connsiteY60" fmla="*/ 2142785 h 15035524"/>
                <a:gd name="connsiteX61" fmla="*/ 16863663 w 27542354"/>
                <a:gd name="connsiteY61" fmla="*/ 1627419 h 15035524"/>
                <a:gd name="connsiteX62" fmla="*/ 17406193 w 27542354"/>
                <a:gd name="connsiteY62" fmla="*/ 1292897 h 15035524"/>
                <a:gd name="connsiteX63" fmla="*/ 17623203 w 27542354"/>
                <a:gd name="connsiteY63" fmla="*/ 750425 h 15035524"/>
                <a:gd name="connsiteX64" fmla="*/ 18120524 w 27542354"/>
                <a:gd name="connsiteY64" fmla="*/ 714260 h 15035524"/>
                <a:gd name="connsiteX65" fmla="*/ 18201903 w 27542354"/>
                <a:gd name="connsiteY65" fmla="*/ 424943 h 15035524"/>
                <a:gd name="connsiteX66" fmla="*/ 18744437 w 27542354"/>
                <a:gd name="connsiteY66" fmla="*/ -1 h 15035524"/>
                <a:gd name="connsiteX67" fmla="*/ 19982300 w 27542354"/>
                <a:gd name="connsiteY67" fmla="*/ 343465 h 15035524"/>
                <a:gd name="connsiteX68" fmla="*/ 19837609 w 27542354"/>
                <a:gd name="connsiteY68" fmla="*/ 1121173 h 15035524"/>
                <a:gd name="connsiteX69" fmla="*/ 21881359 w 27542354"/>
                <a:gd name="connsiteY69" fmla="*/ 1772279 h 15035524"/>
                <a:gd name="connsiteX70" fmla="*/ 21537712 w 27542354"/>
                <a:gd name="connsiteY70" fmla="*/ 2767023 h 15035524"/>
                <a:gd name="connsiteX71" fmla="*/ 22478203 w 27542354"/>
                <a:gd name="connsiteY71" fmla="*/ 2296774 h 15035524"/>
                <a:gd name="connsiteX72" fmla="*/ 23888932 w 27542354"/>
                <a:gd name="connsiteY72" fmla="*/ 1880797 h 15035524"/>
                <a:gd name="connsiteX73" fmla="*/ 25010275 w 27542354"/>
                <a:gd name="connsiteY73" fmla="*/ 578575 h 15035524"/>
                <a:gd name="connsiteX74" fmla="*/ 26402920 w 27542354"/>
                <a:gd name="connsiteY74" fmla="*/ 759442 h 15035524"/>
                <a:gd name="connsiteX75" fmla="*/ 26554742 w 27542354"/>
                <a:gd name="connsiteY75" fmla="*/ 1935039 h 15035524"/>
                <a:gd name="connsiteX76" fmla="*/ 25751806 w 27542354"/>
                <a:gd name="connsiteY76"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013694 w 27542354"/>
                <a:gd name="connsiteY59" fmla="*/ 2052363 h 15035524"/>
                <a:gd name="connsiteX60" fmla="*/ 16556232 w 27542354"/>
                <a:gd name="connsiteY60" fmla="*/ 2142785 h 15035524"/>
                <a:gd name="connsiteX61" fmla="*/ 16863663 w 27542354"/>
                <a:gd name="connsiteY61" fmla="*/ 1627419 h 15035524"/>
                <a:gd name="connsiteX62" fmla="*/ 17406193 w 27542354"/>
                <a:gd name="connsiteY62" fmla="*/ 1292897 h 15035524"/>
                <a:gd name="connsiteX63" fmla="*/ 17623203 w 27542354"/>
                <a:gd name="connsiteY63" fmla="*/ 750425 h 15035524"/>
                <a:gd name="connsiteX64" fmla="*/ 18120524 w 27542354"/>
                <a:gd name="connsiteY64" fmla="*/ 714260 h 15035524"/>
                <a:gd name="connsiteX65" fmla="*/ 18744437 w 27542354"/>
                <a:gd name="connsiteY65" fmla="*/ -1 h 15035524"/>
                <a:gd name="connsiteX66" fmla="*/ 19982300 w 27542354"/>
                <a:gd name="connsiteY66" fmla="*/ 343465 h 15035524"/>
                <a:gd name="connsiteX67" fmla="*/ 19837609 w 27542354"/>
                <a:gd name="connsiteY67" fmla="*/ 1121173 h 15035524"/>
                <a:gd name="connsiteX68" fmla="*/ 21881359 w 27542354"/>
                <a:gd name="connsiteY68" fmla="*/ 1772279 h 15035524"/>
                <a:gd name="connsiteX69" fmla="*/ 21537712 w 27542354"/>
                <a:gd name="connsiteY69" fmla="*/ 2767023 h 15035524"/>
                <a:gd name="connsiteX70" fmla="*/ 22478203 w 27542354"/>
                <a:gd name="connsiteY70" fmla="*/ 2296774 h 15035524"/>
                <a:gd name="connsiteX71" fmla="*/ 23888932 w 27542354"/>
                <a:gd name="connsiteY71" fmla="*/ 1880797 h 15035524"/>
                <a:gd name="connsiteX72" fmla="*/ 25010275 w 27542354"/>
                <a:gd name="connsiteY72" fmla="*/ 578575 h 15035524"/>
                <a:gd name="connsiteX73" fmla="*/ 26402920 w 27542354"/>
                <a:gd name="connsiteY73" fmla="*/ 759442 h 15035524"/>
                <a:gd name="connsiteX74" fmla="*/ 26554742 w 27542354"/>
                <a:gd name="connsiteY74" fmla="*/ 1935039 h 15035524"/>
                <a:gd name="connsiteX75" fmla="*/ 25751806 w 27542354"/>
                <a:gd name="connsiteY75"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013694 w 27542354"/>
                <a:gd name="connsiteY59" fmla="*/ 2052363 h 15035524"/>
                <a:gd name="connsiteX60" fmla="*/ 16556232 w 27542354"/>
                <a:gd name="connsiteY60" fmla="*/ 2142785 h 15035524"/>
                <a:gd name="connsiteX61" fmla="*/ 16863663 w 27542354"/>
                <a:gd name="connsiteY61" fmla="*/ 1627419 h 15035524"/>
                <a:gd name="connsiteX62" fmla="*/ 17406193 w 27542354"/>
                <a:gd name="connsiteY62" fmla="*/ 1292897 h 15035524"/>
                <a:gd name="connsiteX63" fmla="*/ 18120524 w 27542354"/>
                <a:gd name="connsiteY63" fmla="*/ 714260 h 15035524"/>
                <a:gd name="connsiteX64" fmla="*/ 18744437 w 27542354"/>
                <a:gd name="connsiteY64" fmla="*/ -1 h 15035524"/>
                <a:gd name="connsiteX65" fmla="*/ 19982300 w 27542354"/>
                <a:gd name="connsiteY65" fmla="*/ 343465 h 15035524"/>
                <a:gd name="connsiteX66" fmla="*/ 19837609 w 27542354"/>
                <a:gd name="connsiteY66" fmla="*/ 1121173 h 15035524"/>
                <a:gd name="connsiteX67" fmla="*/ 21881359 w 27542354"/>
                <a:gd name="connsiteY67" fmla="*/ 1772279 h 15035524"/>
                <a:gd name="connsiteX68" fmla="*/ 21537712 w 27542354"/>
                <a:gd name="connsiteY68" fmla="*/ 2767023 h 15035524"/>
                <a:gd name="connsiteX69" fmla="*/ 22478203 w 27542354"/>
                <a:gd name="connsiteY69" fmla="*/ 2296774 h 15035524"/>
                <a:gd name="connsiteX70" fmla="*/ 23888932 w 27542354"/>
                <a:gd name="connsiteY70" fmla="*/ 1880797 h 15035524"/>
                <a:gd name="connsiteX71" fmla="*/ 25010275 w 27542354"/>
                <a:gd name="connsiteY71" fmla="*/ 578575 h 15035524"/>
                <a:gd name="connsiteX72" fmla="*/ 26402920 w 27542354"/>
                <a:gd name="connsiteY72" fmla="*/ 759442 h 15035524"/>
                <a:gd name="connsiteX73" fmla="*/ 26554742 w 27542354"/>
                <a:gd name="connsiteY73" fmla="*/ 1935039 h 15035524"/>
                <a:gd name="connsiteX74" fmla="*/ 25751806 w 27542354"/>
                <a:gd name="connsiteY74"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013694 w 27542354"/>
                <a:gd name="connsiteY59" fmla="*/ 2052363 h 15035524"/>
                <a:gd name="connsiteX60" fmla="*/ 16556232 w 27542354"/>
                <a:gd name="connsiteY60" fmla="*/ 2142785 h 15035524"/>
                <a:gd name="connsiteX61" fmla="*/ 17406193 w 27542354"/>
                <a:gd name="connsiteY61" fmla="*/ 1292897 h 15035524"/>
                <a:gd name="connsiteX62" fmla="*/ 18120524 w 27542354"/>
                <a:gd name="connsiteY62" fmla="*/ 714260 h 15035524"/>
                <a:gd name="connsiteX63" fmla="*/ 18744437 w 27542354"/>
                <a:gd name="connsiteY63" fmla="*/ -1 h 15035524"/>
                <a:gd name="connsiteX64" fmla="*/ 19982300 w 27542354"/>
                <a:gd name="connsiteY64" fmla="*/ 343465 h 15035524"/>
                <a:gd name="connsiteX65" fmla="*/ 19837609 w 27542354"/>
                <a:gd name="connsiteY65" fmla="*/ 1121173 h 15035524"/>
                <a:gd name="connsiteX66" fmla="*/ 21881359 w 27542354"/>
                <a:gd name="connsiteY66" fmla="*/ 1772279 h 15035524"/>
                <a:gd name="connsiteX67" fmla="*/ 21537712 w 27542354"/>
                <a:gd name="connsiteY67" fmla="*/ 2767023 h 15035524"/>
                <a:gd name="connsiteX68" fmla="*/ 22478203 w 27542354"/>
                <a:gd name="connsiteY68" fmla="*/ 2296774 h 15035524"/>
                <a:gd name="connsiteX69" fmla="*/ 23888932 w 27542354"/>
                <a:gd name="connsiteY69" fmla="*/ 1880797 h 15035524"/>
                <a:gd name="connsiteX70" fmla="*/ 25010275 w 27542354"/>
                <a:gd name="connsiteY70" fmla="*/ 578575 h 15035524"/>
                <a:gd name="connsiteX71" fmla="*/ 26402920 w 27542354"/>
                <a:gd name="connsiteY71" fmla="*/ 759442 h 15035524"/>
                <a:gd name="connsiteX72" fmla="*/ 26554742 w 27542354"/>
                <a:gd name="connsiteY72" fmla="*/ 1935039 h 15035524"/>
                <a:gd name="connsiteX73" fmla="*/ 25751806 w 27542354"/>
                <a:gd name="connsiteY73"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16081136 w 27542354"/>
                <a:gd name="connsiteY12" fmla="*/ 11254718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13276149 w 27542354"/>
                <a:gd name="connsiteY11" fmla="*/ 11528479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14150319 w 27542354"/>
                <a:gd name="connsiteY10" fmla="*/ 11405301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14618283 w 27542354"/>
                <a:gd name="connsiteY9" fmla="*/ 10516400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15011380 w 27542354"/>
                <a:gd name="connsiteY9" fmla="*/ 11048592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13482332 w 27542354"/>
                <a:gd name="connsiteY8" fmla="*/ 8749261 h 15035524"/>
                <a:gd name="connsiteX9" fmla="*/ 15011380 w 27542354"/>
                <a:gd name="connsiteY9" fmla="*/ 11048592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15195097 w 27542354"/>
                <a:gd name="connsiteY8" fmla="*/ 10093742 h 15035524"/>
                <a:gd name="connsiteX9" fmla="*/ 15011380 w 27542354"/>
                <a:gd name="connsiteY9" fmla="*/ 11048592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26312478 w 26619949"/>
                <a:gd name="connsiteY5" fmla="*/ 9549362 h 15035524"/>
                <a:gd name="connsiteX6" fmla="*/ 26402912 w 26619949"/>
                <a:gd name="connsiteY6" fmla="*/ 10526022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26312478 w 26619949"/>
                <a:gd name="connsiteY5" fmla="*/ 9549362 h 15035524"/>
                <a:gd name="connsiteX6" fmla="*/ 14862794 w 26619949"/>
                <a:gd name="connsiteY6" fmla="*/ 7108798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26312478 w 26619949"/>
                <a:gd name="connsiteY5" fmla="*/ 9549362 h 15035524"/>
                <a:gd name="connsiteX6" fmla="*/ 16070155 w 26619949"/>
                <a:gd name="connsiteY6" fmla="*/ 9937808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15193523 w 26619949"/>
                <a:gd name="connsiteY5" fmla="*/ 6720348 h 15035524"/>
                <a:gd name="connsiteX6" fmla="*/ 16070155 w 26619949"/>
                <a:gd name="connsiteY6" fmla="*/ 9937808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16372801 w 26619949"/>
                <a:gd name="connsiteY5" fmla="*/ 9717422 h 15035524"/>
                <a:gd name="connsiteX6" fmla="*/ 16070155 w 26619949"/>
                <a:gd name="connsiteY6" fmla="*/ 9937808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554741"/>
                <a:gd name="connsiteY0" fmla="*/ 3689425 h 15035524"/>
                <a:gd name="connsiteX1" fmla="*/ 25950755 w 26554741"/>
                <a:gd name="connsiteY1" fmla="*/ 4828850 h 15035524"/>
                <a:gd name="connsiteX2" fmla="*/ 26439085 w 26554741"/>
                <a:gd name="connsiteY2" fmla="*/ 5986362 h 15035524"/>
                <a:gd name="connsiteX3" fmla="*/ 25824148 w 26554741"/>
                <a:gd name="connsiteY3" fmla="*/ 6709813 h 15035524"/>
                <a:gd name="connsiteX4" fmla="*/ 14321716 w 26554741"/>
                <a:gd name="connsiteY4" fmla="*/ 6574229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26439085 w 26554741"/>
                <a:gd name="connsiteY2" fmla="*/ 5986362 h 15035524"/>
                <a:gd name="connsiteX3" fmla="*/ 25824148 w 26554741"/>
                <a:gd name="connsiteY3" fmla="*/ 6709813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26439085 w 26554741"/>
                <a:gd name="connsiteY2" fmla="*/ 5986362 h 15035524"/>
                <a:gd name="connsiteX3" fmla="*/ 14340183 w 26554741"/>
                <a:gd name="connsiteY3" fmla="*/ 7354046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26439085 w 26554741"/>
                <a:gd name="connsiteY2" fmla="*/ 5986362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15179740 w 26554741"/>
                <a:gd name="connsiteY2" fmla="*/ 7863038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15505685 w 26554741"/>
                <a:gd name="connsiteY1" fmla="*/ 7181691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16432262 w 26554741"/>
                <a:gd name="connsiteY1" fmla="*/ 7825917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15138264 w 26554741"/>
                <a:gd name="connsiteY0" fmla="*/ 6406394 h 15035524"/>
                <a:gd name="connsiteX1" fmla="*/ 16432262 w 26554741"/>
                <a:gd name="connsiteY1" fmla="*/ 7825917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15138264 w 26554741"/>
                <a:gd name="connsiteY72" fmla="*/ 6406394 h 15035524"/>
                <a:gd name="connsiteX0" fmla="*/ 16682563 w 26554741"/>
                <a:gd name="connsiteY0" fmla="*/ 6798531 h 15035524"/>
                <a:gd name="connsiteX1" fmla="*/ 16432262 w 26554741"/>
                <a:gd name="connsiteY1" fmla="*/ 7825917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16682563 w 26554741"/>
                <a:gd name="connsiteY72" fmla="*/ 6798531 h 15035524"/>
                <a:gd name="connsiteX0" fmla="*/ 16682563 w 26402921"/>
                <a:gd name="connsiteY0" fmla="*/ 6798531 h 15035524"/>
                <a:gd name="connsiteX1" fmla="*/ 16432262 w 26402921"/>
                <a:gd name="connsiteY1" fmla="*/ 7825917 h 15035524"/>
                <a:gd name="connsiteX2" fmla="*/ 16106317 w 26402921"/>
                <a:gd name="connsiteY2" fmla="*/ 8367221 h 15035524"/>
                <a:gd name="connsiteX3" fmla="*/ 16305649 w 26402921"/>
                <a:gd name="connsiteY3" fmla="*/ 8754550 h 15035524"/>
                <a:gd name="connsiteX4" fmla="*/ 16287189 w 26402921"/>
                <a:gd name="connsiteY4" fmla="*/ 9151157 h 15035524"/>
                <a:gd name="connsiteX5" fmla="*/ 16372801 w 26402921"/>
                <a:gd name="connsiteY5" fmla="*/ 9717422 h 15035524"/>
                <a:gd name="connsiteX6" fmla="*/ 16070155 w 26402921"/>
                <a:gd name="connsiteY6" fmla="*/ 9937808 h 15035524"/>
                <a:gd name="connsiteX7" fmla="*/ 15805690 w 26402921"/>
                <a:gd name="connsiteY7" fmla="*/ 10431999 h 15035524"/>
                <a:gd name="connsiteX8" fmla="*/ 15195097 w 26402921"/>
                <a:gd name="connsiteY8" fmla="*/ 10093742 h 15035524"/>
                <a:gd name="connsiteX9" fmla="*/ 15011380 w 26402921"/>
                <a:gd name="connsiteY9" fmla="*/ 11048592 h 15035524"/>
                <a:gd name="connsiteX10" fmla="*/ 14908430 w 26402921"/>
                <a:gd name="connsiteY10" fmla="*/ 11937487 h 15035524"/>
                <a:gd name="connsiteX11" fmla="*/ 14904684 w 26402921"/>
                <a:gd name="connsiteY11" fmla="*/ 12760926 h 15035524"/>
                <a:gd name="connsiteX12" fmla="*/ 14929927 w 26402921"/>
                <a:gd name="connsiteY12" fmla="*/ 14391846 h 15035524"/>
                <a:gd name="connsiteX13" fmla="*/ 12952786 w 26402921"/>
                <a:gd name="connsiteY13" fmla="*/ 14842599 h 15035524"/>
                <a:gd name="connsiteX14" fmla="*/ 11934663 w 26402921"/>
                <a:gd name="connsiteY14" fmla="*/ 14890849 h 15035524"/>
                <a:gd name="connsiteX15" fmla="*/ 8506848 w 26402921"/>
                <a:gd name="connsiteY15" fmla="*/ 15035524 h 15035524"/>
                <a:gd name="connsiteX16" fmla="*/ 7985095 w 26402921"/>
                <a:gd name="connsiteY16" fmla="*/ 14390442 h 15035524"/>
                <a:gd name="connsiteX17" fmla="*/ 7400308 w 26402921"/>
                <a:gd name="connsiteY17" fmla="*/ 14360297 h 15035524"/>
                <a:gd name="connsiteX18" fmla="*/ 6972273 w 26402921"/>
                <a:gd name="connsiteY18" fmla="*/ 14631594 h 15035524"/>
                <a:gd name="connsiteX19" fmla="*/ 5181729 w 26402921"/>
                <a:gd name="connsiteY19" fmla="*/ 14547195 h 15035524"/>
                <a:gd name="connsiteX20" fmla="*/ 4397998 w 26402921"/>
                <a:gd name="connsiteY20" fmla="*/ 13914178 h 15035524"/>
                <a:gd name="connsiteX21" fmla="*/ 2908896 w 26402921"/>
                <a:gd name="connsiteY21" fmla="*/ 13106324 h 15035524"/>
                <a:gd name="connsiteX22" fmla="*/ 1263043 w 26402921"/>
                <a:gd name="connsiteY22" fmla="*/ 12394931 h 15035524"/>
                <a:gd name="connsiteX23" fmla="*/ 485320 w 26402921"/>
                <a:gd name="connsiteY23" fmla="*/ 11942774 h 15035524"/>
                <a:gd name="connsiteX24" fmla="*/ 0 w 26402921"/>
                <a:gd name="connsiteY24" fmla="*/ 11649662 h 15035524"/>
                <a:gd name="connsiteX25" fmla="*/ 1003686 w 26402921"/>
                <a:gd name="connsiteY25" fmla="*/ 10903697 h 15035524"/>
                <a:gd name="connsiteX26" fmla="*/ 2902551 w 26402921"/>
                <a:gd name="connsiteY26" fmla="*/ 9719298 h 15035524"/>
                <a:gd name="connsiteX27" fmla="*/ 2558940 w 26402921"/>
                <a:gd name="connsiteY27" fmla="*/ 9185867 h 15035524"/>
                <a:gd name="connsiteX28" fmla="*/ 2402508 w 26402921"/>
                <a:gd name="connsiteY28" fmla="*/ 8498784 h 15035524"/>
                <a:gd name="connsiteX29" fmla="*/ 2730740 w 26402921"/>
                <a:gd name="connsiteY29" fmla="*/ 8471613 h 15035524"/>
                <a:gd name="connsiteX30" fmla="*/ 2947754 w 26402921"/>
                <a:gd name="connsiteY30" fmla="*/ 8001468 h 15035524"/>
                <a:gd name="connsiteX31" fmla="*/ 3499325 w 26402921"/>
                <a:gd name="connsiteY31" fmla="*/ 7558451 h 15035524"/>
                <a:gd name="connsiteX32" fmla="*/ 3680166 w 26402921"/>
                <a:gd name="connsiteY32" fmla="*/ 6681453 h 15035524"/>
                <a:gd name="connsiteX33" fmla="*/ 4186528 w 26402921"/>
                <a:gd name="connsiteY33" fmla="*/ 6690489 h 15035524"/>
                <a:gd name="connsiteX34" fmla="*/ 4837569 w 26402921"/>
                <a:gd name="connsiteY34" fmla="*/ 7160639 h 15035524"/>
                <a:gd name="connsiteX35" fmla="*/ 5352976 w 26402921"/>
                <a:gd name="connsiteY35" fmla="*/ 7079272 h 15035524"/>
                <a:gd name="connsiteX36" fmla="*/ 5741786 w 26402921"/>
                <a:gd name="connsiteY36" fmla="*/ 6708577 h 15035524"/>
                <a:gd name="connsiteX37" fmla="*/ 6157723 w 26402921"/>
                <a:gd name="connsiteY37" fmla="*/ 6545836 h 15035524"/>
                <a:gd name="connsiteX38" fmla="*/ 6745471 w 26402921"/>
                <a:gd name="connsiteY38" fmla="*/ 5976243 h 15035524"/>
                <a:gd name="connsiteX39" fmla="*/ 6890140 w 26402921"/>
                <a:gd name="connsiteY39" fmla="*/ 5126367 h 15035524"/>
                <a:gd name="connsiteX40" fmla="*/ 7568305 w 26402921"/>
                <a:gd name="connsiteY40" fmla="*/ 4556773 h 15035524"/>
                <a:gd name="connsiteX41" fmla="*/ 8137967 w 26402921"/>
                <a:gd name="connsiteY41" fmla="*/ 4113752 h 15035524"/>
                <a:gd name="connsiteX42" fmla="*/ 8463480 w 26402921"/>
                <a:gd name="connsiteY42" fmla="*/ 3309085 h 15035524"/>
                <a:gd name="connsiteX43" fmla="*/ 9024093 w 26402921"/>
                <a:gd name="connsiteY43" fmla="*/ 2956478 h 15035524"/>
                <a:gd name="connsiteX44" fmla="*/ 9675138 w 26402921"/>
                <a:gd name="connsiteY44" fmla="*/ 2603876 h 15035524"/>
                <a:gd name="connsiteX45" fmla="*/ 9558580 w 26402921"/>
                <a:gd name="connsiteY45" fmla="*/ 2055592 h 15035524"/>
                <a:gd name="connsiteX46" fmla="*/ 10353296 w 26402921"/>
                <a:gd name="connsiteY46" fmla="*/ 1383308 h 15035524"/>
                <a:gd name="connsiteX47" fmla="*/ 10832530 w 26402921"/>
                <a:gd name="connsiteY47" fmla="*/ 1310974 h 15035524"/>
                <a:gd name="connsiteX48" fmla="*/ 11058585 w 26402921"/>
                <a:gd name="connsiteY48" fmla="*/ 1763043 h 15035524"/>
                <a:gd name="connsiteX49" fmla="*/ 11411229 w 26402921"/>
                <a:gd name="connsiteY49" fmla="*/ 2142774 h 15035524"/>
                <a:gd name="connsiteX50" fmla="*/ 11998974 w 26402921"/>
                <a:gd name="connsiteY50" fmla="*/ 2224144 h 15035524"/>
                <a:gd name="connsiteX51" fmla="*/ 12315449 w 26402921"/>
                <a:gd name="connsiteY51" fmla="*/ 2884156 h 15035524"/>
                <a:gd name="connsiteX52" fmla="*/ 12785642 w 26402921"/>
                <a:gd name="connsiteY52" fmla="*/ 2703327 h 15035524"/>
                <a:gd name="connsiteX53" fmla="*/ 13671776 w 26402921"/>
                <a:gd name="connsiteY53" fmla="*/ 3155388 h 15035524"/>
                <a:gd name="connsiteX54" fmla="*/ 14123886 w 26402921"/>
                <a:gd name="connsiteY54" fmla="*/ 2857035 h 15035524"/>
                <a:gd name="connsiteX55" fmla="*/ 14259509 w 26402921"/>
                <a:gd name="connsiteY55" fmla="*/ 2287434 h 15035524"/>
                <a:gd name="connsiteX56" fmla="*/ 14892468 w 26402921"/>
                <a:gd name="connsiteY56" fmla="*/ 1645503 h 15035524"/>
                <a:gd name="connsiteX57" fmla="*/ 15778605 w 26402921"/>
                <a:gd name="connsiteY57" fmla="*/ 1093983 h 15035524"/>
                <a:gd name="connsiteX58" fmla="*/ 16022739 w 26402921"/>
                <a:gd name="connsiteY58" fmla="*/ 1564133 h 15035524"/>
                <a:gd name="connsiteX59" fmla="*/ 16556232 w 26402921"/>
                <a:gd name="connsiteY59" fmla="*/ 2142785 h 15035524"/>
                <a:gd name="connsiteX60" fmla="*/ 17406193 w 26402921"/>
                <a:gd name="connsiteY60" fmla="*/ 1292897 h 15035524"/>
                <a:gd name="connsiteX61" fmla="*/ 18120524 w 26402921"/>
                <a:gd name="connsiteY61" fmla="*/ 714260 h 15035524"/>
                <a:gd name="connsiteX62" fmla="*/ 18744437 w 26402921"/>
                <a:gd name="connsiteY62" fmla="*/ -1 h 15035524"/>
                <a:gd name="connsiteX63" fmla="*/ 19982300 w 26402921"/>
                <a:gd name="connsiteY63" fmla="*/ 343465 h 15035524"/>
                <a:gd name="connsiteX64" fmla="*/ 19837609 w 26402921"/>
                <a:gd name="connsiteY64" fmla="*/ 1121173 h 15035524"/>
                <a:gd name="connsiteX65" fmla="*/ 21881359 w 26402921"/>
                <a:gd name="connsiteY65" fmla="*/ 1772279 h 15035524"/>
                <a:gd name="connsiteX66" fmla="*/ 21537712 w 26402921"/>
                <a:gd name="connsiteY66" fmla="*/ 2767023 h 15035524"/>
                <a:gd name="connsiteX67" fmla="*/ 22478203 w 26402921"/>
                <a:gd name="connsiteY67" fmla="*/ 2296774 h 15035524"/>
                <a:gd name="connsiteX68" fmla="*/ 23888932 w 26402921"/>
                <a:gd name="connsiteY68" fmla="*/ 1880797 h 15035524"/>
                <a:gd name="connsiteX69" fmla="*/ 25010275 w 26402921"/>
                <a:gd name="connsiteY69" fmla="*/ 578575 h 15035524"/>
                <a:gd name="connsiteX70" fmla="*/ 26402920 w 26402921"/>
                <a:gd name="connsiteY70" fmla="*/ 759442 h 15035524"/>
                <a:gd name="connsiteX71" fmla="*/ 14902301 w 26402921"/>
                <a:gd name="connsiteY71" fmla="*/ 5604356 h 15035524"/>
                <a:gd name="connsiteX72" fmla="*/ 16682563 w 26402921"/>
                <a:gd name="connsiteY72" fmla="*/ 6798531 h 15035524"/>
                <a:gd name="connsiteX0" fmla="*/ 16682563 w 26402921"/>
                <a:gd name="connsiteY0" fmla="*/ 6798531 h 15035524"/>
                <a:gd name="connsiteX1" fmla="*/ 16432262 w 26402921"/>
                <a:gd name="connsiteY1" fmla="*/ 7825917 h 15035524"/>
                <a:gd name="connsiteX2" fmla="*/ 16106317 w 26402921"/>
                <a:gd name="connsiteY2" fmla="*/ 8367221 h 15035524"/>
                <a:gd name="connsiteX3" fmla="*/ 16305649 w 26402921"/>
                <a:gd name="connsiteY3" fmla="*/ 8754550 h 15035524"/>
                <a:gd name="connsiteX4" fmla="*/ 16287189 w 26402921"/>
                <a:gd name="connsiteY4" fmla="*/ 9151157 h 15035524"/>
                <a:gd name="connsiteX5" fmla="*/ 16372801 w 26402921"/>
                <a:gd name="connsiteY5" fmla="*/ 9717422 h 15035524"/>
                <a:gd name="connsiteX6" fmla="*/ 16070155 w 26402921"/>
                <a:gd name="connsiteY6" fmla="*/ 9937808 h 15035524"/>
                <a:gd name="connsiteX7" fmla="*/ 15805690 w 26402921"/>
                <a:gd name="connsiteY7" fmla="*/ 10431999 h 15035524"/>
                <a:gd name="connsiteX8" fmla="*/ 15195097 w 26402921"/>
                <a:gd name="connsiteY8" fmla="*/ 10093742 h 15035524"/>
                <a:gd name="connsiteX9" fmla="*/ 15011380 w 26402921"/>
                <a:gd name="connsiteY9" fmla="*/ 11048592 h 15035524"/>
                <a:gd name="connsiteX10" fmla="*/ 14908430 w 26402921"/>
                <a:gd name="connsiteY10" fmla="*/ 11937487 h 15035524"/>
                <a:gd name="connsiteX11" fmla="*/ 14904684 w 26402921"/>
                <a:gd name="connsiteY11" fmla="*/ 12760926 h 15035524"/>
                <a:gd name="connsiteX12" fmla="*/ 14929927 w 26402921"/>
                <a:gd name="connsiteY12" fmla="*/ 14391846 h 15035524"/>
                <a:gd name="connsiteX13" fmla="*/ 12952786 w 26402921"/>
                <a:gd name="connsiteY13" fmla="*/ 14842599 h 15035524"/>
                <a:gd name="connsiteX14" fmla="*/ 11934663 w 26402921"/>
                <a:gd name="connsiteY14" fmla="*/ 14890849 h 15035524"/>
                <a:gd name="connsiteX15" fmla="*/ 8506848 w 26402921"/>
                <a:gd name="connsiteY15" fmla="*/ 15035524 h 15035524"/>
                <a:gd name="connsiteX16" fmla="*/ 7985095 w 26402921"/>
                <a:gd name="connsiteY16" fmla="*/ 14390442 h 15035524"/>
                <a:gd name="connsiteX17" fmla="*/ 7400308 w 26402921"/>
                <a:gd name="connsiteY17" fmla="*/ 14360297 h 15035524"/>
                <a:gd name="connsiteX18" fmla="*/ 6972273 w 26402921"/>
                <a:gd name="connsiteY18" fmla="*/ 14631594 h 15035524"/>
                <a:gd name="connsiteX19" fmla="*/ 5181729 w 26402921"/>
                <a:gd name="connsiteY19" fmla="*/ 14547195 h 15035524"/>
                <a:gd name="connsiteX20" fmla="*/ 4397998 w 26402921"/>
                <a:gd name="connsiteY20" fmla="*/ 13914178 h 15035524"/>
                <a:gd name="connsiteX21" fmla="*/ 2908896 w 26402921"/>
                <a:gd name="connsiteY21" fmla="*/ 13106324 h 15035524"/>
                <a:gd name="connsiteX22" fmla="*/ 1263043 w 26402921"/>
                <a:gd name="connsiteY22" fmla="*/ 12394931 h 15035524"/>
                <a:gd name="connsiteX23" fmla="*/ 485320 w 26402921"/>
                <a:gd name="connsiteY23" fmla="*/ 11942774 h 15035524"/>
                <a:gd name="connsiteX24" fmla="*/ 0 w 26402921"/>
                <a:gd name="connsiteY24" fmla="*/ 11649662 h 15035524"/>
                <a:gd name="connsiteX25" fmla="*/ 1003686 w 26402921"/>
                <a:gd name="connsiteY25" fmla="*/ 10903697 h 15035524"/>
                <a:gd name="connsiteX26" fmla="*/ 2902551 w 26402921"/>
                <a:gd name="connsiteY26" fmla="*/ 9719298 h 15035524"/>
                <a:gd name="connsiteX27" fmla="*/ 2558940 w 26402921"/>
                <a:gd name="connsiteY27" fmla="*/ 9185867 h 15035524"/>
                <a:gd name="connsiteX28" fmla="*/ 2402508 w 26402921"/>
                <a:gd name="connsiteY28" fmla="*/ 8498784 h 15035524"/>
                <a:gd name="connsiteX29" fmla="*/ 2730740 w 26402921"/>
                <a:gd name="connsiteY29" fmla="*/ 8471613 h 15035524"/>
                <a:gd name="connsiteX30" fmla="*/ 2947754 w 26402921"/>
                <a:gd name="connsiteY30" fmla="*/ 8001468 h 15035524"/>
                <a:gd name="connsiteX31" fmla="*/ 3499325 w 26402921"/>
                <a:gd name="connsiteY31" fmla="*/ 7558451 h 15035524"/>
                <a:gd name="connsiteX32" fmla="*/ 3680166 w 26402921"/>
                <a:gd name="connsiteY32" fmla="*/ 6681453 h 15035524"/>
                <a:gd name="connsiteX33" fmla="*/ 4186528 w 26402921"/>
                <a:gd name="connsiteY33" fmla="*/ 6690489 h 15035524"/>
                <a:gd name="connsiteX34" fmla="*/ 4837569 w 26402921"/>
                <a:gd name="connsiteY34" fmla="*/ 7160639 h 15035524"/>
                <a:gd name="connsiteX35" fmla="*/ 5352976 w 26402921"/>
                <a:gd name="connsiteY35" fmla="*/ 7079272 h 15035524"/>
                <a:gd name="connsiteX36" fmla="*/ 5741786 w 26402921"/>
                <a:gd name="connsiteY36" fmla="*/ 6708577 h 15035524"/>
                <a:gd name="connsiteX37" fmla="*/ 6157723 w 26402921"/>
                <a:gd name="connsiteY37" fmla="*/ 6545836 h 15035524"/>
                <a:gd name="connsiteX38" fmla="*/ 6745471 w 26402921"/>
                <a:gd name="connsiteY38" fmla="*/ 5976243 h 15035524"/>
                <a:gd name="connsiteX39" fmla="*/ 6890140 w 26402921"/>
                <a:gd name="connsiteY39" fmla="*/ 5126367 h 15035524"/>
                <a:gd name="connsiteX40" fmla="*/ 7568305 w 26402921"/>
                <a:gd name="connsiteY40" fmla="*/ 4556773 h 15035524"/>
                <a:gd name="connsiteX41" fmla="*/ 8137967 w 26402921"/>
                <a:gd name="connsiteY41" fmla="*/ 4113752 h 15035524"/>
                <a:gd name="connsiteX42" fmla="*/ 8463480 w 26402921"/>
                <a:gd name="connsiteY42" fmla="*/ 3309085 h 15035524"/>
                <a:gd name="connsiteX43" fmla="*/ 9024093 w 26402921"/>
                <a:gd name="connsiteY43" fmla="*/ 2956478 h 15035524"/>
                <a:gd name="connsiteX44" fmla="*/ 9675138 w 26402921"/>
                <a:gd name="connsiteY44" fmla="*/ 2603876 h 15035524"/>
                <a:gd name="connsiteX45" fmla="*/ 9558580 w 26402921"/>
                <a:gd name="connsiteY45" fmla="*/ 2055592 h 15035524"/>
                <a:gd name="connsiteX46" fmla="*/ 10353296 w 26402921"/>
                <a:gd name="connsiteY46" fmla="*/ 1383308 h 15035524"/>
                <a:gd name="connsiteX47" fmla="*/ 10832530 w 26402921"/>
                <a:gd name="connsiteY47" fmla="*/ 1310974 h 15035524"/>
                <a:gd name="connsiteX48" fmla="*/ 11058585 w 26402921"/>
                <a:gd name="connsiteY48" fmla="*/ 1763043 h 15035524"/>
                <a:gd name="connsiteX49" fmla="*/ 11411229 w 26402921"/>
                <a:gd name="connsiteY49" fmla="*/ 2142774 h 15035524"/>
                <a:gd name="connsiteX50" fmla="*/ 11998974 w 26402921"/>
                <a:gd name="connsiteY50" fmla="*/ 2224144 h 15035524"/>
                <a:gd name="connsiteX51" fmla="*/ 12315449 w 26402921"/>
                <a:gd name="connsiteY51" fmla="*/ 2884156 h 15035524"/>
                <a:gd name="connsiteX52" fmla="*/ 12785642 w 26402921"/>
                <a:gd name="connsiteY52" fmla="*/ 2703327 h 15035524"/>
                <a:gd name="connsiteX53" fmla="*/ 13671776 w 26402921"/>
                <a:gd name="connsiteY53" fmla="*/ 3155388 h 15035524"/>
                <a:gd name="connsiteX54" fmla="*/ 14123886 w 26402921"/>
                <a:gd name="connsiteY54" fmla="*/ 2857035 h 15035524"/>
                <a:gd name="connsiteX55" fmla="*/ 14259509 w 26402921"/>
                <a:gd name="connsiteY55" fmla="*/ 2287434 h 15035524"/>
                <a:gd name="connsiteX56" fmla="*/ 14892468 w 26402921"/>
                <a:gd name="connsiteY56" fmla="*/ 1645503 h 15035524"/>
                <a:gd name="connsiteX57" fmla="*/ 15778605 w 26402921"/>
                <a:gd name="connsiteY57" fmla="*/ 1093983 h 15035524"/>
                <a:gd name="connsiteX58" fmla="*/ 16022739 w 26402921"/>
                <a:gd name="connsiteY58" fmla="*/ 1564133 h 15035524"/>
                <a:gd name="connsiteX59" fmla="*/ 16556232 w 26402921"/>
                <a:gd name="connsiteY59" fmla="*/ 2142785 h 15035524"/>
                <a:gd name="connsiteX60" fmla="*/ 17406193 w 26402921"/>
                <a:gd name="connsiteY60" fmla="*/ 1292897 h 15035524"/>
                <a:gd name="connsiteX61" fmla="*/ 18120524 w 26402921"/>
                <a:gd name="connsiteY61" fmla="*/ 714260 h 15035524"/>
                <a:gd name="connsiteX62" fmla="*/ 18744437 w 26402921"/>
                <a:gd name="connsiteY62" fmla="*/ -1 h 15035524"/>
                <a:gd name="connsiteX63" fmla="*/ 19982300 w 26402921"/>
                <a:gd name="connsiteY63" fmla="*/ 343465 h 15035524"/>
                <a:gd name="connsiteX64" fmla="*/ 19837609 w 26402921"/>
                <a:gd name="connsiteY64" fmla="*/ 1121173 h 15035524"/>
                <a:gd name="connsiteX65" fmla="*/ 21881359 w 26402921"/>
                <a:gd name="connsiteY65" fmla="*/ 1772279 h 15035524"/>
                <a:gd name="connsiteX66" fmla="*/ 21537712 w 26402921"/>
                <a:gd name="connsiteY66" fmla="*/ 2767023 h 15035524"/>
                <a:gd name="connsiteX67" fmla="*/ 22478203 w 26402921"/>
                <a:gd name="connsiteY67" fmla="*/ 2296774 h 15035524"/>
                <a:gd name="connsiteX68" fmla="*/ 23888932 w 26402921"/>
                <a:gd name="connsiteY68" fmla="*/ 1880797 h 15035524"/>
                <a:gd name="connsiteX69" fmla="*/ 25010275 w 26402921"/>
                <a:gd name="connsiteY69" fmla="*/ 578575 h 15035524"/>
                <a:gd name="connsiteX70" fmla="*/ 26402920 w 26402921"/>
                <a:gd name="connsiteY70" fmla="*/ 759442 h 15035524"/>
                <a:gd name="connsiteX71" fmla="*/ 16362364 w 26402921"/>
                <a:gd name="connsiteY71" fmla="*/ 6360628 h 15035524"/>
                <a:gd name="connsiteX72" fmla="*/ 16682563 w 26402921"/>
                <a:gd name="connsiteY72" fmla="*/ 6798531 h 15035524"/>
                <a:gd name="connsiteX0" fmla="*/ 16682563 w 25010275"/>
                <a:gd name="connsiteY0" fmla="*/ 6798531 h 15035524"/>
                <a:gd name="connsiteX1" fmla="*/ 16432262 w 25010275"/>
                <a:gd name="connsiteY1" fmla="*/ 7825917 h 15035524"/>
                <a:gd name="connsiteX2" fmla="*/ 16106317 w 25010275"/>
                <a:gd name="connsiteY2" fmla="*/ 8367221 h 15035524"/>
                <a:gd name="connsiteX3" fmla="*/ 16305649 w 25010275"/>
                <a:gd name="connsiteY3" fmla="*/ 8754550 h 15035524"/>
                <a:gd name="connsiteX4" fmla="*/ 16287189 w 25010275"/>
                <a:gd name="connsiteY4" fmla="*/ 9151157 h 15035524"/>
                <a:gd name="connsiteX5" fmla="*/ 16372801 w 25010275"/>
                <a:gd name="connsiteY5" fmla="*/ 9717422 h 15035524"/>
                <a:gd name="connsiteX6" fmla="*/ 16070155 w 25010275"/>
                <a:gd name="connsiteY6" fmla="*/ 9937808 h 15035524"/>
                <a:gd name="connsiteX7" fmla="*/ 15805690 w 25010275"/>
                <a:gd name="connsiteY7" fmla="*/ 10431999 h 15035524"/>
                <a:gd name="connsiteX8" fmla="*/ 15195097 w 25010275"/>
                <a:gd name="connsiteY8" fmla="*/ 10093742 h 15035524"/>
                <a:gd name="connsiteX9" fmla="*/ 15011380 w 25010275"/>
                <a:gd name="connsiteY9" fmla="*/ 11048592 h 15035524"/>
                <a:gd name="connsiteX10" fmla="*/ 14908430 w 25010275"/>
                <a:gd name="connsiteY10" fmla="*/ 11937487 h 15035524"/>
                <a:gd name="connsiteX11" fmla="*/ 14904684 w 25010275"/>
                <a:gd name="connsiteY11" fmla="*/ 12760926 h 15035524"/>
                <a:gd name="connsiteX12" fmla="*/ 14929927 w 25010275"/>
                <a:gd name="connsiteY12" fmla="*/ 14391846 h 15035524"/>
                <a:gd name="connsiteX13" fmla="*/ 12952786 w 25010275"/>
                <a:gd name="connsiteY13" fmla="*/ 14842599 h 15035524"/>
                <a:gd name="connsiteX14" fmla="*/ 11934663 w 25010275"/>
                <a:gd name="connsiteY14" fmla="*/ 14890849 h 15035524"/>
                <a:gd name="connsiteX15" fmla="*/ 8506848 w 25010275"/>
                <a:gd name="connsiteY15" fmla="*/ 15035524 h 15035524"/>
                <a:gd name="connsiteX16" fmla="*/ 7985095 w 25010275"/>
                <a:gd name="connsiteY16" fmla="*/ 14390442 h 15035524"/>
                <a:gd name="connsiteX17" fmla="*/ 7400308 w 25010275"/>
                <a:gd name="connsiteY17" fmla="*/ 14360297 h 15035524"/>
                <a:gd name="connsiteX18" fmla="*/ 6972273 w 25010275"/>
                <a:gd name="connsiteY18" fmla="*/ 14631594 h 15035524"/>
                <a:gd name="connsiteX19" fmla="*/ 5181729 w 25010275"/>
                <a:gd name="connsiteY19" fmla="*/ 14547195 h 15035524"/>
                <a:gd name="connsiteX20" fmla="*/ 4397998 w 25010275"/>
                <a:gd name="connsiteY20" fmla="*/ 13914178 h 15035524"/>
                <a:gd name="connsiteX21" fmla="*/ 2908896 w 25010275"/>
                <a:gd name="connsiteY21" fmla="*/ 13106324 h 15035524"/>
                <a:gd name="connsiteX22" fmla="*/ 1263043 w 25010275"/>
                <a:gd name="connsiteY22" fmla="*/ 12394931 h 15035524"/>
                <a:gd name="connsiteX23" fmla="*/ 485320 w 25010275"/>
                <a:gd name="connsiteY23" fmla="*/ 11942774 h 15035524"/>
                <a:gd name="connsiteX24" fmla="*/ 0 w 25010275"/>
                <a:gd name="connsiteY24" fmla="*/ 11649662 h 15035524"/>
                <a:gd name="connsiteX25" fmla="*/ 1003686 w 25010275"/>
                <a:gd name="connsiteY25" fmla="*/ 10903697 h 15035524"/>
                <a:gd name="connsiteX26" fmla="*/ 2902551 w 25010275"/>
                <a:gd name="connsiteY26" fmla="*/ 9719298 h 15035524"/>
                <a:gd name="connsiteX27" fmla="*/ 2558940 w 25010275"/>
                <a:gd name="connsiteY27" fmla="*/ 9185867 h 15035524"/>
                <a:gd name="connsiteX28" fmla="*/ 2402508 w 25010275"/>
                <a:gd name="connsiteY28" fmla="*/ 8498784 h 15035524"/>
                <a:gd name="connsiteX29" fmla="*/ 2730740 w 25010275"/>
                <a:gd name="connsiteY29" fmla="*/ 8471613 h 15035524"/>
                <a:gd name="connsiteX30" fmla="*/ 2947754 w 25010275"/>
                <a:gd name="connsiteY30" fmla="*/ 8001468 h 15035524"/>
                <a:gd name="connsiteX31" fmla="*/ 3499325 w 25010275"/>
                <a:gd name="connsiteY31" fmla="*/ 7558451 h 15035524"/>
                <a:gd name="connsiteX32" fmla="*/ 3680166 w 25010275"/>
                <a:gd name="connsiteY32" fmla="*/ 6681453 h 15035524"/>
                <a:gd name="connsiteX33" fmla="*/ 4186528 w 25010275"/>
                <a:gd name="connsiteY33" fmla="*/ 6690489 h 15035524"/>
                <a:gd name="connsiteX34" fmla="*/ 4837569 w 25010275"/>
                <a:gd name="connsiteY34" fmla="*/ 7160639 h 15035524"/>
                <a:gd name="connsiteX35" fmla="*/ 5352976 w 25010275"/>
                <a:gd name="connsiteY35" fmla="*/ 7079272 h 15035524"/>
                <a:gd name="connsiteX36" fmla="*/ 5741786 w 25010275"/>
                <a:gd name="connsiteY36" fmla="*/ 6708577 h 15035524"/>
                <a:gd name="connsiteX37" fmla="*/ 6157723 w 25010275"/>
                <a:gd name="connsiteY37" fmla="*/ 6545836 h 15035524"/>
                <a:gd name="connsiteX38" fmla="*/ 6745471 w 25010275"/>
                <a:gd name="connsiteY38" fmla="*/ 5976243 h 15035524"/>
                <a:gd name="connsiteX39" fmla="*/ 6890140 w 25010275"/>
                <a:gd name="connsiteY39" fmla="*/ 5126367 h 15035524"/>
                <a:gd name="connsiteX40" fmla="*/ 7568305 w 25010275"/>
                <a:gd name="connsiteY40" fmla="*/ 4556773 h 15035524"/>
                <a:gd name="connsiteX41" fmla="*/ 8137967 w 25010275"/>
                <a:gd name="connsiteY41" fmla="*/ 4113752 h 15035524"/>
                <a:gd name="connsiteX42" fmla="*/ 8463480 w 25010275"/>
                <a:gd name="connsiteY42" fmla="*/ 3309085 h 15035524"/>
                <a:gd name="connsiteX43" fmla="*/ 9024093 w 25010275"/>
                <a:gd name="connsiteY43" fmla="*/ 2956478 h 15035524"/>
                <a:gd name="connsiteX44" fmla="*/ 9675138 w 25010275"/>
                <a:gd name="connsiteY44" fmla="*/ 2603876 h 15035524"/>
                <a:gd name="connsiteX45" fmla="*/ 9558580 w 25010275"/>
                <a:gd name="connsiteY45" fmla="*/ 2055592 h 15035524"/>
                <a:gd name="connsiteX46" fmla="*/ 10353296 w 25010275"/>
                <a:gd name="connsiteY46" fmla="*/ 1383308 h 15035524"/>
                <a:gd name="connsiteX47" fmla="*/ 10832530 w 25010275"/>
                <a:gd name="connsiteY47" fmla="*/ 1310974 h 15035524"/>
                <a:gd name="connsiteX48" fmla="*/ 11058585 w 25010275"/>
                <a:gd name="connsiteY48" fmla="*/ 1763043 h 15035524"/>
                <a:gd name="connsiteX49" fmla="*/ 11411229 w 25010275"/>
                <a:gd name="connsiteY49" fmla="*/ 2142774 h 15035524"/>
                <a:gd name="connsiteX50" fmla="*/ 11998974 w 25010275"/>
                <a:gd name="connsiteY50" fmla="*/ 2224144 h 15035524"/>
                <a:gd name="connsiteX51" fmla="*/ 12315449 w 25010275"/>
                <a:gd name="connsiteY51" fmla="*/ 2884156 h 15035524"/>
                <a:gd name="connsiteX52" fmla="*/ 12785642 w 25010275"/>
                <a:gd name="connsiteY52" fmla="*/ 2703327 h 15035524"/>
                <a:gd name="connsiteX53" fmla="*/ 13671776 w 25010275"/>
                <a:gd name="connsiteY53" fmla="*/ 3155388 h 15035524"/>
                <a:gd name="connsiteX54" fmla="*/ 14123886 w 25010275"/>
                <a:gd name="connsiteY54" fmla="*/ 2857035 h 15035524"/>
                <a:gd name="connsiteX55" fmla="*/ 14259509 w 25010275"/>
                <a:gd name="connsiteY55" fmla="*/ 2287434 h 15035524"/>
                <a:gd name="connsiteX56" fmla="*/ 14892468 w 25010275"/>
                <a:gd name="connsiteY56" fmla="*/ 1645503 h 15035524"/>
                <a:gd name="connsiteX57" fmla="*/ 15778605 w 25010275"/>
                <a:gd name="connsiteY57" fmla="*/ 1093983 h 15035524"/>
                <a:gd name="connsiteX58" fmla="*/ 16022739 w 25010275"/>
                <a:gd name="connsiteY58" fmla="*/ 1564133 h 15035524"/>
                <a:gd name="connsiteX59" fmla="*/ 16556232 w 25010275"/>
                <a:gd name="connsiteY59" fmla="*/ 2142785 h 15035524"/>
                <a:gd name="connsiteX60" fmla="*/ 17406193 w 25010275"/>
                <a:gd name="connsiteY60" fmla="*/ 1292897 h 15035524"/>
                <a:gd name="connsiteX61" fmla="*/ 18120524 w 25010275"/>
                <a:gd name="connsiteY61" fmla="*/ 714260 h 15035524"/>
                <a:gd name="connsiteX62" fmla="*/ 18744437 w 25010275"/>
                <a:gd name="connsiteY62" fmla="*/ -1 h 15035524"/>
                <a:gd name="connsiteX63" fmla="*/ 19982300 w 25010275"/>
                <a:gd name="connsiteY63" fmla="*/ 343465 h 15035524"/>
                <a:gd name="connsiteX64" fmla="*/ 19837609 w 25010275"/>
                <a:gd name="connsiteY64" fmla="*/ 1121173 h 15035524"/>
                <a:gd name="connsiteX65" fmla="*/ 21881359 w 25010275"/>
                <a:gd name="connsiteY65" fmla="*/ 1772279 h 15035524"/>
                <a:gd name="connsiteX66" fmla="*/ 21537712 w 25010275"/>
                <a:gd name="connsiteY66" fmla="*/ 2767023 h 15035524"/>
                <a:gd name="connsiteX67" fmla="*/ 22478203 w 25010275"/>
                <a:gd name="connsiteY67" fmla="*/ 2296774 h 15035524"/>
                <a:gd name="connsiteX68" fmla="*/ 23888932 w 25010275"/>
                <a:gd name="connsiteY68" fmla="*/ 1880797 h 15035524"/>
                <a:gd name="connsiteX69" fmla="*/ 25010275 w 25010275"/>
                <a:gd name="connsiteY69" fmla="*/ 578575 h 15035524"/>
                <a:gd name="connsiteX70" fmla="*/ 14750481 w 25010275"/>
                <a:gd name="connsiteY70" fmla="*/ 5913293 h 15035524"/>
                <a:gd name="connsiteX71" fmla="*/ 16362364 w 25010275"/>
                <a:gd name="connsiteY71" fmla="*/ 6360628 h 15035524"/>
                <a:gd name="connsiteX72" fmla="*/ 16682563 w 25010275"/>
                <a:gd name="connsiteY72" fmla="*/ 6798531 h 15035524"/>
                <a:gd name="connsiteX0" fmla="*/ 16682563 w 25010275"/>
                <a:gd name="connsiteY0" fmla="*/ 6798531 h 15035524"/>
                <a:gd name="connsiteX1" fmla="*/ 16432262 w 25010275"/>
                <a:gd name="connsiteY1" fmla="*/ 7825917 h 15035524"/>
                <a:gd name="connsiteX2" fmla="*/ 16106317 w 25010275"/>
                <a:gd name="connsiteY2" fmla="*/ 8367221 h 15035524"/>
                <a:gd name="connsiteX3" fmla="*/ 16305649 w 25010275"/>
                <a:gd name="connsiteY3" fmla="*/ 8754550 h 15035524"/>
                <a:gd name="connsiteX4" fmla="*/ 16287189 w 25010275"/>
                <a:gd name="connsiteY4" fmla="*/ 9151157 h 15035524"/>
                <a:gd name="connsiteX5" fmla="*/ 16372801 w 25010275"/>
                <a:gd name="connsiteY5" fmla="*/ 9717422 h 15035524"/>
                <a:gd name="connsiteX6" fmla="*/ 16070155 w 25010275"/>
                <a:gd name="connsiteY6" fmla="*/ 9937808 h 15035524"/>
                <a:gd name="connsiteX7" fmla="*/ 15805690 w 25010275"/>
                <a:gd name="connsiteY7" fmla="*/ 10431999 h 15035524"/>
                <a:gd name="connsiteX8" fmla="*/ 15195097 w 25010275"/>
                <a:gd name="connsiteY8" fmla="*/ 10093742 h 15035524"/>
                <a:gd name="connsiteX9" fmla="*/ 15011380 w 25010275"/>
                <a:gd name="connsiteY9" fmla="*/ 11048592 h 15035524"/>
                <a:gd name="connsiteX10" fmla="*/ 14908430 w 25010275"/>
                <a:gd name="connsiteY10" fmla="*/ 11937487 h 15035524"/>
                <a:gd name="connsiteX11" fmla="*/ 14904684 w 25010275"/>
                <a:gd name="connsiteY11" fmla="*/ 12760926 h 15035524"/>
                <a:gd name="connsiteX12" fmla="*/ 14929927 w 25010275"/>
                <a:gd name="connsiteY12" fmla="*/ 14391846 h 15035524"/>
                <a:gd name="connsiteX13" fmla="*/ 12952786 w 25010275"/>
                <a:gd name="connsiteY13" fmla="*/ 14842599 h 15035524"/>
                <a:gd name="connsiteX14" fmla="*/ 11934663 w 25010275"/>
                <a:gd name="connsiteY14" fmla="*/ 14890849 h 15035524"/>
                <a:gd name="connsiteX15" fmla="*/ 8506848 w 25010275"/>
                <a:gd name="connsiteY15" fmla="*/ 15035524 h 15035524"/>
                <a:gd name="connsiteX16" fmla="*/ 7985095 w 25010275"/>
                <a:gd name="connsiteY16" fmla="*/ 14390442 h 15035524"/>
                <a:gd name="connsiteX17" fmla="*/ 7400308 w 25010275"/>
                <a:gd name="connsiteY17" fmla="*/ 14360297 h 15035524"/>
                <a:gd name="connsiteX18" fmla="*/ 6972273 w 25010275"/>
                <a:gd name="connsiteY18" fmla="*/ 14631594 h 15035524"/>
                <a:gd name="connsiteX19" fmla="*/ 5181729 w 25010275"/>
                <a:gd name="connsiteY19" fmla="*/ 14547195 h 15035524"/>
                <a:gd name="connsiteX20" fmla="*/ 4397998 w 25010275"/>
                <a:gd name="connsiteY20" fmla="*/ 13914178 h 15035524"/>
                <a:gd name="connsiteX21" fmla="*/ 2908896 w 25010275"/>
                <a:gd name="connsiteY21" fmla="*/ 13106324 h 15035524"/>
                <a:gd name="connsiteX22" fmla="*/ 1263043 w 25010275"/>
                <a:gd name="connsiteY22" fmla="*/ 12394931 h 15035524"/>
                <a:gd name="connsiteX23" fmla="*/ 485320 w 25010275"/>
                <a:gd name="connsiteY23" fmla="*/ 11942774 h 15035524"/>
                <a:gd name="connsiteX24" fmla="*/ 0 w 25010275"/>
                <a:gd name="connsiteY24" fmla="*/ 11649662 h 15035524"/>
                <a:gd name="connsiteX25" fmla="*/ 1003686 w 25010275"/>
                <a:gd name="connsiteY25" fmla="*/ 10903697 h 15035524"/>
                <a:gd name="connsiteX26" fmla="*/ 2902551 w 25010275"/>
                <a:gd name="connsiteY26" fmla="*/ 9719298 h 15035524"/>
                <a:gd name="connsiteX27" fmla="*/ 2558940 w 25010275"/>
                <a:gd name="connsiteY27" fmla="*/ 9185867 h 15035524"/>
                <a:gd name="connsiteX28" fmla="*/ 2402508 w 25010275"/>
                <a:gd name="connsiteY28" fmla="*/ 8498784 h 15035524"/>
                <a:gd name="connsiteX29" fmla="*/ 2730740 w 25010275"/>
                <a:gd name="connsiteY29" fmla="*/ 8471613 h 15035524"/>
                <a:gd name="connsiteX30" fmla="*/ 2947754 w 25010275"/>
                <a:gd name="connsiteY30" fmla="*/ 8001468 h 15035524"/>
                <a:gd name="connsiteX31" fmla="*/ 3499325 w 25010275"/>
                <a:gd name="connsiteY31" fmla="*/ 7558451 h 15035524"/>
                <a:gd name="connsiteX32" fmla="*/ 3680166 w 25010275"/>
                <a:gd name="connsiteY32" fmla="*/ 6681453 h 15035524"/>
                <a:gd name="connsiteX33" fmla="*/ 4186528 w 25010275"/>
                <a:gd name="connsiteY33" fmla="*/ 6690489 h 15035524"/>
                <a:gd name="connsiteX34" fmla="*/ 4837569 w 25010275"/>
                <a:gd name="connsiteY34" fmla="*/ 7160639 h 15035524"/>
                <a:gd name="connsiteX35" fmla="*/ 5352976 w 25010275"/>
                <a:gd name="connsiteY35" fmla="*/ 7079272 h 15035524"/>
                <a:gd name="connsiteX36" fmla="*/ 5741786 w 25010275"/>
                <a:gd name="connsiteY36" fmla="*/ 6708577 h 15035524"/>
                <a:gd name="connsiteX37" fmla="*/ 6157723 w 25010275"/>
                <a:gd name="connsiteY37" fmla="*/ 6545836 h 15035524"/>
                <a:gd name="connsiteX38" fmla="*/ 6745471 w 25010275"/>
                <a:gd name="connsiteY38" fmla="*/ 5976243 h 15035524"/>
                <a:gd name="connsiteX39" fmla="*/ 6890140 w 25010275"/>
                <a:gd name="connsiteY39" fmla="*/ 5126367 h 15035524"/>
                <a:gd name="connsiteX40" fmla="*/ 7568305 w 25010275"/>
                <a:gd name="connsiteY40" fmla="*/ 4556773 h 15035524"/>
                <a:gd name="connsiteX41" fmla="*/ 8137967 w 25010275"/>
                <a:gd name="connsiteY41" fmla="*/ 4113752 h 15035524"/>
                <a:gd name="connsiteX42" fmla="*/ 8463480 w 25010275"/>
                <a:gd name="connsiteY42" fmla="*/ 3309085 h 15035524"/>
                <a:gd name="connsiteX43" fmla="*/ 9024093 w 25010275"/>
                <a:gd name="connsiteY43" fmla="*/ 2956478 h 15035524"/>
                <a:gd name="connsiteX44" fmla="*/ 9675138 w 25010275"/>
                <a:gd name="connsiteY44" fmla="*/ 2603876 h 15035524"/>
                <a:gd name="connsiteX45" fmla="*/ 9558580 w 25010275"/>
                <a:gd name="connsiteY45" fmla="*/ 2055592 h 15035524"/>
                <a:gd name="connsiteX46" fmla="*/ 10353296 w 25010275"/>
                <a:gd name="connsiteY46" fmla="*/ 1383308 h 15035524"/>
                <a:gd name="connsiteX47" fmla="*/ 10832530 w 25010275"/>
                <a:gd name="connsiteY47" fmla="*/ 1310974 h 15035524"/>
                <a:gd name="connsiteX48" fmla="*/ 11058585 w 25010275"/>
                <a:gd name="connsiteY48" fmla="*/ 1763043 h 15035524"/>
                <a:gd name="connsiteX49" fmla="*/ 11411229 w 25010275"/>
                <a:gd name="connsiteY49" fmla="*/ 2142774 h 15035524"/>
                <a:gd name="connsiteX50" fmla="*/ 11998974 w 25010275"/>
                <a:gd name="connsiteY50" fmla="*/ 2224144 h 15035524"/>
                <a:gd name="connsiteX51" fmla="*/ 12315449 w 25010275"/>
                <a:gd name="connsiteY51" fmla="*/ 2884156 h 15035524"/>
                <a:gd name="connsiteX52" fmla="*/ 12785642 w 25010275"/>
                <a:gd name="connsiteY52" fmla="*/ 2703327 h 15035524"/>
                <a:gd name="connsiteX53" fmla="*/ 13671776 w 25010275"/>
                <a:gd name="connsiteY53" fmla="*/ 3155388 h 15035524"/>
                <a:gd name="connsiteX54" fmla="*/ 14123886 w 25010275"/>
                <a:gd name="connsiteY54" fmla="*/ 2857035 h 15035524"/>
                <a:gd name="connsiteX55" fmla="*/ 14259509 w 25010275"/>
                <a:gd name="connsiteY55" fmla="*/ 2287434 h 15035524"/>
                <a:gd name="connsiteX56" fmla="*/ 14892468 w 25010275"/>
                <a:gd name="connsiteY56" fmla="*/ 1645503 h 15035524"/>
                <a:gd name="connsiteX57" fmla="*/ 15778605 w 25010275"/>
                <a:gd name="connsiteY57" fmla="*/ 1093983 h 15035524"/>
                <a:gd name="connsiteX58" fmla="*/ 16022739 w 25010275"/>
                <a:gd name="connsiteY58" fmla="*/ 1564133 h 15035524"/>
                <a:gd name="connsiteX59" fmla="*/ 16556232 w 25010275"/>
                <a:gd name="connsiteY59" fmla="*/ 2142785 h 15035524"/>
                <a:gd name="connsiteX60" fmla="*/ 17406193 w 25010275"/>
                <a:gd name="connsiteY60" fmla="*/ 1292897 h 15035524"/>
                <a:gd name="connsiteX61" fmla="*/ 18120524 w 25010275"/>
                <a:gd name="connsiteY61" fmla="*/ 714260 h 15035524"/>
                <a:gd name="connsiteX62" fmla="*/ 18744437 w 25010275"/>
                <a:gd name="connsiteY62" fmla="*/ -1 h 15035524"/>
                <a:gd name="connsiteX63" fmla="*/ 19982300 w 25010275"/>
                <a:gd name="connsiteY63" fmla="*/ 343465 h 15035524"/>
                <a:gd name="connsiteX64" fmla="*/ 19837609 w 25010275"/>
                <a:gd name="connsiteY64" fmla="*/ 1121173 h 15035524"/>
                <a:gd name="connsiteX65" fmla="*/ 21881359 w 25010275"/>
                <a:gd name="connsiteY65" fmla="*/ 1772279 h 15035524"/>
                <a:gd name="connsiteX66" fmla="*/ 21537712 w 25010275"/>
                <a:gd name="connsiteY66" fmla="*/ 2767023 h 15035524"/>
                <a:gd name="connsiteX67" fmla="*/ 22478203 w 25010275"/>
                <a:gd name="connsiteY67" fmla="*/ 2296774 h 15035524"/>
                <a:gd name="connsiteX68" fmla="*/ 23888932 w 25010275"/>
                <a:gd name="connsiteY68" fmla="*/ 1880797 h 15035524"/>
                <a:gd name="connsiteX69" fmla="*/ 25010275 w 25010275"/>
                <a:gd name="connsiteY69" fmla="*/ 578575 h 15035524"/>
                <a:gd name="connsiteX70" fmla="*/ 16350939 w 25010275"/>
                <a:gd name="connsiteY70" fmla="*/ 6053348 h 15035524"/>
                <a:gd name="connsiteX71" fmla="*/ 16362364 w 25010275"/>
                <a:gd name="connsiteY71" fmla="*/ 6360628 h 15035524"/>
                <a:gd name="connsiteX72" fmla="*/ 16682563 w 25010275"/>
                <a:gd name="connsiteY72" fmla="*/ 6798531 h 15035524"/>
                <a:gd name="connsiteX0" fmla="*/ 16682563 w 23888933"/>
                <a:gd name="connsiteY0" fmla="*/ 6798531 h 15035524"/>
                <a:gd name="connsiteX1" fmla="*/ 16432262 w 23888933"/>
                <a:gd name="connsiteY1" fmla="*/ 7825917 h 15035524"/>
                <a:gd name="connsiteX2" fmla="*/ 16106317 w 23888933"/>
                <a:gd name="connsiteY2" fmla="*/ 8367221 h 15035524"/>
                <a:gd name="connsiteX3" fmla="*/ 16305649 w 23888933"/>
                <a:gd name="connsiteY3" fmla="*/ 8754550 h 15035524"/>
                <a:gd name="connsiteX4" fmla="*/ 16287189 w 23888933"/>
                <a:gd name="connsiteY4" fmla="*/ 9151157 h 15035524"/>
                <a:gd name="connsiteX5" fmla="*/ 16372801 w 23888933"/>
                <a:gd name="connsiteY5" fmla="*/ 9717422 h 15035524"/>
                <a:gd name="connsiteX6" fmla="*/ 16070155 w 23888933"/>
                <a:gd name="connsiteY6" fmla="*/ 9937808 h 15035524"/>
                <a:gd name="connsiteX7" fmla="*/ 15805690 w 23888933"/>
                <a:gd name="connsiteY7" fmla="*/ 10431999 h 15035524"/>
                <a:gd name="connsiteX8" fmla="*/ 15195097 w 23888933"/>
                <a:gd name="connsiteY8" fmla="*/ 10093742 h 15035524"/>
                <a:gd name="connsiteX9" fmla="*/ 15011380 w 23888933"/>
                <a:gd name="connsiteY9" fmla="*/ 11048592 h 15035524"/>
                <a:gd name="connsiteX10" fmla="*/ 14908430 w 23888933"/>
                <a:gd name="connsiteY10" fmla="*/ 11937487 h 15035524"/>
                <a:gd name="connsiteX11" fmla="*/ 14904684 w 23888933"/>
                <a:gd name="connsiteY11" fmla="*/ 12760926 h 15035524"/>
                <a:gd name="connsiteX12" fmla="*/ 14929927 w 23888933"/>
                <a:gd name="connsiteY12" fmla="*/ 14391846 h 15035524"/>
                <a:gd name="connsiteX13" fmla="*/ 12952786 w 23888933"/>
                <a:gd name="connsiteY13" fmla="*/ 14842599 h 15035524"/>
                <a:gd name="connsiteX14" fmla="*/ 11934663 w 23888933"/>
                <a:gd name="connsiteY14" fmla="*/ 14890849 h 15035524"/>
                <a:gd name="connsiteX15" fmla="*/ 8506848 w 23888933"/>
                <a:gd name="connsiteY15" fmla="*/ 15035524 h 15035524"/>
                <a:gd name="connsiteX16" fmla="*/ 7985095 w 23888933"/>
                <a:gd name="connsiteY16" fmla="*/ 14390442 h 15035524"/>
                <a:gd name="connsiteX17" fmla="*/ 7400308 w 23888933"/>
                <a:gd name="connsiteY17" fmla="*/ 14360297 h 15035524"/>
                <a:gd name="connsiteX18" fmla="*/ 6972273 w 23888933"/>
                <a:gd name="connsiteY18" fmla="*/ 14631594 h 15035524"/>
                <a:gd name="connsiteX19" fmla="*/ 5181729 w 23888933"/>
                <a:gd name="connsiteY19" fmla="*/ 14547195 h 15035524"/>
                <a:gd name="connsiteX20" fmla="*/ 4397998 w 23888933"/>
                <a:gd name="connsiteY20" fmla="*/ 13914178 h 15035524"/>
                <a:gd name="connsiteX21" fmla="*/ 2908896 w 23888933"/>
                <a:gd name="connsiteY21" fmla="*/ 13106324 h 15035524"/>
                <a:gd name="connsiteX22" fmla="*/ 1263043 w 23888933"/>
                <a:gd name="connsiteY22" fmla="*/ 12394931 h 15035524"/>
                <a:gd name="connsiteX23" fmla="*/ 485320 w 23888933"/>
                <a:gd name="connsiteY23" fmla="*/ 11942774 h 15035524"/>
                <a:gd name="connsiteX24" fmla="*/ 0 w 23888933"/>
                <a:gd name="connsiteY24" fmla="*/ 11649662 h 15035524"/>
                <a:gd name="connsiteX25" fmla="*/ 1003686 w 23888933"/>
                <a:gd name="connsiteY25" fmla="*/ 10903697 h 15035524"/>
                <a:gd name="connsiteX26" fmla="*/ 2902551 w 23888933"/>
                <a:gd name="connsiteY26" fmla="*/ 9719298 h 15035524"/>
                <a:gd name="connsiteX27" fmla="*/ 2558940 w 23888933"/>
                <a:gd name="connsiteY27" fmla="*/ 9185867 h 15035524"/>
                <a:gd name="connsiteX28" fmla="*/ 2402508 w 23888933"/>
                <a:gd name="connsiteY28" fmla="*/ 8498784 h 15035524"/>
                <a:gd name="connsiteX29" fmla="*/ 2730740 w 23888933"/>
                <a:gd name="connsiteY29" fmla="*/ 8471613 h 15035524"/>
                <a:gd name="connsiteX30" fmla="*/ 2947754 w 23888933"/>
                <a:gd name="connsiteY30" fmla="*/ 8001468 h 15035524"/>
                <a:gd name="connsiteX31" fmla="*/ 3499325 w 23888933"/>
                <a:gd name="connsiteY31" fmla="*/ 7558451 h 15035524"/>
                <a:gd name="connsiteX32" fmla="*/ 3680166 w 23888933"/>
                <a:gd name="connsiteY32" fmla="*/ 6681453 h 15035524"/>
                <a:gd name="connsiteX33" fmla="*/ 4186528 w 23888933"/>
                <a:gd name="connsiteY33" fmla="*/ 6690489 h 15035524"/>
                <a:gd name="connsiteX34" fmla="*/ 4837569 w 23888933"/>
                <a:gd name="connsiteY34" fmla="*/ 7160639 h 15035524"/>
                <a:gd name="connsiteX35" fmla="*/ 5352976 w 23888933"/>
                <a:gd name="connsiteY35" fmla="*/ 7079272 h 15035524"/>
                <a:gd name="connsiteX36" fmla="*/ 5741786 w 23888933"/>
                <a:gd name="connsiteY36" fmla="*/ 6708577 h 15035524"/>
                <a:gd name="connsiteX37" fmla="*/ 6157723 w 23888933"/>
                <a:gd name="connsiteY37" fmla="*/ 6545836 h 15035524"/>
                <a:gd name="connsiteX38" fmla="*/ 6745471 w 23888933"/>
                <a:gd name="connsiteY38" fmla="*/ 5976243 h 15035524"/>
                <a:gd name="connsiteX39" fmla="*/ 6890140 w 23888933"/>
                <a:gd name="connsiteY39" fmla="*/ 5126367 h 15035524"/>
                <a:gd name="connsiteX40" fmla="*/ 7568305 w 23888933"/>
                <a:gd name="connsiteY40" fmla="*/ 4556773 h 15035524"/>
                <a:gd name="connsiteX41" fmla="*/ 8137967 w 23888933"/>
                <a:gd name="connsiteY41" fmla="*/ 4113752 h 15035524"/>
                <a:gd name="connsiteX42" fmla="*/ 8463480 w 23888933"/>
                <a:gd name="connsiteY42" fmla="*/ 3309085 h 15035524"/>
                <a:gd name="connsiteX43" fmla="*/ 9024093 w 23888933"/>
                <a:gd name="connsiteY43" fmla="*/ 2956478 h 15035524"/>
                <a:gd name="connsiteX44" fmla="*/ 9675138 w 23888933"/>
                <a:gd name="connsiteY44" fmla="*/ 2603876 h 15035524"/>
                <a:gd name="connsiteX45" fmla="*/ 9558580 w 23888933"/>
                <a:gd name="connsiteY45" fmla="*/ 2055592 h 15035524"/>
                <a:gd name="connsiteX46" fmla="*/ 10353296 w 23888933"/>
                <a:gd name="connsiteY46" fmla="*/ 1383308 h 15035524"/>
                <a:gd name="connsiteX47" fmla="*/ 10832530 w 23888933"/>
                <a:gd name="connsiteY47" fmla="*/ 1310974 h 15035524"/>
                <a:gd name="connsiteX48" fmla="*/ 11058585 w 23888933"/>
                <a:gd name="connsiteY48" fmla="*/ 1763043 h 15035524"/>
                <a:gd name="connsiteX49" fmla="*/ 11411229 w 23888933"/>
                <a:gd name="connsiteY49" fmla="*/ 2142774 h 15035524"/>
                <a:gd name="connsiteX50" fmla="*/ 11998974 w 23888933"/>
                <a:gd name="connsiteY50" fmla="*/ 2224144 h 15035524"/>
                <a:gd name="connsiteX51" fmla="*/ 12315449 w 23888933"/>
                <a:gd name="connsiteY51" fmla="*/ 2884156 h 15035524"/>
                <a:gd name="connsiteX52" fmla="*/ 12785642 w 23888933"/>
                <a:gd name="connsiteY52" fmla="*/ 2703327 h 15035524"/>
                <a:gd name="connsiteX53" fmla="*/ 13671776 w 23888933"/>
                <a:gd name="connsiteY53" fmla="*/ 3155388 h 15035524"/>
                <a:gd name="connsiteX54" fmla="*/ 14123886 w 23888933"/>
                <a:gd name="connsiteY54" fmla="*/ 2857035 h 15035524"/>
                <a:gd name="connsiteX55" fmla="*/ 14259509 w 23888933"/>
                <a:gd name="connsiteY55" fmla="*/ 2287434 h 15035524"/>
                <a:gd name="connsiteX56" fmla="*/ 14892468 w 23888933"/>
                <a:gd name="connsiteY56" fmla="*/ 1645503 h 15035524"/>
                <a:gd name="connsiteX57" fmla="*/ 15778605 w 23888933"/>
                <a:gd name="connsiteY57" fmla="*/ 1093983 h 15035524"/>
                <a:gd name="connsiteX58" fmla="*/ 16022739 w 23888933"/>
                <a:gd name="connsiteY58" fmla="*/ 1564133 h 15035524"/>
                <a:gd name="connsiteX59" fmla="*/ 16556232 w 23888933"/>
                <a:gd name="connsiteY59" fmla="*/ 2142785 h 15035524"/>
                <a:gd name="connsiteX60" fmla="*/ 17406193 w 23888933"/>
                <a:gd name="connsiteY60" fmla="*/ 1292897 h 15035524"/>
                <a:gd name="connsiteX61" fmla="*/ 18120524 w 23888933"/>
                <a:gd name="connsiteY61" fmla="*/ 714260 h 15035524"/>
                <a:gd name="connsiteX62" fmla="*/ 18744437 w 23888933"/>
                <a:gd name="connsiteY62" fmla="*/ -1 h 15035524"/>
                <a:gd name="connsiteX63" fmla="*/ 19982300 w 23888933"/>
                <a:gd name="connsiteY63" fmla="*/ 343465 h 15035524"/>
                <a:gd name="connsiteX64" fmla="*/ 19837609 w 23888933"/>
                <a:gd name="connsiteY64" fmla="*/ 1121173 h 15035524"/>
                <a:gd name="connsiteX65" fmla="*/ 21881359 w 23888933"/>
                <a:gd name="connsiteY65" fmla="*/ 1772279 h 15035524"/>
                <a:gd name="connsiteX66" fmla="*/ 21537712 w 23888933"/>
                <a:gd name="connsiteY66" fmla="*/ 2767023 h 15035524"/>
                <a:gd name="connsiteX67" fmla="*/ 22478203 w 23888933"/>
                <a:gd name="connsiteY67" fmla="*/ 2296774 h 15035524"/>
                <a:gd name="connsiteX68" fmla="*/ 23888932 w 23888933"/>
                <a:gd name="connsiteY68" fmla="*/ 1880797 h 15035524"/>
                <a:gd name="connsiteX69" fmla="*/ 17541488 w 23888933"/>
                <a:gd name="connsiteY69" fmla="*/ 3715695 h 15035524"/>
                <a:gd name="connsiteX70" fmla="*/ 16350939 w 23888933"/>
                <a:gd name="connsiteY70" fmla="*/ 6053348 h 15035524"/>
                <a:gd name="connsiteX71" fmla="*/ 16362364 w 23888933"/>
                <a:gd name="connsiteY71" fmla="*/ 6360628 h 15035524"/>
                <a:gd name="connsiteX72" fmla="*/ 16682563 w 23888933"/>
                <a:gd name="connsiteY72" fmla="*/ 6798531 h 15035524"/>
                <a:gd name="connsiteX0" fmla="*/ 16682563 w 23888933"/>
                <a:gd name="connsiteY0" fmla="*/ 6798531 h 15035524"/>
                <a:gd name="connsiteX1" fmla="*/ 16432262 w 23888933"/>
                <a:gd name="connsiteY1" fmla="*/ 7825917 h 15035524"/>
                <a:gd name="connsiteX2" fmla="*/ 16106317 w 23888933"/>
                <a:gd name="connsiteY2" fmla="*/ 8367221 h 15035524"/>
                <a:gd name="connsiteX3" fmla="*/ 16305649 w 23888933"/>
                <a:gd name="connsiteY3" fmla="*/ 8754550 h 15035524"/>
                <a:gd name="connsiteX4" fmla="*/ 16287189 w 23888933"/>
                <a:gd name="connsiteY4" fmla="*/ 9151157 h 15035524"/>
                <a:gd name="connsiteX5" fmla="*/ 16372801 w 23888933"/>
                <a:gd name="connsiteY5" fmla="*/ 9717422 h 15035524"/>
                <a:gd name="connsiteX6" fmla="*/ 16070155 w 23888933"/>
                <a:gd name="connsiteY6" fmla="*/ 9937808 h 15035524"/>
                <a:gd name="connsiteX7" fmla="*/ 15805690 w 23888933"/>
                <a:gd name="connsiteY7" fmla="*/ 10431999 h 15035524"/>
                <a:gd name="connsiteX8" fmla="*/ 15195097 w 23888933"/>
                <a:gd name="connsiteY8" fmla="*/ 10093742 h 15035524"/>
                <a:gd name="connsiteX9" fmla="*/ 15011380 w 23888933"/>
                <a:gd name="connsiteY9" fmla="*/ 11048592 h 15035524"/>
                <a:gd name="connsiteX10" fmla="*/ 14908430 w 23888933"/>
                <a:gd name="connsiteY10" fmla="*/ 11937487 h 15035524"/>
                <a:gd name="connsiteX11" fmla="*/ 14904684 w 23888933"/>
                <a:gd name="connsiteY11" fmla="*/ 12760926 h 15035524"/>
                <a:gd name="connsiteX12" fmla="*/ 14929927 w 23888933"/>
                <a:gd name="connsiteY12" fmla="*/ 14391846 h 15035524"/>
                <a:gd name="connsiteX13" fmla="*/ 12952786 w 23888933"/>
                <a:gd name="connsiteY13" fmla="*/ 14842599 h 15035524"/>
                <a:gd name="connsiteX14" fmla="*/ 11934663 w 23888933"/>
                <a:gd name="connsiteY14" fmla="*/ 14890849 h 15035524"/>
                <a:gd name="connsiteX15" fmla="*/ 8506848 w 23888933"/>
                <a:gd name="connsiteY15" fmla="*/ 15035524 h 15035524"/>
                <a:gd name="connsiteX16" fmla="*/ 7985095 w 23888933"/>
                <a:gd name="connsiteY16" fmla="*/ 14390442 h 15035524"/>
                <a:gd name="connsiteX17" fmla="*/ 7400308 w 23888933"/>
                <a:gd name="connsiteY17" fmla="*/ 14360297 h 15035524"/>
                <a:gd name="connsiteX18" fmla="*/ 6972273 w 23888933"/>
                <a:gd name="connsiteY18" fmla="*/ 14631594 h 15035524"/>
                <a:gd name="connsiteX19" fmla="*/ 5181729 w 23888933"/>
                <a:gd name="connsiteY19" fmla="*/ 14547195 h 15035524"/>
                <a:gd name="connsiteX20" fmla="*/ 4397998 w 23888933"/>
                <a:gd name="connsiteY20" fmla="*/ 13914178 h 15035524"/>
                <a:gd name="connsiteX21" fmla="*/ 2908896 w 23888933"/>
                <a:gd name="connsiteY21" fmla="*/ 13106324 h 15035524"/>
                <a:gd name="connsiteX22" fmla="*/ 1263043 w 23888933"/>
                <a:gd name="connsiteY22" fmla="*/ 12394931 h 15035524"/>
                <a:gd name="connsiteX23" fmla="*/ 485320 w 23888933"/>
                <a:gd name="connsiteY23" fmla="*/ 11942774 h 15035524"/>
                <a:gd name="connsiteX24" fmla="*/ 0 w 23888933"/>
                <a:gd name="connsiteY24" fmla="*/ 11649662 h 15035524"/>
                <a:gd name="connsiteX25" fmla="*/ 1003686 w 23888933"/>
                <a:gd name="connsiteY25" fmla="*/ 10903697 h 15035524"/>
                <a:gd name="connsiteX26" fmla="*/ 2902551 w 23888933"/>
                <a:gd name="connsiteY26" fmla="*/ 9719298 h 15035524"/>
                <a:gd name="connsiteX27" fmla="*/ 2558940 w 23888933"/>
                <a:gd name="connsiteY27" fmla="*/ 9185867 h 15035524"/>
                <a:gd name="connsiteX28" fmla="*/ 2402508 w 23888933"/>
                <a:gd name="connsiteY28" fmla="*/ 8498784 h 15035524"/>
                <a:gd name="connsiteX29" fmla="*/ 2730740 w 23888933"/>
                <a:gd name="connsiteY29" fmla="*/ 8471613 h 15035524"/>
                <a:gd name="connsiteX30" fmla="*/ 2947754 w 23888933"/>
                <a:gd name="connsiteY30" fmla="*/ 8001468 h 15035524"/>
                <a:gd name="connsiteX31" fmla="*/ 3499325 w 23888933"/>
                <a:gd name="connsiteY31" fmla="*/ 7558451 h 15035524"/>
                <a:gd name="connsiteX32" fmla="*/ 3680166 w 23888933"/>
                <a:gd name="connsiteY32" fmla="*/ 6681453 h 15035524"/>
                <a:gd name="connsiteX33" fmla="*/ 4186528 w 23888933"/>
                <a:gd name="connsiteY33" fmla="*/ 6690489 h 15035524"/>
                <a:gd name="connsiteX34" fmla="*/ 4837569 w 23888933"/>
                <a:gd name="connsiteY34" fmla="*/ 7160639 h 15035524"/>
                <a:gd name="connsiteX35" fmla="*/ 5352976 w 23888933"/>
                <a:gd name="connsiteY35" fmla="*/ 7079272 h 15035524"/>
                <a:gd name="connsiteX36" fmla="*/ 5741786 w 23888933"/>
                <a:gd name="connsiteY36" fmla="*/ 6708577 h 15035524"/>
                <a:gd name="connsiteX37" fmla="*/ 6157723 w 23888933"/>
                <a:gd name="connsiteY37" fmla="*/ 6545836 h 15035524"/>
                <a:gd name="connsiteX38" fmla="*/ 6745471 w 23888933"/>
                <a:gd name="connsiteY38" fmla="*/ 5976243 h 15035524"/>
                <a:gd name="connsiteX39" fmla="*/ 6890140 w 23888933"/>
                <a:gd name="connsiteY39" fmla="*/ 5126367 h 15035524"/>
                <a:gd name="connsiteX40" fmla="*/ 7568305 w 23888933"/>
                <a:gd name="connsiteY40" fmla="*/ 4556773 h 15035524"/>
                <a:gd name="connsiteX41" fmla="*/ 8137967 w 23888933"/>
                <a:gd name="connsiteY41" fmla="*/ 4113752 h 15035524"/>
                <a:gd name="connsiteX42" fmla="*/ 8463480 w 23888933"/>
                <a:gd name="connsiteY42" fmla="*/ 3309085 h 15035524"/>
                <a:gd name="connsiteX43" fmla="*/ 9024093 w 23888933"/>
                <a:gd name="connsiteY43" fmla="*/ 2956478 h 15035524"/>
                <a:gd name="connsiteX44" fmla="*/ 9675138 w 23888933"/>
                <a:gd name="connsiteY44" fmla="*/ 2603876 h 15035524"/>
                <a:gd name="connsiteX45" fmla="*/ 9558580 w 23888933"/>
                <a:gd name="connsiteY45" fmla="*/ 2055592 h 15035524"/>
                <a:gd name="connsiteX46" fmla="*/ 10353296 w 23888933"/>
                <a:gd name="connsiteY46" fmla="*/ 1383308 h 15035524"/>
                <a:gd name="connsiteX47" fmla="*/ 10832530 w 23888933"/>
                <a:gd name="connsiteY47" fmla="*/ 1310974 h 15035524"/>
                <a:gd name="connsiteX48" fmla="*/ 11058585 w 23888933"/>
                <a:gd name="connsiteY48" fmla="*/ 1763043 h 15035524"/>
                <a:gd name="connsiteX49" fmla="*/ 11411229 w 23888933"/>
                <a:gd name="connsiteY49" fmla="*/ 2142774 h 15035524"/>
                <a:gd name="connsiteX50" fmla="*/ 11998974 w 23888933"/>
                <a:gd name="connsiteY50" fmla="*/ 2224144 h 15035524"/>
                <a:gd name="connsiteX51" fmla="*/ 12315449 w 23888933"/>
                <a:gd name="connsiteY51" fmla="*/ 2884156 h 15035524"/>
                <a:gd name="connsiteX52" fmla="*/ 12785642 w 23888933"/>
                <a:gd name="connsiteY52" fmla="*/ 2703327 h 15035524"/>
                <a:gd name="connsiteX53" fmla="*/ 13671776 w 23888933"/>
                <a:gd name="connsiteY53" fmla="*/ 3155388 h 15035524"/>
                <a:gd name="connsiteX54" fmla="*/ 14123886 w 23888933"/>
                <a:gd name="connsiteY54" fmla="*/ 2857035 h 15035524"/>
                <a:gd name="connsiteX55" fmla="*/ 14259509 w 23888933"/>
                <a:gd name="connsiteY55" fmla="*/ 2287434 h 15035524"/>
                <a:gd name="connsiteX56" fmla="*/ 14892468 w 23888933"/>
                <a:gd name="connsiteY56" fmla="*/ 1645503 h 15035524"/>
                <a:gd name="connsiteX57" fmla="*/ 15778605 w 23888933"/>
                <a:gd name="connsiteY57" fmla="*/ 1093983 h 15035524"/>
                <a:gd name="connsiteX58" fmla="*/ 16022739 w 23888933"/>
                <a:gd name="connsiteY58" fmla="*/ 1564133 h 15035524"/>
                <a:gd name="connsiteX59" fmla="*/ 16556232 w 23888933"/>
                <a:gd name="connsiteY59" fmla="*/ 2142785 h 15035524"/>
                <a:gd name="connsiteX60" fmla="*/ 17406193 w 23888933"/>
                <a:gd name="connsiteY60" fmla="*/ 1292897 h 15035524"/>
                <a:gd name="connsiteX61" fmla="*/ 18120524 w 23888933"/>
                <a:gd name="connsiteY61" fmla="*/ 714260 h 15035524"/>
                <a:gd name="connsiteX62" fmla="*/ 18744437 w 23888933"/>
                <a:gd name="connsiteY62" fmla="*/ -1 h 15035524"/>
                <a:gd name="connsiteX63" fmla="*/ 19982300 w 23888933"/>
                <a:gd name="connsiteY63" fmla="*/ 343465 h 15035524"/>
                <a:gd name="connsiteX64" fmla="*/ 19837609 w 23888933"/>
                <a:gd name="connsiteY64" fmla="*/ 1121173 h 15035524"/>
                <a:gd name="connsiteX65" fmla="*/ 21881359 w 23888933"/>
                <a:gd name="connsiteY65" fmla="*/ 1772279 h 15035524"/>
                <a:gd name="connsiteX66" fmla="*/ 21537712 w 23888933"/>
                <a:gd name="connsiteY66" fmla="*/ 2767023 h 15035524"/>
                <a:gd name="connsiteX67" fmla="*/ 22478203 w 23888933"/>
                <a:gd name="connsiteY67" fmla="*/ 2296774 h 15035524"/>
                <a:gd name="connsiteX68" fmla="*/ 23888932 w 23888933"/>
                <a:gd name="connsiteY68" fmla="*/ 1880797 h 15035524"/>
                <a:gd name="connsiteX69" fmla="*/ 14031723 w 23888933"/>
                <a:gd name="connsiteY69" fmla="*/ 5592368 h 15035524"/>
                <a:gd name="connsiteX70" fmla="*/ 16350939 w 23888933"/>
                <a:gd name="connsiteY70" fmla="*/ 6053348 h 15035524"/>
                <a:gd name="connsiteX71" fmla="*/ 16362364 w 23888933"/>
                <a:gd name="connsiteY71" fmla="*/ 6360628 h 15035524"/>
                <a:gd name="connsiteX72" fmla="*/ 16682563 w 23888933"/>
                <a:gd name="connsiteY72" fmla="*/ 6798531 h 15035524"/>
                <a:gd name="connsiteX0" fmla="*/ 16682563 w 23888933"/>
                <a:gd name="connsiteY0" fmla="*/ 6798531 h 15035524"/>
                <a:gd name="connsiteX1" fmla="*/ 16432262 w 23888933"/>
                <a:gd name="connsiteY1" fmla="*/ 7825917 h 15035524"/>
                <a:gd name="connsiteX2" fmla="*/ 16106317 w 23888933"/>
                <a:gd name="connsiteY2" fmla="*/ 8367221 h 15035524"/>
                <a:gd name="connsiteX3" fmla="*/ 16305649 w 23888933"/>
                <a:gd name="connsiteY3" fmla="*/ 8754550 h 15035524"/>
                <a:gd name="connsiteX4" fmla="*/ 16287189 w 23888933"/>
                <a:gd name="connsiteY4" fmla="*/ 9151157 h 15035524"/>
                <a:gd name="connsiteX5" fmla="*/ 16372801 w 23888933"/>
                <a:gd name="connsiteY5" fmla="*/ 9717422 h 15035524"/>
                <a:gd name="connsiteX6" fmla="*/ 16070155 w 23888933"/>
                <a:gd name="connsiteY6" fmla="*/ 9937808 h 15035524"/>
                <a:gd name="connsiteX7" fmla="*/ 15805690 w 23888933"/>
                <a:gd name="connsiteY7" fmla="*/ 10431999 h 15035524"/>
                <a:gd name="connsiteX8" fmla="*/ 15195097 w 23888933"/>
                <a:gd name="connsiteY8" fmla="*/ 10093742 h 15035524"/>
                <a:gd name="connsiteX9" fmla="*/ 15011380 w 23888933"/>
                <a:gd name="connsiteY9" fmla="*/ 11048592 h 15035524"/>
                <a:gd name="connsiteX10" fmla="*/ 14908430 w 23888933"/>
                <a:gd name="connsiteY10" fmla="*/ 11937487 h 15035524"/>
                <a:gd name="connsiteX11" fmla="*/ 14904684 w 23888933"/>
                <a:gd name="connsiteY11" fmla="*/ 12760926 h 15035524"/>
                <a:gd name="connsiteX12" fmla="*/ 14929927 w 23888933"/>
                <a:gd name="connsiteY12" fmla="*/ 14391846 h 15035524"/>
                <a:gd name="connsiteX13" fmla="*/ 12952786 w 23888933"/>
                <a:gd name="connsiteY13" fmla="*/ 14842599 h 15035524"/>
                <a:gd name="connsiteX14" fmla="*/ 11934663 w 23888933"/>
                <a:gd name="connsiteY14" fmla="*/ 14890849 h 15035524"/>
                <a:gd name="connsiteX15" fmla="*/ 8506848 w 23888933"/>
                <a:gd name="connsiteY15" fmla="*/ 15035524 h 15035524"/>
                <a:gd name="connsiteX16" fmla="*/ 7985095 w 23888933"/>
                <a:gd name="connsiteY16" fmla="*/ 14390442 h 15035524"/>
                <a:gd name="connsiteX17" fmla="*/ 7400308 w 23888933"/>
                <a:gd name="connsiteY17" fmla="*/ 14360297 h 15035524"/>
                <a:gd name="connsiteX18" fmla="*/ 6972273 w 23888933"/>
                <a:gd name="connsiteY18" fmla="*/ 14631594 h 15035524"/>
                <a:gd name="connsiteX19" fmla="*/ 5181729 w 23888933"/>
                <a:gd name="connsiteY19" fmla="*/ 14547195 h 15035524"/>
                <a:gd name="connsiteX20" fmla="*/ 4397998 w 23888933"/>
                <a:gd name="connsiteY20" fmla="*/ 13914178 h 15035524"/>
                <a:gd name="connsiteX21" fmla="*/ 2908896 w 23888933"/>
                <a:gd name="connsiteY21" fmla="*/ 13106324 h 15035524"/>
                <a:gd name="connsiteX22" fmla="*/ 1263043 w 23888933"/>
                <a:gd name="connsiteY22" fmla="*/ 12394931 h 15035524"/>
                <a:gd name="connsiteX23" fmla="*/ 485320 w 23888933"/>
                <a:gd name="connsiteY23" fmla="*/ 11942774 h 15035524"/>
                <a:gd name="connsiteX24" fmla="*/ 0 w 23888933"/>
                <a:gd name="connsiteY24" fmla="*/ 11649662 h 15035524"/>
                <a:gd name="connsiteX25" fmla="*/ 1003686 w 23888933"/>
                <a:gd name="connsiteY25" fmla="*/ 10903697 h 15035524"/>
                <a:gd name="connsiteX26" fmla="*/ 2902551 w 23888933"/>
                <a:gd name="connsiteY26" fmla="*/ 9719298 h 15035524"/>
                <a:gd name="connsiteX27" fmla="*/ 2558940 w 23888933"/>
                <a:gd name="connsiteY27" fmla="*/ 9185867 h 15035524"/>
                <a:gd name="connsiteX28" fmla="*/ 2402508 w 23888933"/>
                <a:gd name="connsiteY28" fmla="*/ 8498784 h 15035524"/>
                <a:gd name="connsiteX29" fmla="*/ 2730740 w 23888933"/>
                <a:gd name="connsiteY29" fmla="*/ 8471613 h 15035524"/>
                <a:gd name="connsiteX30" fmla="*/ 2947754 w 23888933"/>
                <a:gd name="connsiteY30" fmla="*/ 8001468 h 15035524"/>
                <a:gd name="connsiteX31" fmla="*/ 3499325 w 23888933"/>
                <a:gd name="connsiteY31" fmla="*/ 7558451 h 15035524"/>
                <a:gd name="connsiteX32" fmla="*/ 3680166 w 23888933"/>
                <a:gd name="connsiteY32" fmla="*/ 6681453 h 15035524"/>
                <a:gd name="connsiteX33" fmla="*/ 4186528 w 23888933"/>
                <a:gd name="connsiteY33" fmla="*/ 6690489 h 15035524"/>
                <a:gd name="connsiteX34" fmla="*/ 4837569 w 23888933"/>
                <a:gd name="connsiteY34" fmla="*/ 7160639 h 15035524"/>
                <a:gd name="connsiteX35" fmla="*/ 5352976 w 23888933"/>
                <a:gd name="connsiteY35" fmla="*/ 7079272 h 15035524"/>
                <a:gd name="connsiteX36" fmla="*/ 5741786 w 23888933"/>
                <a:gd name="connsiteY36" fmla="*/ 6708577 h 15035524"/>
                <a:gd name="connsiteX37" fmla="*/ 6157723 w 23888933"/>
                <a:gd name="connsiteY37" fmla="*/ 6545836 h 15035524"/>
                <a:gd name="connsiteX38" fmla="*/ 6745471 w 23888933"/>
                <a:gd name="connsiteY38" fmla="*/ 5976243 h 15035524"/>
                <a:gd name="connsiteX39" fmla="*/ 6890140 w 23888933"/>
                <a:gd name="connsiteY39" fmla="*/ 5126367 h 15035524"/>
                <a:gd name="connsiteX40" fmla="*/ 7568305 w 23888933"/>
                <a:gd name="connsiteY40" fmla="*/ 4556773 h 15035524"/>
                <a:gd name="connsiteX41" fmla="*/ 8137967 w 23888933"/>
                <a:gd name="connsiteY41" fmla="*/ 4113752 h 15035524"/>
                <a:gd name="connsiteX42" fmla="*/ 8463480 w 23888933"/>
                <a:gd name="connsiteY42" fmla="*/ 3309085 h 15035524"/>
                <a:gd name="connsiteX43" fmla="*/ 9024093 w 23888933"/>
                <a:gd name="connsiteY43" fmla="*/ 2956478 h 15035524"/>
                <a:gd name="connsiteX44" fmla="*/ 9675138 w 23888933"/>
                <a:gd name="connsiteY44" fmla="*/ 2603876 h 15035524"/>
                <a:gd name="connsiteX45" fmla="*/ 9558580 w 23888933"/>
                <a:gd name="connsiteY45" fmla="*/ 2055592 h 15035524"/>
                <a:gd name="connsiteX46" fmla="*/ 10353296 w 23888933"/>
                <a:gd name="connsiteY46" fmla="*/ 1383308 h 15035524"/>
                <a:gd name="connsiteX47" fmla="*/ 10832530 w 23888933"/>
                <a:gd name="connsiteY47" fmla="*/ 1310974 h 15035524"/>
                <a:gd name="connsiteX48" fmla="*/ 11058585 w 23888933"/>
                <a:gd name="connsiteY48" fmla="*/ 1763043 h 15035524"/>
                <a:gd name="connsiteX49" fmla="*/ 11411229 w 23888933"/>
                <a:gd name="connsiteY49" fmla="*/ 2142774 h 15035524"/>
                <a:gd name="connsiteX50" fmla="*/ 11998974 w 23888933"/>
                <a:gd name="connsiteY50" fmla="*/ 2224144 h 15035524"/>
                <a:gd name="connsiteX51" fmla="*/ 12315449 w 23888933"/>
                <a:gd name="connsiteY51" fmla="*/ 2884156 h 15035524"/>
                <a:gd name="connsiteX52" fmla="*/ 12785642 w 23888933"/>
                <a:gd name="connsiteY52" fmla="*/ 2703327 h 15035524"/>
                <a:gd name="connsiteX53" fmla="*/ 13671776 w 23888933"/>
                <a:gd name="connsiteY53" fmla="*/ 3155388 h 15035524"/>
                <a:gd name="connsiteX54" fmla="*/ 14123886 w 23888933"/>
                <a:gd name="connsiteY54" fmla="*/ 2857035 h 15035524"/>
                <a:gd name="connsiteX55" fmla="*/ 14259509 w 23888933"/>
                <a:gd name="connsiteY55" fmla="*/ 2287434 h 15035524"/>
                <a:gd name="connsiteX56" fmla="*/ 14892468 w 23888933"/>
                <a:gd name="connsiteY56" fmla="*/ 1645503 h 15035524"/>
                <a:gd name="connsiteX57" fmla="*/ 15778605 w 23888933"/>
                <a:gd name="connsiteY57" fmla="*/ 1093983 h 15035524"/>
                <a:gd name="connsiteX58" fmla="*/ 16022739 w 23888933"/>
                <a:gd name="connsiteY58" fmla="*/ 1564133 h 15035524"/>
                <a:gd name="connsiteX59" fmla="*/ 16556232 w 23888933"/>
                <a:gd name="connsiteY59" fmla="*/ 2142785 h 15035524"/>
                <a:gd name="connsiteX60" fmla="*/ 17406193 w 23888933"/>
                <a:gd name="connsiteY60" fmla="*/ 1292897 h 15035524"/>
                <a:gd name="connsiteX61" fmla="*/ 18120524 w 23888933"/>
                <a:gd name="connsiteY61" fmla="*/ 714260 h 15035524"/>
                <a:gd name="connsiteX62" fmla="*/ 18744437 w 23888933"/>
                <a:gd name="connsiteY62" fmla="*/ -1 h 15035524"/>
                <a:gd name="connsiteX63" fmla="*/ 19982300 w 23888933"/>
                <a:gd name="connsiteY63" fmla="*/ 343465 h 15035524"/>
                <a:gd name="connsiteX64" fmla="*/ 19837609 w 23888933"/>
                <a:gd name="connsiteY64" fmla="*/ 1121173 h 15035524"/>
                <a:gd name="connsiteX65" fmla="*/ 21881359 w 23888933"/>
                <a:gd name="connsiteY65" fmla="*/ 1772279 h 15035524"/>
                <a:gd name="connsiteX66" fmla="*/ 21537712 w 23888933"/>
                <a:gd name="connsiteY66" fmla="*/ 2767023 h 15035524"/>
                <a:gd name="connsiteX67" fmla="*/ 22478203 w 23888933"/>
                <a:gd name="connsiteY67" fmla="*/ 2296774 h 15035524"/>
                <a:gd name="connsiteX68" fmla="*/ 23888932 w 23888933"/>
                <a:gd name="connsiteY68" fmla="*/ 1880797 h 15035524"/>
                <a:gd name="connsiteX69" fmla="*/ 15323320 w 23888933"/>
                <a:gd name="connsiteY69" fmla="*/ 5928489 h 15035524"/>
                <a:gd name="connsiteX70" fmla="*/ 16350939 w 23888933"/>
                <a:gd name="connsiteY70" fmla="*/ 6053348 h 15035524"/>
                <a:gd name="connsiteX71" fmla="*/ 16362364 w 23888933"/>
                <a:gd name="connsiteY71" fmla="*/ 6360628 h 15035524"/>
                <a:gd name="connsiteX72" fmla="*/ 16682563 w 23888933"/>
                <a:gd name="connsiteY72" fmla="*/ 6798531 h 15035524"/>
                <a:gd name="connsiteX0" fmla="*/ 16682563 w 22478203"/>
                <a:gd name="connsiteY0" fmla="*/ 6798531 h 15035524"/>
                <a:gd name="connsiteX1" fmla="*/ 16432262 w 22478203"/>
                <a:gd name="connsiteY1" fmla="*/ 7825917 h 15035524"/>
                <a:gd name="connsiteX2" fmla="*/ 16106317 w 22478203"/>
                <a:gd name="connsiteY2" fmla="*/ 8367221 h 15035524"/>
                <a:gd name="connsiteX3" fmla="*/ 16305649 w 22478203"/>
                <a:gd name="connsiteY3" fmla="*/ 8754550 h 15035524"/>
                <a:gd name="connsiteX4" fmla="*/ 16287189 w 22478203"/>
                <a:gd name="connsiteY4" fmla="*/ 9151157 h 15035524"/>
                <a:gd name="connsiteX5" fmla="*/ 16372801 w 22478203"/>
                <a:gd name="connsiteY5" fmla="*/ 9717422 h 15035524"/>
                <a:gd name="connsiteX6" fmla="*/ 16070155 w 22478203"/>
                <a:gd name="connsiteY6" fmla="*/ 9937808 h 15035524"/>
                <a:gd name="connsiteX7" fmla="*/ 15805690 w 22478203"/>
                <a:gd name="connsiteY7" fmla="*/ 10431999 h 15035524"/>
                <a:gd name="connsiteX8" fmla="*/ 15195097 w 22478203"/>
                <a:gd name="connsiteY8" fmla="*/ 10093742 h 15035524"/>
                <a:gd name="connsiteX9" fmla="*/ 15011380 w 22478203"/>
                <a:gd name="connsiteY9" fmla="*/ 11048592 h 15035524"/>
                <a:gd name="connsiteX10" fmla="*/ 14908430 w 22478203"/>
                <a:gd name="connsiteY10" fmla="*/ 11937487 h 15035524"/>
                <a:gd name="connsiteX11" fmla="*/ 14904684 w 22478203"/>
                <a:gd name="connsiteY11" fmla="*/ 12760926 h 15035524"/>
                <a:gd name="connsiteX12" fmla="*/ 14929927 w 22478203"/>
                <a:gd name="connsiteY12" fmla="*/ 14391846 h 15035524"/>
                <a:gd name="connsiteX13" fmla="*/ 12952786 w 22478203"/>
                <a:gd name="connsiteY13" fmla="*/ 14842599 h 15035524"/>
                <a:gd name="connsiteX14" fmla="*/ 11934663 w 22478203"/>
                <a:gd name="connsiteY14" fmla="*/ 14890849 h 15035524"/>
                <a:gd name="connsiteX15" fmla="*/ 8506848 w 22478203"/>
                <a:gd name="connsiteY15" fmla="*/ 15035524 h 15035524"/>
                <a:gd name="connsiteX16" fmla="*/ 7985095 w 22478203"/>
                <a:gd name="connsiteY16" fmla="*/ 14390442 h 15035524"/>
                <a:gd name="connsiteX17" fmla="*/ 7400308 w 22478203"/>
                <a:gd name="connsiteY17" fmla="*/ 14360297 h 15035524"/>
                <a:gd name="connsiteX18" fmla="*/ 6972273 w 22478203"/>
                <a:gd name="connsiteY18" fmla="*/ 14631594 h 15035524"/>
                <a:gd name="connsiteX19" fmla="*/ 5181729 w 22478203"/>
                <a:gd name="connsiteY19" fmla="*/ 14547195 h 15035524"/>
                <a:gd name="connsiteX20" fmla="*/ 4397998 w 22478203"/>
                <a:gd name="connsiteY20" fmla="*/ 13914178 h 15035524"/>
                <a:gd name="connsiteX21" fmla="*/ 2908896 w 22478203"/>
                <a:gd name="connsiteY21" fmla="*/ 13106324 h 15035524"/>
                <a:gd name="connsiteX22" fmla="*/ 1263043 w 22478203"/>
                <a:gd name="connsiteY22" fmla="*/ 12394931 h 15035524"/>
                <a:gd name="connsiteX23" fmla="*/ 485320 w 22478203"/>
                <a:gd name="connsiteY23" fmla="*/ 11942774 h 15035524"/>
                <a:gd name="connsiteX24" fmla="*/ 0 w 22478203"/>
                <a:gd name="connsiteY24" fmla="*/ 11649662 h 15035524"/>
                <a:gd name="connsiteX25" fmla="*/ 1003686 w 22478203"/>
                <a:gd name="connsiteY25" fmla="*/ 10903697 h 15035524"/>
                <a:gd name="connsiteX26" fmla="*/ 2902551 w 22478203"/>
                <a:gd name="connsiteY26" fmla="*/ 9719298 h 15035524"/>
                <a:gd name="connsiteX27" fmla="*/ 2558940 w 22478203"/>
                <a:gd name="connsiteY27" fmla="*/ 9185867 h 15035524"/>
                <a:gd name="connsiteX28" fmla="*/ 2402508 w 22478203"/>
                <a:gd name="connsiteY28" fmla="*/ 8498784 h 15035524"/>
                <a:gd name="connsiteX29" fmla="*/ 2730740 w 22478203"/>
                <a:gd name="connsiteY29" fmla="*/ 8471613 h 15035524"/>
                <a:gd name="connsiteX30" fmla="*/ 2947754 w 22478203"/>
                <a:gd name="connsiteY30" fmla="*/ 8001468 h 15035524"/>
                <a:gd name="connsiteX31" fmla="*/ 3499325 w 22478203"/>
                <a:gd name="connsiteY31" fmla="*/ 7558451 h 15035524"/>
                <a:gd name="connsiteX32" fmla="*/ 3680166 w 22478203"/>
                <a:gd name="connsiteY32" fmla="*/ 6681453 h 15035524"/>
                <a:gd name="connsiteX33" fmla="*/ 4186528 w 22478203"/>
                <a:gd name="connsiteY33" fmla="*/ 6690489 h 15035524"/>
                <a:gd name="connsiteX34" fmla="*/ 4837569 w 22478203"/>
                <a:gd name="connsiteY34" fmla="*/ 7160639 h 15035524"/>
                <a:gd name="connsiteX35" fmla="*/ 5352976 w 22478203"/>
                <a:gd name="connsiteY35" fmla="*/ 7079272 h 15035524"/>
                <a:gd name="connsiteX36" fmla="*/ 5741786 w 22478203"/>
                <a:gd name="connsiteY36" fmla="*/ 6708577 h 15035524"/>
                <a:gd name="connsiteX37" fmla="*/ 6157723 w 22478203"/>
                <a:gd name="connsiteY37" fmla="*/ 6545836 h 15035524"/>
                <a:gd name="connsiteX38" fmla="*/ 6745471 w 22478203"/>
                <a:gd name="connsiteY38" fmla="*/ 5976243 h 15035524"/>
                <a:gd name="connsiteX39" fmla="*/ 6890140 w 22478203"/>
                <a:gd name="connsiteY39" fmla="*/ 5126367 h 15035524"/>
                <a:gd name="connsiteX40" fmla="*/ 7568305 w 22478203"/>
                <a:gd name="connsiteY40" fmla="*/ 4556773 h 15035524"/>
                <a:gd name="connsiteX41" fmla="*/ 8137967 w 22478203"/>
                <a:gd name="connsiteY41" fmla="*/ 4113752 h 15035524"/>
                <a:gd name="connsiteX42" fmla="*/ 8463480 w 22478203"/>
                <a:gd name="connsiteY42" fmla="*/ 3309085 h 15035524"/>
                <a:gd name="connsiteX43" fmla="*/ 9024093 w 22478203"/>
                <a:gd name="connsiteY43" fmla="*/ 2956478 h 15035524"/>
                <a:gd name="connsiteX44" fmla="*/ 9675138 w 22478203"/>
                <a:gd name="connsiteY44" fmla="*/ 2603876 h 15035524"/>
                <a:gd name="connsiteX45" fmla="*/ 9558580 w 22478203"/>
                <a:gd name="connsiteY45" fmla="*/ 2055592 h 15035524"/>
                <a:gd name="connsiteX46" fmla="*/ 10353296 w 22478203"/>
                <a:gd name="connsiteY46" fmla="*/ 1383308 h 15035524"/>
                <a:gd name="connsiteX47" fmla="*/ 10832530 w 22478203"/>
                <a:gd name="connsiteY47" fmla="*/ 1310974 h 15035524"/>
                <a:gd name="connsiteX48" fmla="*/ 11058585 w 22478203"/>
                <a:gd name="connsiteY48" fmla="*/ 1763043 h 15035524"/>
                <a:gd name="connsiteX49" fmla="*/ 11411229 w 22478203"/>
                <a:gd name="connsiteY49" fmla="*/ 2142774 h 15035524"/>
                <a:gd name="connsiteX50" fmla="*/ 11998974 w 22478203"/>
                <a:gd name="connsiteY50" fmla="*/ 2224144 h 15035524"/>
                <a:gd name="connsiteX51" fmla="*/ 12315449 w 22478203"/>
                <a:gd name="connsiteY51" fmla="*/ 2884156 h 15035524"/>
                <a:gd name="connsiteX52" fmla="*/ 12785642 w 22478203"/>
                <a:gd name="connsiteY52" fmla="*/ 2703327 h 15035524"/>
                <a:gd name="connsiteX53" fmla="*/ 13671776 w 22478203"/>
                <a:gd name="connsiteY53" fmla="*/ 3155388 h 15035524"/>
                <a:gd name="connsiteX54" fmla="*/ 14123886 w 22478203"/>
                <a:gd name="connsiteY54" fmla="*/ 2857035 h 15035524"/>
                <a:gd name="connsiteX55" fmla="*/ 14259509 w 22478203"/>
                <a:gd name="connsiteY55" fmla="*/ 2287434 h 15035524"/>
                <a:gd name="connsiteX56" fmla="*/ 14892468 w 22478203"/>
                <a:gd name="connsiteY56" fmla="*/ 1645503 h 15035524"/>
                <a:gd name="connsiteX57" fmla="*/ 15778605 w 22478203"/>
                <a:gd name="connsiteY57" fmla="*/ 1093983 h 15035524"/>
                <a:gd name="connsiteX58" fmla="*/ 16022739 w 22478203"/>
                <a:gd name="connsiteY58" fmla="*/ 1564133 h 15035524"/>
                <a:gd name="connsiteX59" fmla="*/ 16556232 w 22478203"/>
                <a:gd name="connsiteY59" fmla="*/ 2142785 h 15035524"/>
                <a:gd name="connsiteX60" fmla="*/ 17406193 w 22478203"/>
                <a:gd name="connsiteY60" fmla="*/ 1292897 h 15035524"/>
                <a:gd name="connsiteX61" fmla="*/ 18120524 w 22478203"/>
                <a:gd name="connsiteY61" fmla="*/ 714260 h 15035524"/>
                <a:gd name="connsiteX62" fmla="*/ 18744437 w 22478203"/>
                <a:gd name="connsiteY62" fmla="*/ -1 h 15035524"/>
                <a:gd name="connsiteX63" fmla="*/ 19982300 w 22478203"/>
                <a:gd name="connsiteY63" fmla="*/ 343465 h 15035524"/>
                <a:gd name="connsiteX64" fmla="*/ 19837609 w 22478203"/>
                <a:gd name="connsiteY64" fmla="*/ 1121173 h 15035524"/>
                <a:gd name="connsiteX65" fmla="*/ 21881359 w 22478203"/>
                <a:gd name="connsiteY65" fmla="*/ 1772279 h 15035524"/>
                <a:gd name="connsiteX66" fmla="*/ 21537712 w 22478203"/>
                <a:gd name="connsiteY66" fmla="*/ 2767023 h 15035524"/>
                <a:gd name="connsiteX67" fmla="*/ 22478203 w 22478203"/>
                <a:gd name="connsiteY67" fmla="*/ 2296774 h 15035524"/>
                <a:gd name="connsiteX68" fmla="*/ 14960077 w 22478203"/>
                <a:gd name="connsiteY68" fmla="*/ 5017927 h 15035524"/>
                <a:gd name="connsiteX69" fmla="*/ 15323320 w 22478203"/>
                <a:gd name="connsiteY69" fmla="*/ 5928489 h 15035524"/>
                <a:gd name="connsiteX70" fmla="*/ 16350939 w 22478203"/>
                <a:gd name="connsiteY70" fmla="*/ 6053348 h 15035524"/>
                <a:gd name="connsiteX71" fmla="*/ 16362364 w 22478203"/>
                <a:gd name="connsiteY71" fmla="*/ 6360628 h 15035524"/>
                <a:gd name="connsiteX72" fmla="*/ 16682563 w 22478203"/>
                <a:gd name="connsiteY72" fmla="*/ 6798531 h 15035524"/>
                <a:gd name="connsiteX0" fmla="*/ 16682563 w 22478203"/>
                <a:gd name="connsiteY0" fmla="*/ 6798531 h 15035524"/>
                <a:gd name="connsiteX1" fmla="*/ 16432262 w 22478203"/>
                <a:gd name="connsiteY1" fmla="*/ 7825917 h 15035524"/>
                <a:gd name="connsiteX2" fmla="*/ 16106317 w 22478203"/>
                <a:gd name="connsiteY2" fmla="*/ 8367221 h 15035524"/>
                <a:gd name="connsiteX3" fmla="*/ 16305649 w 22478203"/>
                <a:gd name="connsiteY3" fmla="*/ 8754550 h 15035524"/>
                <a:gd name="connsiteX4" fmla="*/ 16287189 w 22478203"/>
                <a:gd name="connsiteY4" fmla="*/ 9151157 h 15035524"/>
                <a:gd name="connsiteX5" fmla="*/ 16372801 w 22478203"/>
                <a:gd name="connsiteY5" fmla="*/ 9717422 h 15035524"/>
                <a:gd name="connsiteX6" fmla="*/ 16070155 w 22478203"/>
                <a:gd name="connsiteY6" fmla="*/ 9937808 h 15035524"/>
                <a:gd name="connsiteX7" fmla="*/ 15805690 w 22478203"/>
                <a:gd name="connsiteY7" fmla="*/ 10431999 h 15035524"/>
                <a:gd name="connsiteX8" fmla="*/ 15195097 w 22478203"/>
                <a:gd name="connsiteY8" fmla="*/ 10093742 h 15035524"/>
                <a:gd name="connsiteX9" fmla="*/ 15011380 w 22478203"/>
                <a:gd name="connsiteY9" fmla="*/ 11048592 h 15035524"/>
                <a:gd name="connsiteX10" fmla="*/ 14908430 w 22478203"/>
                <a:gd name="connsiteY10" fmla="*/ 11937487 h 15035524"/>
                <a:gd name="connsiteX11" fmla="*/ 14904684 w 22478203"/>
                <a:gd name="connsiteY11" fmla="*/ 12760926 h 15035524"/>
                <a:gd name="connsiteX12" fmla="*/ 14929927 w 22478203"/>
                <a:gd name="connsiteY12" fmla="*/ 14391846 h 15035524"/>
                <a:gd name="connsiteX13" fmla="*/ 12952786 w 22478203"/>
                <a:gd name="connsiteY13" fmla="*/ 14842599 h 15035524"/>
                <a:gd name="connsiteX14" fmla="*/ 11934663 w 22478203"/>
                <a:gd name="connsiteY14" fmla="*/ 14890849 h 15035524"/>
                <a:gd name="connsiteX15" fmla="*/ 8506848 w 22478203"/>
                <a:gd name="connsiteY15" fmla="*/ 15035524 h 15035524"/>
                <a:gd name="connsiteX16" fmla="*/ 7985095 w 22478203"/>
                <a:gd name="connsiteY16" fmla="*/ 14390442 h 15035524"/>
                <a:gd name="connsiteX17" fmla="*/ 7400308 w 22478203"/>
                <a:gd name="connsiteY17" fmla="*/ 14360297 h 15035524"/>
                <a:gd name="connsiteX18" fmla="*/ 6972273 w 22478203"/>
                <a:gd name="connsiteY18" fmla="*/ 14631594 h 15035524"/>
                <a:gd name="connsiteX19" fmla="*/ 5181729 w 22478203"/>
                <a:gd name="connsiteY19" fmla="*/ 14547195 h 15035524"/>
                <a:gd name="connsiteX20" fmla="*/ 4397998 w 22478203"/>
                <a:gd name="connsiteY20" fmla="*/ 13914178 h 15035524"/>
                <a:gd name="connsiteX21" fmla="*/ 2908896 w 22478203"/>
                <a:gd name="connsiteY21" fmla="*/ 13106324 h 15035524"/>
                <a:gd name="connsiteX22" fmla="*/ 1263043 w 22478203"/>
                <a:gd name="connsiteY22" fmla="*/ 12394931 h 15035524"/>
                <a:gd name="connsiteX23" fmla="*/ 485320 w 22478203"/>
                <a:gd name="connsiteY23" fmla="*/ 11942774 h 15035524"/>
                <a:gd name="connsiteX24" fmla="*/ 0 w 22478203"/>
                <a:gd name="connsiteY24" fmla="*/ 11649662 h 15035524"/>
                <a:gd name="connsiteX25" fmla="*/ 1003686 w 22478203"/>
                <a:gd name="connsiteY25" fmla="*/ 10903697 h 15035524"/>
                <a:gd name="connsiteX26" fmla="*/ 2902551 w 22478203"/>
                <a:gd name="connsiteY26" fmla="*/ 9719298 h 15035524"/>
                <a:gd name="connsiteX27" fmla="*/ 2558940 w 22478203"/>
                <a:gd name="connsiteY27" fmla="*/ 9185867 h 15035524"/>
                <a:gd name="connsiteX28" fmla="*/ 2402508 w 22478203"/>
                <a:gd name="connsiteY28" fmla="*/ 8498784 h 15035524"/>
                <a:gd name="connsiteX29" fmla="*/ 2730740 w 22478203"/>
                <a:gd name="connsiteY29" fmla="*/ 8471613 h 15035524"/>
                <a:gd name="connsiteX30" fmla="*/ 2947754 w 22478203"/>
                <a:gd name="connsiteY30" fmla="*/ 8001468 h 15035524"/>
                <a:gd name="connsiteX31" fmla="*/ 3499325 w 22478203"/>
                <a:gd name="connsiteY31" fmla="*/ 7558451 h 15035524"/>
                <a:gd name="connsiteX32" fmla="*/ 3680166 w 22478203"/>
                <a:gd name="connsiteY32" fmla="*/ 6681453 h 15035524"/>
                <a:gd name="connsiteX33" fmla="*/ 4186528 w 22478203"/>
                <a:gd name="connsiteY33" fmla="*/ 6690489 h 15035524"/>
                <a:gd name="connsiteX34" fmla="*/ 4837569 w 22478203"/>
                <a:gd name="connsiteY34" fmla="*/ 7160639 h 15035524"/>
                <a:gd name="connsiteX35" fmla="*/ 5352976 w 22478203"/>
                <a:gd name="connsiteY35" fmla="*/ 7079272 h 15035524"/>
                <a:gd name="connsiteX36" fmla="*/ 5741786 w 22478203"/>
                <a:gd name="connsiteY36" fmla="*/ 6708577 h 15035524"/>
                <a:gd name="connsiteX37" fmla="*/ 6157723 w 22478203"/>
                <a:gd name="connsiteY37" fmla="*/ 6545836 h 15035524"/>
                <a:gd name="connsiteX38" fmla="*/ 6745471 w 22478203"/>
                <a:gd name="connsiteY38" fmla="*/ 5976243 h 15035524"/>
                <a:gd name="connsiteX39" fmla="*/ 6890140 w 22478203"/>
                <a:gd name="connsiteY39" fmla="*/ 5126367 h 15035524"/>
                <a:gd name="connsiteX40" fmla="*/ 7568305 w 22478203"/>
                <a:gd name="connsiteY40" fmla="*/ 4556773 h 15035524"/>
                <a:gd name="connsiteX41" fmla="*/ 8137967 w 22478203"/>
                <a:gd name="connsiteY41" fmla="*/ 4113752 h 15035524"/>
                <a:gd name="connsiteX42" fmla="*/ 8463480 w 22478203"/>
                <a:gd name="connsiteY42" fmla="*/ 3309085 h 15035524"/>
                <a:gd name="connsiteX43" fmla="*/ 9024093 w 22478203"/>
                <a:gd name="connsiteY43" fmla="*/ 2956478 h 15035524"/>
                <a:gd name="connsiteX44" fmla="*/ 9675138 w 22478203"/>
                <a:gd name="connsiteY44" fmla="*/ 2603876 h 15035524"/>
                <a:gd name="connsiteX45" fmla="*/ 9558580 w 22478203"/>
                <a:gd name="connsiteY45" fmla="*/ 2055592 h 15035524"/>
                <a:gd name="connsiteX46" fmla="*/ 10353296 w 22478203"/>
                <a:gd name="connsiteY46" fmla="*/ 1383308 h 15035524"/>
                <a:gd name="connsiteX47" fmla="*/ 10832530 w 22478203"/>
                <a:gd name="connsiteY47" fmla="*/ 1310974 h 15035524"/>
                <a:gd name="connsiteX48" fmla="*/ 11058585 w 22478203"/>
                <a:gd name="connsiteY48" fmla="*/ 1763043 h 15035524"/>
                <a:gd name="connsiteX49" fmla="*/ 11411229 w 22478203"/>
                <a:gd name="connsiteY49" fmla="*/ 2142774 h 15035524"/>
                <a:gd name="connsiteX50" fmla="*/ 11998974 w 22478203"/>
                <a:gd name="connsiteY50" fmla="*/ 2224144 h 15035524"/>
                <a:gd name="connsiteX51" fmla="*/ 12315449 w 22478203"/>
                <a:gd name="connsiteY51" fmla="*/ 2884156 h 15035524"/>
                <a:gd name="connsiteX52" fmla="*/ 12785642 w 22478203"/>
                <a:gd name="connsiteY52" fmla="*/ 2703327 h 15035524"/>
                <a:gd name="connsiteX53" fmla="*/ 13671776 w 22478203"/>
                <a:gd name="connsiteY53" fmla="*/ 3155388 h 15035524"/>
                <a:gd name="connsiteX54" fmla="*/ 14123886 w 22478203"/>
                <a:gd name="connsiteY54" fmla="*/ 2857035 h 15035524"/>
                <a:gd name="connsiteX55" fmla="*/ 14259509 w 22478203"/>
                <a:gd name="connsiteY55" fmla="*/ 2287434 h 15035524"/>
                <a:gd name="connsiteX56" fmla="*/ 14892468 w 22478203"/>
                <a:gd name="connsiteY56" fmla="*/ 1645503 h 15035524"/>
                <a:gd name="connsiteX57" fmla="*/ 15778605 w 22478203"/>
                <a:gd name="connsiteY57" fmla="*/ 1093983 h 15035524"/>
                <a:gd name="connsiteX58" fmla="*/ 16022739 w 22478203"/>
                <a:gd name="connsiteY58" fmla="*/ 1564133 h 15035524"/>
                <a:gd name="connsiteX59" fmla="*/ 16556232 w 22478203"/>
                <a:gd name="connsiteY59" fmla="*/ 2142785 h 15035524"/>
                <a:gd name="connsiteX60" fmla="*/ 17406193 w 22478203"/>
                <a:gd name="connsiteY60" fmla="*/ 1292897 h 15035524"/>
                <a:gd name="connsiteX61" fmla="*/ 18120524 w 22478203"/>
                <a:gd name="connsiteY61" fmla="*/ 714260 h 15035524"/>
                <a:gd name="connsiteX62" fmla="*/ 18744437 w 22478203"/>
                <a:gd name="connsiteY62" fmla="*/ -1 h 15035524"/>
                <a:gd name="connsiteX63" fmla="*/ 19982300 w 22478203"/>
                <a:gd name="connsiteY63" fmla="*/ 343465 h 15035524"/>
                <a:gd name="connsiteX64" fmla="*/ 19837609 w 22478203"/>
                <a:gd name="connsiteY64" fmla="*/ 1121173 h 15035524"/>
                <a:gd name="connsiteX65" fmla="*/ 21881359 w 22478203"/>
                <a:gd name="connsiteY65" fmla="*/ 1772279 h 15035524"/>
                <a:gd name="connsiteX66" fmla="*/ 21537712 w 22478203"/>
                <a:gd name="connsiteY66" fmla="*/ 2767023 h 15035524"/>
                <a:gd name="connsiteX67" fmla="*/ 22478203 w 22478203"/>
                <a:gd name="connsiteY67" fmla="*/ 2296774 h 15035524"/>
                <a:gd name="connsiteX68" fmla="*/ 13387695 w 22478203"/>
                <a:gd name="connsiteY68" fmla="*/ 5998279 h 15035524"/>
                <a:gd name="connsiteX69" fmla="*/ 15323320 w 22478203"/>
                <a:gd name="connsiteY69" fmla="*/ 5928489 h 15035524"/>
                <a:gd name="connsiteX70" fmla="*/ 16350939 w 22478203"/>
                <a:gd name="connsiteY70" fmla="*/ 6053348 h 15035524"/>
                <a:gd name="connsiteX71" fmla="*/ 16362364 w 22478203"/>
                <a:gd name="connsiteY71" fmla="*/ 6360628 h 15035524"/>
                <a:gd name="connsiteX72" fmla="*/ 16682563 w 22478203"/>
                <a:gd name="connsiteY72" fmla="*/ 6798531 h 15035524"/>
                <a:gd name="connsiteX0" fmla="*/ 16682563 w 22478203"/>
                <a:gd name="connsiteY0" fmla="*/ 6798531 h 15035524"/>
                <a:gd name="connsiteX1" fmla="*/ 16432262 w 22478203"/>
                <a:gd name="connsiteY1" fmla="*/ 7825917 h 15035524"/>
                <a:gd name="connsiteX2" fmla="*/ 16106317 w 22478203"/>
                <a:gd name="connsiteY2" fmla="*/ 8367221 h 15035524"/>
                <a:gd name="connsiteX3" fmla="*/ 16305649 w 22478203"/>
                <a:gd name="connsiteY3" fmla="*/ 8754550 h 15035524"/>
                <a:gd name="connsiteX4" fmla="*/ 16287189 w 22478203"/>
                <a:gd name="connsiteY4" fmla="*/ 9151157 h 15035524"/>
                <a:gd name="connsiteX5" fmla="*/ 16372801 w 22478203"/>
                <a:gd name="connsiteY5" fmla="*/ 9717422 h 15035524"/>
                <a:gd name="connsiteX6" fmla="*/ 16070155 w 22478203"/>
                <a:gd name="connsiteY6" fmla="*/ 9937808 h 15035524"/>
                <a:gd name="connsiteX7" fmla="*/ 15805690 w 22478203"/>
                <a:gd name="connsiteY7" fmla="*/ 10431999 h 15035524"/>
                <a:gd name="connsiteX8" fmla="*/ 15195097 w 22478203"/>
                <a:gd name="connsiteY8" fmla="*/ 10093742 h 15035524"/>
                <a:gd name="connsiteX9" fmla="*/ 15011380 w 22478203"/>
                <a:gd name="connsiteY9" fmla="*/ 11048592 h 15035524"/>
                <a:gd name="connsiteX10" fmla="*/ 14908430 w 22478203"/>
                <a:gd name="connsiteY10" fmla="*/ 11937487 h 15035524"/>
                <a:gd name="connsiteX11" fmla="*/ 14904684 w 22478203"/>
                <a:gd name="connsiteY11" fmla="*/ 12760926 h 15035524"/>
                <a:gd name="connsiteX12" fmla="*/ 14929927 w 22478203"/>
                <a:gd name="connsiteY12" fmla="*/ 14391846 h 15035524"/>
                <a:gd name="connsiteX13" fmla="*/ 12952786 w 22478203"/>
                <a:gd name="connsiteY13" fmla="*/ 14842599 h 15035524"/>
                <a:gd name="connsiteX14" fmla="*/ 11934663 w 22478203"/>
                <a:gd name="connsiteY14" fmla="*/ 14890849 h 15035524"/>
                <a:gd name="connsiteX15" fmla="*/ 8506848 w 22478203"/>
                <a:gd name="connsiteY15" fmla="*/ 15035524 h 15035524"/>
                <a:gd name="connsiteX16" fmla="*/ 7985095 w 22478203"/>
                <a:gd name="connsiteY16" fmla="*/ 14390442 h 15035524"/>
                <a:gd name="connsiteX17" fmla="*/ 7400308 w 22478203"/>
                <a:gd name="connsiteY17" fmla="*/ 14360297 h 15035524"/>
                <a:gd name="connsiteX18" fmla="*/ 6972273 w 22478203"/>
                <a:gd name="connsiteY18" fmla="*/ 14631594 h 15035524"/>
                <a:gd name="connsiteX19" fmla="*/ 5181729 w 22478203"/>
                <a:gd name="connsiteY19" fmla="*/ 14547195 h 15035524"/>
                <a:gd name="connsiteX20" fmla="*/ 4397998 w 22478203"/>
                <a:gd name="connsiteY20" fmla="*/ 13914178 h 15035524"/>
                <a:gd name="connsiteX21" fmla="*/ 2908896 w 22478203"/>
                <a:gd name="connsiteY21" fmla="*/ 13106324 h 15035524"/>
                <a:gd name="connsiteX22" fmla="*/ 1263043 w 22478203"/>
                <a:gd name="connsiteY22" fmla="*/ 12394931 h 15035524"/>
                <a:gd name="connsiteX23" fmla="*/ 485320 w 22478203"/>
                <a:gd name="connsiteY23" fmla="*/ 11942774 h 15035524"/>
                <a:gd name="connsiteX24" fmla="*/ 0 w 22478203"/>
                <a:gd name="connsiteY24" fmla="*/ 11649662 h 15035524"/>
                <a:gd name="connsiteX25" fmla="*/ 1003686 w 22478203"/>
                <a:gd name="connsiteY25" fmla="*/ 10903697 h 15035524"/>
                <a:gd name="connsiteX26" fmla="*/ 2902551 w 22478203"/>
                <a:gd name="connsiteY26" fmla="*/ 9719298 h 15035524"/>
                <a:gd name="connsiteX27" fmla="*/ 2558940 w 22478203"/>
                <a:gd name="connsiteY27" fmla="*/ 9185867 h 15035524"/>
                <a:gd name="connsiteX28" fmla="*/ 2402508 w 22478203"/>
                <a:gd name="connsiteY28" fmla="*/ 8498784 h 15035524"/>
                <a:gd name="connsiteX29" fmla="*/ 2730740 w 22478203"/>
                <a:gd name="connsiteY29" fmla="*/ 8471613 h 15035524"/>
                <a:gd name="connsiteX30" fmla="*/ 2947754 w 22478203"/>
                <a:gd name="connsiteY30" fmla="*/ 8001468 h 15035524"/>
                <a:gd name="connsiteX31" fmla="*/ 3499325 w 22478203"/>
                <a:gd name="connsiteY31" fmla="*/ 7558451 h 15035524"/>
                <a:gd name="connsiteX32" fmla="*/ 3680166 w 22478203"/>
                <a:gd name="connsiteY32" fmla="*/ 6681453 h 15035524"/>
                <a:gd name="connsiteX33" fmla="*/ 4186528 w 22478203"/>
                <a:gd name="connsiteY33" fmla="*/ 6690489 h 15035524"/>
                <a:gd name="connsiteX34" fmla="*/ 4837569 w 22478203"/>
                <a:gd name="connsiteY34" fmla="*/ 7160639 h 15035524"/>
                <a:gd name="connsiteX35" fmla="*/ 5352976 w 22478203"/>
                <a:gd name="connsiteY35" fmla="*/ 7079272 h 15035524"/>
                <a:gd name="connsiteX36" fmla="*/ 5741786 w 22478203"/>
                <a:gd name="connsiteY36" fmla="*/ 6708577 h 15035524"/>
                <a:gd name="connsiteX37" fmla="*/ 6157723 w 22478203"/>
                <a:gd name="connsiteY37" fmla="*/ 6545836 h 15035524"/>
                <a:gd name="connsiteX38" fmla="*/ 6745471 w 22478203"/>
                <a:gd name="connsiteY38" fmla="*/ 5976243 h 15035524"/>
                <a:gd name="connsiteX39" fmla="*/ 6890140 w 22478203"/>
                <a:gd name="connsiteY39" fmla="*/ 5126367 h 15035524"/>
                <a:gd name="connsiteX40" fmla="*/ 7568305 w 22478203"/>
                <a:gd name="connsiteY40" fmla="*/ 4556773 h 15035524"/>
                <a:gd name="connsiteX41" fmla="*/ 8137967 w 22478203"/>
                <a:gd name="connsiteY41" fmla="*/ 4113752 h 15035524"/>
                <a:gd name="connsiteX42" fmla="*/ 8463480 w 22478203"/>
                <a:gd name="connsiteY42" fmla="*/ 3309085 h 15035524"/>
                <a:gd name="connsiteX43" fmla="*/ 9024093 w 22478203"/>
                <a:gd name="connsiteY43" fmla="*/ 2956478 h 15035524"/>
                <a:gd name="connsiteX44" fmla="*/ 9675138 w 22478203"/>
                <a:gd name="connsiteY44" fmla="*/ 2603876 h 15035524"/>
                <a:gd name="connsiteX45" fmla="*/ 9558580 w 22478203"/>
                <a:gd name="connsiteY45" fmla="*/ 2055592 h 15035524"/>
                <a:gd name="connsiteX46" fmla="*/ 10353296 w 22478203"/>
                <a:gd name="connsiteY46" fmla="*/ 1383308 h 15035524"/>
                <a:gd name="connsiteX47" fmla="*/ 10832530 w 22478203"/>
                <a:gd name="connsiteY47" fmla="*/ 1310974 h 15035524"/>
                <a:gd name="connsiteX48" fmla="*/ 11058585 w 22478203"/>
                <a:gd name="connsiteY48" fmla="*/ 1763043 h 15035524"/>
                <a:gd name="connsiteX49" fmla="*/ 11411229 w 22478203"/>
                <a:gd name="connsiteY49" fmla="*/ 2142774 h 15035524"/>
                <a:gd name="connsiteX50" fmla="*/ 11998974 w 22478203"/>
                <a:gd name="connsiteY50" fmla="*/ 2224144 h 15035524"/>
                <a:gd name="connsiteX51" fmla="*/ 12315449 w 22478203"/>
                <a:gd name="connsiteY51" fmla="*/ 2884156 h 15035524"/>
                <a:gd name="connsiteX52" fmla="*/ 12785642 w 22478203"/>
                <a:gd name="connsiteY52" fmla="*/ 2703327 h 15035524"/>
                <a:gd name="connsiteX53" fmla="*/ 13671776 w 22478203"/>
                <a:gd name="connsiteY53" fmla="*/ 3155388 h 15035524"/>
                <a:gd name="connsiteX54" fmla="*/ 14123886 w 22478203"/>
                <a:gd name="connsiteY54" fmla="*/ 2857035 h 15035524"/>
                <a:gd name="connsiteX55" fmla="*/ 14259509 w 22478203"/>
                <a:gd name="connsiteY55" fmla="*/ 2287434 h 15035524"/>
                <a:gd name="connsiteX56" fmla="*/ 14892468 w 22478203"/>
                <a:gd name="connsiteY56" fmla="*/ 1645503 h 15035524"/>
                <a:gd name="connsiteX57" fmla="*/ 15778605 w 22478203"/>
                <a:gd name="connsiteY57" fmla="*/ 1093983 h 15035524"/>
                <a:gd name="connsiteX58" fmla="*/ 16022739 w 22478203"/>
                <a:gd name="connsiteY58" fmla="*/ 1564133 h 15035524"/>
                <a:gd name="connsiteX59" fmla="*/ 16556232 w 22478203"/>
                <a:gd name="connsiteY59" fmla="*/ 2142785 h 15035524"/>
                <a:gd name="connsiteX60" fmla="*/ 17406193 w 22478203"/>
                <a:gd name="connsiteY60" fmla="*/ 1292897 h 15035524"/>
                <a:gd name="connsiteX61" fmla="*/ 18120524 w 22478203"/>
                <a:gd name="connsiteY61" fmla="*/ 714260 h 15035524"/>
                <a:gd name="connsiteX62" fmla="*/ 18744437 w 22478203"/>
                <a:gd name="connsiteY62" fmla="*/ -1 h 15035524"/>
                <a:gd name="connsiteX63" fmla="*/ 19982300 w 22478203"/>
                <a:gd name="connsiteY63" fmla="*/ 343465 h 15035524"/>
                <a:gd name="connsiteX64" fmla="*/ 19837609 w 22478203"/>
                <a:gd name="connsiteY64" fmla="*/ 1121173 h 15035524"/>
                <a:gd name="connsiteX65" fmla="*/ 21881359 w 22478203"/>
                <a:gd name="connsiteY65" fmla="*/ 1772279 h 15035524"/>
                <a:gd name="connsiteX66" fmla="*/ 21537712 w 22478203"/>
                <a:gd name="connsiteY66" fmla="*/ 2767023 h 15035524"/>
                <a:gd name="connsiteX67" fmla="*/ 22478203 w 22478203"/>
                <a:gd name="connsiteY67" fmla="*/ 2296774 h 15035524"/>
                <a:gd name="connsiteX68" fmla="*/ 14370431 w 22478203"/>
                <a:gd name="connsiteY68" fmla="*/ 5830216 h 15035524"/>
                <a:gd name="connsiteX69" fmla="*/ 15323320 w 22478203"/>
                <a:gd name="connsiteY69" fmla="*/ 5928489 h 15035524"/>
                <a:gd name="connsiteX70" fmla="*/ 16350939 w 22478203"/>
                <a:gd name="connsiteY70" fmla="*/ 6053348 h 15035524"/>
                <a:gd name="connsiteX71" fmla="*/ 16362364 w 22478203"/>
                <a:gd name="connsiteY71" fmla="*/ 6360628 h 15035524"/>
                <a:gd name="connsiteX72" fmla="*/ 16682563 w 22478203"/>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21537712 w 21881361"/>
                <a:gd name="connsiteY66" fmla="*/ 2767023 h 15035524"/>
                <a:gd name="connsiteX67" fmla="*/ 15879834 w 21881361"/>
                <a:gd name="connsiteY67" fmla="*/ 3669271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21537712 w 21881361"/>
                <a:gd name="connsiteY66" fmla="*/ 2767023 h 15035524"/>
                <a:gd name="connsiteX67" fmla="*/ 12791242 w 21881361"/>
                <a:gd name="connsiteY67" fmla="*/ 4145446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21537712 w 21881361"/>
                <a:gd name="connsiteY66" fmla="*/ 2767023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9351795 w 21881361"/>
                <a:gd name="connsiteY66" fmla="*/ 5483998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8537524 w 21881361"/>
                <a:gd name="connsiteY66" fmla="*/ 7052559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8481365 w 21881361"/>
                <a:gd name="connsiteY66" fmla="*/ 9209329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13844296 w 21881361"/>
                <a:gd name="connsiteY66" fmla="*/ 6156232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9583129 w 19982300"/>
                <a:gd name="connsiteY65" fmla="*/ 5329554 h 15035524"/>
                <a:gd name="connsiteX66" fmla="*/ 13844296 w 19982300"/>
                <a:gd name="connsiteY66" fmla="*/ 6156232 h 15035524"/>
                <a:gd name="connsiteX67" fmla="*/ 14195152 w 19982300"/>
                <a:gd name="connsiteY67" fmla="*/ 5489927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0818567 w 19982300"/>
                <a:gd name="connsiteY65" fmla="*/ 7094187 h 15035524"/>
                <a:gd name="connsiteX66" fmla="*/ 13844296 w 19982300"/>
                <a:gd name="connsiteY66" fmla="*/ 6156232 h 15035524"/>
                <a:gd name="connsiteX67" fmla="*/ 14195152 w 19982300"/>
                <a:gd name="connsiteY67" fmla="*/ 5489927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0818567 w 19982300"/>
                <a:gd name="connsiteY65" fmla="*/ 709418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0902797 w 19982300"/>
                <a:gd name="connsiteY65" fmla="*/ 8634739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1717061 w 19982300"/>
                <a:gd name="connsiteY65" fmla="*/ 9643106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2531332 w 19982300"/>
                <a:gd name="connsiteY65" fmla="*/ 10399372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1239741 w 19982300"/>
                <a:gd name="connsiteY65" fmla="*/ 10035244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0537783 w 19982300"/>
                <a:gd name="connsiteY65" fmla="*/ 9419026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9358504 w 19982300"/>
                <a:gd name="connsiteY65" fmla="*/ 12556148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5820656 w 19982300"/>
                <a:gd name="connsiteY65" fmla="*/ 12276045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2868275 w 19982300"/>
                <a:gd name="connsiteY65" fmla="*/ 675806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9926023 w 19982300"/>
                <a:gd name="connsiteY64" fmla="*/ 5238645 h 15035524"/>
                <a:gd name="connsiteX65" fmla="*/ 12868275 w 19982300"/>
                <a:gd name="connsiteY65" fmla="*/ 675806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8353647 w 19982300"/>
                <a:gd name="connsiteY64" fmla="*/ 9412143 h 15035524"/>
                <a:gd name="connsiteX65" fmla="*/ 12868275 w 19982300"/>
                <a:gd name="connsiteY65" fmla="*/ 675806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1919572 w 19982300"/>
                <a:gd name="connsiteY64" fmla="*/ 7003278 h 15035524"/>
                <a:gd name="connsiteX65" fmla="*/ 12868275 w 19982300"/>
                <a:gd name="connsiteY65" fmla="*/ 675806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8744436"/>
                <a:gd name="connsiteY0" fmla="*/ 6798531 h 15035524"/>
                <a:gd name="connsiteX1" fmla="*/ 16432262 w 18744436"/>
                <a:gd name="connsiteY1" fmla="*/ 7825917 h 15035524"/>
                <a:gd name="connsiteX2" fmla="*/ 16106317 w 18744436"/>
                <a:gd name="connsiteY2" fmla="*/ 8367221 h 15035524"/>
                <a:gd name="connsiteX3" fmla="*/ 16305649 w 18744436"/>
                <a:gd name="connsiteY3" fmla="*/ 8754550 h 15035524"/>
                <a:gd name="connsiteX4" fmla="*/ 16287189 w 18744436"/>
                <a:gd name="connsiteY4" fmla="*/ 9151157 h 15035524"/>
                <a:gd name="connsiteX5" fmla="*/ 16372801 w 18744436"/>
                <a:gd name="connsiteY5" fmla="*/ 9717422 h 15035524"/>
                <a:gd name="connsiteX6" fmla="*/ 16070155 w 18744436"/>
                <a:gd name="connsiteY6" fmla="*/ 9937808 h 15035524"/>
                <a:gd name="connsiteX7" fmla="*/ 15805690 w 18744436"/>
                <a:gd name="connsiteY7" fmla="*/ 10431999 h 15035524"/>
                <a:gd name="connsiteX8" fmla="*/ 15195097 w 18744436"/>
                <a:gd name="connsiteY8" fmla="*/ 10093742 h 15035524"/>
                <a:gd name="connsiteX9" fmla="*/ 15011380 w 18744436"/>
                <a:gd name="connsiteY9" fmla="*/ 11048592 h 15035524"/>
                <a:gd name="connsiteX10" fmla="*/ 14908430 w 18744436"/>
                <a:gd name="connsiteY10" fmla="*/ 11937487 h 15035524"/>
                <a:gd name="connsiteX11" fmla="*/ 14904684 w 18744436"/>
                <a:gd name="connsiteY11" fmla="*/ 12760926 h 15035524"/>
                <a:gd name="connsiteX12" fmla="*/ 14929927 w 18744436"/>
                <a:gd name="connsiteY12" fmla="*/ 14391846 h 15035524"/>
                <a:gd name="connsiteX13" fmla="*/ 12952786 w 18744436"/>
                <a:gd name="connsiteY13" fmla="*/ 14842599 h 15035524"/>
                <a:gd name="connsiteX14" fmla="*/ 11934663 w 18744436"/>
                <a:gd name="connsiteY14" fmla="*/ 14890849 h 15035524"/>
                <a:gd name="connsiteX15" fmla="*/ 8506848 w 18744436"/>
                <a:gd name="connsiteY15" fmla="*/ 15035524 h 15035524"/>
                <a:gd name="connsiteX16" fmla="*/ 7985095 w 18744436"/>
                <a:gd name="connsiteY16" fmla="*/ 14390442 h 15035524"/>
                <a:gd name="connsiteX17" fmla="*/ 7400308 w 18744436"/>
                <a:gd name="connsiteY17" fmla="*/ 14360297 h 15035524"/>
                <a:gd name="connsiteX18" fmla="*/ 6972273 w 18744436"/>
                <a:gd name="connsiteY18" fmla="*/ 14631594 h 15035524"/>
                <a:gd name="connsiteX19" fmla="*/ 5181729 w 18744436"/>
                <a:gd name="connsiteY19" fmla="*/ 14547195 h 15035524"/>
                <a:gd name="connsiteX20" fmla="*/ 4397998 w 18744436"/>
                <a:gd name="connsiteY20" fmla="*/ 13914178 h 15035524"/>
                <a:gd name="connsiteX21" fmla="*/ 2908896 w 18744436"/>
                <a:gd name="connsiteY21" fmla="*/ 13106324 h 15035524"/>
                <a:gd name="connsiteX22" fmla="*/ 1263043 w 18744436"/>
                <a:gd name="connsiteY22" fmla="*/ 12394931 h 15035524"/>
                <a:gd name="connsiteX23" fmla="*/ 485320 w 18744436"/>
                <a:gd name="connsiteY23" fmla="*/ 11942774 h 15035524"/>
                <a:gd name="connsiteX24" fmla="*/ 0 w 18744436"/>
                <a:gd name="connsiteY24" fmla="*/ 11649662 h 15035524"/>
                <a:gd name="connsiteX25" fmla="*/ 1003686 w 18744436"/>
                <a:gd name="connsiteY25" fmla="*/ 10903697 h 15035524"/>
                <a:gd name="connsiteX26" fmla="*/ 2902551 w 18744436"/>
                <a:gd name="connsiteY26" fmla="*/ 9719298 h 15035524"/>
                <a:gd name="connsiteX27" fmla="*/ 2558940 w 18744436"/>
                <a:gd name="connsiteY27" fmla="*/ 9185867 h 15035524"/>
                <a:gd name="connsiteX28" fmla="*/ 2402508 w 18744436"/>
                <a:gd name="connsiteY28" fmla="*/ 8498784 h 15035524"/>
                <a:gd name="connsiteX29" fmla="*/ 2730740 w 18744436"/>
                <a:gd name="connsiteY29" fmla="*/ 8471613 h 15035524"/>
                <a:gd name="connsiteX30" fmla="*/ 2947754 w 18744436"/>
                <a:gd name="connsiteY30" fmla="*/ 8001468 h 15035524"/>
                <a:gd name="connsiteX31" fmla="*/ 3499325 w 18744436"/>
                <a:gd name="connsiteY31" fmla="*/ 7558451 h 15035524"/>
                <a:gd name="connsiteX32" fmla="*/ 3680166 w 18744436"/>
                <a:gd name="connsiteY32" fmla="*/ 6681453 h 15035524"/>
                <a:gd name="connsiteX33" fmla="*/ 4186528 w 18744436"/>
                <a:gd name="connsiteY33" fmla="*/ 6690489 h 15035524"/>
                <a:gd name="connsiteX34" fmla="*/ 4837569 w 18744436"/>
                <a:gd name="connsiteY34" fmla="*/ 7160639 h 15035524"/>
                <a:gd name="connsiteX35" fmla="*/ 5352976 w 18744436"/>
                <a:gd name="connsiteY35" fmla="*/ 7079272 h 15035524"/>
                <a:gd name="connsiteX36" fmla="*/ 5741786 w 18744436"/>
                <a:gd name="connsiteY36" fmla="*/ 6708577 h 15035524"/>
                <a:gd name="connsiteX37" fmla="*/ 6157723 w 18744436"/>
                <a:gd name="connsiteY37" fmla="*/ 6545836 h 15035524"/>
                <a:gd name="connsiteX38" fmla="*/ 6745471 w 18744436"/>
                <a:gd name="connsiteY38" fmla="*/ 5976243 h 15035524"/>
                <a:gd name="connsiteX39" fmla="*/ 6890140 w 18744436"/>
                <a:gd name="connsiteY39" fmla="*/ 5126367 h 15035524"/>
                <a:gd name="connsiteX40" fmla="*/ 7568305 w 18744436"/>
                <a:gd name="connsiteY40" fmla="*/ 4556773 h 15035524"/>
                <a:gd name="connsiteX41" fmla="*/ 8137967 w 18744436"/>
                <a:gd name="connsiteY41" fmla="*/ 4113752 h 15035524"/>
                <a:gd name="connsiteX42" fmla="*/ 8463480 w 18744436"/>
                <a:gd name="connsiteY42" fmla="*/ 3309085 h 15035524"/>
                <a:gd name="connsiteX43" fmla="*/ 9024093 w 18744436"/>
                <a:gd name="connsiteY43" fmla="*/ 2956478 h 15035524"/>
                <a:gd name="connsiteX44" fmla="*/ 9675138 w 18744436"/>
                <a:gd name="connsiteY44" fmla="*/ 2603876 h 15035524"/>
                <a:gd name="connsiteX45" fmla="*/ 9558580 w 18744436"/>
                <a:gd name="connsiteY45" fmla="*/ 2055592 h 15035524"/>
                <a:gd name="connsiteX46" fmla="*/ 10353296 w 18744436"/>
                <a:gd name="connsiteY46" fmla="*/ 1383308 h 15035524"/>
                <a:gd name="connsiteX47" fmla="*/ 10832530 w 18744436"/>
                <a:gd name="connsiteY47" fmla="*/ 1310974 h 15035524"/>
                <a:gd name="connsiteX48" fmla="*/ 11058585 w 18744436"/>
                <a:gd name="connsiteY48" fmla="*/ 1763043 h 15035524"/>
                <a:gd name="connsiteX49" fmla="*/ 11411229 w 18744436"/>
                <a:gd name="connsiteY49" fmla="*/ 2142774 h 15035524"/>
                <a:gd name="connsiteX50" fmla="*/ 11998974 w 18744436"/>
                <a:gd name="connsiteY50" fmla="*/ 2224144 h 15035524"/>
                <a:gd name="connsiteX51" fmla="*/ 12315449 w 18744436"/>
                <a:gd name="connsiteY51" fmla="*/ 2884156 h 15035524"/>
                <a:gd name="connsiteX52" fmla="*/ 12785642 w 18744436"/>
                <a:gd name="connsiteY52" fmla="*/ 2703327 h 15035524"/>
                <a:gd name="connsiteX53" fmla="*/ 13671776 w 18744436"/>
                <a:gd name="connsiteY53" fmla="*/ 3155388 h 15035524"/>
                <a:gd name="connsiteX54" fmla="*/ 14123886 w 18744436"/>
                <a:gd name="connsiteY54" fmla="*/ 2857035 h 15035524"/>
                <a:gd name="connsiteX55" fmla="*/ 14259509 w 18744436"/>
                <a:gd name="connsiteY55" fmla="*/ 2287434 h 15035524"/>
                <a:gd name="connsiteX56" fmla="*/ 14892468 w 18744436"/>
                <a:gd name="connsiteY56" fmla="*/ 1645503 h 15035524"/>
                <a:gd name="connsiteX57" fmla="*/ 15778605 w 18744436"/>
                <a:gd name="connsiteY57" fmla="*/ 1093983 h 15035524"/>
                <a:gd name="connsiteX58" fmla="*/ 16022739 w 18744436"/>
                <a:gd name="connsiteY58" fmla="*/ 1564133 h 15035524"/>
                <a:gd name="connsiteX59" fmla="*/ 16556232 w 18744436"/>
                <a:gd name="connsiteY59" fmla="*/ 2142785 h 15035524"/>
                <a:gd name="connsiteX60" fmla="*/ 17406193 w 18744436"/>
                <a:gd name="connsiteY60" fmla="*/ 1292897 h 15035524"/>
                <a:gd name="connsiteX61" fmla="*/ 18120524 w 18744436"/>
                <a:gd name="connsiteY61" fmla="*/ 714260 h 15035524"/>
                <a:gd name="connsiteX62" fmla="*/ 18744437 w 18744436"/>
                <a:gd name="connsiteY62" fmla="*/ -1 h 15035524"/>
                <a:gd name="connsiteX63" fmla="*/ 3500421 w 18744436"/>
                <a:gd name="connsiteY63" fmla="*/ 4096811 h 15035524"/>
                <a:gd name="connsiteX64" fmla="*/ 11919572 w 18744436"/>
                <a:gd name="connsiteY64" fmla="*/ 7003278 h 15035524"/>
                <a:gd name="connsiteX65" fmla="*/ 12868275 w 18744436"/>
                <a:gd name="connsiteY65" fmla="*/ 6758067 h 15035524"/>
                <a:gd name="connsiteX66" fmla="*/ 13844296 w 18744436"/>
                <a:gd name="connsiteY66" fmla="*/ 6156232 h 15035524"/>
                <a:gd name="connsiteX67" fmla="*/ 13886291 w 18744436"/>
                <a:gd name="connsiteY67" fmla="*/ 5321864 h 15035524"/>
                <a:gd name="connsiteX68" fmla="*/ 14370431 w 18744436"/>
                <a:gd name="connsiteY68" fmla="*/ 5830216 h 15035524"/>
                <a:gd name="connsiteX69" fmla="*/ 15323320 w 18744436"/>
                <a:gd name="connsiteY69" fmla="*/ 5928489 h 15035524"/>
                <a:gd name="connsiteX70" fmla="*/ 16350939 w 18744436"/>
                <a:gd name="connsiteY70" fmla="*/ 6053348 h 15035524"/>
                <a:gd name="connsiteX71" fmla="*/ 16362364 w 18744436"/>
                <a:gd name="connsiteY71" fmla="*/ 6360628 h 15035524"/>
                <a:gd name="connsiteX72" fmla="*/ 16682563 w 18744436"/>
                <a:gd name="connsiteY72" fmla="*/ 6798531 h 15035524"/>
                <a:gd name="connsiteX0" fmla="*/ 16682563 w 18744436"/>
                <a:gd name="connsiteY0" fmla="*/ 6798531 h 15035524"/>
                <a:gd name="connsiteX1" fmla="*/ 16432262 w 18744436"/>
                <a:gd name="connsiteY1" fmla="*/ 7825917 h 15035524"/>
                <a:gd name="connsiteX2" fmla="*/ 16106317 w 18744436"/>
                <a:gd name="connsiteY2" fmla="*/ 8367221 h 15035524"/>
                <a:gd name="connsiteX3" fmla="*/ 16305649 w 18744436"/>
                <a:gd name="connsiteY3" fmla="*/ 8754550 h 15035524"/>
                <a:gd name="connsiteX4" fmla="*/ 16287189 w 18744436"/>
                <a:gd name="connsiteY4" fmla="*/ 9151157 h 15035524"/>
                <a:gd name="connsiteX5" fmla="*/ 16372801 w 18744436"/>
                <a:gd name="connsiteY5" fmla="*/ 9717422 h 15035524"/>
                <a:gd name="connsiteX6" fmla="*/ 16070155 w 18744436"/>
                <a:gd name="connsiteY6" fmla="*/ 9937808 h 15035524"/>
                <a:gd name="connsiteX7" fmla="*/ 15805690 w 18744436"/>
                <a:gd name="connsiteY7" fmla="*/ 10431999 h 15035524"/>
                <a:gd name="connsiteX8" fmla="*/ 15195097 w 18744436"/>
                <a:gd name="connsiteY8" fmla="*/ 10093742 h 15035524"/>
                <a:gd name="connsiteX9" fmla="*/ 15011380 w 18744436"/>
                <a:gd name="connsiteY9" fmla="*/ 11048592 h 15035524"/>
                <a:gd name="connsiteX10" fmla="*/ 14908430 w 18744436"/>
                <a:gd name="connsiteY10" fmla="*/ 11937487 h 15035524"/>
                <a:gd name="connsiteX11" fmla="*/ 14904684 w 18744436"/>
                <a:gd name="connsiteY11" fmla="*/ 12760926 h 15035524"/>
                <a:gd name="connsiteX12" fmla="*/ 14929927 w 18744436"/>
                <a:gd name="connsiteY12" fmla="*/ 14391846 h 15035524"/>
                <a:gd name="connsiteX13" fmla="*/ 12952786 w 18744436"/>
                <a:gd name="connsiteY13" fmla="*/ 14842599 h 15035524"/>
                <a:gd name="connsiteX14" fmla="*/ 11934663 w 18744436"/>
                <a:gd name="connsiteY14" fmla="*/ 14890849 h 15035524"/>
                <a:gd name="connsiteX15" fmla="*/ 8506848 w 18744436"/>
                <a:gd name="connsiteY15" fmla="*/ 15035524 h 15035524"/>
                <a:gd name="connsiteX16" fmla="*/ 7985095 w 18744436"/>
                <a:gd name="connsiteY16" fmla="*/ 14390442 h 15035524"/>
                <a:gd name="connsiteX17" fmla="*/ 7400308 w 18744436"/>
                <a:gd name="connsiteY17" fmla="*/ 14360297 h 15035524"/>
                <a:gd name="connsiteX18" fmla="*/ 6972273 w 18744436"/>
                <a:gd name="connsiteY18" fmla="*/ 14631594 h 15035524"/>
                <a:gd name="connsiteX19" fmla="*/ 5181729 w 18744436"/>
                <a:gd name="connsiteY19" fmla="*/ 14547195 h 15035524"/>
                <a:gd name="connsiteX20" fmla="*/ 4397998 w 18744436"/>
                <a:gd name="connsiteY20" fmla="*/ 13914178 h 15035524"/>
                <a:gd name="connsiteX21" fmla="*/ 2908896 w 18744436"/>
                <a:gd name="connsiteY21" fmla="*/ 13106324 h 15035524"/>
                <a:gd name="connsiteX22" fmla="*/ 1263043 w 18744436"/>
                <a:gd name="connsiteY22" fmla="*/ 12394931 h 15035524"/>
                <a:gd name="connsiteX23" fmla="*/ 485320 w 18744436"/>
                <a:gd name="connsiteY23" fmla="*/ 11942774 h 15035524"/>
                <a:gd name="connsiteX24" fmla="*/ 0 w 18744436"/>
                <a:gd name="connsiteY24" fmla="*/ 11649662 h 15035524"/>
                <a:gd name="connsiteX25" fmla="*/ 1003686 w 18744436"/>
                <a:gd name="connsiteY25" fmla="*/ 10903697 h 15035524"/>
                <a:gd name="connsiteX26" fmla="*/ 2902551 w 18744436"/>
                <a:gd name="connsiteY26" fmla="*/ 9719298 h 15035524"/>
                <a:gd name="connsiteX27" fmla="*/ 2558940 w 18744436"/>
                <a:gd name="connsiteY27" fmla="*/ 9185867 h 15035524"/>
                <a:gd name="connsiteX28" fmla="*/ 2402508 w 18744436"/>
                <a:gd name="connsiteY28" fmla="*/ 8498784 h 15035524"/>
                <a:gd name="connsiteX29" fmla="*/ 2730740 w 18744436"/>
                <a:gd name="connsiteY29" fmla="*/ 8471613 h 15035524"/>
                <a:gd name="connsiteX30" fmla="*/ 2947754 w 18744436"/>
                <a:gd name="connsiteY30" fmla="*/ 8001468 h 15035524"/>
                <a:gd name="connsiteX31" fmla="*/ 3499325 w 18744436"/>
                <a:gd name="connsiteY31" fmla="*/ 7558451 h 15035524"/>
                <a:gd name="connsiteX32" fmla="*/ 3680166 w 18744436"/>
                <a:gd name="connsiteY32" fmla="*/ 6681453 h 15035524"/>
                <a:gd name="connsiteX33" fmla="*/ 4186528 w 18744436"/>
                <a:gd name="connsiteY33" fmla="*/ 6690489 h 15035524"/>
                <a:gd name="connsiteX34" fmla="*/ 4837569 w 18744436"/>
                <a:gd name="connsiteY34" fmla="*/ 7160639 h 15035524"/>
                <a:gd name="connsiteX35" fmla="*/ 5352976 w 18744436"/>
                <a:gd name="connsiteY35" fmla="*/ 7079272 h 15035524"/>
                <a:gd name="connsiteX36" fmla="*/ 5741786 w 18744436"/>
                <a:gd name="connsiteY36" fmla="*/ 6708577 h 15035524"/>
                <a:gd name="connsiteX37" fmla="*/ 6157723 w 18744436"/>
                <a:gd name="connsiteY37" fmla="*/ 6545836 h 15035524"/>
                <a:gd name="connsiteX38" fmla="*/ 6745471 w 18744436"/>
                <a:gd name="connsiteY38" fmla="*/ 5976243 h 15035524"/>
                <a:gd name="connsiteX39" fmla="*/ 6890140 w 18744436"/>
                <a:gd name="connsiteY39" fmla="*/ 5126367 h 15035524"/>
                <a:gd name="connsiteX40" fmla="*/ 7568305 w 18744436"/>
                <a:gd name="connsiteY40" fmla="*/ 4556773 h 15035524"/>
                <a:gd name="connsiteX41" fmla="*/ 8137967 w 18744436"/>
                <a:gd name="connsiteY41" fmla="*/ 4113752 h 15035524"/>
                <a:gd name="connsiteX42" fmla="*/ 8463480 w 18744436"/>
                <a:gd name="connsiteY42" fmla="*/ 3309085 h 15035524"/>
                <a:gd name="connsiteX43" fmla="*/ 9024093 w 18744436"/>
                <a:gd name="connsiteY43" fmla="*/ 2956478 h 15035524"/>
                <a:gd name="connsiteX44" fmla="*/ 9675138 w 18744436"/>
                <a:gd name="connsiteY44" fmla="*/ 2603876 h 15035524"/>
                <a:gd name="connsiteX45" fmla="*/ 9558580 w 18744436"/>
                <a:gd name="connsiteY45" fmla="*/ 2055592 h 15035524"/>
                <a:gd name="connsiteX46" fmla="*/ 10353296 w 18744436"/>
                <a:gd name="connsiteY46" fmla="*/ 1383308 h 15035524"/>
                <a:gd name="connsiteX47" fmla="*/ 10832530 w 18744436"/>
                <a:gd name="connsiteY47" fmla="*/ 1310974 h 15035524"/>
                <a:gd name="connsiteX48" fmla="*/ 11058585 w 18744436"/>
                <a:gd name="connsiteY48" fmla="*/ 1763043 h 15035524"/>
                <a:gd name="connsiteX49" fmla="*/ 11411229 w 18744436"/>
                <a:gd name="connsiteY49" fmla="*/ 2142774 h 15035524"/>
                <a:gd name="connsiteX50" fmla="*/ 11998974 w 18744436"/>
                <a:gd name="connsiteY50" fmla="*/ 2224144 h 15035524"/>
                <a:gd name="connsiteX51" fmla="*/ 12315449 w 18744436"/>
                <a:gd name="connsiteY51" fmla="*/ 2884156 h 15035524"/>
                <a:gd name="connsiteX52" fmla="*/ 12785642 w 18744436"/>
                <a:gd name="connsiteY52" fmla="*/ 2703327 h 15035524"/>
                <a:gd name="connsiteX53" fmla="*/ 13671776 w 18744436"/>
                <a:gd name="connsiteY53" fmla="*/ 3155388 h 15035524"/>
                <a:gd name="connsiteX54" fmla="*/ 14123886 w 18744436"/>
                <a:gd name="connsiteY54" fmla="*/ 2857035 h 15035524"/>
                <a:gd name="connsiteX55" fmla="*/ 14259509 w 18744436"/>
                <a:gd name="connsiteY55" fmla="*/ 2287434 h 15035524"/>
                <a:gd name="connsiteX56" fmla="*/ 14892468 w 18744436"/>
                <a:gd name="connsiteY56" fmla="*/ 1645503 h 15035524"/>
                <a:gd name="connsiteX57" fmla="*/ 15778605 w 18744436"/>
                <a:gd name="connsiteY57" fmla="*/ 1093983 h 15035524"/>
                <a:gd name="connsiteX58" fmla="*/ 16022739 w 18744436"/>
                <a:gd name="connsiteY58" fmla="*/ 1564133 h 15035524"/>
                <a:gd name="connsiteX59" fmla="*/ 16556232 w 18744436"/>
                <a:gd name="connsiteY59" fmla="*/ 2142785 h 15035524"/>
                <a:gd name="connsiteX60" fmla="*/ 17406193 w 18744436"/>
                <a:gd name="connsiteY60" fmla="*/ 1292897 h 15035524"/>
                <a:gd name="connsiteX61" fmla="*/ 18120524 w 18744436"/>
                <a:gd name="connsiteY61" fmla="*/ 714260 h 15035524"/>
                <a:gd name="connsiteX62" fmla="*/ 18744437 w 18744436"/>
                <a:gd name="connsiteY62" fmla="*/ -1 h 15035524"/>
                <a:gd name="connsiteX63" fmla="*/ 496059 w 18744436"/>
                <a:gd name="connsiteY63" fmla="*/ 6029507 h 15035524"/>
                <a:gd name="connsiteX64" fmla="*/ 11919572 w 18744436"/>
                <a:gd name="connsiteY64" fmla="*/ 7003278 h 15035524"/>
                <a:gd name="connsiteX65" fmla="*/ 12868275 w 18744436"/>
                <a:gd name="connsiteY65" fmla="*/ 6758067 h 15035524"/>
                <a:gd name="connsiteX66" fmla="*/ 13844296 w 18744436"/>
                <a:gd name="connsiteY66" fmla="*/ 6156232 h 15035524"/>
                <a:gd name="connsiteX67" fmla="*/ 13886291 w 18744436"/>
                <a:gd name="connsiteY67" fmla="*/ 5321864 h 15035524"/>
                <a:gd name="connsiteX68" fmla="*/ 14370431 w 18744436"/>
                <a:gd name="connsiteY68" fmla="*/ 5830216 h 15035524"/>
                <a:gd name="connsiteX69" fmla="*/ 15323320 w 18744436"/>
                <a:gd name="connsiteY69" fmla="*/ 5928489 h 15035524"/>
                <a:gd name="connsiteX70" fmla="*/ 16350939 w 18744436"/>
                <a:gd name="connsiteY70" fmla="*/ 6053348 h 15035524"/>
                <a:gd name="connsiteX71" fmla="*/ 16362364 w 18744436"/>
                <a:gd name="connsiteY71" fmla="*/ 6360628 h 15035524"/>
                <a:gd name="connsiteX72" fmla="*/ 16682563 w 18744436"/>
                <a:gd name="connsiteY72" fmla="*/ 6798531 h 15035524"/>
                <a:gd name="connsiteX0" fmla="*/ 16682563 w 18744436"/>
                <a:gd name="connsiteY0" fmla="*/ 6798531 h 15035524"/>
                <a:gd name="connsiteX1" fmla="*/ 16432262 w 18744436"/>
                <a:gd name="connsiteY1" fmla="*/ 7825917 h 15035524"/>
                <a:gd name="connsiteX2" fmla="*/ 16106317 w 18744436"/>
                <a:gd name="connsiteY2" fmla="*/ 8367221 h 15035524"/>
                <a:gd name="connsiteX3" fmla="*/ 16305649 w 18744436"/>
                <a:gd name="connsiteY3" fmla="*/ 8754550 h 15035524"/>
                <a:gd name="connsiteX4" fmla="*/ 16287189 w 18744436"/>
                <a:gd name="connsiteY4" fmla="*/ 9151157 h 15035524"/>
                <a:gd name="connsiteX5" fmla="*/ 16372801 w 18744436"/>
                <a:gd name="connsiteY5" fmla="*/ 9717422 h 15035524"/>
                <a:gd name="connsiteX6" fmla="*/ 16070155 w 18744436"/>
                <a:gd name="connsiteY6" fmla="*/ 9937808 h 15035524"/>
                <a:gd name="connsiteX7" fmla="*/ 15805690 w 18744436"/>
                <a:gd name="connsiteY7" fmla="*/ 10431999 h 15035524"/>
                <a:gd name="connsiteX8" fmla="*/ 15195097 w 18744436"/>
                <a:gd name="connsiteY8" fmla="*/ 10093742 h 15035524"/>
                <a:gd name="connsiteX9" fmla="*/ 15011380 w 18744436"/>
                <a:gd name="connsiteY9" fmla="*/ 11048592 h 15035524"/>
                <a:gd name="connsiteX10" fmla="*/ 14908430 w 18744436"/>
                <a:gd name="connsiteY10" fmla="*/ 11937487 h 15035524"/>
                <a:gd name="connsiteX11" fmla="*/ 14904684 w 18744436"/>
                <a:gd name="connsiteY11" fmla="*/ 12760926 h 15035524"/>
                <a:gd name="connsiteX12" fmla="*/ 14929927 w 18744436"/>
                <a:gd name="connsiteY12" fmla="*/ 14391846 h 15035524"/>
                <a:gd name="connsiteX13" fmla="*/ 12952786 w 18744436"/>
                <a:gd name="connsiteY13" fmla="*/ 14842599 h 15035524"/>
                <a:gd name="connsiteX14" fmla="*/ 11934663 w 18744436"/>
                <a:gd name="connsiteY14" fmla="*/ 14890849 h 15035524"/>
                <a:gd name="connsiteX15" fmla="*/ 8506848 w 18744436"/>
                <a:gd name="connsiteY15" fmla="*/ 15035524 h 15035524"/>
                <a:gd name="connsiteX16" fmla="*/ 7985095 w 18744436"/>
                <a:gd name="connsiteY16" fmla="*/ 14390442 h 15035524"/>
                <a:gd name="connsiteX17" fmla="*/ 7400308 w 18744436"/>
                <a:gd name="connsiteY17" fmla="*/ 14360297 h 15035524"/>
                <a:gd name="connsiteX18" fmla="*/ 6972273 w 18744436"/>
                <a:gd name="connsiteY18" fmla="*/ 14631594 h 15035524"/>
                <a:gd name="connsiteX19" fmla="*/ 5181729 w 18744436"/>
                <a:gd name="connsiteY19" fmla="*/ 14547195 h 15035524"/>
                <a:gd name="connsiteX20" fmla="*/ 4397998 w 18744436"/>
                <a:gd name="connsiteY20" fmla="*/ 13914178 h 15035524"/>
                <a:gd name="connsiteX21" fmla="*/ 2908896 w 18744436"/>
                <a:gd name="connsiteY21" fmla="*/ 13106324 h 15035524"/>
                <a:gd name="connsiteX22" fmla="*/ 1263043 w 18744436"/>
                <a:gd name="connsiteY22" fmla="*/ 12394931 h 15035524"/>
                <a:gd name="connsiteX23" fmla="*/ 485320 w 18744436"/>
                <a:gd name="connsiteY23" fmla="*/ 11942774 h 15035524"/>
                <a:gd name="connsiteX24" fmla="*/ 0 w 18744436"/>
                <a:gd name="connsiteY24" fmla="*/ 11649662 h 15035524"/>
                <a:gd name="connsiteX25" fmla="*/ 1003686 w 18744436"/>
                <a:gd name="connsiteY25" fmla="*/ 10903697 h 15035524"/>
                <a:gd name="connsiteX26" fmla="*/ 2902551 w 18744436"/>
                <a:gd name="connsiteY26" fmla="*/ 9719298 h 15035524"/>
                <a:gd name="connsiteX27" fmla="*/ 2558940 w 18744436"/>
                <a:gd name="connsiteY27" fmla="*/ 9185867 h 15035524"/>
                <a:gd name="connsiteX28" fmla="*/ 2402508 w 18744436"/>
                <a:gd name="connsiteY28" fmla="*/ 8498784 h 15035524"/>
                <a:gd name="connsiteX29" fmla="*/ 2730740 w 18744436"/>
                <a:gd name="connsiteY29" fmla="*/ 8471613 h 15035524"/>
                <a:gd name="connsiteX30" fmla="*/ 2947754 w 18744436"/>
                <a:gd name="connsiteY30" fmla="*/ 8001468 h 15035524"/>
                <a:gd name="connsiteX31" fmla="*/ 3499325 w 18744436"/>
                <a:gd name="connsiteY31" fmla="*/ 7558451 h 15035524"/>
                <a:gd name="connsiteX32" fmla="*/ 3680166 w 18744436"/>
                <a:gd name="connsiteY32" fmla="*/ 6681453 h 15035524"/>
                <a:gd name="connsiteX33" fmla="*/ 4186528 w 18744436"/>
                <a:gd name="connsiteY33" fmla="*/ 6690489 h 15035524"/>
                <a:gd name="connsiteX34" fmla="*/ 4837569 w 18744436"/>
                <a:gd name="connsiteY34" fmla="*/ 7160639 h 15035524"/>
                <a:gd name="connsiteX35" fmla="*/ 5352976 w 18744436"/>
                <a:gd name="connsiteY35" fmla="*/ 7079272 h 15035524"/>
                <a:gd name="connsiteX36" fmla="*/ 5741786 w 18744436"/>
                <a:gd name="connsiteY36" fmla="*/ 6708577 h 15035524"/>
                <a:gd name="connsiteX37" fmla="*/ 6157723 w 18744436"/>
                <a:gd name="connsiteY37" fmla="*/ 6545836 h 15035524"/>
                <a:gd name="connsiteX38" fmla="*/ 6745471 w 18744436"/>
                <a:gd name="connsiteY38" fmla="*/ 5976243 h 15035524"/>
                <a:gd name="connsiteX39" fmla="*/ 6890140 w 18744436"/>
                <a:gd name="connsiteY39" fmla="*/ 5126367 h 15035524"/>
                <a:gd name="connsiteX40" fmla="*/ 7568305 w 18744436"/>
                <a:gd name="connsiteY40" fmla="*/ 4556773 h 15035524"/>
                <a:gd name="connsiteX41" fmla="*/ 8137967 w 18744436"/>
                <a:gd name="connsiteY41" fmla="*/ 4113752 h 15035524"/>
                <a:gd name="connsiteX42" fmla="*/ 8463480 w 18744436"/>
                <a:gd name="connsiteY42" fmla="*/ 3309085 h 15035524"/>
                <a:gd name="connsiteX43" fmla="*/ 9024093 w 18744436"/>
                <a:gd name="connsiteY43" fmla="*/ 2956478 h 15035524"/>
                <a:gd name="connsiteX44" fmla="*/ 9675138 w 18744436"/>
                <a:gd name="connsiteY44" fmla="*/ 2603876 h 15035524"/>
                <a:gd name="connsiteX45" fmla="*/ 9558580 w 18744436"/>
                <a:gd name="connsiteY45" fmla="*/ 2055592 h 15035524"/>
                <a:gd name="connsiteX46" fmla="*/ 10353296 w 18744436"/>
                <a:gd name="connsiteY46" fmla="*/ 1383308 h 15035524"/>
                <a:gd name="connsiteX47" fmla="*/ 10832530 w 18744436"/>
                <a:gd name="connsiteY47" fmla="*/ 1310974 h 15035524"/>
                <a:gd name="connsiteX48" fmla="*/ 11058585 w 18744436"/>
                <a:gd name="connsiteY48" fmla="*/ 1763043 h 15035524"/>
                <a:gd name="connsiteX49" fmla="*/ 11411229 w 18744436"/>
                <a:gd name="connsiteY49" fmla="*/ 2142774 h 15035524"/>
                <a:gd name="connsiteX50" fmla="*/ 11998974 w 18744436"/>
                <a:gd name="connsiteY50" fmla="*/ 2224144 h 15035524"/>
                <a:gd name="connsiteX51" fmla="*/ 12315449 w 18744436"/>
                <a:gd name="connsiteY51" fmla="*/ 2884156 h 15035524"/>
                <a:gd name="connsiteX52" fmla="*/ 12785642 w 18744436"/>
                <a:gd name="connsiteY52" fmla="*/ 2703327 h 15035524"/>
                <a:gd name="connsiteX53" fmla="*/ 13671776 w 18744436"/>
                <a:gd name="connsiteY53" fmla="*/ 3155388 h 15035524"/>
                <a:gd name="connsiteX54" fmla="*/ 14123886 w 18744436"/>
                <a:gd name="connsiteY54" fmla="*/ 2857035 h 15035524"/>
                <a:gd name="connsiteX55" fmla="*/ 14259509 w 18744436"/>
                <a:gd name="connsiteY55" fmla="*/ 2287434 h 15035524"/>
                <a:gd name="connsiteX56" fmla="*/ 14892468 w 18744436"/>
                <a:gd name="connsiteY56" fmla="*/ 1645503 h 15035524"/>
                <a:gd name="connsiteX57" fmla="*/ 15778605 w 18744436"/>
                <a:gd name="connsiteY57" fmla="*/ 1093983 h 15035524"/>
                <a:gd name="connsiteX58" fmla="*/ 16022739 w 18744436"/>
                <a:gd name="connsiteY58" fmla="*/ 1564133 h 15035524"/>
                <a:gd name="connsiteX59" fmla="*/ 16556232 w 18744436"/>
                <a:gd name="connsiteY59" fmla="*/ 2142785 h 15035524"/>
                <a:gd name="connsiteX60" fmla="*/ 17406193 w 18744436"/>
                <a:gd name="connsiteY60" fmla="*/ 1292897 h 15035524"/>
                <a:gd name="connsiteX61" fmla="*/ 18120524 w 18744436"/>
                <a:gd name="connsiteY61" fmla="*/ 714260 h 15035524"/>
                <a:gd name="connsiteX62" fmla="*/ 18744437 w 18744436"/>
                <a:gd name="connsiteY62" fmla="*/ -1 h 15035524"/>
                <a:gd name="connsiteX63" fmla="*/ 271434 w 18744436"/>
                <a:gd name="connsiteY63" fmla="*/ 7065877 h 15035524"/>
                <a:gd name="connsiteX64" fmla="*/ 11919572 w 18744436"/>
                <a:gd name="connsiteY64" fmla="*/ 7003278 h 15035524"/>
                <a:gd name="connsiteX65" fmla="*/ 12868275 w 18744436"/>
                <a:gd name="connsiteY65" fmla="*/ 6758067 h 15035524"/>
                <a:gd name="connsiteX66" fmla="*/ 13844296 w 18744436"/>
                <a:gd name="connsiteY66" fmla="*/ 6156232 h 15035524"/>
                <a:gd name="connsiteX67" fmla="*/ 13886291 w 18744436"/>
                <a:gd name="connsiteY67" fmla="*/ 5321864 h 15035524"/>
                <a:gd name="connsiteX68" fmla="*/ 14370431 w 18744436"/>
                <a:gd name="connsiteY68" fmla="*/ 5830216 h 15035524"/>
                <a:gd name="connsiteX69" fmla="*/ 15323320 w 18744436"/>
                <a:gd name="connsiteY69" fmla="*/ 5928489 h 15035524"/>
                <a:gd name="connsiteX70" fmla="*/ 16350939 w 18744436"/>
                <a:gd name="connsiteY70" fmla="*/ 6053348 h 15035524"/>
                <a:gd name="connsiteX71" fmla="*/ 16362364 w 18744436"/>
                <a:gd name="connsiteY71" fmla="*/ 6360628 h 15035524"/>
                <a:gd name="connsiteX72" fmla="*/ 16682563 w 18744436"/>
                <a:gd name="connsiteY72" fmla="*/ 6798531 h 15035524"/>
                <a:gd name="connsiteX0" fmla="*/ 16682563 w 18744436"/>
                <a:gd name="connsiteY0" fmla="*/ 6798531 h 15035524"/>
                <a:gd name="connsiteX1" fmla="*/ 16432262 w 18744436"/>
                <a:gd name="connsiteY1" fmla="*/ 7825917 h 15035524"/>
                <a:gd name="connsiteX2" fmla="*/ 16106317 w 18744436"/>
                <a:gd name="connsiteY2" fmla="*/ 8367221 h 15035524"/>
                <a:gd name="connsiteX3" fmla="*/ 16305649 w 18744436"/>
                <a:gd name="connsiteY3" fmla="*/ 8754550 h 15035524"/>
                <a:gd name="connsiteX4" fmla="*/ 16287189 w 18744436"/>
                <a:gd name="connsiteY4" fmla="*/ 9151157 h 15035524"/>
                <a:gd name="connsiteX5" fmla="*/ 16372801 w 18744436"/>
                <a:gd name="connsiteY5" fmla="*/ 9717422 h 15035524"/>
                <a:gd name="connsiteX6" fmla="*/ 16070155 w 18744436"/>
                <a:gd name="connsiteY6" fmla="*/ 9937808 h 15035524"/>
                <a:gd name="connsiteX7" fmla="*/ 15805690 w 18744436"/>
                <a:gd name="connsiteY7" fmla="*/ 10431999 h 15035524"/>
                <a:gd name="connsiteX8" fmla="*/ 15195097 w 18744436"/>
                <a:gd name="connsiteY8" fmla="*/ 10093742 h 15035524"/>
                <a:gd name="connsiteX9" fmla="*/ 15011380 w 18744436"/>
                <a:gd name="connsiteY9" fmla="*/ 11048592 h 15035524"/>
                <a:gd name="connsiteX10" fmla="*/ 14908430 w 18744436"/>
                <a:gd name="connsiteY10" fmla="*/ 11937487 h 15035524"/>
                <a:gd name="connsiteX11" fmla="*/ 14904684 w 18744436"/>
                <a:gd name="connsiteY11" fmla="*/ 12760926 h 15035524"/>
                <a:gd name="connsiteX12" fmla="*/ 14929927 w 18744436"/>
                <a:gd name="connsiteY12" fmla="*/ 14391846 h 15035524"/>
                <a:gd name="connsiteX13" fmla="*/ 12952786 w 18744436"/>
                <a:gd name="connsiteY13" fmla="*/ 14842599 h 15035524"/>
                <a:gd name="connsiteX14" fmla="*/ 11934663 w 18744436"/>
                <a:gd name="connsiteY14" fmla="*/ 14890849 h 15035524"/>
                <a:gd name="connsiteX15" fmla="*/ 8506848 w 18744436"/>
                <a:gd name="connsiteY15" fmla="*/ 15035524 h 15035524"/>
                <a:gd name="connsiteX16" fmla="*/ 7985095 w 18744436"/>
                <a:gd name="connsiteY16" fmla="*/ 14390442 h 15035524"/>
                <a:gd name="connsiteX17" fmla="*/ 7400308 w 18744436"/>
                <a:gd name="connsiteY17" fmla="*/ 14360297 h 15035524"/>
                <a:gd name="connsiteX18" fmla="*/ 6972273 w 18744436"/>
                <a:gd name="connsiteY18" fmla="*/ 14631594 h 15035524"/>
                <a:gd name="connsiteX19" fmla="*/ 5181729 w 18744436"/>
                <a:gd name="connsiteY19" fmla="*/ 14547195 h 15035524"/>
                <a:gd name="connsiteX20" fmla="*/ 4397998 w 18744436"/>
                <a:gd name="connsiteY20" fmla="*/ 13914178 h 15035524"/>
                <a:gd name="connsiteX21" fmla="*/ 2908896 w 18744436"/>
                <a:gd name="connsiteY21" fmla="*/ 13106324 h 15035524"/>
                <a:gd name="connsiteX22" fmla="*/ 1263043 w 18744436"/>
                <a:gd name="connsiteY22" fmla="*/ 12394931 h 15035524"/>
                <a:gd name="connsiteX23" fmla="*/ 485320 w 18744436"/>
                <a:gd name="connsiteY23" fmla="*/ 11942774 h 15035524"/>
                <a:gd name="connsiteX24" fmla="*/ 0 w 18744436"/>
                <a:gd name="connsiteY24" fmla="*/ 11649662 h 15035524"/>
                <a:gd name="connsiteX25" fmla="*/ 1003686 w 18744436"/>
                <a:gd name="connsiteY25" fmla="*/ 10903697 h 15035524"/>
                <a:gd name="connsiteX26" fmla="*/ 2902551 w 18744436"/>
                <a:gd name="connsiteY26" fmla="*/ 9719298 h 15035524"/>
                <a:gd name="connsiteX27" fmla="*/ 2558940 w 18744436"/>
                <a:gd name="connsiteY27" fmla="*/ 9185867 h 15035524"/>
                <a:gd name="connsiteX28" fmla="*/ 2402508 w 18744436"/>
                <a:gd name="connsiteY28" fmla="*/ 8498784 h 15035524"/>
                <a:gd name="connsiteX29" fmla="*/ 2730740 w 18744436"/>
                <a:gd name="connsiteY29" fmla="*/ 8471613 h 15035524"/>
                <a:gd name="connsiteX30" fmla="*/ 2947754 w 18744436"/>
                <a:gd name="connsiteY30" fmla="*/ 8001468 h 15035524"/>
                <a:gd name="connsiteX31" fmla="*/ 3499325 w 18744436"/>
                <a:gd name="connsiteY31" fmla="*/ 7558451 h 15035524"/>
                <a:gd name="connsiteX32" fmla="*/ 3680166 w 18744436"/>
                <a:gd name="connsiteY32" fmla="*/ 6681453 h 15035524"/>
                <a:gd name="connsiteX33" fmla="*/ 4186528 w 18744436"/>
                <a:gd name="connsiteY33" fmla="*/ 6690489 h 15035524"/>
                <a:gd name="connsiteX34" fmla="*/ 4837569 w 18744436"/>
                <a:gd name="connsiteY34" fmla="*/ 7160639 h 15035524"/>
                <a:gd name="connsiteX35" fmla="*/ 5352976 w 18744436"/>
                <a:gd name="connsiteY35" fmla="*/ 7079272 h 15035524"/>
                <a:gd name="connsiteX36" fmla="*/ 5741786 w 18744436"/>
                <a:gd name="connsiteY36" fmla="*/ 6708577 h 15035524"/>
                <a:gd name="connsiteX37" fmla="*/ 6157723 w 18744436"/>
                <a:gd name="connsiteY37" fmla="*/ 6545836 h 15035524"/>
                <a:gd name="connsiteX38" fmla="*/ 6745471 w 18744436"/>
                <a:gd name="connsiteY38" fmla="*/ 5976243 h 15035524"/>
                <a:gd name="connsiteX39" fmla="*/ 6890140 w 18744436"/>
                <a:gd name="connsiteY39" fmla="*/ 5126367 h 15035524"/>
                <a:gd name="connsiteX40" fmla="*/ 7568305 w 18744436"/>
                <a:gd name="connsiteY40" fmla="*/ 4556773 h 15035524"/>
                <a:gd name="connsiteX41" fmla="*/ 8137967 w 18744436"/>
                <a:gd name="connsiteY41" fmla="*/ 4113752 h 15035524"/>
                <a:gd name="connsiteX42" fmla="*/ 8463480 w 18744436"/>
                <a:gd name="connsiteY42" fmla="*/ 3309085 h 15035524"/>
                <a:gd name="connsiteX43" fmla="*/ 9024093 w 18744436"/>
                <a:gd name="connsiteY43" fmla="*/ 2956478 h 15035524"/>
                <a:gd name="connsiteX44" fmla="*/ 9675138 w 18744436"/>
                <a:gd name="connsiteY44" fmla="*/ 2603876 h 15035524"/>
                <a:gd name="connsiteX45" fmla="*/ 9558580 w 18744436"/>
                <a:gd name="connsiteY45" fmla="*/ 2055592 h 15035524"/>
                <a:gd name="connsiteX46" fmla="*/ 10353296 w 18744436"/>
                <a:gd name="connsiteY46" fmla="*/ 1383308 h 15035524"/>
                <a:gd name="connsiteX47" fmla="*/ 10832530 w 18744436"/>
                <a:gd name="connsiteY47" fmla="*/ 1310974 h 15035524"/>
                <a:gd name="connsiteX48" fmla="*/ 11058585 w 18744436"/>
                <a:gd name="connsiteY48" fmla="*/ 1763043 h 15035524"/>
                <a:gd name="connsiteX49" fmla="*/ 11411229 w 18744436"/>
                <a:gd name="connsiteY49" fmla="*/ 2142774 h 15035524"/>
                <a:gd name="connsiteX50" fmla="*/ 11998974 w 18744436"/>
                <a:gd name="connsiteY50" fmla="*/ 2224144 h 15035524"/>
                <a:gd name="connsiteX51" fmla="*/ 12315449 w 18744436"/>
                <a:gd name="connsiteY51" fmla="*/ 2884156 h 15035524"/>
                <a:gd name="connsiteX52" fmla="*/ 12785642 w 18744436"/>
                <a:gd name="connsiteY52" fmla="*/ 2703327 h 15035524"/>
                <a:gd name="connsiteX53" fmla="*/ 13671776 w 18744436"/>
                <a:gd name="connsiteY53" fmla="*/ 3155388 h 15035524"/>
                <a:gd name="connsiteX54" fmla="*/ 14123886 w 18744436"/>
                <a:gd name="connsiteY54" fmla="*/ 2857035 h 15035524"/>
                <a:gd name="connsiteX55" fmla="*/ 14259509 w 18744436"/>
                <a:gd name="connsiteY55" fmla="*/ 2287434 h 15035524"/>
                <a:gd name="connsiteX56" fmla="*/ 14892468 w 18744436"/>
                <a:gd name="connsiteY56" fmla="*/ 1645503 h 15035524"/>
                <a:gd name="connsiteX57" fmla="*/ 15778605 w 18744436"/>
                <a:gd name="connsiteY57" fmla="*/ 1093983 h 15035524"/>
                <a:gd name="connsiteX58" fmla="*/ 16022739 w 18744436"/>
                <a:gd name="connsiteY58" fmla="*/ 1564133 h 15035524"/>
                <a:gd name="connsiteX59" fmla="*/ 16556232 w 18744436"/>
                <a:gd name="connsiteY59" fmla="*/ 2142785 h 15035524"/>
                <a:gd name="connsiteX60" fmla="*/ 17406193 w 18744436"/>
                <a:gd name="connsiteY60" fmla="*/ 1292897 h 15035524"/>
                <a:gd name="connsiteX61" fmla="*/ 18120524 w 18744436"/>
                <a:gd name="connsiteY61" fmla="*/ 714260 h 15035524"/>
                <a:gd name="connsiteX62" fmla="*/ 18744437 w 18744436"/>
                <a:gd name="connsiteY62" fmla="*/ -1 h 15035524"/>
                <a:gd name="connsiteX63" fmla="*/ 11109603 w 18744436"/>
                <a:gd name="connsiteY63" fmla="*/ 6729756 h 15035524"/>
                <a:gd name="connsiteX64" fmla="*/ 11919572 w 18744436"/>
                <a:gd name="connsiteY64" fmla="*/ 7003278 h 15035524"/>
                <a:gd name="connsiteX65" fmla="*/ 12868275 w 18744436"/>
                <a:gd name="connsiteY65" fmla="*/ 6758067 h 15035524"/>
                <a:gd name="connsiteX66" fmla="*/ 13844296 w 18744436"/>
                <a:gd name="connsiteY66" fmla="*/ 6156232 h 15035524"/>
                <a:gd name="connsiteX67" fmla="*/ 13886291 w 18744436"/>
                <a:gd name="connsiteY67" fmla="*/ 5321864 h 15035524"/>
                <a:gd name="connsiteX68" fmla="*/ 14370431 w 18744436"/>
                <a:gd name="connsiteY68" fmla="*/ 5830216 h 15035524"/>
                <a:gd name="connsiteX69" fmla="*/ 15323320 w 18744436"/>
                <a:gd name="connsiteY69" fmla="*/ 5928489 h 15035524"/>
                <a:gd name="connsiteX70" fmla="*/ 16350939 w 18744436"/>
                <a:gd name="connsiteY70" fmla="*/ 6053348 h 15035524"/>
                <a:gd name="connsiteX71" fmla="*/ 16362364 w 18744436"/>
                <a:gd name="connsiteY71" fmla="*/ 6360628 h 15035524"/>
                <a:gd name="connsiteX72" fmla="*/ 16682563 w 18744436"/>
                <a:gd name="connsiteY72" fmla="*/ 6798531 h 15035524"/>
                <a:gd name="connsiteX0" fmla="*/ 16682563 w 18120523"/>
                <a:gd name="connsiteY0" fmla="*/ 6084269 h 14321262"/>
                <a:gd name="connsiteX1" fmla="*/ 16432262 w 18120523"/>
                <a:gd name="connsiteY1" fmla="*/ 7111655 h 14321262"/>
                <a:gd name="connsiteX2" fmla="*/ 16106317 w 18120523"/>
                <a:gd name="connsiteY2" fmla="*/ 7652959 h 14321262"/>
                <a:gd name="connsiteX3" fmla="*/ 16305649 w 18120523"/>
                <a:gd name="connsiteY3" fmla="*/ 8040288 h 14321262"/>
                <a:gd name="connsiteX4" fmla="*/ 16287189 w 18120523"/>
                <a:gd name="connsiteY4" fmla="*/ 8436895 h 14321262"/>
                <a:gd name="connsiteX5" fmla="*/ 16372801 w 18120523"/>
                <a:gd name="connsiteY5" fmla="*/ 9003160 h 14321262"/>
                <a:gd name="connsiteX6" fmla="*/ 16070155 w 18120523"/>
                <a:gd name="connsiteY6" fmla="*/ 9223546 h 14321262"/>
                <a:gd name="connsiteX7" fmla="*/ 15805690 w 18120523"/>
                <a:gd name="connsiteY7" fmla="*/ 9717737 h 14321262"/>
                <a:gd name="connsiteX8" fmla="*/ 15195097 w 18120523"/>
                <a:gd name="connsiteY8" fmla="*/ 9379480 h 14321262"/>
                <a:gd name="connsiteX9" fmla="*/ 15011380 w 18120523"/>
                <a:gd name="connsiteY9" fmla="*/ 10334330 h 14321262"/>
                <a:gd name="connsiteX10" fmla="*/ 14908430 w 18120523"/>
                <a:gd name="connsiteY10" fmla="*/ 11223225 h 14321262"/>
                <a:gd name="connsiteX11" fmla="*/ 14904684 w 18120523"/>
                <a:gd name="connsiteY11" fmla="*/ 12046664 h 14321262"/>
                <a:gd name="connsiteX12" fmla="*/ 14929927 w 18120523"/>
                <a:gd name="connsiteY12" fmla="*/ 13677584 h 14321262"/>
                <a:gd name="connsiteX13" fmla="*/ 12952786 w 18120523"/>
                <a:gd name="connsiteY13" fmla="*/ 14128337 h 14321262"/>
                <a:gd name="connsiteX14" fmla="*/ 11934663 w 18120523"/>
                <a:gd name="connsiteY14" fmla="*/ 14176587 h 14321262"/>
                <a:gd name="connsiteX15" fmla="*/ 8506848 w 18120523"/>
                <a:gd name="connsiteY15" fmla="*/ 14321262 h 14321262"/>
                <a:gd name="connsiteX16" fmla="*/ 7985095 w 18120523"/>
                <a:gd name="connsiteY16" fmla="*/ 13676180 h 14321262"/>
                <a:gd name="connsiteX17" fmla="*/ 7400308 w 18120523"/>
                <a:gd name="connsiteY17" fmla="*/ 13646035 h 14321262"/>
                <a:gd name="connsiteX18" fmla="*/ 6972273 w 18120523"/>
                <a:gd name="connsiteY18" fmla="*/ 13917332 h 14321262"/>
                <a:gd name="connsiteX19" fmla="*/ 5181729 w 18120523"/>
                <a:gd name="connsiteY19" fmla="*/ 13832933 h 14321262"/>
                <a:gd name="connsiteX20" fmla="*/ 4397998 w 18120523"/>
                <a:gd name="connsiteY20" fmla="*/ 13199916 h 14321262"/>
                <a:gd name="connsiteX21" fmla="*/ 2908896 w 18120523"/>
                <a:gd name="connsiteY21" fmla="*/ 12392062 h 14321262"/>
                <a:gd name="connsiteX22" fmla="*/ 1263043 w 18120523"/>
                <a:gd name="connsiteY22" fmla="*/ 11680669 h 14321262"/>
                <a:gd name="connsiteX23" fmla="*/ 485320 w 18120523"/>
                <a:gd name="connsiteY23" fmla="*/ 11228512 h 14321262"/>
                <a:gd name="connsiteX24" fmla="*/ 0 w 18120523"/>
                <a:gd name="connsiteY24" fmla="*/ 10935400 h 14321262"/>
                <a:gd name="connsiteX25" fmla="*/ 1003686 w 18120523"/>
                <a:gd name="connsiteY25" fmla="*/ 10189435 h 14321262"/>
                <a:gd name="connsiteX26" fmla="*/ 2902551 w 18120523"/>
                <a:gd name="connsiteY26" fmla="*/ 9005036 h 14321262"/>
                <a:gd name="connsiteX27" fmla="*/ 2558940 w 18120523"/>
                <a:gd name="connsiteY27" fmla="*/ 8471605 h 14321262"/>
                <a:gd name="connsiteX28" fmla="*/ 2402508 w 18120523"/>
                <a:gd name="connsiteY28" fmla="*/ 7784522 h 14321262"/>
                <a:gd name="connsiteX29" fmla="*/ 2730740 w 18120523"/>
                <a:gd name="connsiteY29" fmla="*/ 7757351 h 14321262"/>
                <a:gd name="connsiteX30" fmla="*/ 2947754 w 18120523"/>
                <a:gd name="connsiteY30" fmla="*/ 7287206 h 14321262"/>
                <a:gd name="connsiteX31" fmla="*/ 3499325 w 18120523"/>
                <a:gd name="connsiteY31" fmla="*/ 6844189 h 14321262"/>
                <a:gd name="connsiteX32" fmla="*/ 3680166 w 18120523"/>
                <a:gd name="connsiteY32" fmla="*/ 5967191 h 14321262"/>
                <a:gd name="connsiteX33" fmla="*/ 4186528 w 18120523"/>
                <a:gd name="connsiteY33" fmla="*/ 5976227 h 14321262"/>
                <a:gd name="connsiteX34" fmla="*/ 4837569 w 18120523"/>
                <a:gd name="connsiteY34" fmla="*/ 6446377 h 14321262"/>
                <a:gd name="connsiteX35" fmla="*/ 5352976 w 18120523"/>
                <a:gd name="connsiteY35" fmla="*/ 6365010 h 14321262"/>
                <a:gd name="connsiteX36" fmla="*/ 5741786 w 18120523"/>
                <a:gd name="connsiteY36" fmla="*/ 5994315 h 14321262"/>
                <a:gd name="connsiteX37" fmla="*/ 6157723 w 18120523"/>
                <a:gd name="connsiteY37" fmla="*/ 5831574 h 14321262"/>
                <a:gd name="connsiteX38" fmla="*/ 6745471 w 18120523"/>
                <a:gd name="connsiteY38" fmla="*/ 5261981 h 14321262"/>
                <a:gd name="connsiteX39" fmla="*/ 6890140 w 18120523"/>
                <a:gd name="connsiteY39" fmla="*/ 4412105 h 14321262"/>
                <a:gd name="connsiteX40" fmla="*/ 7568305 w 18120523"/>
                <a:gd name="connsiteY40" fmla="*/ 3842511 h 14321262"/>
                <a:gd name="connsiteX41" fmla="*/ 8137967 w 18120523"/>
                <a:gd name="connsiteY41" fmla="*/ 3399490 h 14321262"/>
                <a:gd name="connsiteX42" fmla="*/ 8463480 w 18120523"/>
                <a:gd name="connsiteY42" fmla="*/ 2594823 h 14321262"/>
                <a:gd name="connsiteX43" fmla="*/ 9024093 w 18120523"/>
                <a:gd name="connsiteY43" fmla="*/ 2242216 h 14321262"/>
                <a:gd name="connsiteX44" fmla="*/ 9675138 w 18120523"/>
                <a:gd name="connsiteY44" fmla="*/ 1889614 h 14321262"/>
                <a:gd name="connsiteX45" fmla="*/ 9558580 w 18120523"/>
                <a:gd name="connsiteY45" fmla="*/ 1341330 h 14321262"/>
                <a:gd name="connsiteX46" fmla="*/ 10353296 w 18120523"/>
                <a:gd name="connsiteY46" fmla="*/ 669046 h 14321262"/>
                <a:gd name="connsiteX47" fmla="*/ 10832530 w 18120523"/>
                <a:gd name="connsiteY47" fmla="*/ 596712 h 14321262"/>
                <a:gd name="connsiteX48" fmla="*/ 11058585 w 18120523"/>
                <a:gd name="connsiteY48" fmla="*/ 1048781 h 14321262"/>
                <a:gd name="connsiteX49" fmla="*/ 11411229 w 18120523"/>
                <a:gd name="connsiteY49" fmla="*/ 1428512 h 14321262"/>
                <a:gd name="connsiteX50" fmla="*/ 11998974 w 18120523"/>
                <a:gd name="connsiteY50" fmla="*/ 1509882 h 14321262"/>
                <a:gd name="connsiteX51" fmla="*/ 12315449 w 18120523"/>
                <a:gd name="connsiteY51" fmla="*/ 2169894 h 14321262"/>
                <a:gd name="connsiteX52" fmla="*/ 12785642 w 18120523"/>
                <a:gd name="connsiteY52" fmla="*/ 1989065 h 14321262"/>
                <a:gd name="connsiteX53" fmla="*/ 13671776 w 18120523"/>
                <a:gd name="connsiteY53" fmla="*/ 2441126 h 14321262"/>
                <a:gd name="connsiteX54" fmla="*/ 14123886 w 18120523"/>
                <a:gd name="connsiteY54" fmla="*/ 2142773 h 14321262"/>
                <a:gd name="connsiteX55" fmla="*/ 14259509 w 18120523"/>
                <a:gd name="connsiteY55" fmla="*/ 1573172 h 14321262"/>
                <a:gd name="connsiteX56" fmla="*/ 14892468 w 18120523"/>
                <a:gd name="connsiteY56" fmla="*/ 931241 h 14321262"/>
                <a:gd name="connsiteX57" fmla="*/ 15778605 w 18120523"/>
                <a:gd name="connsiteY57" fmla="*/ 379721 h 14321262"/>
                <a:gd name="connsiteX58" fmla="*/ 16022739 w 18120523"/>
                <a:gd name="connsiteY58" fmla="*/ 849871 h 14321262"/>
                <a:gd name="connsiteX59" fmla="*/ 16556232 w 18120523"/>
                <a:gd name="connsiteY59" fmla="*/ 1428523 h 14321262"/>
                <a:gd name="connsiteX60" fmla="*/ 17406193 w 18120523"/>
                <a:gd name="connsiteY60" fmla="*/ 578635 h 14321262"/>
                <a:gd name="connsiteX61" fmla="*/ 18120524 w 18120523"/>
                <a:gd name="connsiteY61" fmla="*/ -2 h 14321262"/>
                <a:gd name="connsiteX62" fmla="*/ 7035843 w 18120523"/>
                <a:gd name="connsiteY62" fmla="*/ 6484324 h 14321262"/>
                <a:gd name="connsiteX63" fmla="*/ 11109603 w 18120523"/>
                <a:gd name="connsiteY63" fmla="*/ 6015494 h 14321262"/>
                <a:gd name="connsiteX64" fmla="*/ 11919572 w 18120523"/>
                <a:gd name="connsiteY64" fmla="*/ 6289016 h 14321262"/>
                <a:gd name="connsiteX65" fmla="*/ 12868275 w 18120523"/>
                <a:gd name="connsiteY65" fmla="*/ 6043805 h 14321262"/>
                <a:gd name="connsiteX66" fmla="*/ 13844296 w 18120523"/>
                <a:gd name="connsiteY66" fmla="*/ 5441970 h 14321262"/>
                <a:gd name="connsiteX67" fmla="*/ 13886291 w 18120523"/>
                <a:gd name="connsiteY67" fmla="*/ 4607602 h 14321262"/>
                <a:gd name="connsiteX68" fmla="*/ 14370431 w 18120523"/>
                <a:gd name="connsiteY68" fmla="*/ 5115954 h 14321262"/>
                <a:gd name="connsiteX69" fmla="*/ 15323320 w 18120523"/>
                <a:gd name="connsiteY69" fmla="*/ 5214227 h 14321262"/>
                <a:gd name="connsiteX70" fmla="*/ 16350939 w 18120523"/>
                <a:gd name="connsiteY70" fmla="*/ 5339086 h 14321262"/>
                <a:gd name="connsiteX71" fmla="*/ 16362364 w 18120523"/>
                <a:gd name="connsiteY71" fmla="*/ 5646366 h 14321262"/>
                <a:gd name="connsiteX72" fmla="*/ 16682563 w 18120523"/>
                <a:gd name="connsiteY72" fmla="*/ 6084269 h 14321262"/>
                <a:gd name="connsiteX0" fmla="*/ 16682563 w 18120523"/>
                <a:gd name="connsiteY0" fmla="*/ 6084269 h 14321262"/>
                <a:gd name="connsiteX1" fmla="*/ 16432262 w 18120523"/>
                <a:gd name="connsiteY1" fmla="*/ 7111655 h 14321262"/>
                <a:gd name="connsiteX2" fmla="*/ 16106317 w 18120523"/>
                <a:gd name="connsiteY2" fmla="*/ 7652959 h 14321262"/>
                <a:gd name="connsiteX3" fmla="*/ 16305649 w 18120523"/>
                <a:gd name="connsiteY3" fmla="*/ 8040288 h 14321262"/>
                <a:gd name="connsiteX4" fmla="*/ 16287189 w 18120523"/>
                <a:gd name="connsiteY4" fmla="*/ 8436895 h 14321262"/>
                <a:gd name="connsiteX5" fmla="*/ 16372801 w 18120523"/>
                <a:gd name="connsiteY5" fmla="*/ 9003160 h 14321262"/>
                <a:gd name="connsiteX6" fmla="*/ 16070155 w 18120523"/>
                <a:gd name="connsiteY6" fmla="*/ 9223546 h 14321262"/>
                <a:gd name="connsiteX7" fmla="*/ 15805690 w 18120523"/>
                <a:gd name="connsiteY7" fmla="*/ 9717737 h 14321262"/>
                <a:gd name="connsiteX8" fmla="*/ 15195097 w 18120523"/>
                <a:gd name="connsiteY8" fmla="*/ 9379480 h 14321262"/>
                <a:gd name="connsiteX9" fmla="*/ 15011380 w 18120523"/>
                <a:gd name="connsiteY9" fmla="*/ 10334330 h 14321262"/>
                <a:gd name="connsiteX10" fmla="*/ 14908430 w 18120523"/>
                <a:gd name="connsiteY10" fmla="*/ 11223225 h 14321262"/>
                <a:gd name="connsiteX11" fmla="*/ 14904684 w 18120523"/>
                <a:gd name="connsiteY11" fmla="*/ 12046664 h 14321262"/>
                <a:gd name="connsiteX12" fmla="*/ 14929927 w 18120523"/>
                <a:gd name="connsiteY12" fmla="*/ 13677584 h 14321262"/>
                <a:gd name="connsiteX13" fmla="*/ 12952786 w 18120523"/>
                <a:gd name="connsiteY13" fmla="*/ 14128337 h 14321262"/>
                <a:gd name="connsiteX14" fmla="*/ 11934663 w 18120523"/>
                <a:gd name="connsiteY14" fmla="*/ 14176587 h 14321262"/>
                <a:gd name="connsiteX15" fmla="*/ 8506848 w 18120523"/>
                <a:gd name="connsiteY15" fmla="*/ 14321262 h 14321262"/>
                <a:gd name="connsiteX16" fmla="*/ 7985095 w 18120523"/>
                <a:gd name="connsiteY16" fmla="*/ 13676180 h 14321262"/>
                <a:gd name="connsiteX17" fmla="*/ 7400308 w 18120523"/>
                <a:gd name="connsiteY17" fmla="*/ 13646035 h 14321262"/>
                <a:gd name="connsiteX18" fmla="*/ 6972273 w 18120523"/>
                <a:gd name="connsiteY18" fmla="*/ 13917332 h 14321262"/>
                <a:gd name="connsiteX19" fmla="*/ 5181729 w 18120523"/>
                <a:gd name="connsiteY19" fmla="*/ 13832933 h 14321262"/>
                <a:gd name="connsiteX20" fmla="*/ 4397998 w 18120523"/>
                <a:gd name="connsiteY20" fmla="*/ 13199916 h 14321262"/>
                <a:gd name="connsiteX21" fmla="*/ 2908896 w 18120523"/>
                <a:gd name="connsiteY21" fmla="*/ 12392062 h 14321262"/>
                <a:gd name="connsiteX22" fmla="*/ 1263043 w 18120523"/>
                <a:gd name="connsiteY22" fmla="*/ 11680669 h 14321262"/>
                <a:gd name="connsiteX23" fmla="*/ 485320 w 18120523"/>
                <a:gd name="connsiteY23" fmla="*/ 11228512 h 14321262"/>
                <a:gd name="connsiteX24" fmla="*/ 0 w 18120523"/>
                <a:gd name="connsiteY24" fmla="*/ 10935400 h 14321262"/>
                <a:gd name="connsiteX25" fmla="*/ 1003686 w 18120523"/>
                <a:gd name="connsiteY25" fmla="*/ 10189435 h 14321262"/>
                <a:gd name="connsiteX26" fmla="*/ 2902551 w 18120523"/>
                <a:gd name="connsiteY26" fmla="*/ 9005036 h 14321262"/>
                <a:gd name="connsiteX27" fmla="*/ 2558940 w 18120523"/>
                <a:gd name="connsiteY27" fmla="*/ 8471605 h 14321262"/>
                <a:gd name="connsiteX28" fmla="*/ 2402508 w 18120523"/>
                <a:gd name="connsiteY28" fmla="*/ 7784522 h 14321262"/>
                <a:gd name="connsiteX29" fmla="*/ 2730740 w 18120523"/>
                <a:gd name="connsiteY29" fmla="*/ 7757351 h 14321262"/>
                <a:gd name="connsiteX30" fmla="*/ 2947754 w 18120523"/>
                <a:gd name="connsiteY30" fmla="*/ 7287206 h 14321262"/>
                <a:gd name="connsiteX31" fmla="*/ 3499325 w 18120523"/>
                <a:gd name="connsiteY31" fmla="*/ 6844189 h 14321262"/>
                <a:gd name="connsiteX32" fmla="*/ 3680166 w 18120523"/>
                <a:gd name="connsiteY32" fmla="*/ 5967191 h 14321262"/>
                <a:gd name="connsiteX33" fmla="*/ 4186528 w 18120523"/>
                <a:gd name="connsiteY33" fmla="*/ 5976227 h 14321262"/>
                <a:gd name="connsiteX34" fmla="*/ 4837569 w 18120523"/>
                <a:gd name="connsiteY34" fmla="*/ 6446377 h 14321262"/>
                <a:gd name="connsiteX35" fmla="*/ 5352976 w 18120523"/>
                <a:gd name="connsiteY35" fmla="*/ 6365010 h 14321262"/>
                <a:gd name="connsiteX36" fmla="*/ 5741786 w 18120523"/>
                <a:gd name="connsiteY36" fmla="*/ 5994315 h 14321262"/>
                <a:gd name="connsiteX37" fmla="*/ 6157723 w 18120523"/>
                <a:gd name="connsiteY37" fmla="*/ 5831574 h 14321262"/>
                <a:gd name="connsiteX38" fmla="*/ 6745471 w 18120523"/>
                <a:gd name="connsiteY38" fmla="*/ 5261981 h 14321262"/>
                <a:gd name="connsiteX39" fmla="*/ 6890140 w 18120523"/>
                <a:gd name="connsiteY39" fmla="*/ 4412105 h 14321262"/>
                <a:gd name="connsiteX40" fmla="*/ 7568305 w 18120523"/>
                <a:gd name="connsiteY40" fmla="*/ 3842511 h 14321262"/>
                <a:gd name="connsiteX41" fmla="*/ 8137967 w 18120523"/>
                <a:gd name="connsiteY41" fmla="*/ 3399490 h 14321262"/>
                <a:gd name="connsiteX42" fmla="*/ 8463480 w 18120523"/>
                <a:gd name="connsiteY42" fmla="*/ 2594823 h 14321262"/>
                <a:gd name="connsiteX43" fmla="*/ 9024093 w 18120523"/>
                <a:gd name="connsiteY43" fmla="*/ 2242216 h 14321262"/>
                <a:gd name="connsiteX44" fmla="*/ 9675138 w 18120523"/>
                <a:gd name="connsiteY44" fmla="*/ 1889614 h 14321262"/>
                <a:gd name="connsiteX45" fmla="*/ 9558580 w 18120523"/>
                <a:gd name="connsiteY45" fmla="*/ 1341330 h 14321262"/>
                <a:gd name="connsiteX46" fmla="*/ 10353296 w 18120523"/>
                <a:gd name="connsiteY46" fmla="*/ 669046 h 14321262"/>
                <a:gd name="connsiteX47" fmla="*/ 10832530 w 18120523"/>
                <a:gd name="connsiteY47" fmla="*/ 596712 h 14321262"/>
                <a:gd name="connsiteX48" fmla="*/ 11058585 w 18120523"/>
                <a:gd name="connsiteY48" fmla="*/ 1048781 h 14321262"/>
                <a:gd name="connsiteX49" fmla="*/ 11411229 w 18120523"/>
                <a:gd name="connsiteY49" fmla="*/ 1428512 h 14321262"/>
                <a:gd name="connsiteX50" fmla="*/ 11998974 w 18120523"/>
                <a:gd name="connsiteY50" fmla="*/ 1509882 h 14321262"/>
                <a:gd name="connsiteX51" fmla="*/ 12315449 w 18120523"/>
                <a:gd name="connsiteY51" fmla="*/ 2169894 h 14321262"/>
                <a:gd name="connsiteX52" fmla="*/ 12785642 w 18120523"/>
                <a:gd name="connsiteY52" fmla="*/ 1989065 h 14321262"/>
                <a:gd name="connsiteX53" fmla="*/ 13671776 w 18120523"/>
                <a:gd name="connsiteY53" fmla="*/ 2441126 h 14321262"/>
                <a:gd name="connsiteX54" fmla="*/ 14123886 w 18120523"/>
                <a:gd name="connsiteY54" fmla="*/ 2142773 h 14321262"/>
                <a:gd name="connsiteX55" fmla="*/ 14259509 w 18120523"/>
                <a:gd name="connsiteY55" fmla="*/ 1573172 h 14321262"/>
                <a:gd name="connsiteX56" fmla="*/ 14892468 w 18120523"/>
                <a:gd name="connsiteY56" fmla="*/ 931241 h 14321262"/>
                <a:gd name="connsiteX57" fmla="*/ 15778605 w 18120523"/>
                <a:gd name="connsiteY57" fmla="*/ 379721 h 14321262"/>
                <a:gd name="connsiteX58" fmla="*/ 16022739 w 18120523"/>
                <a:gd name="connsiteY58" fmla="*/ 849871 h 14321262"/>
                <a:gd name="connsiteX59" fmla="*/ 16556232 w 18120523"/>
                <a:gd name="connsiteY59" fmla="*/ 1428523 h 14321262"/>
                <a:gd name="connsiteX60" fmla="*/ 17406193 w 18120523"/>
                <a:gd name="connsiteY60" fmla="*/ 578635 h 14321262"/>
                <a:gd name="connsiteX61" fmla="*/ 18120524 w 18120523"/>
                <a:gd name="connsiteY61" fmla="*/ -2 h 14321262"/>
                <a:gd name="connsiteX62" fmla="*/ 10152517 w 18120523"/>
                <a:gd name="connsiteY62" fmla="*/ 5644020 h 14321262"/>
                <a:gd name="connsiteX63" fmla="*/ 11109603 w 18120523"/>
                <a:gd name="connsiteY63" fmla="*/ 6015494 h 14321262"/>
                <a:gd name="connsiteX64" fmla="*/ 11919572 w 18120523"/>
                <a:gd name="connsiteY64" fmla="*/ 6289016 h 14321262"/>
                <a:gd name="connsiteX65" fmla="*/ 12868275 w 18120523"/>
                <a:gd name="connsiteY65" fmla="*/ 6043805 h 14321262"/>
                <a:gd name="connsiteX66" fmla="*/ 13844296 w 18120523"/>
                <a:gd name="connsiteY66" fmla="*/ 5441970 h 14321262"/>
                <a:gd name="connsiteX67" fmla="*/ 13886291 w 18120523"/>
                <a:gd name="connsiteY67" fmla="*/ 4607602 h 14321262"/>
                <a:gd name="connsiteX68" fmla="*/ 14370431 w 18120523"/>
                <a:gd name="connsiteY68" fmla="*/ 5115954 h 14321262"/>
                <a:gd name="connsiteX69" fmla="*/ 15323320 w 18120523"/>
                <a:gd name="connsiteY69" fmla="*/ 5214227 h 14321262"/>
                <a:gd name="connsiteX70" fmla="*/ 16350939 w 18120523"/>
                <a:gd name="connsiteY70" fmla="*/ 5339086 h 14321262"/>
                <a:gd name="connsiteX71" fmla="*/ 16362364 w 18120523"/>
                <a:gd name="connsiteY71" fmla="*/ 5646366 h 14321262"/>
                <a:gd name="connsiteX72" fmla="*/ 16682563 w 18120523"/>
                <a:gd name="connsiteY72" fmla="*/ 6084269 h 14321262"/>
                <a:gd name="connsiteX0" fmla="*/ 16682563 w 17406190"/>
                <a:gd name="connsiteY0" fmla="*/ 5704551 h 13941544"/>
                <a:gd name="connsiteX1" fmla="*/ 16432262 w 17406190"/>
                <a:gd name="connsiteY1" fmla="*/ 6731937 h 13941544"/>
                <a:gd name="connsiteX2" fmla="*/ 16106317 w 17406190"/>
                <a:gd name="connsiteY2" fmla="*/ 7273241 h 13941544"/>
                <a:gd name="connsiteX3" fmla="*/ 16305649 w 17406190"/>
                <a:gd name="connsiteY3" fmla="*/ 7660570 h 13941544"/>
                <a:gd name="connsiteX4" fmla="*/ 16287189 w 17406190"/>
                <a:gd name="connsiteY4" fmla="*/ 8057177 h 13941544"/>
                <a:gd name="connsiteX5" fmla="*/ 16372801 w 17406190"/>
                <a:gd name="connsiteY5" fmla="*/ 8623442 h 13941544"/>
                <a:gd name="connsiteX6" fmla="*/ 16070155 w 17406190"/>
                <a:gd name="connsiteY6" fmla="*/ 8843828 h 13941544"/>
                <a:gd name="connsiteX7" fmla="*/ 15805690 w 17406190"/>
                <a:gd name="connsiteY7" fmla="*/ 9338019 h 13941544"/>
                <a:gd name="connsiteX8" fmla="*/ 15195097 w 17406190"/>
                <a:gd name="connsiteY8" fmla="*/ 8999762 h 13941544"/>
                <a:gd name="connsiteX9" fmla="*/ 15011380 w 17406190"/>
                <a:gd name="connsiteY9" fmla="*/ 9954612 h 13941544"/>
                <a:gd name="connsiteX10" fmla="*/ 14908430 w 17406190"/>
                <a:gd name="connsiteY10" fmla="*/ 10843507 h 13941544"/>
                <a:gd name="connsiteX11" fmla="*/ 14904684 w 17406190"/>
                <a:gd name="connsiteY11" fmla="*/ 11666946 h 13941544"/>
                <a:gd name="connsiteX12" fmla="*/ 14929927 w 17406190"/>
                <a:gd name="connsiteY12" fmla="*/ 13297866 h 13941544"/>
                <a:gd name="connsiteX13" fmla="*/ 12952786 w 17406190"/>
                <a:gd name="connsiteY13" fmla="*/ 13748619 h 13941544"/>
                <a:gd name="connsiteX14" fmla="*/ 11934663 w 17406190"/>
                <a:gd name="connsiteY14" fmla="*/ 13796869 h 13941544"/>
                <a:gd name="connsiteX15" fmla="*/ 8506848 w 17406190"/>
                <a:gd name="connsiteY15" fmla="*/ 13941544 h 13941544"/>
                <a:gd name="connsiteX16" fmla="*/ 7985095 w 17406190"/>
                <a:gd name="connsiteY16" fmla="*/ 13296462 h 13941544"/>
                <a:gd name="connsiteX17" fmla="*/ 7400308 w 17406190"/>
                <a:gd name="connsiteY17" fmla="*/ 13266317 h 13941544"/>
                <a:gd name="connsiteX18" fmla="*/ 6972273 w 17406190"/>
                <a:gd name="connsiteY18" fmla="*/ 13537614 h 13941544"/>
                <a:gd name="connsiteX19" fmla="*/ 5181729 w 17406190"/>
                <a:gd name="connsiteY19" fmla="*/ 13453215 h 13941544"/>
                <a:gd name="connsiteX20" fmla="*/ 4397998 w 17406190"/>
                <a:gd name="connsiteY20" fmla="*/ 12820198 h 13941544"/>
                <a:gd name="connsiteX21" fmla="*/ 2908896 w 17406190"/>
                <a:gd name="connsiteY21" fmla="*/ 12012344 h 13941544"/>
                <a:gd name="connsiteX22" fmla="*/ 1263043 w 17406190"/>
                <a:gd name="connsiteY22" fmla="*/ 11300951 h 13941544"/>
                <a:gd name="connsiteX23" fmla="*/ 485320 w 17406190"/>
                <a:gd name="connsiteY23" fmla="*/ 10848794 h 13941544"/>
                <a:gd name="connsiteX24" fmla="*/ 0 w 17406190"/>
                <a:gd name="connsiteY24" fmla="*/ 10555682 h 13941544"/>
                <a:gd name="connsiteX25" fmla="*/ 1003686 w 17406190"/>
                <a:gd name="connsiteY25" fmla="*/ 9809717 h 13941544"/>
                <a:gd name="connsiteX26" fmla="*/ 2902551 w 17406190"/>
                <a:gd name="connsiteY26" fmla="*/ 8625318 h 13941544"/>
                <a:gd name="connsiteX27" fmla="*/ 2558940 w 17406190"/>
                <a:gd name="connsiteY27" fmla="*/ 8091887 h 13941544"/>
                <a:gd name="connsiteX28" fmla="*/ 2402508 w 17406190"/>
                <a:gd name="connsiteY28" fmla="*/ 7404804 h 13941544"/>
                <a:gd name="connsiteX29" fmla="*/ 2730740 w 17406190"/>
                <a:gd name="connsiteY29" fmla="*/ 7377633 h 13941544"/>
                <a:gd name="connsiteX30" fmla="*/ 2947754 w 17406190"/>
                <a:gd name="connsiteY30" fmla="*/ 6907488 h 13941544"/>
                <a:gd name="connsiteX31" fmla="*/ 3499325 w 17406190"/>
                <a:gd name="connsiteY31" fmla="*/ 6464471 h 13941544"/>
                <a:gd name="connsiteX32" fmla="*/ 3680166 w 17406190"/>
                <a:gd name="connsiteY32" fmla="*/ 5587473 h 13941544"/>
                <a:gd name="connsiteX33" fmla="*/ 4186528 w 17406190"/>
                <a:gd name="connsiteY33" fmla="*/ 5596509 h 13941544"/>
                <a:gd name="connsiteX34" fmla="*/ 4837569 w 17406190"/>
                <a:gd name="connsiteY34" fmla="*/ 6066659 h 13941544"/>
                <a:gd name="connsiteX35" fmla="*/ 5352976 w 17406190"/>
                <a:gd name="connsiteY35" fmla="*/ 5985292 h 13941544"/>
                <a:gd name="connsiteX36" fmla="*/ 5741786 w 17406190"/>
                <a:gd name="connsiteY36" fmla="*/ 5614597 h 13941544"/>
                <a:gd name="connsiteX37" fmla="*/ 6157723 w 17406190"/>
                <a:gd name="connsiteY37" fmla="*/ 5451856 h 13941544"/>
                <a:gd name="connsiteX38" fmla="*/ 6745471 w 17406190"/>
                <a:gd name="connsiteY38" fmla="*/ 4882263 h 13941544"/>
                <a:gd name="connsiteX39" fmla="*/ 6890140 w 17406190"/>
                <a:gd name="connsiteY39" fmla="*/ 4032387 h 13941544"/>
                <a:gd name="connsiteX40" fmla="*/ 7568305 w 17406190"/>
                <a:gd name="connsiteY40" fmla="*/ 3462793 h 13941544"/>
                <a:gd name="connsiteX41" fmla="*/ 8137967 w 17406190"/>
                <a:gd name="connsiteY41" fmla="*/ 3019772 h 13941544"/>
                <a:gd name="connsiteX42" fmla="*/ 8463480 w 17406190"/>
                <a:gd name="connsiteY42" fmla="*/ 2215105 h 13941544"/>
                <a:gd name="connsiteX43" fmla="*/ 9024093 w 17406190"/>
                <a:gd name="connsiteY43" fmla="*/ 1862498 h 13941544"/>
                <a:gd name="connsiteX44" fmla="*/ 9675138 w 17406190"/>
                <a:gd name="connsiteY44" fmla="*/ 1509896 h 13941544"/>
                <a:gd name="connsiteX45" fmla="*/ 9558580 w 17406190"/>
                <a:gd name="connsiteY45" fmla="*/ 961612 h 13941544"/>
                <a:gd name="connsiteX46" fmla="*/ 10353296 w 17406190"/>
                <a:gd name="connsiteY46" fmla="*/ 289328 h 13941544"/>
                <a:gd name="connsiteX47" fmla="*/ 10832530 w 17406190"/>
                <a:gd name="connsiteY47" fmla="*/ 216994 h 13941544"/>
                <a:gd name="connsiteX48" fmla="*/ 11058585 w 17406190"/>
                <a:gd name="connsiteY48" fmla="*/ 669063 h 13941544"/>
                <a:gd name="connsiteX49" fmla="*/ 11411229 w 17406190"/>
                <a:gd name="connsiteY49" fmla="*/ 1048794 h 13941544"/>
                <a:gd name="connsiteX50" fmla="*/ 11998974 w 17406190"/>
                <a:gd name="connsiteY50" fmla="*/ 1130164 h 13941544"/>
                <a:gd name="connsiteX51" fmla="*/ 12315449 w 17406190"/>
                <a:gd name="connsiteY51" fmla="*/ 1790176 h 13941544"/>
                <a:gd name="connsiteX52" fmla="*/ 12785642 w 17406190"/>
                <a:gd name="connsiteY52" fmla="*/ 1609347 h 13941544"/>
                <a:gd name="connsiteX53" fmla="*/ 13671776 w 17406190"/>
                <a:gd name="connsiteY53" fmla="*/ 2061408 h 13941544"/>
                <a:gd name="connsiteX54" fmla="*/ 14123886 w 17406190"/>
                <a:gd name="connsiteY54" fmla="*/ 1763055 h 13941544"/>
                <a:gd name="connsiteX55" fmla="*/ 14259509 w 17406190"/>
                <a:gd name="connsiteY55" fmla="*/ 1193454 h 13941544"/>
                <a:gd name="connsiteX56" fmla="*/ 14892468 w 17406190"/>
                <a:gd name="connsiteY56" fmla="*/ 551523 h 13941544"/>
                <a:gd name="connsiteX57" fmla="*/ 15778605 w 17406190"/>
                <a:gd name="connsiteY57" fmla="*/ 3 h 13941544"/>
                <a:gd name="connsiteX58" fmla="*/ 16022739 w 17406190"/>
                <a:gd name="connsiteY58" fmla="*/ 470153 h 13941544"/>
                <a:gd name="connsiteX59" fmla="*/ 16556232 w 17406190"/>
                <a:gd name="connsiteY59" fmla="*/ 1048805 h 13941544"/>
                <a:gd name="connsiteX60" fmla="*/ 17406193 w 17406190"/>
                <a:gd name="connsiteY60" fmla="*/ 198917 h 13941544"/>
                <a:gd name="connsiteX61" fmla="*/ 10152517 w 17406190"/>
                <a:gd name="connsiteY61" fmla="*/ 5264302 h 13941544"/>
                <a:gd name="connsiteX62" fmla="*/ 11109603 w 17406190"/>
                <a:gd name="connsiteY62" fmla="*/ 5635776 h 13941544"/>
                <a:gd name="connsiteX63" fmla="*/ 11919572 w 17406190"/>
                <a:gd name="connsiteY63" fmla="*/ 5909298 h 13941544"/>
                <a:gd name="connsiteX64" fmla="*/ 12868275 w 17406190"/>
                <a:gd name="connsiteY64" fmla="*/ 5664087 h 13941544"/>
                <a:gd name="connsiteX65" fmla="*/ 13844296 w 17406190"/>
                <a:gd name="connsiteY65" fmla="*/ 5062252 h 13941544"/>
                <a:gd name="connsiteX66" fmla="*/ 13886291 w 17406190"/>
                <a:gd name="connsiteY66" fmla="*/ 4227884 h 13941544"/>
                <a:gd name="connsiteX67" fmla="*/ 14370431 w 17406190"/>
                <a:gd name="connsiteY67" fmla="*/ 4736236 h 13941544"/>
                <a:gd name="connsiteX68" fmla="*/ 15323320 w 17406190"/>
                <a:gd name="connsiteY68" fmla="*/ 4834509 h 13941544"/>
                <a:gd name="connsiteX69" fmla="*/ 16350939 w 17406190"/>
                <a:gd name="connsiteY69" fmla="*/ 4959368 h 13941544"/>
                <a:gd name="connsiteX70" fmla="*/ 16362364 w 17406190"/>
                <a:gd name="connsiteY70" fmla="*/ 5266648 h 13941544"/>
                <a:gd name="connsiteX71" fmla="*/ 16682563 w 17406190"/>
                <a:gd name="connsiteY71" fmla="*/ 5704551 h 13941544"/>
                <a:gd name="connsiteX0" fmla="*/ 16682563 w 16682562"/>
                <a:gd name="connsiteY0" fmla="*/ 5704551 h 13941544"/>
                <a:gd name="connsiteX1" fmla="*/ 16432262 w 16682562"/>
                <a:gd name="connsiteY1" fmla="*/ 6731937 h 13941544"/>
                <a:gd name="connsiteX2" fmla="*/ 16106317 w 16682562"/>
                <a:gd name="connsiteY2" fmla="*/ 7273241 h 13941544"/>
                <a:gd name="connsiteX3" fmla="*/ 16305649 w 16682562"/>
                <a:gd name="connsiteY3" fmla="*/ 7660570 h 13941544"/>
                <a:gd name="connsiteX4" fmla="*/ 16287189 w 16682562"/>
                <a:gd name="connsiteY4" fmla="*/ 8057177 h 13941544"/>
                <a:gd name="connsiteX5" fmla="*/ 16372801 w 16682562"/>
                <a:gd name="connsiteY5" fmla="*/ 8623442 h 13941544"/>
                <a:gd name="connsiteX6" fmla="*/ 16070155 w 16682562"/>
                <a:gd name="connsiteY6" fmla="*/ 8843828 h 13941544"/>
                <a:gd name="connsiteX7" fmla="*/ 15805690 w 16682562"/>
                <a:gd name="connsiteY7" fmla="*/ 9338019 h 13941544"/>
                <a:gd name="connsiteX8" fmla="*/ 15195097 w 16682562"/>
                <a:gd name="connsiteY8" fmla="*/ 8999762 h 13941544"/>
                <a:gd name="connsiteX9" fmla="*/ 15011380 w 16682562"/>
                <a:gd name="connsiteY9" fmla="*/ 9954612 h 13941544"/>
                <a:gd name="connsiteX10" fmla="*/ 14908430 w 16682562"/>
                <a:gd name="connsiteY10" fmla="*/ 10843507 h 13941544"/>
                <a:gd name="connsiteX11" fmla="*/ 14904684 w 16682562"/>
                <a:gd name="connsiteY11" fmla="*/ 11666946 h 13941544"/>
                <a:gd name="connsiteX12" fmla="*/ 14929927 w 16682562"/>
                <a:gd name="connsiteY12" fmla="*/ 13297866 h 13941544"/>
                <a:gd name="connsiteX13" fmla="*/ 12952786 w 16682562"/>
                <a:gd name="connsiteY13" fmla="*/ 13748619 h 13941544"/>
                <a:gd name="connsiteX14" fmla="*/ 11934663 w 16682562"/>
                <a:gd name="connsiteY14" fmla="*/ 13796869 h 13941544"/>
                <a:gd name="connsiteX15" fmla="*/ 8506848 w 16682562"/>
                <a:gd name="connsiteY15" fmla="*/ 13941544 h 13941544"/>
                <a:gd name="connsiteX16" fmla="*/ 7985095 w 16682562"/>
                <a:gd name="connsiteY16" fmla="*/ 13296462 h 13941544"/>
                <a:gd name="connsiteX17" fmla="*/ 7400308 w 16682562"/>
                <a:gd name="connsiteY17" fmla="*/ 13266317 h 13941544"/>
                <a:gd name="connsiteX18" fmla="*/ 6972273 w 16682562"/>
                <a:gd name="connsiteY18" fmla="*/ 13537614 h 13941544"/>
                <a:gd name="connsiteX19" fmla="*/ 5181729 w 16682562"/>
                <a:gd name="connsiteY19" fmla="*/ 13453215 h 13941544"/>
                <a:gd name="connsiteX20" fmla="*/ 4397998 w 16682562"/>
                <a:gd name="connsiteY20" fmla="*/ 12820198 h 13941544"/>
                <a:gd name="connsiteX21" fmla="*/ 2908896 w 16682562"/>
                <a:gd name="connsiteY21" fmla="*/ 12012344 h 13941544"/>
                <a:gd name="connsiteX22" fmla="*/ 1263043 w 16682562"/>
                <a:gd name="connsiteY22" fmla="*/ 11300951 h 13941544"/>
                <a:gd name="connsiteX23" fmla="*/ 485320 w 16682562"/>
                <a:gd name="connsiteY23" fmla="*/ 10848794 h 13941544"/>
                <a:gd name="connsiteX24" fmla="*/ 0 w 16682562"/>
                <a:gd name="connsiteY24" fmla="*/ 10555682 h 13941544"/>
                <a:gd name="connsiteX25" fmla="*/ 1003686 w 16682562"/>
                <a:gd name="connsiteY25" fmla="*/ 9809717 h 13941544"/>
                <a:gd name="connsiteX26" fmla="*/ 2902551 w 16682562"/>
                <a:gd name="connsiteY26" fmla="*/ 8625318 h 13941544"/>
                <a:gd name="connsiteX27" fmla="*/ 2558940 w 16682562"/>
                <a:gd name="connsiteY27" fmla="*/ 8091887 h 13941544"/>
                <a:gd name="connsiteX28" fmla="*/ 2402508 w 16682562"/>
                <a:gd name="connsiteY28" fmla="*/ 7404804 h 13941544"/>
                <a:gd name="connsiteX29" fmla="*/ 2730740 w 16682562"/>
                <a:gd name="connsiteY29" fmla="*/ 7377633 h 13941544"/>
                <a:gd name="connsiteX30" fmla="*/ 2947754 w 16682562"/>
                <a:gd name="connsiteY30" fmla="*/ 6907488 h 13941544"/>
                <a:gd name="connsiteX31" fmla="*/ 3499325 w 16682562"/>
                <a:gd name="connsiteY31" fmla="*/ 6464471 h 13941544"/>
                <a:gd name="connsiteX32" fmla="*/ 3680166 w 16682562"/>
                <a:gd name="connsiteY32" fmla="*/ 5587473 h 13941544"/>
                <a:gd name="connsiteX33" fmla="*/ 4186528 w 16682562"/>
                <a:gd name="connsiteY33" fmla="*/ 5596509 h 13941544"/>
                <a:gd name="connsiteX34" fmla="*/ 4837569 w 16682562"/>
                <a:gd name="connsiteY34" fmla="*/ 6066659 h 13941544"/>
                <a:gd name="connsiteX35" fmla="*/ 5352976 w 16682562"/>
                <a:gd name="connsiteY35" fmla="*/ 5985292 h 13941544"/>
                <a:gd name="connsiteX36" fmla="*/ 5741786 w 16682562"/>
                <a:gd name="connsiteY36" fmla="*/ 5614597 h 13941544"/>
                <a:gd name="connsiteX37" fmla="*/ 6157723 w 16682562"/>
                <a:gd name="connsiteY37" fmla="*/ 5451856 h 13941544"/>
                <a:gd name="connsiteX38" fmla="*/ 6745471 w 16682562"/>
                <a:gd name="connsiteY38" fmla="*/ 4882263 h 13941544"/>
                <a:gd name="connsiteX39" fmla="*/ 6890140 w 16682562"/>
                <a:gd name="connsiteY39" fmla="*/ 4032387 h 13941544"/>
                <a:gd name="connsiteX40" fmla="*/ 7568305 w 16682562"/>
                <a:gd name="connsiteY40" fmla="*/ 3462793 h 13941544"/>
                <a:gd name="connsiteX41" fmla="*/ 8137967 w 16682562"/>
                <a:gd name="connsiteY41" fmla="*/ 3019772 h 13941544"/>
                <a:gd name="connsiteX42" fmla="*/ 8463480 w 16682562"/>
                <a:gd name="connsiteY42" fmla="*/ 2215105 h 13941544"/>
                <a:gd name="connsiteX43" fmla="*/ 9024093 w 16682562"/>
                <a:gd name="connsiteY43" fmla="*/ 1862498 h 13941544"/>
                <a:gd name="connsiteX44" fmla="*/ 9675138 w 16682562"/>
                <a:gd name="connsiteY44" fmla="*/ 1509896 h 13941544"/>
                <a:gd name="connsiteX45" fmla="*/ 9558580 w 16682562"/>
                <a:gd name="connsiteY45" fmla="*/ 961612 h 13941544"/>
                <a:gd name="connsiteX46" fmla="*/ 10353296 w 16682562"/>
                <a:gd name="connsiteY46" fmla="*/ 289328 h 13941544"/>
                <a:gd name="connsiteX47" fmla="*/ 10832530 w 16682562"/>
                <a:gd name="connsiteY47" fmla="*/ 216994 h 13941544"/>
                <a:gd name="connsiteX48" fmla="*/ 11058585 w 16682562"/>
                <a:gd name="connsiteY48" fmla="*/ 669063 h 13941544"/>
                <a:gd name="connsiteX49" fmla="*/ 11411229 w 16682562"/>
                <a:gd name="connsiteY49" fmla="*/ 1048794 h 13941544"/>
                <a:gd name="connsiteX50" fmla="*/ 11998974 w 16682562"/>
                <a:gd name="connsiteY50" fmla="*/ 1130164 h 13941544"/>
                <a:gd name="connsiteX51" fmla="*/ 12315449 w 16682562"/>
                <a:gd name="connsiteY51" fmla="*/ 1790176 h 13941544"/>
                <a:gd name="connsiteX52" fmla="*/ 12785642 w 16682562"/>
                <a:gd name="connsiteY52" fmla="*/ 1609347 h 13941544"/>
                <a:gd name="connsiteX53" fmla="*/ 13671776 w 16682562"/>
                <a:gd name="connsiteY53" fmla="*/ 2061408 h 13941544"/>
                <a:gd name="connsiteX54" fmla="*/ 14123886 w 16682562"/>
                <a:gd name="connsiteY54" fmla="*/ 1763055 h 13941544"/>
                <a:gd name="connsiteX55" fmla="*/ 14259509 w 16682562"/>
                <a:gd name="connsiteY55" fmla="*/ 1193454 h 13941544"/>
                <a:gd name="connsiteX56" fmla="*/ 14892468 w 16682562"/>
                <a:gd name="connsiteY56" fmla="*/ 551523 h 13941544"/>
                <a:gd name="connsiteX57" fmla="*/ 15778605 w 16682562"/>
                <a:gd name="connsiteY57" fmla="*/ 3 h 13941544"/>
                <a:gd name="connsiteX58" fmla="*/ 16022739 w 16682562"/>
                <a:gd name="connsiteY58" fmla="*/ 470153 h 13941544"/>
                <a:gd name="connsiteX59" fmla="*/ 16556232 w 16682562"/>
                <a:gd name="connsiteY59" fmla="*/ 1048805 h 13941544"/>
                <a:gd name="connsiteX60" fmla="*/ 10152517 w 16682562"/>
                <a:gd name="connsiteY60" fmla="*/ 5264302 h 13941544"/>
                <a:gd name="connsiteX61" fmla="*/ 11109603 w 16682562"/>
                <a:gd name="connsiteY61" fmla="*/ 5635776 h 13941544"/>
                <a:gd name="connsiteX62" fmla="*/ 11919572 w 16682562"/>
                <a:gd name="connsiteY62" fmla="*/ 5909298 h 13941544"/>
                <a:gd name="connsiteX63" fmla="*/ 12868275 w 16682562"/>
                <a:gd name="connsiteY63" fmla="*/ 5664087 h 13941544"/>
                <a:gd name="connsiteX64" fmla="*/ 13844296 w 16682562"/>
                <a:gd name="connsiteY64" fmla="*/ 5062252 h 13941544"/>
                <a:gd name="connsiteX65" fmla="*/ 13886291 w 16682562"/>
                <a:gd name="connsiteY65" fmla="*/ 4227884 h 13941544"/>
                <a:gd name="connsiteX66" fmla="*/ 14370431 w 16682562"/>
                <a:gd name="connsiteY66" fmla="*/ 4736236 h 13941544"/>
                <a:gd name="connsiteX67" fmla="*/ 15323320 w 16682562"/>
                <a:gd name="connsiteY67" fmla="*/ 4834509 h 13941544"/>
                <a:gd name="connsiteX68" fmla="*/ 16350939 w 16682562"/>
                <a:gd name="connsiteY68" fmla="*/ 4959368 h 13941544"/>
                <a:gd name="connsiteX69" fmla="*/ 16362364 w 16682562"/>
                <a:gd name="connsiteY69" fmla="*/ 5266648 h 13941544"/>
                <a:gd name="connsiteX70" fmla="*/ 16682563 w 16682562"/>
                <a:gd name="connsiteY70" fmla="*/ 5704551 h 13941544"/>
                <a:gd name="connsiteX0" fmla="*/ 16682563 w 16682562"/>
                <a:gd name="connsiteY0" fmla="*/ 5704551 h 13941544"/>
                <a:gd name="connsiteX1" fmla="*/ 16432262 w 16682562"/>
                <a:gd name="connsiteY1" fmla="*/ 6731937 h 13941544"/>
                <a:gd name="connsiteX2" fmla="*/ 16106317 w 16682562"/>
                <a:gd name="connsiteY2" fmla="*/ 7273241 h 13941544"/>
                <a:gd name="connsiteX3" fmla="*/ 16305649 w 16682562"/>
                <a:gd name="connsiteY3" fmla="*/ 7660570 h 13941544"/>
                <a:gd name="connsiteX4" fmla="*/ 16287189 w 16682562"/>
                <a:gd name="connsiteY4" fmla="*/ 8057177 h 13941544"/>
                <a:gd name="connsiteX5" fmla="*/ 16372801 w 16682562"/>
                <a:gd name="connsiteY5" fmla="*/ 8623442 h 13941544"/>
                <a:gd name="connsiteX6" fmla="*/ 16070155 w 16682562"/>
                <a:gd name="connsiteY6" fmla="*/ 8843828 h 13941544"/>
                <a:gd name="connsiteX7" fmla="*/ 15805690 w 16682562"/>
                <a:gd name="connsiteY7" fmla="*/ 9338019 h 13941544"/>
                <a:gd name="connsiteX8" fmla="*/ 15195097 w 16682562"/>
                <a:gd name="connsiteY8" fmla="*/ 8999762 h 13941544"/>
                <a:gd name="connsiteX9" fmla="*/ 15011380 w 16682562"/>
                <a:gd name="connsiteY9" fmla="*/ 9954612 h 13941544"/>
                <a:gd name="connsiteX10" fmla="*/ 14908430 w 16682562"/>
                <a:gd name="connsiteY10" fmla="*/ 10843507 h 13941544"/>
                <a:gd name="connsiteX11" fmla="*/ 14904684 w 16682562"/>
                <a:gd name="connsiteY11" fmla="*/ 11666946 h 13941544"/>
                <a:gd name="connsiteX12" fmla="*/ 14929927 w 16682562"/>
                <a:gd name="connsiteY12" fmla="*/ 13297866 h 13941544"/>
                <a:gd name="connsiteX13" fmla="*/ 12952786 w 16682562"/>
                <a:gd name="connsiteY13" fmla="*/ 13748619 h 13941544"/>
                <a:gd name="connsiteX14" fmla="*/ 11934663 w 16682562"/>
                <a:gd name="connsiteY14" fmla="*/ 13796869 h 13941544"/>
                <a:gd name="connsiteX15" fmla="*/ 8506848 w 16682562"/>
                <a:gd name="connsiteY15" fmla="*/ 13941544 h 13941544"/>
                <a:gd name="connsiteX16" fmla="*/ 7985095 w 16682562"/>
                <a:gd name="connsiteY16" fmla="*/ 13296462 h 13941544"/>
                <a:gd name="connsiteX17" fmla="*/ 7400308 w 16682562"/>
                <a:gd name="connsiteY17" fmla="*/ 13266317 h 13941544"/>
                <a:gd name="connsiteX18" fmla="*/ 6972273 w 16682562"/>
                <a:gd name="connsiteY18" fmla="*/ 13537614 h 13941544"/>
                <a:gd name="connsiteX19" fmla="*/ 5181729 w 16682562"/>
                <a:gd name="connsiteY19" fmla="*/ 13453215 h 13941544"/>
                <a:gd name="connsiteX20" fmla="*/ 4397998 w 16682562"/>
                <a:gd name="connsiteY20" fmla="*/ 12820198 h 13941544"/>
                <a:gd name="connsiteX21" fmla="*/ 2908896 w 16682562"/>
                <a:gd name="connsiteY21" fmla="*/ 12012344 h 13941544"/>
                <a:gd name="connsiteX22" fmla="*/ 1263043 w 16682562"/>
                <a:gd name="connsiteY22" fmla="*/ 11300951 h 13941544"/>
                <a:gd name="connsiteX23" fmla="*/ 485320 w 16682562"/>
                <a:gd name="connsiteY23" fmla="*/ 10848794 h 13941544"/>
                <a:gd name="connsiteX24" fmla="*/ 0 w 16682562"/>
                <a:gd name="connsiteY24" fmla="*/ 10555682 h 13941544"/>
                <a:gd name="connsiteX25" fmla="*/ 1003686 w 16682562"/>
                <a:gd name="connsiteY25" fmla="*/ 9809717 h 13941544"/>
                <a:gd name="connsiteX26" fmla="*/ 2902551 w 16682562"/>
                <a:gd name="connsiteY26" fmla="*/ 8625318 h 13941544"/>
                <a:gd name="connsiteX27" fmla="*/ 2558940 w 16682562"/>
                <a:gd name="connsiteY27" fmla="*/ 8091887 h 13941544"/>
                <a:gd name="connsiteX28" fmla="*/ 2402508 w 16682562"/>
                <a:gd name="connsiteY28" fmla="*/ 7404804 h 13941544"/>
                <a:gd name="connsiteX29" fmla="*/ 2730740 w 16682562"/>
                <a:gd name="connsiteY29" fmla="*/ 7377633 h 13941544"/>
                <a:gd name="connsiteX30" fmla="*/ 2947754 w 16682562"/>
                <a:gd name="connsiteY30" fmla="*/ 6907488 h 13941544"/>
                <a:gd name="connsiteX31" fmla="*/ 3499325 w 16682562"/>
                <a:gd name="connsiteY31" fmla="*/ 6464471 h 13941544"/>
                <a:gd name="connsiteX32" fmla="*/ 3680166 w 16682562"/>
                <a:gd name="connsiteY32" fmla="*/ 5587473 h 13941544"/>
                <a:gd name="connsiteX33" fmla="*/ 4186528 w 16682562"/>
                <a:gd name="connsiteY33" fmla="*/ 5596509 h 13941544"/>
                <a:gd name="connsiteX34" fmla="*/ 4837569 w 16682562"/>
                <a:gd name="connsiteY34" fmla="*/ 6066659 h 13941544"/>
                <a:gd name="connsiteX35" fmla="*/ 5352976 w 16682562"/>
                <a:gd name="connsiteY35" fmla="*/ 5985292 h 13941544"/>
                <a:gd name="connsiteX36" fmla="*/ 5741786 w 16682562"/>
                <a:gd name="connsiteY36" fmla="*/ 5614597 h 13941544"/>
                <a:gd name="connsiteX37" fmla="*/ 6157723 w 16682562"/>
                <a:gd name="connsiteY37" fmla="*/ 5451856 h 13941544"/>
                <a:gd name="connsiteX38" fmla="*/ 6745471 w 16682562"/>
                <a:gd name="connsiteY38" fmla="*/ 4882263 h 13941544"/>
                <a:gd name="connsiteX39" fmla="*/ 6890140 w 16682562"/>
                <a:gd name="connsiteY39" fmla="*/ 4032387 h 13941544"/>
                <a:gd name="connsiteX40" fmla="*/ 7568305 w 16682562"/>
                <a:gd name="connsiteY40" fmla="*/ 3462793 h 13941544"/>
                <a:gd name="connsiteX41" fmla="*/ 8137967 w 16682562"/>
                <a:gd name="connsiteY41" fmla="*/ 3019772 h 13941544"/>
                <a:gd name="connsiteX42" fmla="*/ 8463480 w 16682562"/>
                <a:gd name="connsiteY42" fmla="*/ 2215105 h 13941544"/>
                <a:gd name="connsiteX43" fmla="*/ 9024093 w 16682562"/>
                <a:gd name="connsiteY43" fmla="*/ 1862498 h 13941544"/>
                <a:gd name="connsiteX44" fmla="*/ 9675138 w 16682562"/>
                <a:gd name="connsiteY44" fmla="*/ 1509896 h 13941544"/>
                <a:gd name="connsiteX45" fmla="*/ 9558580 w 16682562"/>
                <a:gd name="connsiteY45" fmla="*/ 961612 h 13941544"/>
                <a:gd name="connsiteX46" fmla="*/ 10353296 w 16682562"/>
                <a:gd name="connsiteY46" fmla="*/ 289328 h 13941544"/>
                <a:gd name="connsiteX47" fmla="*/ 10832530 w 16682562"/>
                <a:gd name="connsiteY47" fmla="*/ 216994 h 13941544"/>
                <a:gd name="connsiteX48" fmla="*/ 11058585 w 16682562"/>
                <a:gd name="connsiteY48" fmla="*/ 669063 h 13941544"/>
                <a:gd name="connsiteX49" fmla="*/ 11411229 w 16682562"/>
                <a:gd name="connsiteY49" fmla="*/ 1048794 h 13941544"/>
                <a:gd name="connsiteX50" fmla="*/ 11998974 w 16682562"/>
                <a:gd name="connsiteY50" fmla="*/ 1130164 h 13941544"/>
                <a:gd name="connsiteX51" fmla="*/ 12315449 w 16682562"/>
                <a:gd name="connsiteY51" fmla="*/ 1790176 h 13941544"/>
                <a:gd name="connsiteX52" fmla="*/ 12785642 w 16682562"/>
                <a:gd name="connsiteY52" fmla="*/ 1609347 h 13941544"/>
                <a:gd name="connsiteX53" fmla="*/ 13671776 w 16682562"/>
                <a:gd name="connsiteY53" fmla="*/ 2061408 h 13941544"/>
                <a:gd name="connsiteX54" fmla="*/ 14123886 w 16682562"/>
                <a:gd name="connsiteY54" fmla="*/ 1763055 h 13941544"/>
                <a:gd name="connsiteX55" fmla="*/ 14259509 w 16682562"/>
                <a:gd name="connsiteY55" fmla="*/ 1193454 h 13941544"/>
                <a:gd name="connsiteX56" fmla="*/ 14892468 w 16682562"/>
                <a:gd name="connsiteY56" fmla="*/ 551523 h 13941544"/>
                <a:gd name="connsiteX57" fmla="*/ 15778605 w 16682562"/>
                <a:gd name="connsiteY57" fmla="*/ 3 h 13941544"/>
                <a:gd name="connsiteX58" fmla="*/ 16022739 w 16682562"/>
                <a:gd name="connsiteY58" fmla="*/ 470153 h 13941544"/>
                <a:gd name="connsiteX59" fmla="*/ 9312071 w 16682562"/>
                <a:gd name="connsiteY59" fmla="*/ 4353992 h 13941544"/>
                <a:gd name="connsiteX60" fmla="*/ 10152517 w 16682562"/>
                <a:gd name="connsiteY60" fmla="*/ 5264302 h 13941544"/>
                <a:gd name="connsiteX61" fmla="*/ 11109603 w 16682562"/>
                <a:gd name="connsiteY61" fmla="*/ 5635776 h 13941544"/>
                <a:gd name="connsiteX62" fmla="*/ 11919572 w 16682562"/>
                <a:gd name="connsiteY62" fmla="*/ 5909298 h 13941544"/>
                <a:gd name="connsiteX63" fmla="*/ 12868275 w 16682562"/>
                <a:gd name="connsiteY63" fmla="*/ 5664087 h 13941544"/>
                <a:gd name="connsiteX64" fmla="*/ 13844296 w 16682562"/>
                <a:gd name="connsiteY64" fmla="*/ 5062252 h 13941544"/>
                <a:gd name="connsiteX65" fmla="*/ 13886291 w 16682562"/>
                <a:gd name="connsiteY65" fmla="*/ 4227884 h 13941544"/>
                <a:gd name="connsiteX66" fmla="*/ 14370431 w 16682562"/>
                <a:gd name="connsiteY66" fmla="*/ 4736236 h 13941544"/>
                <a:gd name="connsiteX67" fmla="*/ 15323320 w 16682562"/>
                <a:gd name="connsiteY67" fmla="*/ 4834509 h 13941544"/>
                <a:gd name="connsiteX68" fmla="*/ 16350939 w 16682562"/>
                <a:gd name="connsiteY68" fmla="*/ 4959368 h 13941544"/>
                <a:gd name="connsiteX69" fmla="*/ 16362364 w 16682562"/>
                <a:gd name="connsiteY69" fmla="*/ 5266648 h 13941544"/>
                <a:gd name="connsiteX70" fmla="*/ 16682563 w 16682562"/>
                <a:gd name="connsiteY70" fmla="*/ 5704551 h 13941544"/>
                <a:gd name="connsiteX0" fmla="*/ 16682563 w 16682562"/>
                <a:gd name="connsiteY0" fmla="*/ 5704551 h 13941544"/>
                <a:gd name="connsiteX1" fmla="*/ 16432262 w 16682562"/>
                <a:gd name="connsiteY1" fmla="*/ 6731937 h 13941544"/>
                <a:gd name="connsiteX2" fmla="*/ 16106317 w 16682562"/>
                <a:gd name="connsiteY2" fmla="*/ 7273241 h 13941544"/>
                <a:gd name="connsiteX3" fmla="*/ 16305649 w 16682562"/>
                <a:gd name="connsiteY3" fmla="*/ 7660570 h 13941544"/>
                <a:gd name="connsiteX4" fmla="*/ 16287189 w 16682562"/>
                <a:gd name="connsiteY4" fmla="*/ 8057177 h 13941544"/>
                <a:gd name="connsiteX5" fmla="*/ 16372801 w 16682562"/>
                <a:gd name="connsiteY5" fmla="*/ 8623442 h 13941544"/>
                <a:gd name="connsiteX6" fmla="*/ 16070155 w 16682562"/>
                <a:gd name="connsiteY6" fmla="*/ 8843828 h 13941544"/>
                <a:gd name="connsiteX7" fmla="*/ 15805690 w 16682562"/>
                <a:gd name="connsiteY7" fmla="*/ 9338019 h 13941544"/>
                <a:gd name="connsiteX8" fmla="*/ 15195097 w 16682562"/>
                <a:gd name="connsiteY8" fmla="*/ 8999762 h 13941544"/>
                <a:gd name="connsiteX9" fmla="*/ 15011380 w 16682562"/>
                <a:gd name="connsiteY9" fmla="*/ 9954612 h 13941544"/>
                <a:gd name="connsiteX10" fmla="*/ 14908430 w 16682562"/>
                <a:gd name="connsiteY10" fmla="*/ 10843507 h 13941544"/>
                <a:gd name="connsiteX11" fmla="*/ 14904684 w 16682562"/>
                <a:gd name="connsiteY11" fmla="*/ 11666946 h 13941544"/>
                <a:gd name="connsiteX12" fmla="*/ 14929927 w 16682562"/>
                <a:gd name="connsiteY12" fmla="*/ 13297866 h 13941544"/>
                <a:gd name="connsiteX13" fmla="*/ 12952786 w 16682562"/>
                <a:gd name="connsiteY13" fmla="*/ 13748619 h 13941544"/>
                <a:gd name="connsiteX14" fmla="*/ 11934663 w 16682562"/>
                <a:gd name="connsiteY14" fmla="*/ 13796869 h 13941544"/>
                <a:gd name="connsiteX15" fmla="*/ 8506848 w 16682562"/>
                <a:gd name="connsiteY15" fmla="*/ 13941544 h 13941544"/>
                <a:gd name="connsiteX16" fmla="*/ 7985095 w 16682562"/>
                <a:gd name="connsiteY16" fmla="*/ 13296462 h 13941544"/>
                <a:gd name="connsiteX17" fmla="*/ 7400308 w 16682562"/>
                <a:gd name="connsiteY17" fmla="*/ 13266317 h 13941544"/>
                <a:gd name="connsiteX18" fmla="*/ 6972273 w 16682562"/>
                <a:gd name="connsiteY18" fmla="*/ 13537614 h 13941544"/>
                <a:gd name="connsiteX19" fmla="*/ 5181729 w 16682562"/>
                <a:gd name="connsiteY19" fmla="*/ 13453215 h 13941544"/>
                <a:gd name="connsiteX20" fmla="*/ 4397998 w 16682562"/>
                <a:gd name="connsiteY20" fmla="*/ 12820198 h 13941544"/>
                <a:gd name="connsiteX21" fmla="*/ 2908896 w 16682562"/>
                <a:gd name="connsiteY21" fmla="*/ 12012344 h 13941544"/>
                <a:gd name="connsiteX22" fmla="*/ 1263043 w 16682562"/>
                <a:gd name="connsiteY22" fmla="*/ 11300951 h 13941544"/>
                <a:gd name="connsiteX23" fmla="*/ 485320 w 16682562"/>
                <a:gd name="connsiteY23" fmla="*/ 10848794 h 13941544"/>
                <a:gd name="connsiteX24" fmla="*/ 0 w 16682562"/>
                <a:gd name="connsiteY24" fmla="*/ 10555682 h 13941544"/>
                <a:gd name="connsiteX25" fmla="*/ 1003686 w 16682562"/>
                <a:gd name="connsiteY25" fmla="*/ 9809717 h 13941544"/>
                <a:gd name="connsiteX26" fmla="*/ 2902551 w 16682562"/>
                <a:gd name="connsiteY26" fmla="*/ 8625318 h 13941544"/>
                <a:gd name="connsiteX27" fmla="*/ 2558940 w 16682562"/>
                <a:gd name="connsiteY27" fmla="*/ 8091887 h 13941544"/>
                <a:gd name="connsiteX28" fmla="*/ 2402508 w 16682562"/>
                <a:gd name="connsiteY28" fmla="*/ 7404804 h 13941544"/>
                <a:gd name="connsiteX29" fmla="*/ 2730740 w 16682562"/>
                <a:gd name="connsiteY29" fmla="*/ 7377633 h 13941544"/>
                <a:gd name="connsiteX30" fmla="*/ 2947754 w 16682562"/>
                <a:gd name="connsiteY30" fmla="*/ 6907488 h 13941544"/>
                <a:gd name="connsiteX31" fmla="*/ 3499325 w 16682562"/>
                <a:gd name="connsiteY31" fmla="*/ 6464471 h 13941544"/>
                <a:gd name="connsiteX32" fmla="*/ 3680166 w 16682562"/>
                <a:gd name="connsiteY32" fmla="*/ 5587473 h 13941544"/>
                <a:gd name="connsiteX33" fmla="*/ 4186528 w 16682562"/>
                <a:gd name="connsiteY33" fmla="*/ 5596509 h 13941544"/>
                <a:gd name="connsiteX34" fmla="*/ 4837569 w 16682562"/>
                <a:gd name="connsiteY34" fmla="*/ 6066659 h 13941544"/>
                <a:gd name="connsiteX35" fmla="*/ 5352976 w 16682562"/>
                <a:gd name="connsiteY35" fmla="*/ 5985292 h 13941544"/>
                <a:gd name="connsiteX36" fmla="*/ 5741786 w 16682562"/>
                <a:gd name="connsiteY36" fmla="*/ 5614597 h 13941544"/>
                <a:gd name="connsiteX37" fmla="*/ 6157723 w 16682562"/>
                <a:gd name="connsiteY37" fmla="*/ 5451856 h 13941544"/>
                <a:gd name="connsiteX38" fmla="*/ 6745471 w 16682562"/>
                <a:gd name="connsiteY38" fmla="*/ 4882263 h 13941544"/>
                <a:gd name="connsiteX39" fmla="*/ 6890140 w 16682562"/>
                <a:gd name="connsiteY39" fmla="*/ 4032387 h 13941544"/>
                <a:gd name="connsiteX40" fmla="*/ 7568305 w 16682562"/>
                <a:gd name="connsiteY40" fmla="*/ 3462793 h 13941544"/>
                <a:gd name="connsiteX41" fmla="*/ 8137967 w 16682562"/>
                <a:gd name="connsiteY41" fmla="*/ 3019772 h 13941544"/>
                <a:gd name="connsiteX42" fmla="*/ 8463480 w 16682562"/>
                <a:gd name="connsiteY42" fmla="*/ 2215105 h 13941544"/>
                <a:gd name="connsiteX43" fmla="*/ 9024093 w 16682562"/>
                <a:gd name="connsiteY43" fmla="*/ 1862498 h 13941544"/>
                <a:gd name="connsiteX44" fmla="*/ 9675138 w 16682562"/>
                <a:gd name="connsiteY44" fmla="*/ 1509896 h 13941544"/>
                <a:gd name="connsiteX45" fmla="*/ 9558580 w 16682562"/>
                <a:gd name="connsiteY45" fmla="*/ 961612 h 13941544"/>
                <a:gd name="connsiteX46" fmla="*/ 10353296 w 16682562"/>
                <a:gd name="connsiteY46" fmla="*/ 289328 h 13941544"/>
                <a:gd name="connsiteX47" fmla="*/ 10832530 w 16682562"/>
                <a:gd name="connsiteY47" fmla="*/ 216994 h 13941544"/>
                <a:gd name="connsiteX48" fmla="*/ 11058585 w 16682562"/>
                <a:gd name="connsiteY48" fmla="*/ 669063 h 13941544"/>
                <a:gd name="connsiteX49" fmla="*/ 11411229 w 16682562"/>
                <a:gd name="connsiteY49" fmla="*/ 1048794 h 13941544"/>
                <a:gd name="connsiteX50" fmla="*/ 11998974 w 16682562"/>
                <a:gd name="connsiteY50" fmla="*/ 1130164 h 13941544"/>
                <a:gd name="connsiteX51" fmla="*/ 12315449 w 16682562"/>
                <a:gd name="connsiteY51" fmla="*/ 1790176 h 13941544"/>
                <a:gd name="connsiteX52" fmla="*/ 12785642 w 16682562"/>
                <a:gd name="connsiteY52" fmla="*/ 1609347 h 13941544"/>
                <a:gd name="connsiteX53" fmla="*/ 13671776 w 16682562"/>
                <a:gd name="connsiteY53" fmla="*/ 2061408 h 13941544"/>
                <a:gd name="connsiteX54" fmla="*/ 14123886 w 16682562"/>
                <a:gd name="connsiteY54" fmla="*/ 1763055 h 13941544"/>
                <a:gd name="connsiteX55" fmla="*/ 14259509 w 16682562"/>
                <a:gd name="connsiteY55" fmla="*/ 1193454 h 13941544"/>
                <a:gd name="connsiteX56" fmla="*/ 14892468 w 16682562"/>
                <a:gd name="connsiteY56" fmla="*/ 551523 h 13941544"/>
                <a:gd name="connsiteX57" fmla="*/ 15778605 w 16682562"/>
                <a:gd name="connsiteY57" fmla="*/ 3 h 13941544"/>
                <a:gd name="connsiteX58" fmla="*/ 16022739 w 16682562"/>
                <a:gd name="connsiteY58" fmla="*/ 470153 h 13941544"/>
                <a:gd name="connsiteX59" fmla="*/ 9761321 w 16682562"/>
                <a:gd name="connsiteY59" fmla="*/ 4466032 h 13941544"/>
                <a:gd name="connsiteX60" fmla="*/ 10152517 w 16682562"/>
                <a:gd name="connsiteY60" fmla="*/ 5264302 h 13941544"/>
                <a:gd name="connsiteX61" fmla="*/ 11109603 w 16682562"/>
                <a:gd name="connsiteY61" fmla="*/ 5635776 h 13941544"/>
                <a:gd name="connsiteX62" fmla="*/ 11919572 w 16682562"/>
                <a:gd name="connsiteY62" fmla="*/ 5909298 h 13941544"/>
                <a:gd name="connsiteX63" fmla="*/ 12868275 w 16682562"/>
                <a:gd name="connsiteY63" fmla="*/ 5664087 h 13941544"/>
                <a:gd name="connsiteX64" fmla="*/ 13844296 w 16682562"/>
                <a:gd name="connsiteY64" fmla="*/ 5062252 h 13941544"/>
                <a:gd name="connsiteX65" fmla="*/ 13886291 w 16682562"/>
                <a:gd name="connsiteY65" fmla="*/ 4227884 h 13941544"/>
                <a:gd name="connsiteX66" fmla="*/ 14370431 w 16682562"/>
                <a:gd name="connsiteY66" fmla="*/ 4736236 h 13941544"/>
                <a:gd name="connsiteX67" fmla="*/ 15323320 w 16682562"/>
                <a:gd name="connsiteY67" fmla="*/ 4834509 h 13941544"/>
                <a:gd name="connsiteX68" fmla="*/ 16350939 w 16682562"/>
                <a:gd name="connsiteY68" fmla="*/ 4959368 h 13941544"/>
                <a:gd name="connsiteX69" fmla="*/ 16362364 w 16682562"/>
                <a:gd name="connsiteY69" fmla="*/ 5266648 h 13941544"/>
                <a:gd name="connsiteX70" fmla="*/ 16682563 w 16682562"/>
                <a:gd name="connsiteY70" fmla="*/ 5704551 h 13941544"/>
                <a:gd name="connsiteX0" fmla="*/ 16682563 w 16682562"/>
                <a:gd name="connsiteY0" fmla="*/ 5704551 h 13941544"/>
                <a:gd name="connsiteX1" fmla="*/ 16432262 w 16682562"/>
                <a:gd name="connsiteY1" fmla="*/ 6731937 h 13941544"/>
                <a:gd name="connsiteX2" fmla="*/ 16106317 w 16682562"/>
                <a:gd name="connsiteY2" fmla="*/ 7273241 h 13941544"/>
                <a:gd name="connsiteX3" fmla="*/ 16305649 w 16682562"/>
                <a:gd name="connsiteY3" fmla="*/ 7660570 h 13941544"/>
                <a:gd name="connsiteX4" fmla="*/ 16287189 w 16682562"/>
                <a:gd name="connsiteY4" fmla="*/ 8057177 h 13941544"/>
                <a:gd name="connsiteX5" fmla="*/ 16372801 w 16682562"/>
                <a:gd name="connsiteY5" fmla="*/ 8623442 h 13941544"/>
                <a:gd name="connsiteX6" fmla="*/ 16070155 w 16682562"/>
                <a:gd name="connsiteY6" fmla="*/ 8843828 h 13941544"/>
                <a:gd name="connsiteX7" fmla="*/ 15805690 w 16682562"/>
                <a:gd name="connsiteY7" fmla="*/ 9338019 h 13941544"/>
                <a:gd name="connsiteX8" fmla="*/ 15195097 w 16682562"/>
                <a:gd name="connsiteY8" fmla="*/ 8999762 h 13941544"/>
                <a:gd name="connsiteX9" fmla="*/ 15011380 w 16682562"/>
                <a:gd name="connsiteY9" fmla="*/ 9954612 h 13941544"/>
                <a:gd name="connsiteX10" fmla="*/ 14908430 w 16682562"/>
                <a:gd name="connsiteY10" fmla="*/ 10843507 h 13941544"/>
                <a:gd name="connsiteX11" fmla="*/ 14904684 w 16682562"/>
                <a:gd name="connsiteY11" fmla="*/ 11666946 h 13941544"/>
                <a:gd name="connsiteX12" fmla="*/ 14929927 w 16682562"/>
                <a:gd name="connsiteY12" fmla="*/ 13297866 h 13941544"/>
                <a:gd name="connsiteX13" fmla="*/ 12952786 w 16682562"/>
                <a:gd name="connsiteY13" fmla="*/ 13748619 h 13941544"/>
                <a:gd name="connsiteX14" fmla="*/ 11934663 w 16682562"/>
                <a:gd name="connsiteY14" fmla="*/ 13796869 h 13941544"/>
                <a:gd name="connsiteX15" fmla="*/ 8506848 w 16682562"/>
                <a:gd name="connsiteY15" fmla="*/ 13941544 h 13941544"/>
                <a:gd name="connsiteX16" fmla="*/ 7985095 w 16682562"/>
                <a:gd name="connsiteY16" fmla="*/ 13296462 h 13941544"/>
                <a:gd name="connsiteX17" fmla="*/ 7400308 w 16682562"/>
                <a:gd name="connsiteY17" fmla="*/ 13266317 h 13941544"/>
                <a:gd name="connsiteX18" fmla="*/ 6972273 w 16682562"/>
                <a:gd name="connsiteY18" fmla="*/ 13537614 h 13941544"/>
                <a:gd name="connsiteX19" fmla="*/ 5181729 w 16682562"/>
                <a:gd name="connsiteY19" fmla="*/ 13453215 h 13941544"/>
                <a:gd name="connsiteX20" fmla="*/ 4397998 w 16682562"/>
                <a:gd name="connsiteY20" fmla="*/ 12820198 h 13941544"/>
                <a:gd name="connsiteX21" fmla="*/ 2908896 w 16682562"/>
                <a:gd name="connsiteY21" fmla="*/ 12012344 h 13941544"/>
                <a:gd name="connsiteX22" fmla="*/ 1263043 w 16682562"/>
                <a:gd name="connsiteY22" fmla="*/ 11300951 h 13941544"/>
                <a:gd name="connsiteX23" fmla="*/ 485320 w 16682562"/>
                <a:gd name="connsiteY23" fmla="*/ 10848794 h 13941544"/>
                <a:gd name="connsiteX24" fmla="*/ 0 w 16682562"/>
                <a:gd name="connsiteY24" fmla="*/ 10555682 h 13941544"/>
                <a:gd name="connsiteX25" fmla="*/ 1003686 w 16682562"/>
                <a:gd name="connsiteY25" fmla="*/ 9809717 h 13941544"/>
                <a:gd name="connsiteX26" fmla="*/ 2902551 w 16682562"/>
                <a:gd name="connsiteY26" fmla="*/ 8625318 h 13941544"/>
                <a:gd name="connsiteX27" fmla="*/ 2558940 w 16682562"/>
                <a:gd name="connsiteY27" fmla="*/ 8091887 h 13941544"/>
                <a:gd name="connsiteX28" fmla="*/ 2402508 w 16682562"/>
                <a:gd name="connsiteY28" fmla="*/ 7404804 h 13941544"/>
                <a:gd name="connsiteX29" fmla="*/ 2730740 w 16682562"/>
                <a:gd name="connsiteY29" fmla="*/ 7377633 h 13941544"/>
                <a:gd name="connsiteX30" fmla="*/ 2947754 w 16682562"/>
                <a:gd name="connsiteY30" fmla="*/ 6907488 h 13941544"/>
                <a:gd name="connsiteX31" fmla="*/ 3499325 w 16682562"/>
                <a:gd name="connsiteY31" fmla="*/ 6464471 h 13941544"/>
                <a:gd name="connsiteX32" fmla="*/ 3680166 w 16682562"/>
                <a:gd name="connsiteY32" fmla="*/ 5587473 h 13941544"/>
                <a:gd name="connsiteX33" fmla="*/ 4186528 w 16682562"/>
                <a:gd name="connsiteY33" fmla="*/ 5596509 h 13941544"/>
                <a:gd name="connsiteX34" fmla="*/ 4837569 w 16682562"/>
                <a:gd name="connsiteY34" fmla="*/ 6066659 h 13941544"/>
                <a:gd name="connsiteX35" fmla="*/ 5352976 w 16682562"/>
                <a:gd name="connsiteY35" fmla="*/ 5985292 h 13941544"/>
                <a:gd name="connsiteX36" fmla="*/ 5741786 w 16682562"/>
                <a:gd name="connsiteY36" fmla="*/ 5614597 h 13941544"/>
                <a:gd name="connsiteX37" fmla="*/ 6157723 w 16682562"/>
                <a:gd name="connsiteY37" fmla="*/ 5451856 h 13941544"/>
                <a:gd name="connsiteX38" fmla="*/ 6745471 w 16682562"/>
                <a:gd name="connsiteY38" fmla="*/ 4882263 h 13941544"/>
                <a:gd name="connsiteX39" fmla="*/ 6890140 w 16682562"/>
                <a:gd name="connsiteY39" fmla="*/ 4032387 h 13941544"/>
                <a:gd name="connsiteX40" fmla="*/ 7568305 w 16682562"/>
                <a:gd name="connsiteY40" fmla="*/ 3462793 h 13941544"/>
                <a:gd name="connsiteX41" fmla="*/ 8137967 w 16682562"/>
                <a:gd name="connsiteY41" fmla="*/ 3019772 h 13941544"/>
                <a:gd name="connsiteX42" fmla="*/ 8463480 w 16682562"/>
                <a:gd name="connsiteY42" fmla="*/ 2215105 h 13941544"/>
                <a:gd name="connsiteX43" fmla="*/ 9024093 w 16682562"/>
                <a:gd name="connsiteY43" fmla="*/ 1862498 h 13941544"/>
                <a:gd name="connsiteX44" fmla="*/ 9675138 w 16682562"/>
                <a:gd name="connsiteY44" fmla="*/ 1509896 h 13941544"/>
                <a:gd name="connsiteX45" fmla="*/ 9558580 w 16682562"/>
                <a:gd name="connsiteY45" fmla="*/ 961612 h 13941544"/>
                <a:gd name="connsiteX46" fmla="*/ 10353296 w 16682562"/>
                <a:gd name="connsiteY46" fmla="*/ 289328 h 13941544"/>
                <a:gd name="connsiteX47" fmla="*/ 10832530 w 16682562"/>
                <a:gd name="connsiteY47" fmla="*/ 216994 h 13941544"/>
                <a:gd name="connsiteX48" fmla="*/ 11058585 w 16682562"/>
                <a:gd name="connsiteY48" fmla="*/ 669063 h 13941544"/>
                <a:gd name="connsiteX49" fmla="*/ 11411229 w 16682562"/>
                <a:gd name="connsiteY49" fmla="*/ 1048794 h 13941544"/>
                <a:gd name="connsiteX50" fmla="*/ 11998974 w 16682562"/>
                <a:gd name="connsiteY50" fmla="*/ 1130164 h 13941544"/>
                <a:gd name="connsiteX51" fmla="*/ 12315449 w 16682562"/>
                <a:gd name="connsiteY51" fmla="*/ 1790176 h 13941544"/>
                <a:gd name="connsiteX52" fmla="*/ 12785642 w 16682562"/>
                <a:gd name="connsiteY52" fmla="*/ 1609347 h 13941544"/>
                <a:gd name="connsiteX53" fmla="*/ 13671776 w 16682562"/>
                <a:gd name="connsiteY53" fmla="*/ 2061408 h 13941544"/>
                <a:gd name="connsiteX54" fmla="*/ 14123886 w 16682562"/>
                <a:gd name="connsiteY54" fmla="*/ 1763055 h 13941544"/>
                <a:gd name="connsiteX55" fmla="*/ 14259509 w 16682562"/>
                <a:gd name="connsiteY55" fmla="*/ 1193454 h 13941544"/>
                <a:gd name="connsiteX56" fmla="*/ 14892468 w 16682562"/>
                <a:gd name="connsiteY56" fmla="*/ 551523 h 13941544"/>
                <a:gd name="connsiteX57" fmla="*/ 15778605 w 16682562"/>
                <a:gd name="connsiteY57" fmla="*/ 3 h 13941544"/>
                <a:gd name="connsiteX58" fmla="*/ 9761321 w 16682562"/>
                <a:gd name="connsiteY58" fmla="*/ 4466032 h 13941544"/>
                <a:gd name="connsiteX59" fmla="*/ 10152517 w 16682562"/>
                <a:gd name="connsiteY59" fmla="*/ 5264302 h 13941544"/>
                <a:gd name="connsiteX60" fmla="*/ 11109603 w 16682562"/>
                <a:gd name="connsiteY60" fmla="*/ 5635776 h 13941544"/>
                <a:gd name="connsiteX61" fmla="*/ 11919572 w 16682562"/>
                <a:gd name="connsiteY61" fmla="*/ 5909298 h 13941544"/>
                <a:gd name="connsiteX62" fmla="*/ 12868275 w 16682562"/>
                <a:gd name="connsiteY62" fmla="*/ 5664087 h 13941544"/>
                <a:gd name="connsiteX63" fmla="*/ 13844296 w 16682562"/>
                <a:gd name="connsiteY63" fmla="*/ 5062252 h 13941544"/>
                <a:gd name="connsiteX64" fmla="*/ 13886291 w 16682562"/>
                <a:gd name="connsiteY64" fmla="*/ 4227884 h 13941544"/>
                <a:gd name="connsiteX65" fmla="*/ 14370431 w 16682562"/>
                <a:gd name="connsiteY65" fmla="*/ 4736236 h 13941544"/>
                <a:gd name="connsiteX66" fmla="*/ 15323320 w 16682562"/>
                <a:gd name="connsiteY66" fmla="*/ 4834509 h 13941544"/>
                <a:gd name="connsiteX67" fmla="*/ 16350939 w 16682562"/>
                <a:gd name="connsiteY67" fmla="*/ 4959368 h 13941544"/>
                <a:gd name="connsiteX68" fmla="*/ 16362364 w 16682562"/>
                <a:gd name="connsiteY68" fmla="*/ 5266648 h 13941544"/>
                <a:gd name="connsiteX69" fmla="*/ 16682563 w 16682562"/>
                <a:gd name="connsiteY69" fmla="*/ 5704551 h 13941544"/>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13671776 w 16682562"/>
                <a:gd name="connsiteY53" fmla="*/ 1844415 h 13724551"/>
                <a:gd name="connsiteX54" fmla="*/ 14123886 w 16682562"/>
                <a:gd name="connsiteY54" fmla="*/ 1546062 h 13724551"/>
                <a:gd name="connsiteX55" fmla="*/ 14259509 w 16682562"/>
                <a:gd name="connsiteY55" fmla="*/ 976461 h 13724551"/>
                <a:gd name="connsiteX56" fmla="*/ 14892468 w 16682562"/>
                <a:gd name="connsiteY56" fmla="*/ 334530 h 13724551"/>
                <a:gd name="connsiteX57" fmla="*/ 9761321 w 16682562"/>
                <a:gd name="connsiteY57" fmla="*/ 4249039 h 13724551"/>
                <a:gd name="connsiteX58" fmla="*/ 10152517 w 16682562"/>
                <a:gd name="connsiteY58" fmla="*/ 5047309 h 13724551"/>
                <a:gd name="connsiteX59" fmla="*/ 11109603 w 16682562"/>
                <a:gd name="connsiteY59" fmla="*/ 5418783 h 13724551"/>
                <a:gd name="connsiteX60" fmla="*/ 11919572 w 16682562"/>
                <a:gd name="connsiteY60" fmla="*/ 5692305 h 13724551"/>
                <a:gd name="connsiteX61" fmla="*/ 12868275 w 16682562"/>
                <a:gd name="connsiteY61" fmla="*/ 5447094 h 13724551"/>
                <a:gd name="connsiteX62" fmla="*/ 13844296 w 16682562"/>
                <a:gd name="connsiteY62" fmla="*/ 4845259 h 13724551"/>
                <a:gd name="connsiteX63" fmla="*/ 13886291 w 16682562"/>
                <a:gd name="connsiteY63" fmla="*/ 4010891 h 13724551"/>
                <a:gd name="connsiteX64" fmla="*/ 14370431 w 16682562"/>
                <a:gd name="connsiteY64" fmla="*/ 4519243 h 13724551"/>
                <a:gd name="connsiteX65" fmla="*/ 15323320 w 16682562"/>
                <a:gd name="connsiteY65" fmla="*/ 4617516 h 13724551"/>
                <a:gd name="connsiteX66" fmla="*/ 16350939 w 16682562"/>
                <a:gd name="connsiteY66" fmla="*/ 4742375 h 13724551"/>
                <a:gd name="connsiteX67" fmla="*/ 16362364 w 16682562"/>
                <a:gd name="connsiteY67" fmla="*/ 5049655 h 13724551"/>
                <a:gd name="connsiteX68" fmla="*/ 16682563 w 16682562"/>
                <a:gd name="connsiteY68"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13671776 w 16682562"/>
                <a:gd name="connsiteY53" fmla="*/ 1844415 h 13724551"/>
                <a:gd name="connsiteX54" fmla="*/ 14123886 w 16682562"/>
                <a:gd name="connsiteY54" fmla="*/ 1546062 h 13724551"/>
                <a:gd name="connsiteX55" fmla="*/ 14259509 w 16682562"/>
                <a:gd name="connsiteY55" fmla="*/ 976461 h 13724551"/>
                <a:gd name="connsiteX56" fmla="*/ 9761321 w 16682562"/>
                <a:gd name="connsiteY56" fmla="*/ 4249039 h 13724551"/>
                <a:gd name="connsiteX57" fmla="*/ 10152517 w 16682562"/>
                <a:gd name="connsiteY57" fmla="*/ 5047309 h 13724551"/>
                <a:gd name="connsiteX58" fmla="*/ 11109603 w 16682562"/>
                <a:gd name="connsiteY58" fmla="*/ 5418783 h 13724551"/>
                <a:gd name="connsiteX59" fmla="*/ 11919572 w 16682562"/>
                <a:gd name="connsiteY59" fmla="*/ 5692305 h 13724551"/>
                <a:gd name="connsiteX60" fmla="*/ 12868275 w 16682562"/>
                <a:gd name="connsiteY60" fmla="*/ 5447094 h 13724551"/>
                <a:gd name="connsiteX61" fmla="*/ 13844296 w 16682562"/>
                <a:gd name="connsiteY61" fmla="*/ 4845259 h 13724551"/>
                <a:gd name="connsiteX62" fmla="*/ 13886291 w 16682562"/>
                <a:gd name="connsiteY62" fmla="*/ 4010891 h 13724551"/>
                <a:gd name="connsiteX63" fmla="*/ 14370431 w 16682562"/>
                <a:gd name="connsiteY63" fmla="*/ 4519243 h 13724551"/>
                <a:gd name="connsiteX64" fmla="*/ 15323320 w 16682562"/>
                <a:gd name="connsiteY64" fmla="*/ 4617516 h 13724551"/>
                <a:gd name="connsiteX65" fmla="*/ 16350939 w 16682562"/>
                <a:gd name="connsiteY65" fmla="*/ 4742375 h 13724551"/>
                <a:gd name="connsiteX66" fmla="*/ 16362364 w 16682562"/>
                <a:gd name="connsiteY66" fmla="*/ 5049655 h 13724551"/>
                <a:gd name="connsiteX67" fmla="*/ 16682563 w 16682562"/>
                <a:gd name="connsiteY67"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13671776 w 16682562"/>
                <a:gd name="connsiteY53" fmla="*/ 1844415 h 13724551"/>
                <a:gd name="connsiteX54" fmla="*/ 14123886 w 16682562"/>
                <a:gd name="connsiteY54" fmla="*/ 1546062 h 13724551"/>
                <a:gd name="connsiteX55" fmla="*/ 9761321 w 16682562"/>
                <a:gd name="connsiteY55" fmla="*/ 4249039 h 13724551"/>
                <a:gd name="connsiteX56" fmla="*/ 10152517 w 16682562"/>
                <a:gd name="connsiteY56" fmla="*/ 5047309 h 13724551"/>
                <a:gd name="connsiteX57" fmla="*/ 11109603 w 16682562"/>
                <a:gd name="connsiteY57" fmla="*/ 5418783 h 13724551"/>
                <a:gd name="connsiteX58" fmla="*/ 11919572 w 16682562"/>
                <a:gd name="connsiteY58" fmla="*/ 5692305 h 13724551"/>
                <a:gd name="connsiteX59" fmla="*/ 12868275 w 16682562"/>
                <a:gd name="connsiteY59" fmla="*/ 5447094 h 13724551"/>
                <a:gd name="connsiteX60" fmla="*/ 13844296 w 16682562"/>
                <a:gd name="connsiteY60" fmla="*/ 4845259 h 13724551"/>
                <a:gd name="connsiteX61" fmla="*/ 13886291 w 16682562"/>
                <a:gd name="connsiteY61" fmla="*/ 4010891 h 13724551"/>
                <a:gd name="connsiteX62" fmla="*/ 14370431 w 16682562"/>
                <a:gd name="connsiteY62" fmla="*/ 4519243 h 13724551"/>
                <a:gd name="connsiteX63" fmla="*/ 15323320 w 16682562"/>
                <a:gd name="connsiteY63" fmla="*/ 4617516 h 13724551"/>
                <a:gd name="connsiteX64" fmla="*/ 16350939 w 16682562"/>
                <a:gd name="connsiteY64" fmla="*/ 4742375 h 13724551"/>
                <a:gd name="connsiteX65" fmla="*/ 16362364 w 16682562"/>
                <a:gd name="connsiteY65" fmla="*/ 5049655 h 13724551"/>
                <a:gd name="connsiteX66" fmla="*/ 16682563 w 16682562"/>
                <a:gd name="connsiteY66"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13671776 w 16682562"/>
                <a:gd name="connsiteY53" fmla="*/ 1844415 h 13724551"/>
                <a:gd name="connsiteX54" fmla="*/ 9761321 w 16682562"/>
                <a:gd name="connsiteY54" fmla="*/ 4249039 h 13724551"/>
                <a:gd name="connsiteX55" fmla="*/ 10152517 w 16682562"/>
                <a:gd name="connsiteY55" fmla="*/ 5047309 h 13724551"/>
                <a:gd name="connsiteX56" fmla="*/ 11109603 w 16682562"/>
                <a:gd name="connsiteY56" fmla="*/ 5418783 h 13724551"/>
                <a:gd name="connsiteX57" fmla="*/ 11919572 w 16682562"/>
                <a:gd name="connsiteY57" fmla="*/ 5692305 h 13724551"/>
                <a:gd name="connsiteX58" fmla="*/ 12868275 w 16682562"/>
                <a:gd name="connsiteY58" fmla="*/ 5447094 h 13724551"/>
                <a:gd name="connsiteX59" fmla="*/ 13844296 w 16682562"/>
                <a:gd name="connsiteY59" fmla="*/ 4845259 h 13724551"/>
                <a:gd name="connsiteX60" fmla="*/ 13886291 w 16682562"/>
                <a:gd name="connsiteY60" fmla="*/ 4010891 h 13724551"/>
                <a:gd name="connsiteX61" fmla="*/ 14370431 w 16682562"/>
                <a:gd name="connsiteY61" fmla="*/ 4519243 h 13724551"/>
                <a:gd name="connsiteX62" fmla="*/ 15323320 w 16682562"/>
                <a:gd name="connsiteY62" fmla="*/ 4617516 h 13724551"/>
                <a:gd name="connsiteX63" fmla="*/ 16350939 w 16682562"/>
                <a:gd name="connsiteY63" fmla="*/ 4742375 h 13724551"/>
                <a:gd name="connsiteX64" fmla="*/ 16362364 w 16682562"/>
                <a:gd name="connsiteY64" fmla="*/ 5049655 h 13724551"/>
                <a:gd name="connsiteX65" fmla="*/ 16682563 w 16682562"/>
                <a:gd name="connsiteY65"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9761321 w 16682562"/>
                <a:gd name="connsiteY53" fmla="*/ 4249039 h 13724551"/>
                <a:gd name="connsiteX54" fmla="*/ 10152517 w 16682562"/>
                <a:gd name="connsiteY54" fmla="*/ 5047309 h 13724551"/>
                <a:gd name="connsiteX55" fmla="*/ 11109603 w 16682562"/>
                <a:gd name="connsiteY55" fmla="*/ 5418783 h 13724551"/>
                <a:gd name="connsiteX56" fmla="*/ 11919572 w 16682562"/>
                <a:gd name="connsiteY56" fmla="*/ 5692305 h 13724551"/>
                <a:gd name="connsiteX57" fmla="*/ 12868275 w 16682562"/>
                <a:gd name="connsiteY57" fmla="*/ 5447094 h 13724551"/>
                <a:gd name="connsiteX58" fmla="*/ 13844296 w 16682562"/>
                <a:gd name="connsiteY58" fmla="*/ 4845259 h 13724551"/>
                <a:gd name="connsiteX59" fmla="*/ 13886291 w 16682562"/>
                <a:gd name="connsiteY59" fmla="*/ 4010891 h 13724551"/>
                <a:gd name="connsiteX60" fmla="*/ 14370431 w 16682562"/>
                <a:gd name="connsiteY60" fmla="*/ 4519243 h 13724551"/>
                <a:gd name="connsiteX61" fmla="*/ 15323320 w 16682562"/>
                <a:gd name="connsiteY61" fmla="*/ 4617516 h 13724551"/>
                <a:gd name="connsiteX62" fmla="*/ 16350939 w 16682562"/>
                <a:gd name="connsiteY62" fmla="*/ 4742375 h 13724551"/>
                <a:gd name="connsiteX63" fmla="*/ 16362364 w 16682562"/>
                <a:gd name="connsiteY63" fmla="*/ 5049655 h 13724551"/>
                <a:gd name="connsiteX64" fmla="*/ 16682563 w 16682562"/>
                <a:gd name="connsiteY64"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8216041 w 16682562"/>
                <a:gd name="connsiteY51" fmla="*/ 3870010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8524896 w 16682562"/>
                <a:gd name="connsiteY51" fmla="*/ 4654291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8348814 w 16682562"/>
                <a:gd name="connsiteY50" fmla="*/ 3770198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9078849 w 16682562"/>
                <a:gd name="connsiteY50" fmla="*/ 3798207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8463027 w 16682562"/>
                <a:gd name="connsiteY49" fmla="*/ 3408723 h 13724551"/>
                <a:gd name="connsiteX50" fmla="*/ 9078849 w 16682562"/>
                <a:gd name="connsiteY50" fmla="*/ 3798207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8856118 w 16682562"/>
                <a:gd name="connsiteY49" fmla="*/ 3184643 h 13724551"/>
                <a:gd name="connsiteX50" fmla="*/ 9078849 w 16682562"/>
                <a:gd name="connsiteY50" fmla="*/ 3798207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8856118 w 16682562"/>
                <a:gd name="connsiteY48" fmla="*/ 3184643 h 13724551"/>
                <a:gd name="connsiteX49" fmla="*/ 9078849 w 16682562"/>
                <a:gd name="connsiteY49" fmla="*/ 3798207 h 13724551"/>
                <a:gd name="connsiteX50" fmla="*/ 9086459 w 16682562"/>
                <a:gd name="connsiteY50" fmla="*/ 4346185 h 13724551"/>
                <a:gd name="connsiteX51" fmla="*/ 9761321 w 16682562"/>
                <a:gd name="connsiteY51" fmla="*/ 4249039 h 13724551"/>
                <a:gd name="connsiteX52" fmla="*/ 10152517 w 16682562"/>
                <a:gd name="connsiteY52" fmla="*/ 5047309 h 13724551"/>
                <a:gd name="connsiteX53" fmla="*/ 11109603 w 16682562"/>
                <a:gd name="connsiteY53" fmla="*/ 5418783 h 13724551"/>
                <a:gd name="connsiteX54" fmla="*/ 11919572 w 16682562"/>
                <a:gd name="connsiteY54" fmla="*/ 5692305 h 13724551"/>
                <a:gd name="connsiteX55" fmla="*/ 12868275 w 16682562"/>
                <a:gd name="connsiteY55" fmla="*/ 5447094 h 13724551"/>
                <a:gd name="connsiteX56" fmla="*/ 13844296 w 16682562"/>
                <a:gd name="connsiteY56" fmla="*/ 4845259 h 13724551"/>
                <a:gd name="connsiteX57" fmla="*/ 13886291 w 16682562"/>
                <a:gd name="connsiteY57" fmla="*/ 4010891 h 13724551"/>
                <a:gd name="connsiteX58" fmla="*/ 14370431 w 16682562"/>
                <a:gd name="connsiteY58" fmla="*/ 4519243 h 13724551"/>
                <a:gd name="connsiteX59" fmla="*/ 15323320 w 16682562"/>
                <a:gd name="connsiteY59" fmla="*/ 4617516 h 13724551"/>
                <a:gd name="connsiteX60" fmla="*/ 16350939 w 16682562"/>
                <a:gd name="connsiteY60" fmla="*/ 4742375 h 13724551"/>
                <a:gd name="connsiteX61" fmla="*/ 16362364 w 16682562"/>
                <a:gd name="connsiteY61" fmla="*/ 5049655 h 13724551"/>
                <a:gd name="connsiteX62" fmla="*/ 16682563 w 16682562"/>
                <a:gd name="connsiteY62" fmla="*/ 5487558 h 13724551"/>
                <a:gd name="connsiteX0" fmla="*/ 16682563 w 16682562"/>
                <a:gd name="connsiteY0" fmla="*/ 5415225 h 13652218"/>
                <a:gd name="connsiteX1" fmla="*/ 16432262 w 16682562"/>
                <a:gd name="connsiteY1" fmla="*/ 6442611 h 13652218"/>
                <a:gd name="connsiteX2" fmla="*/ 16106317 w 16682562"/>
                <a:gd name="connsiteY2" fmla="*/ 6983915 h 13652218"/>
                <a:gd name="connsiteX3" fmla="*/ 16305649 w 16682562"/>
                <a:gd name="connsiteY3" fmla="*/ 7371244 h 13652218"/>
                <a:gd name="connsiteX4" fmla="*/ 16287189 w 16682562"/>
                <a:gd name="connsiteY4" fmla="*/ 7767851 h 13652218"/>
                <a:gd name="connsiteX5" fmla="*/ 16372801 w 16682562"/>
                <a:gd name="connsiteY5" fmla="*/ 8334116 h 13652218"/>
                <a:gd name="connsiteX6" fmla="*/ 16070155 w 16682562"/>
                <a:gd name="connsiteY6" fmla="*/ 8554502 h 13652218"/>
                <a:gd name="connsiteX7" fmla="*/ 15805690 w 16682562"/>
                <a:gd name="connsiteY7" fmla="*/ 9048693 h 13652218"/>
                <a:gd name="connsiteX8" fmla="*/ 15195097 w 16682562"/>
                <a:gd name="connsiteY8" fmla="*/ 8710436 h 13652218"/>
                <a:gd name="connsiteX9" fmla="*/ 15011380 w 16682562"/>
                <a:gd name="connsiteY9" fmla="*/ 9665286 h 13652218"/>
                <a:gd name="connsiteX10" fmla="*/ 14908430 w 16682562"/>
                <a:gd name="connsiteY10" fmla="*/ 10554181 h 13652218"/>
                <a:gd name="connsiteX11" fmla="*/ 14904684 w 16682562"/>
                <a:gd name="connsiteY11" fmla="*/ 11377620 h 13652218"/>
                <a:gd name="connsiteX12" fmla="*/ 14929927 w 16682562"/>
                <a:gd name="connsiteY12" fmla="*/ 13008540 h 13652218"/>
                <a:gd name="connsiteX13" fmla="*/ 12952786 w 16682562"/>
                <a:gd name="connsiteY13" fmla="*/ 13459293 h 13652218"/>
                <a:gd name="connsiteX14" fmla="*/ 11934663 w 16682562"/>
                <a:gd name="connsiteY14" fmla="*/ 13507543 h 13652218"/>
                <a:gd name="connsiteX15" fmla="*/ 8506848 w 16682562"/>
                <a:gd name="connsiteY15" fmla="*/ 13652218 h 13652218"/>
                <a:gd name="connsiteX16" fmla="*/ 7985095 w 16682562"/>
                <a:gd name="connsiteY16" fmla="*/ 13007136 h 13652218"/>
                <a:gd name="connsiteX17" fmla="*/ 7400308 w 16682562"/>
                <a:gd name="connsiteY17" fmla="*/ 12976991 h 13652218"/>
                <a:gd name="connsiteX18" fmla="*/ 6972273 w 16682562"/>
                <a:gd name="connsiteY18" fmla="*/ 13248288 h 13652218"/>
                <a:gd name="connsiteX19" fmla="*/ 5181729 w 16682562"/>
                <a:gd name="connsiteY19" fmla="*/ 13163889 h 13652218"/>
                <a:gd name="connsiteX20" fmla="*/ 4397998 w 16682562"/>
                <a:gd name="connsiteY20" fmla="*/ 12530872 h 13652218"/>
                <a:gd name="connsiteX21" fmla="*/ 2908896 w 16682562"/>
                <a:gd name="connsiteY21" fmla="*/ 11723018 h 13652218"/>
                <a:gd name="connsiteX22" fmla="*/ 1263043 w 16682562"/>
                <a:gd name="connsiteY22" fmla="*/ 11011625 h 13652218"/>
                <a:gd name="connsiteX23" fmla="*/ 485320 w 16682562"/>
                <a:gd name="connsiteY23" fmla="*/ 10559468 h 13652218"/>
                <a:gd name="connsiteX24" fmla="*/ 0 w 16682562"/>
                <a:gd name="connsiteY24" fmla="*/ 10266356 h 13652218"/>
                <a:gd name="connsiteX25" fmla="*/ 1003686 w 16682562"/>
                <a:gd name="connsiteY25" fmla="*/ 9520391 h 13652218"/>
                <a:gd name="connsiteX26" fmla="*/ 2902551 w 16682562"/>
                <a:gd name="connsiteY26" fmla="*/ 8335992 h 13652218"/>
                <a:gd name="connsiteX27" fmla="*/ 2558940 w 16682562"/>
                <a:gd name="connsiteY27" fmla="*/ 7802561 h 13652218"/>
                <a:gd name="connsiteX28" fmla="*/ 2402508 w 16682562"/>
                <a:gd name="connsiteY28" fmla="*/ 7115478 h 13652218"/>
                <a:gd name="connsiteX29" fmla="*/ 2730740 w 16682562"/>
                <a:gd name="connsiteY29" fmla="*/ 7088307 h 13652218"/>
                <a:gd name="connsiteX30" fmla="*/ 2947754 w 16682562"/>
                <a:gd name="connsiteY30" fmla="*/ 6618162 h 13652218"/>
                <a:gd name="connsiteX31" fmla="*/ 3499325 w 16682562"/>
                <a:gd name="connsiteY31" fmla="*/ 6175145 h 13652218"/>
                <a:gd name="connsiteX32" fmla="*/ 3680166 w 16682562"/>
                <a:gd name="connsiteY32" fmla="*/ 5298147 h 13652218"/>
                <a:gd name="connsiteX33" fmla="*/ 4186528 w 16682562"/>
                <a:gd name="connsiteY33" fmla="*/ 5307183 h 13652218"/>
                <a:gd name="connsiteX34" fmla="*/ 4837569 w 16682562"/>
                <a:gd name="connsiteY34" fmla="*/ 5777333 h 13652218"/>
                <a:gd name="connsiteX35" fmla="*/ 5352976 w 16682562"/>
                <a:gd name="connsiteY35" fmla="*/ 5695966 h 13652218"/>
                <a:gd name="connsiteX36" fmla="*/ 5741786 w 16682562"/>
                <a:gd name="connsiteY36" fmla="*/ 5325271 h 13652218"/>
                <a:gd name="connsiteX37" fmla="*/ 6157723 w 16682562"/>
                <a:gd name="connsiteY37" fmla="*/ 5162530 h 13652218"/>
                <a:gd name="connsiteX38" fmla="*/ 6745471 w 16682562"/>
                <a:gd name="connsiteY38" fmla="*/ 4592937 h 13652218"/>
                <a:gd name="connsiteX39" fmla="*/ 6890140 w 16682562"/>
                <a:gd name="connsiteY39" fmla="*/ 3743061 h 13652218"/>
                <a:gd name="connsiteX40" fmla="*/ 7568305 w 16682562"/>
                <a:gd name="connsiteY40" fmla="*/ 3173467 h 13652218"/>
                <a:gd name="connsiteX41" fmla="*/ 8137967 w 16682562"/>
                <a:gd name="connsiteY41" fmla="*/ 2730446 h 13652218"/>
                <a:gd name="connsiteX42" fmla="*/ 8463480 w 16682562"/>
                <a:gd name="connsiteY42" fmla="*/ 1925779 h 13652218"/>
                <a:gd name="connsiteX43" fmla="*/ 9024093 w 16682562"/>
                <a:gd name="connsiteY43" fmla="*/ 1573172 h 13652218"/>
                <a:gd name="connsiteX44" fmla="*/ 9675138 w 16682562"/>
                <a:gd name="connsiteY44" fmla="*/ 1220570 h 13652218"/>
                <a:gd name="connsiteX45" fmla="*/ 9558580 w 16682562"/>
                <a:gd name="connsiteY45" fmla="*/ 672286 h 13652218"/>
                <a:gd name="connsiteX46" fmla="*/ 10353296 w 16682562"/>
                <a:gd name="connsiteY46" fmla="*/ 2 h 13652218"/>
                <a:gd name="connsiteX47" fmla="*/ 8856118 w 16682562"/>
                <a:gd name="connsiteY47" fmla="*/ 3112310 h 13652218"/>
                <a:gd name="connsiteX48" fmla="*/ 9078849 w 16682562"/>
                <a:gd name="connsiteY48" fmla="*/ 3725874 h 13652218"/>
                <a:gd name="connsiteX49" fmla="*/ 9086459 w 16682562"/>
                <a:gd name="connsiteY49" fmla="*/ 4273852 h 13652218"/>
                <a:gd name="connsiteX50" fmla="*/ 9761321 w 16682562"/>
                <a:gd name="connsiteY50" fmla="*/ 4176706 h 13652218"/>
                <a:gd name="connsiteX51" fmla="*/ 10152517 w 16682562"/>
                <a:gd name="connsiteY51" fmla="*/ 4974976 h 13652218"/>
                <a:gd name="connsiteX52" fmla="*/ 11109603 w 16682562"/>
                <a:gd name="connsiteY52" fmla="*/ 5346450 h 13652218"/>
                <a:gd name="connsiteX53" fmla="*/ 11919572 w 16682562"/>
                <a:gd name="connsiteY53" fmla="*/ 5619972 h 13652218"/>
                <a:gd name="connsiteX54" fmla="*/ 12868275 w 16682562"/>
                <a:gd name="connsiteY54" fmla="*/ 5374761 h 13652218"/>
                <a:gd name="connsiteX55" fmla="*/ 13844296 w 16682562"/>
                <a:gd name="connsiteY55" fmla="*/ 4772926 h 13652218"/>
                <a:gd name="connsiteX56" fmla="*/ 13886291 w 16682562"/>
                <a:gd name="connsiteY56" fmla="*/ 3938558 h 13652218"/>
                <a:gd name="connsiteX57" fmla="*/ 14370431 w 16682562"/>
                <a:gd name="connsiteY57" fmla="*/ 4446910 h 13652218"/>
                <a:gd name="connsiteX58" fmla="*/ 15323320 w 16682562"/>
                <a:gd name="connsiteY58" fmla="*/ 4545183 h 13652218"/>
                <a:gd name="connsiteX59" fmla="*/ 16350939 w 16682562"/>
                <a:gd name="connsiteY59" fmla="*/ 4670042 h 13652218"/>
                <a:gd name="connsiteX60" fmla="*/ 16362364 w 16682562"/>
                <a:gd name="connsiteY60" fmla="*/ 4977322 h 13652218"/>
                <a:gd name="connsiteX61" fmla="*/ 16682563 w 16682562"/>
                <a:gd name="connsiteY61" fmla="*/ 5415225 h 13652218"/>
                <a:gd name="connsiteX0" fmla="*/ 16682563 w 16682562"/>
                <a:gd name="connsiteY0" fmla="*/ 4742941 h 12979934"/>
                <a:gd name="connsiteX1" fmla="*/ 16432262 w 16682562"/>
                <a:gd name="connsiteY1" fmla="*/ 5770327 h 12979934"/>
                <a:gd name="connsiteX2" fmla="*/ 16106317 w 16682562"/>
                <a:gd name="connsiteY2" fmla="*/ 6311631 h 12979934"/>
                <a:gd name="connsiteX3" fmla="*/ 16305649 w 16682562"/>
                <a:gd name="connsiteY3" fmla="*/ 6698960 h 12979934"/>
                <a:gd name="connsiteX4" fmla="*/ 16287189 w 16682562"/>
                <a:gd name="connsiteY4" fmla="*/ 7095567 h 12979934"/>
                <a:gd name="connsiteX5" fmla="*/ 16372801 w 16682562"/>
                <a:gd name="connsiteY5" fmla="*/ 7661832 h 12979934"/>
                <a:gd name="connsiteX6" fmla="*/ 16070155 w 16682562"/>
                <a:gd name="connsiteY6" fmla="*/ 7882218 h 12979934"/>
                <a:gd name="connsiteX7" fmla="*/ 15805690 w 16682562"/>
                <a:gd name="connsiteY7" fmla="*/ 8376409 h 12979934"/>
                <a:gd name="connsiteX8" fmla="*/ 15195097 w 16682562"/>
                <a:gd name="connsiteY8" fmla="*/ 8038152 h 12979934"/>
                <a:gd name="connsiteX9" fmla="*/ 15011380 w 16682562"/>
                <a:gd name="connsiteY9" fmla="*/ 8993002 h 12979934"/>
                <a:gd name="connsiteX10" fmla="*/ 14908430 w 16682562"/>
                <a:gd name="connsiteY10" fmla="*/ 9881897 h 12979934"/>
                <a:gd name="connsiteX11" fmla="*/ 14904684 w 16682562"/>
                <a:gd name="connsiteY11" fmla="*/ 10705336 h 12979934"/>
                <a:gd name="connsiteX12" fmla="*/ 14929927 w 16682562"/>
                <a:gd name="connsiteY12" fmla="*/ 12336256 h 12979934"/>
                <a:gd name="connsiteX13" fmla="*/ 12952786 w 16682562"/>
                <a:gd name="connsiteY13" fmla="*/ 12787009 h 12979934"/>
                <a:gd name="connsiteX14" fmla="*/ 11934663 w 16682562"/>
                <a:gd name="connsiteY14" fmla="*/ 12835259 h 12979934"/>
                <a:gd name="connsiteX15" fmla="*/ 8506848 w 16682562"/>
                <a:gd name="connsiteY15" fmla="*/ 12979934 h 12979934"/>
                <a:gd name="connsiteX16" fmla="*/ 7985095 w 16682562"/>
                <a:gd name="connsiteY16" fmla="*/ 12334852 h 12979934"/>
                <a:gd name="connsiteX17" fmla="*/ 7400308 w 16682562"/>
                <a:gd name="connsiteY17" fmla="*/ 12304707 h 12979934"/>
                <a:gd name="connsiteX18" fmla="*/ 6972273 w 16682562"/>
                <a:gd name="connsiteY18" fmla="*/ 12576004 h 12979934"/>
                <a:gd name="connsiteX19" fmla="*/ 5181729 w 16682562"/>
                <a:gd name="connsiteY19" fmla="*/ 12491605 h 12979934"/>
                <a:gd name="connsiteX20" fmla="*/ 4397998 w 16682562"/>
                <a:gd name="connsiteY20" fmla="*/ 11858588 h 12979934"/>
                <a:gd name="connsiteX21" fmla="*/ 2908896 w 16682562"/>
                <a:gd name="connsiteY21" fmla="*/ 11050734 h 12979934"/>
                <a:gd name="connsiteX22" fmla="*/ 1263043 w 16682562"/>
                <a:gd name="connsiteY22" fmla="*/ 10339341 h 12979934"/>
                <a:gd name="connsiteX23" fmla="*/ 485320 w 16682562"/>
                <a:gd name="connsiteY23" fmla="*/ 9887184 h 12979934"/>
                <a:gd name="connsiteX24" fmla="*/ 0 w 16682562"/>
                <a:gd name="connsiteY24" fmla="*/ 9594072 h 12979934"/>
                <a:gd name="connsiteX25" fmla="*/ 1003686 w 16682562"/>
                <a:gd name="connsiteY25" fmla="*/ 8848107 h 12979934"/>
                <a:gd name="connsiteX26" fmla="*/ 2902551 w 16682562"/>
                <a:gd name="connsiteY26" fmla="*/ 7663708 h 12979934"/>
                <a:gd name="connsiteX27" fmla="*/ 2558940 w 16682562"/>
                <a:gd name="connsiteY27" fmla="*/ 7130277 h 12979934"/>
                <a:gd name="connsiteX28" fmla="*/ 2402508 w 16682562"/>
                <a:gd name="connsiteY28" fmla="*/ 6443194 h 12979934"/>
                <a:gd name="connsiteX29" fmla="*/ 2730740 w 16682562"/>
                <a:gd name="connsiteY29" fmla="*/ 6416023 h 12979934"/>
                <a:gd name="connsiteX30" fmla="*/ 2947754 w 16682562"/>
                <a:gd name="connsiteY30" fmla="*/ 5945878 h 12979934"/>
                <a:gd name="connsiteX31" fmla="*/ 3499325 w 16682562"/>
                <a:gd name="connsiteY31" fmla="*/ 5502861 h 12979934"/>
                <a:gd name="connsiteX32" fmla="*/ 3680166 w 16682562"/>
                <a:gd name="connsiteY32" fmla="*/ 4625863 h 12979934"/>
                <a:gd name="connsiteX33" fmla="*/ 4186528 w 16682562"/>
                <a:gd name="connsiteY33" fmla="*/ 4634899 h 12979934"/>
                <a:gd name="connsiteX34" fmla="*/ 4837569 w 16682562"/>
                <a:gd name="connsiteY34" fmla="*/ 5105049 h 12979934"/>
                <a:gd name="connsiteX35" fmla="*/ 5352976 w 16682562"/>
                <a:gd name="connsiteY35" fmla="*/ 5023682 h 12979934"/>
                <a:gd name="connsiteX36" fmla="*/ 5741786 w 16682562"/>
                <a:gd name="connsiteY36" fmla="*/ 4652987 h 12979934"/>
                <a:gd name="connsiteX37" fmla="*/ 6157723 w 16682562"/>
                <a:gd name="connsiteY37" fmla="*/ 4490246 h 12979934"/>
                <a:gd name="connsiteX38" fmla="*/ 6745471 w 16682562"/>
                <a:gd name="connsiteY38" fmla="*/ 3920653 h 12979934"/>
                <a:gd name="connsiteX39" fmla="*/ 6890140 w 16682562"/>
                <a:gd name="connsiteY39" fmla="*/ 3070777 h 12979934"/>
                <a:gd name="connsiteX40" fmla="*/ 7568305 w 16682562"/>
                <a:gd name="connsiteY40" fmla="*/ 2501183 h 12979934"/>
                <a:gd name="connsiteX41" fmla="*/ 8137967 w 16682562"/>
                <a:gd name="connsiteY41" fmla="*/ 2058162 h 12979934"/>
                <a:gd name="connsiteX42" fmla="*/ 8463480 w 16682562"/>
                <a:gd name="connsiteY42" fmla="*/ 1253495 h 12979934"/>
                <a:gd name="connsiteX43" fmla="*/ 9024093 w 16682562"/>
                <a:gd name="connsiteY43" fmla="*/ 900888 h 12979934"/>
                <a:gd name="connsiteX44" fmla="*/ 9675138 w 16682562"/>
                <a:gd name="connsiteY44" fmla="*/ 548286 h 12979934"/>
                <a:gd name="connsiteX45" fmla="*/ 9558580 w 16682562"/>
                <a:gd name="connsiteY45" fmla="*/ 2 h 12979934"/>
                <a:gd name="connsiteX46" fmla="*/ 8856118 w 16682562"/>
                <a:gd name="connsiteY46" fmla="*/ 2440026 h 12979934"/>
                <a:gd name="connsiteX47" fmla="*/ 9078849 w 16682562"/>
                <a:gd name="connsiteY47" fmla="*/ 3053590 h 12979934"/>
                <a:gd name="connsiteX48" fmla="*/ 9086459 w 16682562"/>
                <a:gd name="connsiteY48" fmla="*/ 3601568 h 12979934"/>
                <a:gd name="connsiteX49" fmla="*/ 9761321 w 16682562"/>
                <a:gd name="connsiteY49" fmla="*/ 3504422 h 12979934"/>
                <a:gd name="connsiteX50" fmla="*/ 10152517 w 16682562"/>
                <a:gd name="connsiteY50" fmla="*/ 4302692 h 12979934"/>
                <a:gd name="connsiteX51" fmla="*/ 11109603 w 16682562"/>
                <a:gd name="connsiteY51" fmla="*/ 4674166 h 12979934"/>
                <a:gd name="connsiteX52" fmla="*/ 11919572 w 16682562"/>
                <a:gd name="connsiteY52" fmla="*/ 4947688 h 12979934"/>
                <a:gd name="connsiteX53" fmla="*/ 12868275 w 16682562"/>
                <a:gd name="connsiteY53" fmla="*/ 4702477 h 12979934"/>
                <a:gd name="connsiteX54" fmla="*/ 13844296 w 16682562"/>
                <a:gd name="connsiteY54" fmla="*/ 4100642 h 12979934"/>
                <a:gd name="connsiteX55" fmla="*/ 13886291 w 16682562"/>
                <a:gd name="connsiteY55" fmla="*/ 3266274 h 12979934"/>
                <a:gd name="connsiteX56" fmla="*/ 14370431 w 16682562"/>
                <a:gd name="connsiteY56" fmla="*/ 3774626 h 12979934"/>
                <a:gd name="connsiteX57" fmla="*/ 15323320 w 16682562"/>
                <a:gd name="connsiteY57" fmla="*/ 3872899 h 12979934"/>
                <a:gd name="connsiteX58" fmla="*/ 16350939 w 16682562"/>
                <a:gd name="connsiteY58" fmla="*/ 3997758 h 12979934"/>
                <a:gd name="connsiteX59" fmla="*/ 16362364 w 16682562"/>
                <a:gd name="connsiteY59" fmla="*/ 4305038 h 12979934"/>
                <a:gd name="connsiteX60" fmla="*/ 16682563 w 16682562"/>
                <a:gd name="connsiteY60" fmla="*/ 4742941 h 12979934"/>
                <a:gd name="connsiteX0" fmla="*/ 16682563 w 16682562"/>
                <a:gd name="connsiteY0" fmla="*/ 4194654 h 12431647"/>
                <a:gd name="connsiteX1" fmla="*/ 16432262 w 16682562"/>
                <a:gd name="connsiteY1" fmla="*/ 5222040 h 12431647"/>
                <a:gd name="connsiteX2" fmla="*/ 16106317 w 16682562"/>
                <a:gd name="connsiteY2" fmla="*/ 5763344 h 12431647"/>
                <a:gd name="connsiteX3" fmla="*/ 16305649 w 16682562"/>
                <a:gd name="connsiteY3" fmla="*/ 6150673 h 12431647"/>
                <a:gd name="connsiteX4" fmla="*/ 16287189 w 16682562"/>
                <a:gd name="connsiteY4" fmla="*/ 6547280 h 12431647"/>
                <a:gd name="connsiteX5" fmla="*/ 16372801 w 16682562"/>
                <a:gd name="connsiteY5" fmla="*/ 7113545 h 12431647"/>
                <a:gd name="connsiteX6" fmla="*/ 16070155 w 16682562"/>
                <a:gd name="connsiteY6" fmla="*/ 7333931 h 12431647"/>
                <a:gd name="connsiteX7" fmla="*/ 15805690 w 16682562"/>
                <a:gd name="connsiteY7" fmla="*/ 7828122 h 12431647"/>
                <a:gd name="connsiteX8" fmla="*/ 15195097 w 16682562"/>
                <a:gd name="connsiteY8" fmla="*/ 7489865 h 12431647"/>
                <a:gd name="connsiteX9" fmla="*/ 15011380 w 16682562"/>
                <a:gd name="connsiteY9" fmla="*/ 8444715 h 12431647"/>
                <a:gd name="connsiteX10" fmla="*/ 14908430 w 16682562"/>
                <a:gd name="connsiteY10" fmla="*/ 9333610 h 12431647"/>
                <a:gd name="connsiteX11" fmla="*/ 14904684 w 16682562"/>
                <a:gd name="connsiteY11" fmla="*/ 10157049 h 12431647"/>
                <a:gd name="connsiteX12" fmla="*/ 14929927 w 16682562"/>
                <a:gd name="connsiteY12" fmla="*/ 11787969 h 12431647"/>
                <a:gd name="connsiteX13" fmla="*/ 12952786 w 16682562"/>
                <a:gd name="connsiteY13" fmla="*/ 12238722 h 12431647"/>
                <a:gd name="connsiteX14" fmla="*/ 11934663 w 16682562"/>
                <a:gd name="connsiteY14" fmla="*/ 12286972 h 12431647"/>
                <a:gd name="connsiteX15" fmla="*/ 8506848 w 16682562"/>
                <a:gd name="connsiteY15" fmla="*/ 12431647 h 12431647"/>
                <a:gd name="connsiteX16" fmla="*/ 7985095 w 16682562"/>
                <a:gd name="connsiteY16" fmla="*/ 11786565 h 12431647"/>
                <a:gd name="connsiteX17" fmla="*/ 7400308 w 16682562"/>
                <a:gd name="connsiteY17" fmla="*/ 11756420 h 12431647"/>
                <a:gd name="connsiteX18" fmla="*/ 6972273 w 16682562"/>
                <a:gd name="connsiteY18" fmla="*/ 12027717 h 12431647"/>
                <a:gd name="connsiteX19" fmla="*/ 5181729 w 16682562"/>
                <a:gd name="connsiteY19" fmla="*/ 11943318 h 12431647"/>
                <a:gd name="connsiteX20" fmla="*/ 4397998 w 16682562"/>
                <a:gd name="connsiteY20" fmla="*/ 11310301 h 12431647"/>
                <a:gd name="connsiteX21" fmla="*/ 2908896 w 16682562"/>
                <a:gd name="connsiteY21" fmla="*/ 10502447 h 12431647"/>
                <a:gd name="connsiteX22" fmla="*/ 1263043 w 16682562"/>
                <a:gd name="connsiteY22" fmla="*/ 9791054 h 12431647"/>
                <a:gd name="connsiteX23" fmla="*/ 485320 w 16682562"/>
                <a:gd name="connsiteY23" fmla="*/ 9338897 h 12431647"/>
                <a:gd name="connsiteX24" fmla="*/ 0 w 16682562"/>
                <a:gd name="connsiteY24" fmla="*/ 9045785 h 12431647"/>
                <a:gd name="connsiteX25" fmla="*/ 1003686 w 16682562"/>
                <a:gd name="connsiteY25" fmla="*/ 8299820 h 12431647"/>
                <a:gd name="connsiteX26" fmla="*/ 2902551 w 16682562"/>
                <a:gd name="connsiteY26" fmla="*/ 7115421 h 12431647"/>
                <a:gd name="connsiteX27" fmla="*/ 2558940 w 16682562"/>
                <a:gd name="connsiteY27" fmla="*/ 6581990 h 12431647"/>
                <a:gd name="connsiteX28" fmla="*/ 2402508 w 16682562"/>
                <a:gd name="connsiteY28" fmla="*/ 5894907 h 12431647"/>
                <a:gd name="connsiteX29" fmla="*/ 2730740 w 16682562"/>
                <a:gd name="connsiteY29" fmla="*/ 5867736 h 12431647"/>
                <a:gd name="connsiteX30" fmla="*/ 2947754 w 16682562"/>
                <a:gd name="connsiteY30" fmla="*/ 5397591 h 12431647"/>
                <a:gd name="connsiteX31" fmla="*/ 3499325 w 16682562"/>
                <a:gd name="connsiteY31" fmla="*/ 4954574 h 12431647"/>
                <a:gd name="connsiteX32" fmla="*/ 3680166 w 16682562"/>
                <a:gd name="connsiteY32" fmla="*/ 4077576 h 12431647"/>
                <a:gd name="connsiteX33" fmla="*/ 4186528 w 16682562"/>
                <a:gd name="connsiteY33" fmla="*/ 4086612 h 12431647"/>
                <a:gd name="connsiteX34" fmla="*/ 4837569 w 16682562"/>
                <a:gd name="connsiteY34" fmla="*/ 4556762 h 12431647"/>
                <a:gd name="connsiteX35" fmla="*/ 5352976 w 16682562"/>
                <a:gd name="connsiteY35" fmla="*/ 4475395 h 12431647"/>
                <a:gd name="connsiteX36" fmla="*/ 5741786 w 16682562"/>
                <a:gd name="connsiteY36" fmla="*/ 4104700 h 12431647"/>
                <a:gd name="connsiteX37" fmla="*/ 6157723 w 16682562"/>
                <a:gd name="connsiteY37" fmla="*/ 3941959 h 12431647"/>
                <a:gd name="connsiteX38" fmla="*/ 6745471 w 16682562"/>
                <a:gd name="connsiteY38" fmla="*/ 3372366 h 12431647"/>
                <a:gd name="connsiteX39" fmla="*/ 6890140 w 16682562"/>
                <a:gd name="connsiteY39" fmla="*/ 2522490 h 12431647"/>
                <a:gd name="connsiteX40" fmla="*/ 7568305 w 16682562"/>
                <a:gd name="connsiteY40" fmla="*/ 1952896 h 12431647"/>
                <a:gd name="connsiteX41" fmla="*/ 8137967 w 16682562"/>
                <a:gd name="connsiteY41" fmla="*/ 1509875 h 12431647"/>
                <a:gd name="connsiteX42" fmla="*/ 8463480 w 16682562"/>
                <a:gd name="connsiteY42" fmla="*/ 705208 h 12431647"/>
                <a:gd name="connsiteX43" fmla="*/ 9024093 w 16682562"/>
                <a:gd name="connsiteY43" fmla="*/ 352601 h 12431647"/>
                <a:gd name="connsiteX44" fmla="*/ 9675138 w 16682562"/>
                <a:gd name="connsiteY44" fmla="*/ -1 h 12431647"/>
                <a:gd name="connsiteX45" fmla="*/ 8856118 w 16682562"/>
                <a:gd name="connsiteY45" fmla="*/ 1891739 h 12431647"/>
                <a:gd name="connsiteX46" fmla="*/ 9078849 w 16682562"/>
                <a:gd name="connsiteY46" fmla="*/ 2505303 h 12431647"/>
                <a:gd name="connsiteX47" fmla="*/ 9086459 w 16682562"/>
                <a:gd name="connsiteY47" fmla="*/ 3053281 h 12431647"/>
                <a:gd name="connsiteX48" fmla="*/ 9761321 w 16682562"/>
                <a:gd name="connsiteY48" fmla="*/ 2956135 h 12431647"/>
                <a:gd name="connsiteX49" fmla="*/ 10152517 w 16682562"/>
                <a:gd name="connsiteY49" fmla="*/ 3754405 h 12431647"/>
                <a:gd name="connsiteX50" fmla="*/ 11109603 w 16682562"/>
                <a:gd name="connsiteY50" fmla="*/ 4125879 h 12431647"/>
                <a:gd name="connsiteX51" fmla="*/ 11919572 w 16682562"/>
                <a:gd name="connsiteY51" fmla="*/ 4399401 h 12431647"/>
                <a:gd name="connsiteX52" fmla="*/ 12868275 w 16682562"/>
                <a:gd name="connsiteY52" fmla="*/ 4154190 h 12431647"/>
                <a:gd name="connsiteX53" fmla="*/ 13844296 w 16682562"/>
                <a:gd name="connsiteY53" fmla="*/ 3552355 h 12431647"/>
                <a:gd name="connsiteX54" fmla="*/ 13886291 w 16682562"/>
                <a:gd name="connsiteY54" fmla="*/ 2717987 h 12431647"/>
                <a:gd name="connsiteX55" fmla="*/ 14370431 w 16682562"/>
                <a:gd name="connsiteY55" fmla="*/ 3226339 h 12431647"/>
                <a:gd name="connsiteX56" fmla="*/ 15323320 w 16682562"/>
                <a:gd name="connsiteY56" fmla="*/ 3324612 h 12431647"/>
                <a:gd name="connsiteX57" fmla="*/ 16350939 w 16682562"/>
                <a:gd name="connsiteY57" fmla="*/ 3449471 h 12431647"/>
                <a:gd name="connsiteX58" fmla="*/ 16362364 w 16682562"/>
                <a:gd name="connsiteY58" fmla="*/ 3756751 h 12431647"/>
                <a:gd name="connsiteX59" fmla="*/ 16682563 w 16682562"/>
                <a:gd name="connsiteY59" fmla="*/ 4194654 h 12431647"/>
                <a:gd name="connsiteX0" fmla="*/ 16682563 w 16682562"/>
                <a:gd name="connsiteY0" fmla="*/ 3842051 h 12079044"/>
                <a:gd name="connsiteX1" fmla="*/ 16432262 w 16682562"/>
                <a:gd name="connsiteY1" fmla="*/ 4869437 h 12079044"/>
                <a:gd name="connsiteX2" fmla="*/ 16106317 w 16682562"/>
                <a:gd name="connsiteY2" fmla="*/ 5410741 h 12079044"/>
                <a:gd name="connsiteX3" fmla="*/ 16305649 w 16682562"/>
                <a:gd name="connsiteY3" fmla="*/ 5798070 h 12079044"/>
                <a:gd name="connsiteX4" fmla="*/ 16287189 w 16682562"/>
                <a:gd name="connsiteY4" fmla="*/ 6194677 h 12079044"/>
                <a:gd name="connsiteX5" fmla="*/ 16372801 w 16682562"/>
                <a:gd name="connsiteY5" fmla="*/ 6760942 h 12079044"/>
                <a:gd name="connsiteX6" fmla="*/ 16070155 w 16682562"/>
                <a:gd name="connsiteY6" fmla="*/ 6981328 h 12079044"/>
                <a:gd name="connsiteX7" fmla="*/ 15805690 w 16682562"/>
                <a:gd name="connsiteY7" fmla="*/ 7475519 h 12079044"/>
                <a:gd name="connsiteX8" fmla="*/ 15195097 w 16682562"/>
                <a:gd name="connsiteY8" fmla="*/ 7137262 h 12079044"/>
                <a:gd name="connsiteX9" fmla="*/ 15011380 w 16682562"/>
                <a:gd name="connsiteY9" fmla="*/ 8092112 h 12079044"/>
                <a:gd name="connsiteX10" fmla="*/ 14908430 w 16682562"/>
                <a:gd name="connsiteY10" fmla="*/ 8981007 h 12079044"/>
                <a:gd name="connsiteX11" fmla="*/ 14904684 w 16682562"/>
                <a:gd name="connsiteY11" fmla="*/ 9804446 h 12079044"/>
                <a:gd name="connsiteX12" fmla="*/ 14929927 w 16682562"/>
                <a:gd name="connsiteY12" fmla="*/ 11435366 h 12079044"/>
                <a:gd name="connsiteX13" fmla="*/ 12952786 w 16682562"/>
                <a:gd name="connsiteY13" fmla="*/ 11886119 h 12079044"/>
                <a:gd name="connsiteX14" fmla="*/ 11934663 w 16682562"/>
                <a:gd name="connsiteY14" fmla="*/ 11934369 h 12079044"/>
                <a:gd name="connsiteX15" fmla="*/ 8506848 w 16682562"/>
                <a:gd name="connsiteY15" fmla="*/ 12079044 h 12079044"/>
                <a:gd name="connsiteX16" fmla="*/ 7985095 w 16682562"/>
                <a:gd name="connsiteY16" fmla="*/ 11433962 h 12079044"/>
                <a:gd name="connsiteX17" fmla="*/ 7400308 w 16682562"/>
                <a:gd name="connsiteY17" fmla="*/ 11403817 h 12079044"/>
                <a:gd name="connsiteX18" fmla="*/ 6972273 w 16682562"/>
                <a:gd name="connsiteY18" fmla="*/ 11675114 h 12079044"/>
                <a:gd name="connsiteX19" fmla="*/ 5181729 w 16682562"/>
                <a:gd name="connsiteY19" fmla="*/ 11590715 h 12079044"/>
                <a:gd name="connsiteX20" fmla="*/ 4397998 w 16682562"/>
                <a:gd name="connsiteY20" fmla="*/ 10957698 h 12079044"/>
                <a:gd name="connsiteX21" fmla="*/ 2908896 w 16682562"/>
                <a:gd name="connsiteY21" fmla="*/ 10149844 h 12079044"/>
                <a:gd name="connsiteX22" fmla="*/ 1263043 w 16682562"/>
                <a:gd name="connsiteY22" fmla="*/ 9438451 h 12079044"/>
                <a:gd name="connsiteX23" fmla="*/ 485320 w 16682562"/>
                <a:gd name="connsiteY23" fmla="*/ 8986294 h 12079044"/>
                <a:gd name="connsiteX24" fmla="*/ 0 w 16682562"/>
                <a:gd name="connsiteY24" fmla="*/ 8693182 h 12079044"/>
                <a:gd name="connsiteX25" fmla="*/ 1003686 w 16682562"/>
                <a:gd name="connsiteY25" fmla="*/ 7947217 h 12079044"/>
                <a:gd name="connsiteX26" fmla="*/ 2902551 w 16682562"/>
                <a:gd name="connsiteY26" fmla="*/ 6762818 h 12079044"/>
                <a:gd name="connsiteX27" fmla="*/ 2558940 w 16682562"/>
                <a:gd name="connsiteY27" fmla="*/ 6229387 h 12079044"/>
                <a:gd name="connsiteX28" fmla="*/ 2402508 w 16682562"/>
                <a:gd name="connsiteY28" fmla="*/ 5542304 h 12079044"/>
                <a:gd name="connsiteX29" fmla="*/ 2730740 w 16682562"/>
                <a:gd name="connsiteY29" fmla="*/ 5515133 h 12079044"/>
                <a:gd name="connsiteX30" fmla="*/ 2947754 w 16682562"/>
                <a:gd name="connsiteY30" fmla="*/ 5044988 h 12079044"/>
                <a:gd name="connsiteX31" fmla="*/ 3499325 w 16682562"/>
                <a:gd name="connsiteY31" fmla="*/ 4601971 h 12079044"/>
                <a:gd name="connsiteX32" fmla="*/ 3680166 w 16682562"/>
                <a:gd name="connsiteY32" fmla="*/ 3724973 h 12079044"/>
                <a:gd name="connsiteX33" fmla="*/ 4186528 w 16682562"/>
                <a:gd name="connsiteY33" fmla="*/ 3734009 h 12079044"/>
                <a:gd name="connsiteX34" fmla="*/ 4837569 w 16682562"/>
                <a:gd name="connsiteY34" fmla="*/ 4204159 h 12079044"/>
                <a:gd name="connsiteX35" fmla="*/ 5352976 w 16682562"/>
                <a:gd name="connsiteY35" fmla="*/ 4122792 h 12079044"/>
                <a:gd name="connsiteX36" fmla="*/ 5741786 w 16682562"/>
                <a:gd name="connsiteY36" fmla="*/ 3752097 h 12079044"/>
                <a:gd name="connsiteX37" fmla="*/ 6157723 w 16682562"/>
                <a:gd name="connsiteY37" fmla="*/ 3589356 h 12079044"/>
                <a:gd name="connsiteX38" fmla="*/ 6745471 w 16682562"/>
                <a:gd name="connsiteY38" fmla="*/ 3019763 h 12079044"/>
                <a:gd name="connsiteX39" fmla="*/ 6890140 w 16682562"/>
                <a:gd name="connsiteY39" fmla="*/ 2169887 h 12079044"/>
                <a:gd name="connsiteX40" fmla="*/ 7568305 w 16682562"/>
                <a:gd name="connsiteY40" fmla="*/ 1600293 h 12079044"/>
                <a:gd name="connsiteX41" fmla="*/ 8137967 w 16682562"/>
                <a:gd name="connsiteY41" fmla="*/ 1157272 h 12079044"/>
                <a:gd name="connsiteX42" fmla="*/ 8463480 w 16682562"/>
                <a:gd name="connsiteY42" fmla="*/ 352605 h 12079044"/>
                <a:gd name="connsiteX43" fmla="*/ 9024093 w 16682562"/>
                <a:gd name="connsiteY43" fmla="*/ -2 h 12079044"/>
                <a:gd name="connsiteX44" fmla="*/ 8856118 w 16682562"/>
                <a:gd name="connsiteY44" fmla="*/ 1539136 h 12079044"/>
                <a:gd name="connsiteX45" fmla="*/ 9078849 w 16682562"/>
                <a:gd name="connsiteY45" fmla="*/ 2152700 h 12079044"/>
                <a:gd name="connsiteX46" fmla="*/ 9086459 w 16682562"/>
                <a:gd name="connsiteY46" fmla="*/ 2700678 h 12079044"/>
                <a:gd name="connsiteX47" fmla="*/ 9761321 w 16682562"/>
                <a:gd name="connsiteY47" fmla="*/ 2603532 h 12079044"/>
                <a:gd name="connsiteX48" fmla="*/ 10152517 w 16682562"/>
                <a:gd name="connsiteY48" fmla="*/ 3401802 h 12079044"/>
                <a:gd name="connsiteX49" fmla="*/ 11109603 w 16682562"/>
                <a:gd name="connsiteY49" fmla="*/ 3773276 h 12079044"/>
                <a:gd name="connsiteX50" fmla="*/ 11919572 w 16682562"/>
                <a:gd name="connsiteY50" fmla="*/ 4046798 h 12079044"/>
                <a:gd name="connsiteX51" fmla="*/ 12868275 w 16682562"/>
                <a:gd name="connsiteY51" fmla="*/ 3801587 h 12079044"/>
                <a:gd name="connsiteX52" fmla="*/ 13844296 w 16682562"/>
                <a:gd name="connsiteY52" fmla="*/ 3199752 h 12079044"/>
                <a:gd name="connsiteX53" fmla="*/ 13886291 w 16682562"/>
                <a:gd name="connsiteY53" fmla="*/ 2365384 h 12079044"/>
                <a:gd name="connsiteX54" fmla="*/ 14370431 w 16682562"/>
                <a:gd name="connsiteY54" fmla="*/ 2873736 h 12079044"/>
                <a:gd name="connsiteX55" fmla="*/ 15323320 w 16682562"/>
                <a:gd name="connsiteY55" fmla="*/ 2972009 h 12079044"/>
                <a:gd name="connsiteX56" fmla="*/ 16350939 w 16682562"/>
                <a:gd name="connsiteY56" fmla="*/ 3096868 h 12079044"/>
                <a:gd name="connsiteX57" fmla="*/ 16362364 w 16682562"/>
                <a:gd name="connsiteY57" fmla="*/ 3404148 h 12079044"/>
                <a:gd name="connsiteX58" fmla="*/ 16682563 w 16682562"/>
                <a:gd name="connsiteY58" fmla="*/ 3842051 h 12079044"/>
                <a:gd name="connsiteX0" fmla="*/ 16682563 w 16682562"/>
                <a:gd name="connsiteY0" fmla="*/ 3489448 h 11726441"/>
                <a:gd name="connsiteX1" fmla="*/ 16432262 w 16682562"/>
                <a:gd name="connsiteY1" fmla="*/ 4516834 h 11726441"/>
                <a:gd name="connsiteX2" fmla="*/ 16106317 w 16682562"/>
                <a:gd name="connsiteY2" fmla="*/ 5058138 h 11726441"/>
                <a:gd name="connsiteX3" fmla="*/ 16305649 w 16682562"/>
                <a:gd name="connsiteY3" fmla="*/ 5445467 h 11726441"/>
                <a:gd name="connsiteX4" fmla="*/ 16287189 w 16682562"/>
                <a:gd name="connsiteY4" fmla="*/ 5842074 h 11726441"/>
                <a:gd name="connsiteX5" fmla="*/ 16372801 w 16682562"/>
                <a:gd name="connsiteY5" fmla="*/ 6408339 h 11726441"/>
                <a:gd name="connsiteX6" fmla="*/ 16070155 w 16682562"/>
                <a:gd name="connsiteY6" fmla="*/ 6628725 h 11726441"/>
                <a:gd name="connsiteX7" fmla="*/ 15805690 w 16682562"/>
                <a:gd name="connsiteY7" fmla="*/ 7122916 h 11726441"/>
                <a:gd name="connsiteX8" fmla="*/ 15195097 w 16682562"/>
                <a:gd name="connsiteY8" fmla="*/ 6784659 h 11726441"/>
                <a:gd name="connsiteX9" fmla="*/ 15011380 w 16682562"/>
                <a:gd name="connsiteY9" fmla="*/ 7739509 h 11726441"/>
                <a:gd name="connsiteX10" fmla="*/ 14908430 w 16682562"/>
                <a:gd name="connsiteY10" fmla="*/ 8628404 h 11726441"/>
                <a:gd name="connsiteX11" fmla="*/ 14904684 w 16682562"/>
                <a:gd name="connsiteY11" fmla="*/ 9451843 h 11726441"/>
                <a:gd name="connsiteX12" fmla="*/ 14929927 w 16682562"/>
                <a:gd name="connsiteY12" fmla="*/ 11082763 h 11726441"/>
                <a:gd name="connsiteX13" fmla="*/ 12952786 w 16682562"/>
                <a:gd name="connsiteY13" fmla="*/ 11533516 h 11726441"/>
                <a:gd name="connsiteX14" fmla="*/ 11934663 w 16682562"/>
                <a:gd name="connsiteY14" fmla="*/ 11581766 h 11726441"/>
                <a:gd name="connsiteX15" fmla="*/ 8506848 w 16682562"/>
                <a:gd name="connsiteY15" fmla="*/ 11726441 h 11726441"/>
                <a:gd name="connsiteX16" fmla="*/ 7985095 w 16682562"/>
                <a:gd name="connsiteY16" fmla="*/ 11081359 h 11726441"/>
                <a:gd name="connsiteX17" fmla="*/ 7400308 w 16682562"/>
                <a:gd name="connsiteY17" fmla="*/ 11051214 h 11726441"/>
                <a:gd name="connsiteX18" fmla="*/ 6972273 w 16682562"/>
                <a:gd name="connsiteY18" fmla="*/ 11322511 h 11726441"/>
                <a:gd name="connsiteX19" fmla="*/ 5181729 w 16682562"/>
                <a:gd name="connsiteY19" fmla="*/ 11238112 h 11726441"/>
                <a:gd name="connsiteX20" fmla="*/ 4397998 w 16682562"/>
                <a:gd name="connsiteY20" fmla="*/ 10605095 h 11726441"/>
                <a:gd name="connsiteX21" fmla="*/ 2908896 w 16682562"/>
                <a:gd name="connsiteY21" fmla="*/ 9797241 h 11726441"/>
                <a:gd name="connsiteX22" fmla="*/ 1263043 w 16682562"/>
                <a:gd name="connsiteY22" fmla="*/ 9085848 h 11726441"/>
                <a:gd name="connsiteX23" fmla="*/ 485320 w 16682562"/>
                <a:gd name="connsiteY23" fmla="*/ 8633691 h 11726441"/>
                <a:gd name="connsiteX24" fmla="*/ 0 w 16682562"/>
                <a:gd name="connsiteY24" fmla="*/ 8340579 h 11726441"/>
                <a:gd name="connsiteX25" fmla="*/ 1003686 w 16682562"/>
                <a:gd name="connsiteY25" fmla="*/ 7594614 h 11726441"/>
                <a:gd name="connsiteX26" fmla="*/ 2902551 w 16682562"/>
                <a:gd name="connsiteY26" fmla="*/ 6410215 h 11726441"/>
                <a:gd name="connsiteX27" fmla="*/ 2558940 w 16682562"/>
                <a:gd name="connsiteY27" fmla="*/ 5876784 h 11726441"/>
                <a:gd name="connsiteX28" fmla="*/ 2402508 w 16682562"/>
                <a:gd name="connsiteY28" fmla="*/ 5189701 h 11726441"/>
                <a:gd name="connsiteX29" fmla="*/ 2730740 w 16682562"/>
                <a:gd name="connsiteY29" fmla="*/ 5162530 h 11726441"/>
                <a:gd name="connsiteX30" fmla="*/ 2947754 w 16682562"/>
                <a:gd name="connsiteY30" fmla="*/ 4692385 h 11726441"/>
                <a:gd name="connsiteX31" fmla="*/ 3499325 w 16682562"/>
                <a:gd name="connsiteY31" fmla="*/ 4249368 h 11726441"/>
                <a:gd name="connsiteX32" fmla="*/ 3680166 w 16682562"/>
                <a:gd name="connsiteY32" fmla="*/ 3372370 h 11726441"/>
                <a:gd name="connsiteX33" fmla="*/ 4186528 w 16682562"/>
                <a:gd name="connsiteY33" fmla="*/ 3381406 h 11726441"/>
                <a:gd name="connsiteX34" fmla="*/ 4837569 w 16682562"/>
                <a:gd name="connsiteY34" fmla="*/ 3851556 h 11726441"/>
                <a:gd name="connsiteX35" fmla="*/ 5352976 w 16682562"/>
                <a:gd name="connsiteY35" fmla="*/ 3770189 h 11726441"/>
                <a:gd name="connsiteX36" fmla="*/ 5741786 w 16682562"/>
                <a:gd name="connsiteY36" fmla="*/ 3399494 h 11726441"/>
                <a:gd name="connsiteX37" fmla="*/ 6157723 w 16682562"/>
                <a:gd name="connsiteY37" fmla="*/ 3236753 h 11726441"/>
                <a:gd name="connsiteX38" fmla="*/ 6745471 w 16682562"/>
                <a:gd name="connsiteY38" fmla="*/ 2667160 h 11726441"/>
                <a:gd name="connsiteX39" fmla="*/ 6890140 w 16682562"/>
                <a:gd name="connsiteY39" fmla="*/ 1817284 h 11726441"/>
                <a:gd name="connsiteX40" fmla="*/ 7568305 w 16682562"/>
                <a:gd name="connsiteY40" fmla="*/ 1247690 h 11726441"/>
                <a:gd name="connsiteX41" fmla="*/ 8137967 w 16682562"/>
                <a:gd name="connsiteY41" fmla="*/ 804669 h 11726441"/>
                <a:gd name="connsiteX42" fmla="*/ 8463480 w 16682562"/>
                <a:gd name="connsiteY42" fmla="*/ 2 h 11726441"/>
                <a:gd name="connsiteX43" fmla="*/ 8856118 w 16682562"/>
                <a:gd name="connsiteY43" fmla="*/ 1186533 h 11726441"/>
                <a:gd name="connsiteX44" fmla="*/ 9078849 w 16682562"/>
                <a:gd name="connsiteY44" fmla="*/ 1800097 h 11726441"/>
                <a:gd name="connsiteX45" fmla="*/ 9086459 w 16682562"/>
                <a:gd name="connsiteY45" fmla="*/ 2348075 h 11726441"/>
                <a:gd name="connsiteX46" fmla="*/ 9761321 w 16682562"/>
                <a:gd name="connsiteY46" fmla="*/ 2250929 h 11726441"/>
                <a:gd name="connsiteX47" fmla="*/ 10152517 w 16682562"/>
                <a:gd name="connsiteY47" fmla="*/ 3049199 h 11726441"/>
                <a:gd name="connsiteX48" fmla="*/ 11109603 w 16682562"/>
                <a:gd name="connsiteY48" fmla="*/ 3420673 h 11726441"/>
                <a:gd name="connsiteX49" fmla="*/ 11919572 w 16682562"/>
                <a:gd name="connsiteY49" fmla="*/ 3694195 h 11726441"/>
                <a:gd name="connsiteX50" fmla="*/ 12868275 w 16682562"/>
                <a:gd name="connsiteY50" fmla="*/ 3448984 h 11726441"/>
                <a:gd name="connsiteX51" fmla="*/ 13844296 w 16682562"/>
                <a:gd name="connsiteY51" fmla="*/ 2847149 h 11726441"/>
                <a:gd name="connsiteX52" fmla="*/ 13886291 w 16682562"/>
                <a:gd name="connsiteY52" fmla="*/ 2012781 h 11726441"/>
                <a:gd name="connsiteX53" fmla="*/ 14370431 w 16682562"/>
                <a:gd name="connsiteY53" fmla="*/ 2521133 h 11726441"/>
                <a:gd name="connsiteX54" fmla="*/ 15323320 w 16682562"/>
                <a:gd name="connsiteY54" fmla="*/ 2619406 h 11726441"/>
                <a:gd name="connsiteX55" fmla="*/ 16350939 w 16682562"/>
                <a:gd name="connsiteY55" fmla="*/ 2744265 h 11726441"/>
                <a:gd name="connsiteX56" fmla="*/ 16362364 w 16682562"/>
                <a:gd name="connsiteY56" fmla="*/ 3051545 h 11726441"/>
                <a:gd name="connsiteX57" fmla="*/ 16682563 w 16682562"/>
                <a:gd name="connsiteY57" fmla="*/ 3489448 h 11726441"/>
                <a:gd name="connsiteX0" fmla="*/ 16682563 w 16682562"/>
                <a:gd name="connsiteY0" fmla="*/ 2684781 h 10921774"/>
                <a:gd name="connsiteX1" fmla="*/ 16432262 w 16682562"/>
                <a:gd name="connsiteY1" fmla="*/ 3712167 h 10921774"/>
                <a:gd name="connsiteX2" fmla="*/ 16106317 w 16682562"/>
                <a:gd name="connsiteY2" fmla="*/ 4253471 h 10921774"/>
                <a:gd name="connsiteX3" fmla="*/ 16305649 w 16682562"/>
                <a:gd name="connsiteY3" fmla="*/ 4640800 h 10921774"/>
                <a:gd name="connsiteX4" fmla="*/ 16287189 w 16682562"/>
                <a:gd name="connsiteY4" fmla="*/ 5037407 h 10921774"/>
                <a:gd name="connsiteX5" fmla="*/ 16372801 w 16682562"/>
                <a:gd name="connsiteY5" fmla="*/ 5603672 h 10921774"/>
                <a:gd name="connsiteX6" fmla="*/ 16070155 w 16682562"/>
                <a:gd name="connsiteY6" fmla="*/ 5824058 h 10921774"/>
                <a:gd name="connsiteX7" fmla="*/ 15805690 w 16682562"/>
                <a:gd name="connsiteY7" fmla="*/ 6318249 h 10921774"/>
                <a:gd name="connsiteX8" fmla="*/ 15195097 w 16682562"/>
                <a:gd name="connsiteY8" fmla="*/ 5979992 h 10921774"/>
                <a:gd name="connsiteX9" fmla="*/ 15011380 w 16682562"/>
                <a:gd name="connsiteY9" fmla="*/ 6934842 h 10921774"/>
                <a:gd name="connsiteX10" fmla="*/ 14908430 w 16682562"/>
                <a:gd name="connsiteY10" fmla="*/ 7823737 h 10921774"/>
                <a:gd name="connsiteX11" fmla="*/ 14904684 w 16682562"/>
                <a:gd name="connsiteY11" fmla="*/ 8647176 h 10921774"/>
                <a:gd name="connsiteX12" fmla="*/ 14929927 w 16682562"/>
                <a:gd name="connsiteY12" fmla="*/ 10278096 h 10921774"/>
                <a:gd name="connsiteX13" fmla="*/ 12952786 w 16682562"/>
                <a:gd name="connsiteY13" fmla="*/ 10728849 h 10921774"/>
                <a:gd name="connsiteX14" fmla="*/ 11934663 w 16682562"/>
                <a:gd name="connsiteY14" fmla="*/ 10777099 h 10921774"/>
                <a:gd name="connsiteX15" fmla="*/ 8506848 w 16682562"/>
                <a:gd name="connsiteY15" fmla="*/ 10921774 h 10921774"/>
                <a:gd name="connsiteX16" fmla="*/ 7985095 w 16682562"/>
                <a:gd name="connsiteY16" fmla="*/ 10276692 h 10921774"/>
                <a:gd name="connsiteX17" fmla="*/ 7400308 w 16682562"/>
                <a:gd name="connsiteY17" fmla="*/ 10246547 h 10921774"/>
                <a:gd name="connsiteX18" fmla="*/ 6972273 w 16682562"/>
                <a:gd name="connsiteY18" fmla="*/ 10517844 h 10921774"/>
                <a:gd name="connsiteX19" fmla="*/ 5181729 w 16682562"/>
                <a:gd name="connsiteY19" fmla="*/ 10433445 h 10921774"/>
                <a:gd name="connsiteX20" fmla="*/ 4397998 w 16682562"/>
                <a:gd name="connsiteY20" fmla="*/ 9800428 h 10921774"/>
                <a:gd name="connsiteX21" fmla="*/ 2908896 w 16682562"/>
                <a:gd name="connsiteY21" fmla="*/ 8992574 h 10921774"/>
                <a:gd name="connsiteX22" fmla="*/ 1263043 w 16682562"/>
                <a:gd name="connsiteY22" fmla="*/ 8281181 h 10921774"/>
                <a:gd name="connsiteX23" fmla="*/ 485320 w 16682562"/>
                <a:gd name="connsiteY23" fmla="*/ 7829024 h 10921774"/>
                <a:gd name="connsiteX24" fmla="*/ 0 w 16682562"/>
                <a:gd name="connsiteY24" fmla="*/ 7535912 h 10921774"/>
                <a:gd name="connsiteX25" fmla="*/ 1003686 w 16682562"/>
                <a:gd name="connsiteY25" fmla="*/ 6789947 h 10921774"/>
                <a:gd name="connsiteX26" fmla="*/ 2902551 w 16682562"/>
                <a:gd name="connsiteY26" fmla="*/ 5605548 h 10921774"/>
                <a:gd name="connsiteX27" fmla="*/ 2558940 w 16682562"/>
                <a:gd name="connsiteY27" fmla="*/ 5072117 h 10921774"/>
                <a:gd name="connsiteX28" fmla="*/ 2402508 w 16682562"/>
                <a:gd name="connsiteY28" fmla="*/ 4385034 h 10921774"/>
                <a:gd name="connsiteX29" fmla="*/ 2730740 w 16682562"/>
                <a:gd name="connsiteY29" fmla="*/ 4357863 h 10921774"/>
                <a:gd name="connsiteX30" fmla="*/ 2947754 w 16682562"/>
                <a:gd name="connsiteY30" fmla="*/ 3887718 h 10921774"/>
                <a:gd name="connsiteX31" fmla="*/ 3499325 w 16682562"/>
                <a:gd name="connsiteY31" fmla="*/ 3444701 h 10921774"/>
                <a:gd name="connsiteX32" fmla="*/ 3680166 w 16682562"/>
                <a:gd name="connsiteY32" fmla="*/ 2567703 h 10921774"/>
                <a:gd name="connsiteX33" fmla="*/ 4186528 w 16682562"/>
                <a:gd name="connsiteY33" fmla="*/ 2576739 h 10921774"/>
                <a:gd name="connsiteX34" fmla="*/ 4837569 w 16682562"/>
                <a:gd name="connsiteY34" fmla="*/ 3046889 h 10921774"/>
                <a:gd name="connsiteX35" fmla="*/ 5352976 w 16682562"/>
                <a:gd name="connsiteY35" fmla="*/ 2965522 h 10921774"/>
                <a:gd name="connsiteX36" fmla="*/ 5741786 w 16682562"/>
                <a:gd name="connsiteY36" fmla="*/ 2594827 h 10921774"/>
                <a:gd name="connsiteX37" fmla="*/ 6157723 w 16682562"/>
                <a:gd name="connsiteY37" fmla="*/ 2432086 h 10921774"/>
                <a:gd name="connsiteX38" fmla="*/ 6745471 w 16682562"/>
                <a:gd name="connsiteY38" fmla="*/ 1862493 h 10921774"/>
                <a:gd name="connsiteX39" fmla="*/ 6890140 w 16682562"/>
                <a:gd name="connsiteY39" fmla="*/ 1012617 h 10921774"/>
                <a:gd name="connsiteX40" fmla="*/ 7568305 w 16682562"/>
                <a:gd name="connsiteY40" fmla="*/ 443023 h 10921774"/>
                <a:gd name="connsiteX41" fmla="*/ 8137967 w 16682562"/>
                <a:gd name="connsiteY41" fmla="*/ 2 h 10921774"/>
                <a:gd name="connsiteX42" fmla="*/ 8856118 w 16682562"/>
                <a:gd name="connsiteY42" fmla="*/ 381866 h 10921774"/>
                <a:gd name="connsiteX43" fmla="*/ 9078849 w 16682562"/>
                <a:gd name="connsiteY43" fmla="*/ 995430 h 10921774"/>
                <a:gd name="connsiteX44" fmla="*/ 9086459 w 16682562"/>
                <a:gd name="connsiteY44" fmla="*/ 1543408 h 10921774"/>
                <a:gd name="connsiteX45" fmla="*/ 9761321 w 16682562"/>
                <a:gd name="connsiteY45" fmla="*/ 1446262 h 10921774"/>
                <a:gd name="connsiteX46" fmla="*/ 10152517 w 16682562"/>
                <a:gd name="connsiteY46" fmla="*/ 2244532 h 10921774"/>
                <a:gd name="connsiteX47" fmla="*/ 11109603 w 16682562"/>
                <a:gd name="connsiteY47" fmla="*/ 2616006 h 10921774"/>
                <a:gd name="connsiteX48" fmla="*/ 11919572 w 16682562"/>
                <a:gd name="connsiteY48" fmla="*/ 2889528 h 10921774"/>
                <a:gd name="connsiteX49" fmla="*/ 12868275 w 16682562"/>
                <a:gd name="connsiteY49" fmla="*/ 2644317 h 10921774"/>
                <a:gd name="connsiteX50" fmla="*/ 13844296 w 16682562"/>
                <a:gd name="connsiteY50" fmla="*/ 2042482 h 10921774"/>
                <a:gd name="connsiteX51" fmla="*/ 13886291 w 16682562"/>
                <a:gd name="connsiteY51" fmla="*/ 1208114 h 10921774"/>
                <a:gd name="connsiteX52" fmla="*/ 14370431 w 16682562"/>
                <a:gd name="connsiteY52" fmla="*/ 1716466 h 10921774"/>
                <a:gd name="connsiteX53" fmla="*/ 15323320 w 16682562"/>
                <a:gd name="connsiteY53" fmla="*/ 1814739 h 10921774"/>
                <a:gd name="connsiteX54" fmla="*/ 16350939 w 16682562"/>
                <a:gd name="connsiteY54" fmla="*/ 1939598 h 10921774"/>
                <a:gd name="connsiteX55" fmla="*/ 16362364 w 16682562"/>
                <a:gd name="connsiteY55" fmla="*/ 2246878 h 10921774"/>
                <a:gd name="connsiteX56" fmla="*/ 16682563 w 16682562"/>
                <a:gd name="connsiteY56" fmla="*/ 2684781 h 10921774"/>
                <a:gd name="connsiteX0" fmla="*/ 16682563 w 16682562"/>
                <a:gd name="connsiteY0" fmla="*/ 2908861 h 11145854"/>
                <a:gd name="connsiteX1" fmla="*/ 16432262 w 16682562"/>
                <a:gd name="connsiteY1" fmla="*/ 3936247 h 11145854"/>
                <a:gd name="connsiteX2" fmla="*/ 16106317 w 16682562"/>
                <a:gd name="connsiteY2" fmla="*/ 4477551 h 11145854"/>
                <a:gd name="connsiteX3" fmla="*/ 16305649 w 16682562"/>
                <a:gd name="connsiteY3" fmla="*/ 4864880 h 11145854"/>
                <a:gd name="connsiteX4" fmla="*/ 16287189 w 16682562"/>
                <a:gd name="connsiteY4" fmla="*/ 5261487 h 11145854"/>
                <a:gd name="connsiteX5" fmla="*/ 16372801 w 16682562"/>
                <a:gd name="connsiteY5" fmla="*/ 5827752 h 11145854"/>
                <a:gd name="connsiteX6" fmla="*/ 16070155 w 16682562"/>
                <a:gd name="connsiteY6" fmla="*/ 6048138 h 11145854"/>
                <a:gd name="connsiteX7" fmla="*/ 15805690 w 16682562"/>
                <a:gd name="connsiteY7" fmla="*/ 6542329 h 11145854"/>
                <a:gd name="connsiteX8" fmla="*/ 15195097 w 16682562"/>
                <a:gd name="connsiteY8" fmla="*/ 6204072 h 11145854"/>
                <a:gd name="connsiteX9" fmla="*/ 15011380 w 16682562"/>
                <a:gd name="connsiteY9" fmla="*/ 7158922 h 11145854"/>
                <a:gd name="connsiteX10" fmla="*/ 14908430 w 16682562"/>
                <a:gd name="connsiteY10" fmla="*/ 8047817 h 11145854"/>
                <a:gd name="connsiteX11" fmla="*/ 14904684 w 16682562"/>
                <a:gd name="connsiteY11" fmla="*/ 8871256 h 11145854"/>
                <a:gd name="connsiteX12" fmla="*/ 14929927 w 16682562"/>
                <a:gd name="connsiteY12" fmla="*/ 10502176 h 11145854"/>
                <a:gd name="connsiteX13" fmla="*/ 12952786 w 16682562"/>
                <a:gd name="connsiteY13" fmla="*/ 10952929 h 11145854"/>
                <a:gd name="connsiteX14" fmla="*/ 11934663 w 16682562"/>
                <a:gd name="connsiteY14" fmla="*/ 11001179 h 11145854"/>
                <a:gd name="connsiteX15" fmla="*/ 8506848 w 16682562"/>
                <a:gd name="connsiteY15" fmla="*/ 11145854 h 11145854"/>
                <a:gd name="connsiteX16" fmla="*/ 7985095 w 16682562"/>
                <a:gd name="connsiteY16" fmla="*/ 10500772 h 11145854"/>
                <a:gd name="connsiteX17" fmla="*/ 7400308 w 16682562"/>
                <a:gd name="connsiteY17" fmla="*/ 10470627 h 11145854"/>
                <a:gd name="connsiteX18" fmla="*/ 6972273 w 16682562"/>
                <a:gd name="connsiteY18" fmla="*/ 10741924 h 11145854"/>
                <a:gd name="connsiteX19" fmla="*/ 5181729 w 16682562"/>
                <a:gd name="connsiteY19" fmla="*/ 10657525 h 11145854"/>
                <a:gd name="connsiteX20" fmla="*/ 4397998 w 16682562"/>
                <a:gd name="connsiteY20" fmla="*/ 10024508 h 11145854"/>
                <a:gd name="connsiteX21" fmla="*/ 2908896 w 16682562"/>
                <a:gd name="connsiteY21" fmla="*/ 9216654 h 11145854"/>
                <a:gd name="connsiteX22" fmla="*/ 1263043 w 16682562"/>
                <a:gd name="connsiteY22" fmla="*/ 8505261 h 11145854"/>
                <a:gd name="connsiteX23" fmla="*/ 485320 w 16682562"/>
                <a:gd name="connsiteY23" fmla="*/ 8053104 h 11145854"/>
                <a:gd name="connsiteX24" fmla="*/ 0 w 16682562"/>
                <a:gd name="connsiteY24" fmla="*/ 7759992 h 11145854"/>
                <a:gd name="connsiteX25" fmla="*/ 1003686 w 16682562"/>
                <a:gd name="connsiteY25" fmla="*/ 7014027 h 11145854"/>
                <a:gd name="connsiteX26" fmla="*/ 2902551 w 16682562"/>
                <a:gd name="connsiteY26" fmla="*/ 5829628 h 11145854"/>
                <a:gd name="connsiteX27" fmla="*/ 2558940 w 16682562"/>
                <a:gd name="connsiteY27" fmla="*/ 5296197 h 11145854"/>
                <a:gd name="connsiteX28" fmla="*/ 2402508 w 16682562"/>
                <a:gd name="connsiteY28" fmla="*/ 4609114 h 11145854"/>
                <a:gd name="connsiteX29" fmla="*/ 2730740 w 16682562"/>
                <a:gd name="connsiteY29" fmla="*/ 4581943 h 11145854"/>
                <a:gd name="connsiteX30" fmla="*/ 2947754 w 16682562"/>
                <a:gd name="connsiteY30" fmla="*/ 4111798 h 11145854"/>
                <a:gd name="connsiteX31" fmla="*/ 3499325 w 16682562"/>
                <a:gd name="connsiteY31" fmla="*/ 3668781 h 11145854"/>
                <a:gd name="connsiteX32" fmla="*/ 3680166 w 16682562"/>
                <a:gd name="connsiteY32" fmla="*/ 2791783 h 11145854"/>
                <a:gd name="connsiteX33" fmla="*/ 4186528 w 16682562"/>
                <a:gd name="connsiteY33" fmla="*/ 2800819 h 11145854"/>
                <a:gd name="connsiteX34" fmla="*/ 4837569 w 16682562"/>
                <a:gd name="connsiteY34" fmla="*/ 3270969 h 11145854"/>
                <a:gd name="connsiteX35" fmla="*/ 5352976 w 16682562"/>
                <a:gd name="connsiteY35" fmla="*/ 3189602 h 11145854"/>
                <a:gd name="connsiteX36" fmla="*/ 5741786 w 16682562"/>
                <a:gd name="connsiteY36" fmla="*/ 2818907 h 11145854"/>
                <a:gd name="connsiteX37" fmla="*/ 6157723 w 16682562"/>
                <a:gd name="connsiteY37" fmla="*/ 2656166 h 11145854"/>
                <a:gd name="connsiteX38" fmla="*/ 6745471 w 16682562"/>
                <a:gd name="connsiteY38" fmla="*/ 2086573 h 11145854"/>
                <a:gd name="connsiteX39" fmla="*/ 6890140 w 16682562"/>
                <a:gd name="connsiteY39" fmla="*/ 1236697 h 11145854"/>
                <a:gd name="connsiteX40" fmla="*/ 7568305 w 16682562"/>
                <a:gd name="connsiteY40" fmla="*/ 667103 h 11145854"/>
                <a:gd name="connsiteX41" fmla="*/ 8502979 w 16682562"/>
                <a:gd name="connsiteY41" fmla="*/ 0 h 11145854"/>
                <a:gd name="connsiteX42" fmla="*/ 8856118 w 16682562"/>
                <a:gd name="connsiteY42" fmla="*/ 605946 h 11145854"/>
                <a:gd name="connsiteX43" fmla="*/ 9078849 w 16682562"/>
                <a:gd name="connsiteY43" fmla="*/ 1219510 h 11145854"/>
                <a:gd name="connsiteX44" fmla="*/ 9086459 w 16682562"/>
                <a:gd name="connsiteY44" fmla="*/ 1767488 h 11145854"/>
                <a:gd name="connsiteX45" fmla="*/ 9761321 w 16682562"/>
                <a:gd name="connsiteY45" fmla="*/ 1670342 h 11145854"/>
                <a:gd name="connsiteX46" fmla="*/ 10152517 w 16682562"/>
                <a:gd name="connsiteY46" fmla="*/ 2468612 h 11145854"/>
                <a:gd name="connsiteX47" fmla="*/ 11109603 w 16682562"/>
                <a:gd name="connsiteY47" fmla="*/ 2840086 h 11145854"/>
                <a:gd name="connsiteX48" fmla="*/ 11919572 w 16682562"/>
                <a:gd name="connsiteY48" fmla="*/ 3113608 h 11145854"/>
                <a:gd name="connsiteX49" fmla="*/ 12868275 w 16682562"/>
                <a:gd name="connsiteY49" fmla="*/ 2868397 h 11145854"/>
                <a:gd name="connsiteX50" fmla="*/ 13844296 w 16682562"/>
                <a:gd name="connsiteY50" fmla="*/ 2266562 h 11145854"/>
                <a:gd name="connsiteX51" fmla="*/ 13886291 w 16682562"/>
                <a:gd name="connsiteY51" fmla="*/ 1432194 h 11145854"/>
                <a:gd name="connsiteX52" fmla="*/ 14370431 w 16682562"/>
                <a:gd name="connsiteY52" fmla="*/ 1940546 h 11145854"/>
                <a:gd name="connsiteX53" fmla="*/ 15323320 w 16682562"/>
                <a:gd name="connsiteY53" fmla="*/ 2038819 h 11145854"/>
                <a:gd name="connsiteX54" fmla="*/ 16350939 w 16682562"/>
                <a:gd name="connsiteY54" fmla="*/ 2163678 h 11145854"/>
                <a:gd name="connsiteX55" fmla="*/ 16362364 w 16682562"/>
                <a:gd name="connsiteY55" fmla="*/ 2470958 h 11145854"/>
                <a:gd name="connsiteX56" fmla="*/ 16682563 w 16682562"/>
                <a:gd name="connsiteY56" fmla="*/ 2908861 h 11145854"/>
                <a:gd name="connsiteX0" fmla="*/ 16682563 w 16682562"/>
                <a:gd name="connsiteY0" fmla="*/ 2908861 h 11145854"/>
                <a:gd name="connsiteX1" fmla="*/ 16432262 w 16682562"/>
                <a:gd name="connsiteY1" fmla="*/ 3936247 h 11145854"/>
                <a:gd name="connsiteX2" fmla="*/ 16106317 w 16682562"/>
                <a:gd name="connsiteY2" fmla="*/ 4477551 h 11145854"/>
                <a:gd name="connsiteX3" fmla="*/ 16305649 w 16682562"/>
                <a:gd name="connsiteY3" fmla="*/ 4864880 h 11145854"/>
                <a:gd name="connsiteX4" fmla="*/ 16287189 w 16682562"/>
                <a:gd name="connsiteY4" fmla="*/ 5261487 h 11145854"/>
                <a:gd name="connsiteX5" fmla="*/ 16372801 w 16682562"/>
                <a:gd name="connsiteY5" fmla="*/ 5827752 h 11145854"/>
                <a:gd name="connsiteX6" fmla="*/ 16070155 w 16682562"/>
                <a:gd name="connsiteY6" fmla="*/ 6048138 h 11145854"/>
                <a:gd name="connsiteX7" fmla="*/ 15805690 w 16682562"/>
                <a:gd name="connsiteY7" fmla="*/ 6542329 h 11145854"/>
                <a:gd name="connsiteX8" fmla="*/ 15195097 w 16682562"/>
                <a:gd name="connsiteY8" fmla="*/ 6204072 h 11145854"/>
                <a:gd name="connsiteX9" fmla="*/ 15011380 w 16682562"/>
                <a:gd name="connsiteY9" fmla="*/ 7158922 h 11145854"/>
                <a:gd name="connsiteX10" fmla="*/ 14908430 w 16682562"/>
                <a:gd name="connsiteY10" fmla="*/ 8047817 h 11145854"/>
                <a:gd name="connsiteX11" fmla="*/ 14904684 w 16682562"/>
                <a:gd name="connsiteY11" fmla="*/ 8871256 h 11145854"/>
                <a:gd name="connsiteX12" fmla="*/ 14962237 w 16682562"/>
                <a:gd name="connsiteY12" fmla="*/ 10899713 h 11145854"/>
                <a:gd name="connsiteX13" fmla="*/ 12952786 w 16682562"/>
                <a:gd name="connsiteY13" fmla="*/ 10952929 h 11145854"/>
                <a:gd name="connsiteX14" fmla="*/ 11934663 w 16682562"/>
                <a:gd name="connsiteY14" fmla="*/ 11001179 h 11145854"/>
                <a:gd name="connsiteX15" fmla="*/ 8506848 w 16682562"/>
                <a:gd name="connsiteY15" fmla="*/ 11145854 h 11145854"/>
                <a:gd name="connsiteX16" fmla="*/ 7985095 w 16682562"/>
                <a:gd name="connsiteY16" fmla="*/ 10500772 h 11145854"/>
                <a:gd name="connsiteX17" fmla="*/ 7400308 w 16682562"/>
                <a:gd name="connsiteY17" fmla="*/ 10470627 h 11145854"/>
                <a:gd name="connsiteX18" fmla="*/ 6972273 w 16682562"/>
                <a:gd name="connsiteY18" fmla="*/ 10741924 h 11145854"/>
                <a:gd name="connsiteX19" fmla="*/ 5181729 w 16682562"/>
                <a:gd name="connsiteY19" fmla="*/ 10657525 h 11145854"/>
                <a:gd name="connsiteX20" fmla="*/ 4397998 w 16682562"/>
                <a:gd name="connsiteY20" fmla="*/ 10024508 h 11145854"/>
                <a:gd name="connsiteX21" fmla="*/ 2908896 w 16682562"/>
                <a:gd name="connsiteY21" fmla="*/ 9216654 h 11145854"/>
                <a:gd name="connsiteX22" fmla="*/ 1263043 w 16682562"/>
                <a:gd name="connsiteY22" fmla="*/ 8505261 h 11145854"/>
                <a:gd name="connsiteX23" fmla="*/ 485320 w 16682562"/>
                <a:gd name="connsiteY23" fmla="*/ 8053104 h 11145854"/>
                <a:gd name="connsiteX24" fmla="*/ 0 w 16682562"/>
                <a:gd name="connsiteY24" fmla="*/ 7759992 h 11145854"/>
                <a:gd name="connsiteX25" fmla="*/ 1003686 w 16682562"/>
                <a:gd name="connsiteY25" fmla="*/ 7014027 h 11145854"/>
                <a:gd name="connsiteX26" fmla="*/ 2902551 w 16682562"/>
                <a:gd name="connsiteY26" fmla="*/ 5829628 h 11145854"/>
                <a:gd name="connsiteX27" fmla="*/ 2558940 w 16682562"/>
                <a:gd name="connsiteY27" fmla="*/ 5296197 h 11145854"/>
                <a:gd name="connsiteX28" fmla="*/ 2402508 w 16682562"/>
                <a:gd name="connsiteY28" fmla="*/ 4609114 h 11145854"/>
                <a:gd name="connsiteX29" fmla="*/ 2730740 w 16682562"/>
                <a:gd name="connsiteY29" fmla="*/ 4581943 h 11145854"/>
                <a:gd name="connsiteX30" fmla="*/ 2947754 w 16682562"/>
                <a:gd name="connsiteY30" fmla="*/ 4111798 h 11145854"/>
                <a:gd name="connsiteX31" fmla="*/ 3499325 w 16682562"/>
                <a:gd name="connsiteY31" fmla="*/ 3668781 h 11145854"/>
                <a:gd name="connsiteX32" fmla="*/ 3680166 w 16682562"/>
                <a:gd name="connsiteY32" fmla="*/ 2791783 h 11145854"/>
                <a:gd name="connsiteX33" fmla="*/ 4186528 w 16682562"/>
                <a:gd name="connsiteY33" fmla="*/ 2800819 h 11145854"/>
                <a:gd name="connsiteX34" fmla="*/ 4837569 w 16682562"/>
                <a:gd name="connsiteY34" fmla="*/ 3270969 h 11145854"/>
                <a:gd name="connsiteX35" fmla="*/ 5352976 w 16682562"/>
                <a:gd name="connsiteY35" fmla="*/ 3189602 h 11145854"/>
                <a:gd name="connsiteX36" fmla="*/ 5741786 w 16682562"/>
                <a:gd name="connsiteY36" fmla="*/ 2818907 h 11145854"/>
                <a:gd name="connsiteX37" fmla="*/ 6157723 w 16682562"/>
                <a:gd name="connsiteY37" fmla="*/ 2656166 h 11145854"/>
                <a:gd name="connsiteX38" fmla="*/ 6745471 w 16682562"/>
                <a:gd name="connsiteY38" fmla="*/ 2086573 h 11145854"/>
                <a:gd name="connsiteX39" fmla="*/ 6890140 w 16682562"/>
                <a:gd name="connsiteY39" fmla="*/ 1236697 h 11145854"/>
                <a:gd name="connsiteX40" fmla="*/ 7568305 w 16682562"/>
                <a:gd name="connsiteY40" fmla="*/ 667103 h 11145854"/>
                <a:gd name="connsiteX41" fmla="*/ 8502979 w 16682562"/>
                <a:gd name="connsiteY41" fmla="*/ 0 h 11145854"/>
                <a:gd name="connsiteX42" fmla="*/ 8856118 w 16682562"/>
                <a:gd name="connsiteY42" fmla="*/ 605946 h 11145854"/>
                <a:gd name="connsiteX43" fmla="*/ 9078849 w 16682562"/>
                <a:gd name="connsiteY43" fmla="*/ 1219510 h 11145854"/>
                <a:gd name="connsiteX44" fmla="*/ 9086459 w 16682562"/>
                <a:gd name="connsiteY44" fmla="*/ 1767488 h 11145854"/>
                <a:gd name="connsiteX45" fmla="*/ 9761321 w 16682562"/>
                <a:gd name="connsiteY45" fmla="*/ 1670342 h 11145854"/>
                <a:gd name="connsiteX46" fmla="*/ 10152517 w 16682562"/>
                <a:gd name="connsiteY46" fmla="*/ 2468612 h 11145854"/>
                <a:gd name="connsiteX47" fmla="*/ 11109603 w 16682562"/>
                <a:gd name="connsiteY47" fmla="*/ 2840086 h 11145854"/>
                <a:gd name="connsiteX48" fmla="*/ 11919572 w 16682562"/>
                <a:gd name="connsiteY48" fmla="*/ 3113608 h 11145854"/>
                <a:gd name="connsiteX49" fmla="*/ 12868275 w 16682562"/>
                <a:gd name="connsiteY49" fmla="*/ 2868397 h 11145854"/>
                <a:gd name="connsiteX50" fmla="*/ 13844296 w 16682562"/>
                <a:gd name="connsiteY50" fmla="*/ 2266562 h 11145854"/>
                <a:gd name="connsiteX51" fmla="*/ 13886291 w 16682562"/>
                <a:gd name="connsiteY51" fmla="*/ 1432194 h 11145854"/>
                <a:gd name="connsiteX52" fmla="*/ 14370431 w 16682562"/>
                <a:gd name="connsiteY52" fmla="*/ 1940546 h 11145854"/>
                <a:gd name="connsiteX53" fmla="*/ 15323320 w 16682562"/>
                <a:gd name="connsiteY53" fmla="*/ 2038819 h 11145854"/>
                <a:gd name="connsiteX54" fmla="*/ 16350939 w 16682562"/>
                <a:gd name="connsiteY54" fmla="*/ 2163678 h 11145854"/>
                <a:gd name="connsiteX55" fmla="*/ 16362364 w 16682562"/>
                <a:gd name="connsiteY55" fmla="*/ 2470958 h 11145854"/>
                <a:gd name="connsiteX56" fmla="*/ 16682563 w 16682562"/>
                <a:gd name="connsiteY56" fmla="*/ 2908861 h 11145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6682562" h="11145854">
                  <a:moveTo>
                    <a:pt x="16682563" y="2908861"/>
                  </a:moveTo>
                  <a:lnTo>
                    <a:pt x="16432262" y="3936247"/>
                  </a:lnTo>
                  <a:lnTo>
                    <a:pt x="16106317" y="4477551"/>
                  </a:lnTo>
                  <a:lnTo>
                    <a:pt x="16305649" y="4864880"/>
                  </a:lnTo>
                  <a:lnTo>
                    <a:pt x="16287189" y="5261487"/>
                  </a:lnTo>
                  <a:lnTo>
                    <a:pt x="16372801" y="5827752"/>
                  </a:lnTo>
                  <a:lnTo>
                    <a:pt x="16070155" y="6048138"/>
                  </a:lnTo>
                  <a:lnTo>
                    <a:pt x="15805690" y="6542329"/>
                  </a:lnTo>
                  <a:lnTo>
                    <a:pt x="15195097" y="6204072"/>
                  </a:lnTo>
                  <a:lnTo>
                    <a:pt x="15011380" y="7158922"/>
                  </a:lnTo>
                  <a:lnTo>
                    <a:pt x="14908430" y="8047817"/>
                  </a:lnTo>
                  <a:cubicBezTo>
                    <a:pt x="14907181" y="8322297"/>
                    <a:pt x="14905933" y="8596776"/>
                    <a:pt x="14904684" y="8871256"/>
                  </a:cubicBezTo>
                  <a:lnTo>
                    <a:pt x="14962237" y="10899713"/>
                  </a:lnTo>
                  <a:lnTo>
                    <a:pt x="12952786" y="10952929"/>
                  </a:lnTo>
                  <a:lnTo>
                    <a:pt x="11934663" y="11001179"/>
                  </a:lnTo>
                  <a:lnTo>
                    <a:pt x="8506848" y="11145854"/>
                  </a:lnTo>
                  <a:lnTo>
                    <a:pt x="7985095" y="10500772"/>
                  </a:lnTo>
                  <a:lnTo>
                    <a:pt x="7400308" y="10470627"/>
                  </a:lnTo>
                  <a:lnTo>
                    <a:pt x="6972273" y="10741924"/>
                  </a:lnTo>
                  <a:lnTo>
                    <a:pt x="5181729" y="10657525"/>
                  </a:lnTo>
                  <a:lnTo>
                    <a:pt x="4397998" y="10024508"/>
                  </a:lnTo>
                  <a:lnTo>
                    <a:pt x="2908896" y="9216654"/>
                  </a:lnTo>
                  <a:lnTo>
                    <a:pt x="1263043" y="8505261"/>
                  </a:lnTo>
                  <a:lnTo>
                    <a:pt x="485320" y="8053104"/>
                  </a:lnTo>
                  <a:lnTo>
                    <a:pt x="0" y="7759992"/>
                  </a:lnTo>
                  <a:lnTo>
                    <a:pt x="1003686" y="7014027"/>
                  </a:lnTo>
                  <a:lnTo>
                    <a:pt x="2902551" y="5829628"/>
                  </a:lnTo>
                  <a:lnTo>
                    <a:pt x="2558940" y="5296197"/>
                  </a:lnTo>
                  <a:lnTo>
                    <a:pt x="2402508" y="4609114"/>
                  </a:lnTo>
                  <a:lnTo>
                    <a:pt x="2730740" y="4581943"/>
                  </a:lnTo>
                  <a:lnTo>
                    <a:pt x="2947754" y="4111798"/>
                  </a:lnTo>
                  <a:lnTo>
                    <a:pt x="3499325" y="3668781"/>
                  </a:lnTo>
                  <a:lnTo>
                    <a:pt x="3680166" y="2791783"/>
                  </a:lnTo>
                  <a:lnTo>
                    <a:pt x="4186528" y="2800819"/>
                  </a:lnTo>
                  <a:lnTo>
                    <a:pt x="4837569" y="3270969"/>
                  </a:lnTo>
                  <a:lnTo>
                    <a:pt x="5352976" y="3189602"/>
                  </a:lnTo>
                  <a:lnTo>
                    <a:pt x="5741786" y="2818907"/>
                  </a:lnTo>
                  <a:lnTo>
                    <a:pt x="6157723" y="2656166"/>
                  </a:lnTo>
                  <a:lnTo>
                    <a:pt x="6745471" y="2086573"/>
                  </a:lnTo>
                  <a:lnTo>
                    <a:pt x="6890140" y="1236697"/>
                  </a:lnTo>
                  <a:lnTo>
                    <a:pt x="7568305" y="667103"/>
                  </a:lnTo>
                  <a:lnTo>
                    <a:pt x="8502979" y="0"/>
                  </a:lnTo>
                  <a:lnTo>
                    <a:pt x="8856118" y="605946"/>
                  </a:lnTo>
                  <a:lnTo>
                    <a:pt x="9078849" y="1219510"/>
                  </a:lnTo>
                  <a:lnTo>
                    <a:pt x="9086459" y="1767488"/>
                  </a:lnTo>
                  <a:lnTo>
                    <a:pt x="9761321" y="1670342"/>
                  </a:lnTo>
                  <a:lnTo>
                    <a:pt x="10152517" y="2468612"/>
                  </a:lnTo>
                  <a:lnTo>
                    <a:pt x="11109603" y="2840086"/>
                  </a:lnTo>
                  <a:lnTo>
                    <a:pt x="11919572" y="3113608"/>
                  </a:lnTo>
                  <a:lnTo>
                    <a:pt x="12868275" y="2868397"/>
                  </a:lnTo>
                  <a:lnTo>
                    <a:pt x="13844296" y="2266562"/>
                  </a:lnTo>
                  <a:lnTo>
                    <a:pt x="13886291" y="1432194"/>
                  </a:lnTo>
                  <a:lnTo>
                    <a:pt x="14370431" y="1940546"/>
                  </a:lnTo>
                  <a:lnTo>
                    <a:pt x="15323320" y="2038819"/>
                  </a:lnTo>
                  <a:lnTo>
                    <a:pt x="16350939" y="2163678"/>
                  </a:lnTo>
                  <a:lnTo>
                    <a:pt x="16362364" y="2470958"/>
                  </a:lnTo>
                  <a:lnTo>
                    <a:pt x="16682563" y="2908861"/>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12" name="任意多边形 100">
              <a:extLst>
                <a:ext uri="{FF2B5EF4-FFF2-40B4-BE49-F238E27FC236}">
                  <a16:creationId xmlns:a16="http://schemas.microsoft.com/office/drawing/2014/main" id="{EF3E51D7-1F81-3885-2BAE-FFF99CB9A495}"/>
                </a:ext>
              </a:extLst>
            </p:cNvPr>
            <p:cNvSpPr>
              <a:spLocks/>
            </p:cNvSpPr>
            <p:nvPr/>
          </p:nvSpPr>
          <p:spPr bwMode="auto">
            <a:xfrm>
              <a:off x="9033346" y="1396896"/>
              <a:ext cx="1968177" cy="2589199"/>
            </a:xfrm>
            <a:custGeom>
              <a:avLst/>
              <a:gdLst>
                <a:gd name="connsiteX0" fmla="*/ 477776 w 18447968"/>
                <a:gd name="connsiteY0" fmla="*/ 7436569 h 15946069"/>
                <a:gd name="connsiteX1" fmla="*/ 271294 w 18447968"/>
                <a:gd name="connsiteY1" fmla="*/ 8060457 h 15946069"/>
                <a:gd name="connsiteX2" fmla="*/ 379812 w 18447968"/>
                <a:gd name="connsiteY2" fmla="*/ 8675382 h 15946069"/>
                <a:gd name="connsiteX3" fmla="*/ 759624 w 18447968"/>
                <a:gd name="connsiteY3" fmla="*/ 9217969 h 15946069"/>
                <a:gd name="connsiteX4" fmla="*/ 687278 w 18447968"/>
                <a:gd name="connsiteY4" fmla="*/ 9670126 h 15946069"/>
                <a:gd name="connsiteX5" fmla="*/ 144687 w 18447968"/>
                <a:gd name="connsiteY5" fmla="*/ 9941420 h 15946069"/>
                <a:gd name="connsiteX6" fmla="*/ 343643 w 18447968"/>
                <a:gd name="connsiteY6" fmla="*/ 10592536 h 15946069"/>
                <a:gd name="connsiteX7" fmla="*/ 940487 w 18447968"/>
                <a:gd name="connsiteY7" fmla="*/ 10954252 h 15946069"/>
                <a:gd name="connsiteX8" fmla="*/ 596844 w 18447968"/>
                <a:gd name="connsiteY8" fmla="*/ 11786221 h 15946069"/>
                <a:gd name="connsiteX9" fmla="*/ 633017 w 18447968"/>
                <a:gd name="connsiteY9" fmla="*/ 12780969 h 15946069"/>
                <a:gd name="connsiteX10" fmla="*/ 198944 w 18447968"/>
                <a:gd name="connsiteY10" fmla="*/ 13341645 h 15946069"/>
                <a:gd name="connsiteX11" fmla="*/ 723451 w 18447968"/>
                <a:gd name="connsiteY11" fmla="*/ 13757629 h 15946069"/>
                <a:gd name="connsiteX12" fmla="*/ 1640036 w 18447968"/>
                <a:gd name="connsiteY12" fmla="*/ 13197151 h 15946069"/>
                <a:gd name="connsiteX13" fmla="*/ 1880971 w 18447968"/>
                <a:gd name="connsiteY13" fmla="*/ 13395906 h 15946069"/>
                <a:gd name="connsiteX14" fmla="*/ 2930086 w 18447968"/>
                <a:gd name="connsiteY14" fmla="*/ 12952832 h 15946069"/>
                <a:gd name="connsiteX15" fmla="*/ 3828256 w 18447968"/>
                <a:gd name="connsiteY15" fmla="*/ 13245188 h 15946069"/>
                <a:gd name="connsiteX16" fmla="*/ 4768739 w 18447968"/>
                <a:gd name="connsiteY16" fmla="*/ 13040205 h 15946069"/>
                <a:gd name="connsiteX17" fmla="*/ 5190751 w 18447968"/>
                <a:gd name="connsiteY17" fmla="*/ 13649115 h 15946069"/>
                <a:gd name="connsiteX18" fmla="*/ 5932290 w 18447968"/>
                <a:gd name="connsiteY18" fmla="*/ 13444132 h 15946069"/>
                <a:gd name="connsiteX19" fmla="*/ 6498992 w 18447968"/>
                <a:gd name="connsiteY19" fmla="*/ 12991975 h 15946069"/>
                <a:gd name="connsiteX20" fmla="*/ 7373161 w 18447968"/>
                <a:gd name="connsiteY20" fmla="*/ 13582800 h 15946069"/>
                <a:gd name="connsiteX21" fmla="*/ 8512588 w 18447968"/>
                <a:gd name="connsiteY21" fmla="*/ 13570738 h 15946069"/>
                <a:gd name="connsiteX22" fmla="*/ 9416903 w 18447968"/>
                <a:gd name="connsiteY22" fmla="*/ 13281357 h 15946069"/>
                <a:gd name="connsiteX23" fmla="*/ 9742454 w 18447968"/>
                <a:gd name="connsiteY23" fmla="*/ 14004811 h 15946069"/>
                <a:gd name="connsiteX24" fmla="*/ 10080066 w 18447968"/>
                <a:gd name="connsiteY24" fmla="*/ 14716204 h 15946069"/>
                <a:gd name="connsiteX25" fmla="*/ 10616683 w 18447968"/>
                <a:gd name="connsiteY25" fmla="*/ 15358294 h 15946069"/>
                <a:gd name="connsiteX26" fmla="*/ 11117010 w 18447968"/>
                <a:gd name="connsiteY26" fmla="*/ 15946069 h 15946069"/>
                <a:gd name="connsiteX27" fmla="*/ 11593335 w 18447968"/>
                <a:gd name="connsiteY27" fmla="*/ 15822497 h 15946069"/>
                <a:gd name="connsiteX28" fmla="*/ 11780218 w 18447968"/>
                <a:gd name="connsiteY28" fmla="*/ 13579811 h 15946069"/>
                <a:gd name="connsiteX29" fmla="*/ 11954994 w 18447968"/>
                <a:gd name="connsiteY29" fmla="*/ 12135890 h 15946069"/>
                <a:gd name="connsiteX30" fmla="*/ 12196146 w 18447968"/>
                <a:gd name="connsiteY30" fmla="*/ 11388328 h 15946069"/>
                <a:gd name="connsiteX31" fmla="*/ 13166775 w 18447968"/>
                <a:gd name="connsiteY31" fmla="*/ 11707856 h 15946069"/>
                <a:gd name="connsiteX32" fmla="*/ 14004775 w 18447968"/>
                <a:gd name="connsiteY32" fmla="*/ 11611395 h 15946069"/>
                <a:gd name="connsiteX33" fmla="*/ 14939235 w 18447968"/>
                <a:gd name="connsiteY33" fmla="*/ 11322014 h 15946069"/>
                <a:gd name="connsiteX34" fmla="*/ 15409477 w 18447968"/>
                <a:gd name="connsiteY34" fmla="*/ 11882693 h 15946069"/>
                <a:gd name="connsiteX35" fmla="*/ 15861634 w 18447968"/>
                <a:gd name="connsiteY35" fmla="*/ 11273783 h 15946069"/>
                <a:gd name="connsiteX36" fmla="*/ 16413199 w 18447968"/>
                <a:gd name="connsiteY36" fmla="*/ 10920339 h 15946069"/>
                <a:gd name="connsiteX37" fmla="*/ 16765948 w 18447968"/>
                <a:gd name="connsiteY37" fmla="*/ 10200671 h 15946069"/>
                <a:gd name="connsiteX38" fmla="*/ 16428336 w 18447968"/>
                <a:gd name="connsiteY38" fmla="*/ 9374732 h 15946069"/>
                <a:gd name="connsiteX39" fmla="*/ 15946033 w 18447968"/>
                <a:gd name="connsiteY39" fmla="*/ 8440272 h 15946069"/>
                <a:gd name="connsiteX40" fmla="*/ 16024409 w 18447968"/>
                <a:gd name="connsiteY40" fmla="*/ 7433474 h 15946069"/>
                <a:gd name="connsiteX41" fmla="*/ 16958870 w 18447968"/>
                <a:gd name="connsiteY41" fmla="*/ 6776350 h 15946069"/>
                <a:gd name="connsiteX42" fmla="*/ 17911414 w 18447968"/>
                <a:gd name="connsiteY42" fmla="*/ 6083041 h 15946069"/>
                <a:gd name="connsiteX43" fmla="*/ 17694370 w 18447968"/>
                <a:gd name="connsiteY43" fmla="*/ 5570592 h 15946069"/>
                <a:gd name="connsiteX44" fmla="*/ 17385711 w 18447968"/>
                <a:gd name="connsiteY44" fmla="*/ 5219213 h 15946069"/>
                <a:gd name="connsiteX45" fmla="*/ 17637701 w 18447968"/>
                <a:gd name="connsiteY45" fmla="*/ 4819407 h 15946069"/>
                <a:gd name="connsiteX46" fmla="*/ 18171858 w 18447968"/>
                <a:gd name="connsiteY46" fmla="*/ 4701949 h 15946069"/>
                <a:gd name="connsiteX47" fmla="*/ 18447970 w 18447968"/>
                <a:gd name="connsiteY47" fmla="*/ 4316604 h 15946069"/>
                <a:gd name="connsiteX48" fmla="*/ 17814953 w 18447968"/>
                <a:gd name="connsiteY48" fmla="*/ 4117660 h 15946069"/>
                <a:gd name="connsiteX49" fmla="*/ 17067422 w 18447968"/>
                <a:gd name="connsiteY49" fmla="*/ 3472551 h 15946069"/>
                <a:gd name="connsiteX50" fmla="*/ 16852763 w 18447968"/>
                <a:gd name="connsiteY50" fmla="*/ 3282076 h 15946069"/>
                <a:gd name="connsiteX51" fmla="*/ 16161870 w 18447968"/>
                <a:gd name="connsiteY51" fmla="*/ 4063407 h 15946069"/>
                <a:gd name="connsiteX52" fmla="*/ 14429201 w 18447968"/>
                <a:gd name="connsiteY52" fmla="*/ 4027238 h 15946069"/>
                <a:gd name="connsiteX53" fmla="*/ 13383819 w 18447968"/>
                <a:gd name="connsiteY53" fmla="*/ 2963756 h 15946069"/>
                <a:gd name="connsiteX54" fmla="*/ 12493981 w 18447968"/>
                <a:gd name="connsiteY54" fmla="*/ 2927587 h 15946069"/>
                <a:gd name="connsiteX55" fmla="*/ 11976717 w 18447968"/>
                <a:gd name="connsiteY55" fmla="*/ 2139025 h 15946069"/>
                <a:gd name="connsiteX56" fmla="*/ 11484768 w 18447968"/>
                <a:gd name="connsiteY56" fmla="*/ 1495155 h 15946069"/>
                <a:gd name="connsiteX57" fmla="*/ 10830043 w 18447968"/>
                <a:gd name="connsiteY57" fmla="*/ 1256418 h 15946069"/>
                <a:gd name="connsiteX58" fmla="*/ 10323633 w 18447968"/>
                <a:gd name="connsiteY58" fmla="*/ 1220249 h 15946069"/>
                <a:gd name="connsiteX59" fmla="*/ 9802745 w 18447968"/>
                <a:gd name="connsiteY59" fmla="*/ 1603676 h 15946069"/>
                <a:gd name="connsiteX60" fmla="*/ 9223982 w 18447968"/>
                <a:gd name="connsiteY60" fmla="*/ 1621761 h 15946069"/>
                <a:gd name="connsiteX61" fmla="*/ 8782678 w 18447968"/>
                <a:gd name="connsiteY61" fmla="*/ 2171586 h 15946069"/>
                <a:gd name="connsiteX62" fmla="*/ 8272645 w 18447968"/>
                <a:gd name="connsiteY62" fmla="*/ 2102856 h 15946069"/>
                <a:gd name="connsiteX63" fmla="*/ 7853048 w 18447968"/>
                <a:gd name="connsiteY63" fmla="*/ 2526075 h 15946069"/>
                <a:gd name="connsiteX64" fmla="*/ 7323799 w 18447968"/>
                <a:gd name="connsiteY64" fmla="*/ 2632907 h 15946069"/>
                <a:gd name="connsiteX65" fmla="*/ 6977672 w 18447968"/>
                <a:gd name="connsiteY65" fmla="*/ 2178817 h 15946069"/>
                <a:gd name="connsiteX66" fmla="*/ 6594245 w 18447968"/>
                <a:gd name="connsiteY66" fmla="*/ 2055834 h 15946069"/>
                <a:gd name="connsiteX67" fmla="*/ 6431470 w 18447968"/>
                <a:gd name="connsiteY67" fmla="*/ 1314295 h 15946069"/>
                <a:gd name="connsiteX68" fmla="*/ 5642908 w 18447968"/>
                <a:gd name="connsiteY68" fmla="*/ 1343233 h 15946069"/>
                <a:gd name="connsiteX69" fmla="*/ 5150959 w 18447968"/>
                <a:gd name="connsiteY69" fmla="*/ 1610907 h 15946069"/>
                <a:gd name="connsiteX70" fmla="*/ 5480133 w 18447968"/>
                <a:gd name="connsiteY70" fmla="*/ 2167963 h 15946069"/>
                <a:gd name="connsiteX71" fmla="*/ 4742216 w 18447968"/>
                <a:gd name="connsiteY71" fmla="*/ 2862495 h 15946069"/>
                <a:gd name="connsiteX72" fmla="*/ 2658667 w 18447968"/>
                <a:gd name="connsiteY72" fmla="*/ 0 h 15946069"/>
                <a:gd name="connsiteX73" fmla="*/ 2658682 w 18447968"/>
                <a:gd name="connsiteY73" fmla="*/ 1018890 h 15946069"/>
                <a:gd name="connsiteX74" fmla="*/ 1850829 w 18447968"/>
                <a:gd name="connsiteY74" fmla="*/ 1730283 h 15946069"/>
                <a:gd name="connsiteX75" fmla="*/ 1404694 w 18447968"/>
                <a:gd name="connsiteY75" fmla="*/ 2272862 h 15946069"/>
                <a:gd name="connsiteX76" fmla="*/ 2351216 w 18447968"/>
                <a:gd name="connsiteY76" fmla="*/ 3388182 h 15946069"/>
                <a:gd name="connsiteX77" fmla="*/ 2658682 w 18447968"/>
                <a:gd name="connsiteY77" fmla="*/ 4286458 h 15946069"/>
                <a:gd name="connsiteX78" fmla="*/ 1935228 w 18447968"/>
                <a:gd name="connsiteY78" fmla="*/ 5220918 h 15946069"/>
                <a:gd name="connsiteX79" fmla="*/ 875281 w 18447968"/>
                <a:gd name="connsiteY79" fmla="*/ 5166646 h 15946069"/>
                <a:gd name="connsiteX80" fmla="*/ 0 w 18447968"/>
                <a:gd name="connsiteY80" fmla="*/ 5890112 h 15946069"/>
                <a:gd name="connsiteX81" fmla="*/ 72345 w 18447968"/>
                <a:gd name="connsiteY81" fmla="*/ 6921032 h 15946069"/>
                <a:gd name="connsiteX82" fmla="*/ 477776 w 18447968"/>
                <a:gd name="connsiteY82" fmla="*/ 7436569 h 15946069"/>
                <a:gd name="connsiteX0" fmla="*/ 477776 w 18447968"/>
                <a:gd name="connsiteY0" fmla="*/ 7436569 h 15946069"/>
                <a:gd name="connsiteX1" fmla="*/ 271294 w 18447968"/>
                <a:gd name="connsiteY1" fmla="*/ 8060457 h 15946069"/>
                <a:gd name="connsiteX2" fmla="*/ 379812 w 18447968"/>
                <a:gd name="connsiteY2" fmla="*/ 8675382 h 15946069"/>
                <a:gd name="connsiteX3" fmla="*/ 759624 w 18447968"/>
                <a:gd name="connsiteY3" fmla="*/ 9217969 h 15946069"/>
                <a:gd name="connsiteX4" fmla="*/ 687278 w 18447968"/>
                <a:gd name="connsiteY4" fmla="*/ 9670126 h 15946069"/>
                <a:gd name="connsiteX5" fmla="*/ 144687 w 18447968"/>
                <a:gd name="connsiteY5" fmla="*/ 9941420 h 15946069"/>
                <a:gd name="connsiteX6" fmla="*/ 343643 w 18447968"/>
                <a:gd name="connsiteY6" fmla="*/ 10592536 h 15946069"/>
                <a:gd name="connsiteX7" fmla="*/ 940487 w 18447968"/>
                <a:gd name="connsiteY7" fmla="*/ 10954252 h 15946069"/>
                <a:gd name="connsiteX8" fmla="*/ 596844 w 18447968"/>
                <a:gd name="connsiteY8" fmla="*/ 11786221 h 15946069"/>
                <a:gd name="connsiteX9" fmla="*/ 633017 w 18447968"/>
                <a:gd name="connsiteY9" fmla="*/ 12780969 h 15946069"/>
                <a:gd name="connsiteX10" fmla="*/ 198944 w 18447968"/>
                <a:gd name="connsiteY10" fmla="*/ 13341645 h 15946069"/>
                <a:gd name="connsiteX11" fmla="*/ 723451 w 18447968"/>
                <a:gd name="connsiteY11" fmla="*/ 13757629 h 15946069"/>
                <a:gd name="connsiteX12" fmla="*/ 1640036 w 18447968"/>
                <a:gd name="connsiteY12" fmla="*/ 13197151 h 15946069"/>
                <a:gd name="connsiteX13" fmla="*/ 1880971 w 18447968"/>
                <a:gd name="connsiteY13" fmla="*/ 13395906 h 15946069"/>
                <a:gd name="connsiteX14" fmla="*/ 2930086 w 18447968"/>
                <a:gd name="connsiteY14" fmla="*/ 12952832 h 15946069"/>
                <a:gd name="connsiteX15" fmla="*/ 3828256 w 18447968"/>
                <a:gd name="connsiteY15" fmla="*/ 13245188 h 15946069"/>
                <a:gd name="connsiteX16" fmla="*/ 4768739 w 18447968"/>
                <a:gd name="connsiteY16" fmla="*/ 13040205 h 15946069"/>
                <a:gd name="connsiteX17" fmla="*/ 5190751 w 18447968"/>
                <a:gd name="connsiteY17" fmla="*/ 13649115 h 15946069"/>
                <a:gd name="connsiteX18" fmla="*/ 5932290 w 18447968"/>
                <a:gd name="connsiteY18" fmla="*/ 13444132 h 15946069"/>
                <a:gd name="connsiteX19" fmla="*/ 6498992 w 18447968"/>
                <a:gd name="connsiteY19" fmla="*/ 12991975 h 15946069"/>
                <a:gd name="connsiteX20" fmla="*/ 7373161 w 18447968"/>
                <a:gd name="connsiteY20" fmla="*/ 13582800 h 15946069"/>
                <a:gd name="connsiteX21" fmla="*/ 8512588 w 18447968"/>
                <a:gd name="connsiteY21" fmla="*/ 13570738 h 15946069"/>
                <a:gd name="connsiteX22" fmla="*/ 9416903 w 18447968"/>
                <a:gd name="connsiteY22" fmla="*/ 13281357 h 15946069"/>
                <a:gd name="connsiteX23" fmla="*/ 9742454 w 18447968"/>
                <a:gd name="connsiteY23" fmla="*/ 14004811 h 15946069"/>
                <a:gd name="connsiteX24" fmla="*/ 10080066 w 18447968"/>
                <a:gd name="connsiteY24" fmla="*/ 14716204 h 15946069"/>
                <a:gd name="connsiteX25" fmla="*/ 10616683 w 18447968"/>
                <a:gd name="connsiteY25" fmla="*/ 15358294 h 15946069"/>
                <a:gd name="connsiteX26" fmla="*/ 11117010 w 18447968"/>
                <a:gd name="connsiteY26" fmla="*/ 15946069 h 15946069"/>
                <a:gd name="connsiteX27" fmla="*/ 11593335 w 18447968"/>
                <a:gd name="connsiteY27" fmla="*/ 15822497 h 15946069"/>
                <a:gd name="connsiteX28" fmla="*/ 11780218 w 18447968"/>
                <a:gd name="connsiteY28" fmla="*/ 13579811 h 15946069"/>
                <a:gd name="connsiteX29" fmla="*/ 11954994 w 18447968"/>
                <a:gd name="connsiteY29" fmla="*/ 12135890 h 15946069"/>
                <a:gd name="connsiteX30" fmla="*/ 12196146 w 18447968"/>
                <a:gd name="connsiteY30" fmla="*/ 11388328 h 15946069"/>
                <a:gd name="connsiteX31" fmla="*/ 13166775 w 18447968"/>
                <a:gd name="connsiteY31" fmla="*/ 11707856 h 15946069"/>
                <a:gd name="connsiteX32" fmla="*/ 14004775 w 18447968"/>
                <a:gd name="connsiteY32" fmla="*/ 11611395 h 15946069"/>
                <a:gd name="connsiteX33" fmla="*/ 14939235 w 18447968"/>
                <a:gd name="connsiteY33" fmla="*/ 11322014 h 15946069"/>
                <a:gd name="connsiteX34" fmla="*/ 15409477 w 18447968"/>
                <a:gd name="connsiteY34" fmla="*/ 11882693 h 15946069"/>
                <a:gd name="connsiteX35" fmla="*/ 15861634 w 18447968"/>
                <a:gd name="connsiteY35" fmla="*/ 11273783 h 15946069"/>
                <a:gd name="connsiteX36" fmla="*/ 16413199 w 18447968"/>
                <a:gd name="connsiteY36" fmla="*/ 10920339 h 15946069"/>
                <a:gd name="connsiteX37" fmla="*/ 16765948 w 18447968"/>
                <a:gd name="connsiteY37" fmla="*/ 10200671 h 15946069"/>
                <a:gd name="connsiteX38" fmla="*/ 16428336 w 18447968"/>
                <a:gd name="connsiteY38" fmla="*/ 9374732 h 15946069"/>
                <a:gd name="connsiteX39" fmla="*/ 15946033 w 18447968"/>
                <a:gd name="connsiteY39" fmla="*/ 8440272 h 15946069"/>
                <a:gd name="connsiteX40" fmla="*/ 16024409 w 18447968"/>
                <a:gd name="connsiteY40" fmla="*/ 7433474 h 15946069"/>
                <a:gd name="connsiteX41" fmla="*/ 16958870 w 18447968"/>
                <a:gd name="connsiteY41" fmla="*/ 6776350 h 15946069"/>
                <a:gd name="connsiteX42" fmla="*/ 17911414 w 18447968"/>
                <a:gd name="connsiteY42" fmla="*/ 6083041 h 15946069"/>
                <a:gd name="connsiteX43" fmla="*/ 17694370 w 18447968"/>
                <a:gd name="connsiteY43" fmla="*/ 5570592 h 15946069"/>
                <a:gd name="connsiteX44" fmla="*/ 17385711 w 18447968"/>
                <a:gd name="connsiteY44" fmla="*/ 5219213 h 15946069"/>
                <a:gd name="connsiteX45" fmla="*/ 17637701 w 18447968"/>
                <a:gd name="connsiteY45" fmla="*/ 4819407 h 15946069"/>
                <a:gd name="connsiteX46" fmla="*/ 18171858 w 18447968"/>
                <a:gd name="connsiteY46" fmla="*/ 4701949 h 15946069"/>
                <a:gd name="connsiteX47" fmla="*/ 18447970 w 18447968"/>
                <a:gd name="connsiteY47" fmla="*/ 4316604 h 15946069"/>
                <a:gd name="connsiteX48" fmla="*/ 17814953 w 18447968"/>
                <a:gd name="connsiteY48" fmla="*/ 4117660 h 15946069"/>
                <a:gd name="connsiteX49" fmla="*/ 17067422 w 18447968"/>
                <a:gd name="connsiteY49" fmla="*/ 3472551 h 15946069"/>
                <a:gd name="connsiteX50" fmla="*/ 16852763 w 18447968"/>
                <a:gd name="connsiteY50" fmla="*/ 3282076 h 15946069"/>
                <a:gd name="connsiteX51" fmla="*/ 14429201 w 18447968"/>
                <a:gd name="connsiteY51" fmla="*/ 4027238 h 15946069"/>
                <a:gd name="connsiteX52" fmla="*/ 13383819 w 18447968"/>
                <a:gd name="connsiteY52" fmla="*/ 2963756 h 15946069"/>
                <a:gd name="connsiteX53" fmla="*/ 12493981 w 18447968"/>
                <a:gd name="connsiteY53" fmla="*/ 2927587 h 15946069"/>
                <a:gd name="connsiteX54" fmla="*/ 11976717 w 18447968"/>
                <a:gd name="connsiteY54" fmla="*/ 2139025 h 15946069"/>
                <a:gd name="connsiteX55" fmla="*/ 11484768 w 18447968"/>
                <a:gd name="connsiteY55" fmla="*/ 1495155 h 15946069"/>
                <a:gd name="connsiteX56" fmla="*/ 10830043 w 18447968"/>
                <a:gd name="connsiteY56" fmla="*/ 1256418 h 15946069"/>
                <a:gd name="connsiteX57" fmla="*/ 10323633 w 18447968"/>
                <a:gd name="connsiteY57" fmla="*/ 1220249 h 15946069"/>
                <a:gd name="connsiteX58" fmla="*/ 9802745 w 18447968"/>
                <a:gd name="connsiteY58" fmla="*/ 1603676 h 15946069"/>
                <a:gd name="connsiteX59" fmla="*/ 9223982 w 18447968"/>
                <a:gd name="connsiteY59" fmla="*/ 1621761 h 15946069"/>
                <a:gd name="connsiteX60" fmla="*/ 8782678 w 18447968"/>
                <a:gd name="connsiteY60" fmla="*/ 2171586 h 15946069"/>
                <a:gd name="connsiteX61" fmla="*/ 8272645 w 18447968"/>
                <a:gd name="connsiteY61" fmla="*/ 2102856 h 15946069"/>
                <a:gd name="connsiteX62" fmla="*/ 7853048 w 18447968"/>
                <a:gd name="connsiteY62" fmla="*/ 2526075 h 15946069"/>
                <a:gd name="connsiteX63" fmla="*/ 7323799 w 18447968"/>
                <a:gd name="connsiteY63" fmla="*/ 2632907 h 15946069"/>
                <a:gd name="connsiteX64" fmla="*/ 6977672 w 18447968"/>
                <a:gd name="connsiteY64" fmla="*/ 2178817 h 15946069"/>
                <a:gd name="connsiteX65" fmla="*/ 6594245 w 18447968"/>
                <a:gd name="connsiteY65" fmla="*/ 2055834 h 15946069"/>
                <a:gd name="connsiteX66" fmla="*/ 6431470 w 18447968"/>
                <a:gd name="connsiteY66" fmla="*/ 1314295 h 15946069"/>
                <a:gd name="connsiteX67" fmla="*/ 5642908 w 18447968"/>
                <a:gd name="connsiteY67" fmla="*/ 1343233 h 15946069"/>
                <a:gd name="connsiteX68" fmla="*/ 5150959 w 18447968"/>
                <a:gd name="connsiteY68" fmla="*/ 1610907 h 15946069"/>
                <a:gd name="connsiteX69" fmla="*/ 5480133 w 18447968"/>
                <a:gd name="connsiteY69" fmla="*/ 2167963 h 15946069"/>
                <a:gd name="connsiteX70" fmla="*/ 4742216 w 18447968"/>
                <a:gd name="connsiteY70" fmla="*/ 2862495 h 15946069"/>
                <a:gd name="connsiteX71" fmla="*/ 2658667 w 18447968"/>
                <a:gd name="connsiteY71" fmla="*/ 0 h 15946069"/>
                <a:gd name="connsiteX72" fmla="*/ 2658682 w 18447968"/>
                <a:gd name="connsiteY72" fmla="*/ 1018890 h 15946069"/>
                <a:gd name="connsiteX73" fmla="*/ 1850829 w 18447968"/>
                <a:gd name="connsiteY73" fmla="*/ 1730283 h 15946069"/>
                <a:gd name="connsiteX74" fmla="*/ 1404694 w 18447968"/>
                <a:gd name="connsiteY74" fmla="*/ 2272862 h 15946069"/>
                <a:gd name="connsiteX75" fmla="*/ 2351216 w 18447968"/>
                <a:gd name="connsiteY75" fmla="*/ 3388182 h 15946069"/>
                <a:gd name="connsiteX76" fmla="*/ 2658682 w 18447968"/>
                <a:gd name="connsiteY76" fmla="*/ 4286458 h 15946069"/>
                <a:gd name="connsiteX77" fmla="*/ 1935228 w 18447968"/>
                <a:gd name="connsiteY77" fmla="*/ 5220918 h 15946069"/>
                <a:gd name="connsiteX78" fmla="*/ 875281 w 18447968"/>
                <a:gd name="connsiteY78" fmla="*/ 5166646 h 15946069"/>
                <a:gd name="connsiteX79" fmla="*/ 0 w 18447968"/>
                <a:gd name="connsiteY79" fmla="*/ 5890112 h 15946069"/>
                <a:gd name="connsiteX80" fmla="*/ 72345 w 18447968"/>
                <a:gd name="connsiteY80" fmla="*/ 6921032 h 15946069"/>
                <a:gd name="connsiteX81" fmla="*/ 477776 w 18447968"/>
                <a:gd name="connsiteY81" fmla="*/ 7436569 h 15946069"/>
                <a:gd name="connsiteX0" fmla="*/ 477776 w 18447968"/>
                <a:gd name="connsiteY0" fmla="*/ 7436569 h 15946069"/>
                <a:gd name="connsiteX1" fmla="*/ 271294 w 18447968"/>
                <a:gd name="connsiteY1" fmla="*/ 8060457 h 15946069"/>
                <a:gd name="connsiteX2" fmla="*/ 379812 w 18447968"/>
                <a:gd name="connsiteY2" fmla="*/ 8675382 h 15946069"/>
                <a:gd name="connsiteX3" fmla="*/ 759624 w 18447968"/>
                <a:gd name="connsiteY3" fmla="*/ 9217969 h 15946069"/>
                <a:gd name="connsiteX4" fmla="*/ 687278 w 18447968"/>
                <a:gd name="connsiteY4" fmla="*/ 9670126 h 15946069"/>
                <a:gd name="connsiteX5" fmla="*/ 144687 w 18447968"/>
                <a:gd name="connsiteY5" fmla="*/ 9941420 h 15946069"/>
                <a:gd name="connsiteX6" fmla="*/ 343643 w 18447968"/>
                <a:gd name="connsiteY6" fmla="*/ 10592536 h 15946069"/>
                <a:gd name="connsiteX7" fmla="*/ 940487 w 18447968"/>
                <a:gd name="connsiteY7" fmla="*/ 10954252 h 15946069"/>
                <a:gd name="connsiteX8" fmla="*/ 596844 w 18447968"/>
                <a:gd name="connsiteY8" fmla="*/ 11786221 h 15946069"/>
                <a:gd name="connsiteX9" fmla="*/ 633017 w 18447968"/>
                <a:gd name="connsiteY9" fmla="*/ 12780969 h 15946069"/>
                <a:gd name="connsiteX10" fmla="*/ 198944 w 18447968"/>
                <a:gd name="connsiteY10" fmla="*/ 13341645 h 15946069"/>
                <a:gd name="connsiteX11" fmla="*/ 723451 w 18447968"/>
                <a:gd name="connsiteY11" fmla="*/ 13757629 h 15946069"/>
                <a:gd name="connsiteX12" fmla="*/ 1640036 w 18447968"/>
                <a:gd name="connsiteY12" fmla="*/ 13197151 h 15946069"/>
                <a:gd name="connsiteX13" fmla="*/ 1880971 w 18447968"/>
                <a:gd name="connsiteY13" fmla="*/ 13395906 h 15946069"/>
                <a:gd name="connsiteX14" fmla="*/ 2930086 w 18447968"/>
                <a:gd name="connsiteY14" fmla="*/ 12952832 h 15946069"/>
                <a:gd name="connsiteX15" fmla="*/ 3828256 w 18447968"/>
                <a:gd name="connsiteY15" fmla="*/ 13245188 h 15946069"/>
                <a:gd name="connsiteX16" fmla="*/ 4768739 w 18447968"/>
                <a:gd name="connsiteY16" fmla="*/ 13040205 h 15946069"/>
                <a:gd name="connsiteX17" fmla="*/ 5190751 w 18447968"/>
                <a:gd name="connsiteY17" fmla="*/ 13649115 h 15946069"/>
                <a:gd name="connsiteX18" fmla="*/ 5932290 w 18447968"/>
                <a:gd name="connsiteY18" fmla="*/ 13444132 h 15946069"/>
                <a:gd name="connsiteX19" fmla="*/ 6498992 w 18447968"/>
                <a:gd name="connsiteY19" fmla="*/ 12991975 h 15946069"/>
                <a:gd name="connsiteX20" fmla="*/ 7373161 w 18447968"/>
                <a:gd name="connsiteY20" fmla="*/ 13582800 h 15946069"/>
                <a:gd name="connsiteX21" fmla="*/ 8512588 w 18447968"/>
                <a:gd name="connsiteY21" fmla="*/ 13570738 h 15946069"/>
                <a:gd name="connsiteX22" fmla="*/ 9416903 w 18447968"/>
                <a:gd name="connsiteY22" fmla="*/ 13281357 h 15946069"/>
                <a:gd name="connsiteX23" fmla="*/ 9742454 w 18447968"/>
                <a:gd name="connsiteY23" fmla="*/ 14004811 h 15946069"/>
                <a:gd name="connsiteX24" fmla="*/ 10080066 w 18447968"/>
                <a:gd name="connsiteY24" fmla="*/ 14716204 h 15946069"/>
                <a:gd name="connsiteX25" fmla="*/ 10616683 w 18447968"/>
                <a:gd name="connsiteY25" fmla="*/ 15358294 h 15946069"/>
                <a:gd name="connsiteX26" fmla="*/ 11117010 w 18447968"/>
                <a:gd name="connsiteY26" fmla="*/ 15946069 h 15946069"/>
                <a:gd name="connsiteX27" fmla="*/ 11593335 w 18447968"/>
                <a:gd name="connsiteY27" fmla="*/ 15822497 h 15946069"/>
                <a:gd name="connsiteX28" fmla="*/ 11780218 w 18447968"/>
                <a:gd name="connsiteY28" fmla="*/ 13579811 h 15946069"/>
                <a:gd name="connsiteX29" fmla="*/ 11954994 w 18447968"/>
                <a:gd name="connsiteY29" fmla="*/ 12135890 h 15946069"/>
                <a:gd name="connsiteX30" fmla="*/ 12196146 w 18447968"/>
                <a:gd name="connsiteY30" fmla="*/ 11388328 h 15946069"/>
                <a:gd name="connsiteX31" fmla="*/ 13166775 w 18447968"/>
                <a:gd name="connsiteY31" fmla="*/ 11707856 h 15946069"/>
                <a:gd name="connsiteX32" fmla="*/ 14004775 w 18447968"/>
                <a:gd name="connsiteY32" fmla="*/ 11611395 h 15946069"/>
                <a:gd name="connsiteX33" fmla="*/ 14939235 w 18447968"/>
                <a:gd name="connsiteY33" fmla="*/ 11322014 h 15946069"/>
                <a:gd name="connsiteX34" fmla="*/ 15409477 w 18447968"/>
                <a:gd name="connsiteY34" fmla="*/ 11882693 h 15946069"/>
                <a:gd name="connsiteX35" fmla="*/ 15861634 w 18447968"/>
                <a:gd name="connsiteY35" fmla="*/ 11273783 h 15946069"/>
                <a:gd name="connsiteX36" fmla="*/ 16413199 w 18447968"/>
                <a:gd name="connsiteY36" fmla="*/ 10920339 h 15946069"/>
                <a:gd name="connsiteX37" fmla="*/ 16765948 w 18447968"/>
                <a:gd name="connsiteY37" fmla="*/ 10200671 h 15946069"/>
                <a:gd name="connsiteX38" fmla="*/ 16428336 w 18447968"/>
                <a:gd name="connsiteY38" fmla="*/ 9374732 h 15946069"/>
                <a:gd name="connsiteX39" fmla="*/ 15946033 w 18447968"/>
                <a:gd name="connsiteY39" fmla="*/ 8440272 h 15946069"/>
                <a:gd name="connsiteX40" fmla="*/ 16024409 w 18447968"/>
                <a:gd name="connsiteY40" fmla="*/ 7433474 h 15946069"/>
                <a:gd name="connsiteX41" fmla="*/ 16958870 w 18447968"/>
                <a:gd name="connsiteY41" fmla="*/ 6776350 h 15946069"/>
                <a:gd name="connsiteX42" fmla="*/ 17911414 w 18447968"/>
                <a:gd name="connsiteY42" fmla="*/ 6083041 h 15946069"/>
                <a:gd name="connsiteX43" fmla="*/ 17694370 w 18447968"/>
                <a:gd name="connsiteY43" fmla="*/ 5570592 h 15946069"/>
                <a:gd name="connsiteX44" fmla="*/ 17385711 w 18447968"/>
                <a:gd name="connsiteY44" fmla="*/ 5219213 h 15946069"/>
                <a:gd name="connsiteX45" fmla="*/ 17637701 w 18447968"/>
                <a:gd name="connsiteY45" fmla="*/ 4819407 h 15946069"/>
                <a:gd name="connsiteX46" fmla="*/ 18171858 w 18447968"/>
                <a:gd name="connsiteY46" fmla="*/ 4701949 h 15946069"/>
                <a:gd name="connsiteX47" fmla="*/ 18447970 w 18447968"/>
                <a:gd name="connsiteY47" fmla="*/ 4316604 h 15946069"/>
                <a:gd name="connsiteX48" fmla="*/ 17814953 w 18447968"/>
                <a:gd name="connsiteY48" fmla="*/ 4117660 h 15946069"/>
                <a:gd name="connsiteX49" fmla="*/ 16852763 w 18447968"/>
                <a:gd name="connsiteY49" fmla="*/ 3282076 h 15946069"/>
                <a:gd name="connsiteX50" fmla="*/ 14429201 w 18447968"/>
                <a:gd name="connsiteY50" fmla="*/ 4027238 h 15946069"/>
                <a:gd name="connsiteX51" fmla="*/ 13383819 w 18447968"/>
                <a:gd name="connsiteY51" fmla="*/ 2963756 h 15946069"/>
                <a:gd name="connsiteX52" fmla="*/ 12493981 w 18447968"/>
                <a:gd name="connsiteY52" fmla="*/ 2927587 h 15946069"/>
                <a:gd name="connsiteX53" fmla="*/ 11976717 w 18447968"/>
                <a:gd name="connsiteY53" fmla="*/ 2139025 h 15946069"/>
                <a:gd name="connsiteX54" fmla="*/ 11484768 w 18447968"/>
                <a:gd name="connsiteY54" fmla="*/ 1495155 h 15946069"/>
                <a:gd name="connsiteX55" fmla="*/ 10830043 w 18447968"/>
                <a:gd name="connsiteY55" fmla="*/ 1256418 h 15946069"/>
                <a:gd name="connsiteX56" fmla="*/ 10323633 w 18447968"/>
                <a:gd name="connsiteY56" fmla="*/ 1220249 h 15946069"/>
                <a:gd name="connsiteX57" fmla="*/ 9802745 w 18447968"/>
                <a:gd name="connsiteY57" fmla="*/ 1603676 h 15946069"/>
                <a:gd name="connsiteX58" fmla="*/ 9223982 w 18447968"/>
                <a:gd name="connsiteY58" fmla="*/ 1621761 h 15946069"/>
                <a:gd name="connsiteX59" fmla="*/ 8782678 w 18447968"/>
                <a:gd name="connsiteY59" fmla="*/ 2171586 h 15946069"/>
                <a:gd name="connsiteX60" fmla="*/ 8272645 w 18447968"/>
                <a:gd name="connsiteY60" fmla="*/ 2102856 h 15946069"/>
                <a:gd name="connsiteX61" fmla="*/ 7853048 w 18447968"/>
                <a:gd name="connsiteY61" fmla="*/ 2526075 h 15946069"/>
                <a:gd name="connsiteX62" fmla="*/ 7323799 w 18447968"/>
                <a:gd name="connsiteY62" fmla="*/ 2632907 h 15946069"/>
                <a:gd name="connsiteX63" fmla="*/ 6977672 w 18447968"/>
                <a:gd name="connsiteY63" fmla="*/ 2178817 h 15946069"/>
                <a:gd name="connsiteX64" fmla="*/ 6594245 w 18447968"/>
                <a:gd name="connsiteY64" fmla="*/ 2055834 h 15946069"/>
                <a:gd name="connsiteX65" fmla="*/ 6431470 w 18447968"/>
                <a:gd name="connsiteY65" fmla="*/ 1314295 h 15946069"/>
                <a:gd name="connsiteX66" fmla="*/ 5642908 w 18447968"/>
                <a:gd name="connsiteY66" fmla="*/ 1343233 h 15946069"/>
                <a:gd name="connsiteX67" fmla="*/ 5150959 w 18447968"/>
                <a:gd name="connsiteY67" fmla="*/ 1610907 h 15946069"/>
                <a:gd name="connsiteX68" fmla="*/ 5480133 w 18447968"/>
                <a:gd name="connsiteY68" fmla="*/ 2167963 h 15946069"/>
                <a:gd name="connsiteX69" fmla="*/ 4742216 w 18447968"/>
                <a:gd name="connsiteY69" fmla="*/ 2862495 h 15946069"/>
                <a:gd name="connsiteX70" fmla="*/ 2658667 w 18447968"/>
                <a:gd name="connsiteY70" fmla="*/ 0 h 15946069"/>
                <a:gd name="connsiteX71" fmla="*/ 2658682 w 18447968"/>
                <a:gd name="connsiteY71" fmla="*/ 1018890 h 15946069"/>
                <a:gd name="connsiteX72" fmla="*/ 1850829 w 18447968"/>
                <a:gd name="connsiteY72" fmla="*/ 1730283 h 15946069"/>
                <a:gd name="connsiteX73" fmla="*/ 1404694 w 18447968"/>
                <a:gd name="connsiteY73" fmla="*/ 2272862 h 15946069"/>
                <a:gd name="connsiteX74" fmla="*/ 2351216 w 18447968"/>
                <a:gd name="connsiteY74" fmla="*/ 3388182 h 15946069"/>
                <a:gd name="connsiteX75" fmla="*/ 2658682 w 18447968"/>
                <a:gd name="connsiteY75" fmla="*/ 4286458 h 15946069"/>
                <a:gd name="connsiteX76" fmla="*/ 1935228 w 18447968"/>
                <a:gd name="connsiteY76" fmla="*/ 5220918 h 15946069"/>
                <a:gd name="connsiteX77" fmla="*/ 875281 w 18447968"/>
                <a:gd name="connsiteY77" fmla="*/ 5166646 h 15946069"/>
                <a:gd name="connsiteX78" fmla="*/ 0 w 18447968"/>
                <a:gd name="connsiteY78" fmla="*/ 5890112 h 15946069"/>
                <a:gd name="connsiteX79" fmla="*/ 72345 w 18447968"/>
                <a:gd name="connsiteY79" fmla="*/ 6921032 h 15946069"/>
                <a:gd name="connsiteX80" fmla="*/ 477776 w 18447968"/>
                <a:gd name="connsiteY8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5946033 w 18171859"/>
                <a:gd name="connsiteY39" fmla="*/ 8440272 h 15946069"/>
                <a:gd name="connsiteX40" fmla="*/ 16024409 w 18171859"/>
                <a:gd name="connsiteY40" fmla="*/ 7433474 h 15946069"/>
                <a:gd name="connsiteX41" fmla="*/ 16958870 w 18171859"/>
                <a:gd name="connsiteY41" fmla="*/ 6776350 h 15946069"/>
                <a:gd name="connsiteX42" fmla="*/ 17911414 w 18171859"/>
                <a:gd name="connsiteY42" fmla="*/ 6083041 h 15946069"/>
                <a:gd name="connsiteX43" fmla="*/ 17694370 w 18171859"/>
                <a:gd name="connsiteY43" fmla="*/ 5570592 h 15946069"/>
                <a:gd name="connsiteX44" fmla="*/ 17385711 w 18171859"/>
                <a:gd name="connsiteY44" fmla="*/ 5219213 h 15946069"/>
                <a:gd name="connsiteX45" fmla="*/ 17637701 w 18171859"/>
                <a:gd name="connsiteY45" fmla="*/ 4819407 h 15946069"/>
                <a:gd name="connsiteX46" fmla="*/ 18171858 w 18171859"/>
                <a:gd name="connsiteY46" fmla="*/ 4701949 h 15946069"/>
                <a:gd name="connsiteX47" fmla="*/ 17814953 w 18171859"/>
                <a:gd name="connsiteY47" fmla="*/ 4117660 h 15946069"/>
                <a:gd name="connsiteX48" fmla="*/ 16852763 w 18171859"/>
                <a:gd name="connsiteY48" fmla="*/ 3282076 h 15946069"/>
                <a:gd name="connsiteX49" fmla="*/ 14429201 w 18171859"/>
                <a:gd name="connsiteY49" fmla="*/ 4027238 h 15946069"/>
                <a:gd name="connsiteX50" fmla="*/ 13383819 w 18171859"/>
                <a:gd name="connsiteY50" fmla="*/ 2963756 h 15946069"/>
                <a:gd name="connsiteX51" fmla="*/ 12493981 w 18171859"/>
                <a:gd name="connsiteY51" fmla="*/ 2927587 h 15946069"/>
                <a:gd name="connsiteX52" fmla="*/ 11976717 w 18171859"/>
                <a:gd name="connsiteY52" fmla="*/ 2139025 h 15946069"/>
                <a:gd name="connsiteX53" fmla="*/ 11484768 w 18171859"/>
                <a:gd name="connsiteY53" fmla="*/ 1495155 h 15946069"/>
                <a:gd name="connsiteX54" fmla="*/ 10830043 w 18171859"/>
                <a:gd name="connsiteY54" fmla="*/ 1256418 h 15946069"/>
                <a:gd name="connsiteX55" fmla="*/ 10323633 w 18171859"/>
                <a:gd name="connsiteY55" fmla="*/ 1220249 h 15946069"/>
                <a:gd name="connsiteX56" fmla="*/ 9802745 w 18171859"/>
                <a:gd name="connsiteY56" fmla="*/ 1603676 h 15946069"/>
                <a:gd name="connsiteX57" fmla="*/ 9223982 w 18171859"/>
                <a:gd name="connsiteY57" fmla="*/ 1621761 h 15946069"/>
                <a:gd name="connsiteX58" fmla="*/ 8782678 w 18171859"/>
                <a:gd name="connsiteY58" fmla="*/ 2171586 h 15946069"/>
                <a:gd name="connsiteX59" fmla="*/ 8272645 w 18171859"/>
                <a:gd name="connsiteY59" fmla="*/ 2102856 h 15946069"/>
                <a:gd name="connsiteX60" fmla="*/ 7853048 w 18171859"/>
                <a:gd name="connsiteY60" fmla="*/ 2526075 h 15946069"/>
                <a:gd name="connsiteX61" fmla="*/ 7323799 w 18171859"/>
                <a:gd name="connsiteY61" fmla="*/ 2632907 h 15946069"/>
                <a:gd name="connsiteX62" fmla="*/ 6977672 w 18171859"/>
                <a:gd name="connsiteY62" fmla="*/ 2178817 h 15946069"/>
                <a:gd name="connsiteX63" fmla="*/ 6594245 w 18171859"/>
                <a:gd name="connsiteY63" fmla="*/ 2055834 h 15946069"/>
                <a:gd name="connsiteX64" fmla="*/ 6431470 w 18171859"/>
                <a:gd name="connsiteY64" fmla="*/ 1314295 h 15946069"/>
                <a:gd name="connsiteX65" fmla="*/ 5642908 w 18171859"/>
                <a:gd name="connsiteY65" fmla="*/ 1343233 h 15946069"/>
                <a:gd name="connsiteX66" fmla="*/ 5150959 w 18171859"/>
                <a:gd name="connsiteY66" fmla="*/ 1610907 h 15946069"/>
                <a:gd name="connsiteX67" fmla="*/ 5480133 w 18171859"/>
                <a:gd name="connsiteY67" fmla="*/ 2167963 h 15946069"/>
                <a:gd name="connsiteX68" fmla="*/ 4742216 w 18171859"/>
                <a:gd name="connsiteY68" fmla="*/ 2862495 h 15946069"/>
                <a:gd name="connsiteX69" fmla="*/ 2658667 w 18171859"/>
                <a:gd name="connsiteY69" fmla="*/ 0 h 15946069"/>
                <a:gd name="connsiteX70" fmla="*/ 2658682 w 18171859"/>
                <a:gd name="connsiteY70" fmla="*/ 1018890 h 15946069"/>
                <a:gd name="connsiteX71" fmla="*/ 1850829 w 18171859"/>
                <a:gd name="connsiteY71" fmla="*/ 1730283 h 15946069"/>
                <a:gd name="connsiteX72" fmla="*/ 1404694 w 18171859"/>
                <a:gd name="connsiteY72" fmla="*/ 2272862 h 15946069"/>
                <a:gd name="connsiteX73" fmla="*/ 2351216 w 18171859"/>
                <a:gd name="connsiteY73" fmla="*/ 3388182 h 15946069"/>
                <a:gd name="connsiteX74" fmla="*/ 2658682 w 18171859"/>
                <a:gd name="connsiteY74" fmla="*/ 4286458 h 15946069"/>
                <a:gd name="connsiteX75" fmla="*/ 1935228 w 18171859"/>
                <a:gd name="connsiteY75" fmla="*/ 5220918 h 15946069"/>
                <a:gd name="connsiteX76" fmla="*/ 875281 w 18171859"/>
                <a:gd name="connsiteY76" fmla="*/ 5166646 h 15946069"/>
                <a:gd name="connsiteX77" fmla="*/ 0 w 18171859"/>
                <a:gd name="connsiteY77" fmla="*/ 5890112 h 15946069"/>
                <a:gd name="connsiteX78" fmla="*/ 72345 w 18171859"/>
                <a:gd name="connsiteY78" fmla="*/ 6921032 h 15946069"/>
                <a:gd name="connsiteX79" fmla="*/ 477776 w 18171859"/>
                <a:gd name="connsiteY79"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5946033 w 18171859"/>
                <a:gd name="connsiteY39" fmla="*/ 8440272 h 15946069"/>
                <a:gd name="connsiteX40" fmla="*/ 16024409 w 18171859"/>
                <a:gd name="connsiteY40" fmla="*/ 7433474 h 15946069"/>
                <a:gd name="connsiteX41" fmla="*/ 16958870 w 18171859"/>
                <a:gd name="connsiteY41" fmla="*/ 6776350 h 15946069"/>
                <a:gd name="connsiteX42" fmla="*/ 17911414 w 18171859"/>
                <a:gd name="connsiteY42" fmla="*/ 6083041 h 15946069"/>
                <a:gd name="connsiteX43" fmla="*/ 17694370 w 18171859"/>
                <a:gd name="connsiteY43" fmla="*/ 5570592 h 15946069"/>
                <a:gd name="connsiteX44" fmla="*/ 17385711 w 18171859"/>
                <a:gd name="connsiteY44" fmla="*/ 5219213 h 15946069"/>
                <a:gd name="connsiteX45" fmla="*/ 18171858 w 18171859"/>
                <a:gd name="connsiteY45" fmla="*/ 4701949 h 15946069"/>
                <a:gd name="connsiteX46" fmla="*/ 17814953 w 18171859"/>
                <a:gd name="connsiteY46" fmla="*/ 4117660 h 15946069"/>
                <a:gd name="connsiteX47" fmla="*/ 16852763 w 18171859"/>
                <a:gd name="connsiteY47" fmla="*/ 3282076 h 15946069"/>
                <a:gd name="connsiteX48" fmla="*/ 14429201 w 18171859"/>
                <a:gd name="connsiteY48" fmla="*/ 4027238 h 15946069"/>
                <a:gd name="connsiteX49" fmla="*/ 13383819 w 18171859"/>
                <a:gd name="connsiteY49" fmla="*/ 2963756 h 15946069"/>
                <a:gd name="connsiteX50" fmla="*/ 12493981 w 18171859"/>
                <a:gd name="connsiteY50" fmla="*/ 2927587 h 15946069"/>
                <a:gd name="connsiteX51" fmla="*/ 11976717 w 18171859"/>
                <a:gd name="connsiteY51" fmla="*/ 2139025 h 15946069"/>
                <a:gd name="connsiteX52" fmla="*/ 11484768 w 18171859"/>
                <a:gd name="connsiteY52" fmla="*/ 1495155 h 15946069"/>
                <a:gd name="connsiteX53" fmla="*/ 10830043 w 18171859"/>
                <a:gd name="connsiteY53" fmla="*/ 1256418 h 15946069"/>
                <a:gd name="connsiteX54" fmla="*/ 10323633 w 18171859"/>
                <a:gd name="connsiteY54" fmla="*/ 1220249 h 15946069"/>
                <a:gd name="connsiteX55" fmla="*/ 9802745 w 18171859"/>
                <a:gd name="connsiteY55" fmla="*/ 1603676 h 15946069"/>
                <a:gd name="connsiteX56" fmla="*/ 9223982 w 18171859"/>
                <a:gd name="connsiteY56" fmla="*/ 1621761 h 15946069"/>
                <a:gd name="connsiteX57" fmla="*/ 8782678 w 18171859"/>
                <a:gd name="connsiteY57" fmla="*/ 2171586 h 15946069"/>
                <a:gd name="connsiteX58" fmla="*/ 8272645 w 18171859"/>
                <a:gd name="connsiteY58" fmla="*/ 2102856 h 15946069"/>
                <a:gd name="connsiteX59" fmla="*/ 7853048 w 18171859"/>
                <a:gd name="connsiteY59" fmla="*/ 2526075 h 15946069"/>
                <a:gd name="connsiteX60" fmla="*/ 7323799 w 18171859"/>
                <a:gd name="connsiteY60" fmla="*/ 2632907 h 15946069"/>
                <a:gd name="connsiteX61" fmla="*/ 6977672 w 18171859"/>
                <a:gd name="connsiteY61" fmla="*/ 2178817 h 15946069"/>
                <a:gd name="connsiteX62" fmla="*/ 6594245 w 18171859"/>
                <a:gd name="connsiteY62" fmla="*/ 2055834 h 15946069"/>
                <a:gd name="connsiteX63" fmla="*/ 6431470 w 18171859"/>
                <a:gd name="connsiteY63" fmla="*/ 1314295 h 15946069"/>
                <a:gd name="connsiteX64" fmla="*/ 5642908 w 18171859"/>
                <a:gd name="connsiteY64" fmla="*/ 1343233 h 15946069"/>
                <a:gd name="connsiteX65" fmla="*/ 5150959 w 18171859"/>
                <a:gd name="connsiteY65" fmla="*/ 1610907 h 15946069"/>
                <a:gd name="connsiteX66" fmla="*/ 5480133 w 18171859"/>
                <a:gd name="connsiteY66" fmla="*/ 2167963 h 15946069"/>
                <a:gd name="connsiteX67" fmla="*/ 4742216 w 18171859"/>
                <a:gd name="connsiteY67" fmla="*/ 2862495 h 15946069"/>
                <a:gd name="connsiteX68" fmla="*/ 2658667 w 18171859"/>
                <a:gd name="connsiteY68" fmla="*/ 0 h 15946069"/>
                <a:gd name="connsiteX69" fmla="*/ 2658682 w 18171859"/>
                <a:gd name="connsiteY69" fmla="*/ 1018890 h 15946069"/>
                <a:gd name="connsiteX70" fmla="*/ 1850829 w 18171859"/>
                <a:gd name="connsiteY70" fmla="*/ 1730283 h 15946069"/>
                <a:gd name="connsiteX71" fmla="*/ 1404694 w 18171859"/>
                <a:gd name="connsiteY71" fmla="*/ 2272862 h 15946069"/>
                <a:gd name="connsiteX72" fmla="*/ 2351216 w 18171859"/>
                <a:gd name="connsiteY72" fmla="*/ 3388182 h 15946069"/>
                <a:gd name="connsiteX73" fmla="*/ 2658682 w 18171859"/>
                <a:gd name="connsiteY73" fmla="*/ 4286458 h 15946069"/>
                <a:gd name="connsiteX74" fmla="*/ 1935228 w 18171859"/>
                <a:gd name="connsiteY74" fmla="*/ 5220918 h 15946069"/>
                <a:gd name="connsiteX75" fmla="*/ 875281 w 18171859"/>
                <a:gd name="connsiteY75" fmla="*/ 5166646 h 15946069"/>
                <a:gd name="connsiteX76" fmla="*/ 0 w 18171859"/>
                <a:gd name="connsiteY76" fmla="*/ 5890112 h 15946069"/>
                <a:gd name="connsiteX77" fmla="*/ 72345 w 18171859"/>
                <a:gd name="connsiteY77" fmla="*/ 6921032 h 15946069"/>
                <a:gd name="connsiteX78" fmla="*/ 477776 w 18171859"/>
                <a:gd name="connsiteY78"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5946033 w 18171859"/>
                <a:gd name="connsiteY39" fmla="*/ 8440272 h 15946069"/>
                <a:gd name="connsiteX40" fmla="*/ 16024409 w 18171859"/>
                <a:gd name="connsiteY40" fmla="*/ 7433474 h 15946069"/>
                <a:gd name="connsiteX41" fmla="*/ 16958870 w 18171859"/>
                <a:gd name="connsiteY41" fmla="*/ 6776350 h 15946069"/>
                <a:gd name="connsiteX42" fmla="*/ 17911414 w 18171859"/>
                <a:gd name="connsiteY42" fmla="*/ 6083041 h 15946069"/>
                <a:gd name="connsiteX43" fmla="*/ 17385711 w 18171859"/>
                <a:gd name="connsiteY43" fmla="*/ 5219213 h 15946069"/>
                <a:gd name="connsiteX44" fmla="*/ 18171858 w 18171859"/>
                <a:gd name="connsiteY44" fmla="*/ 4701949 h 15946069"/>
                <a:gd name="connsiteX45" fmla="*/ 17814953 w 18171859"/>
                <a:gd name="connsiteY45" fmla="*/ 4117660 h 15946069"/>
                <a:gd name="connsiteX46" fmla="*/ 16852763 w 18171859"/>
                <a:gd name="connsiteY46" fmla="*/ 3282076 h 15946069"/>
                <a:gd name="connsiteX47" fmla="*/ 14429201 w 18171859"/>
                <a:gd name="connsiteY47" fmla="*/ 4027238 h 15946069"/>
                <a:gd name="connsiteX48" fmla="*/ 13383819 w 18171859"/>
                <a:gd name="connsiteY48" fmla="*/ 2963756 h 15946069"/>
                <a:gd name="connsiteX49" fmla="*/ 12493981 w 18171859"/>
                <a:gd name="connsiteY49" fmla="*/ 2927587 h 15946069"/>
                <a:gd name="connsiteX50" fmla="*/ 11976717 w 18171859"/>
                <a:gd name="connsiteY50" fmla="*/ 2139025 h 15946069"/>
                <a:gd name="connsiteX51" fmla="*/ 11484768 w 18171859"/>
                <a:gd name="connsiteY51" fmla="*/ 1495155 h 15946069"/>
                <a:gd name="connsiteX52" fmla="*/ 10830043 w 18171859"/>
                <a:gd name="connsiteY52" fmla="*/ 1256418 h 15946069"/>
                <a:gd name="connsiteX53" fmla="*/ 10323633 w 18171859"/>
                <a:gd name="connsiteY53" fmla="*/ 1220249 h 15946069"/>
                <a:gd name="connsiteX54" fmla="*/ 9802745 w 18171859"/>
                <a:gd name="connsiteY54" fmla="*/ 1603676 h 15946069"/>
                <a:gd name="connsiteX55" fmla="*/ 9223982 w 18171859"/>
                <a:gd name="connsiteY55" fmla="*/ 1621761 h 15946069"/>
                <a:gd name="connsiteX56" fmla="*/ 8782678 w 18171859"/>
                <a:gd name="connsiteY56" fmla="*/ 2171586 h 15946069"/>
                <a:gd name="connsiteX57" fmla="*/ 8272645 w 18171859"/>
                <a:gd name="connsiteY57" fmla="*/ 2102856 h 15946069"/>
                <a:gd name="connsiteX58" fmla="*/ 7853048 w 18171859"/>
                <a:gd name="connsiteY58" fmla="*/ 2526075 h 15946069"/>
                <a:gd name="connsiteX59" fmla="*/ 7323799 w 18171859"/>
                <a:gd name="connsiteY59" fmla="*/ 2632907 h 15946069"/>
                <a:gd name="connsiteX60" fmla="*/ 6977672 w 18171859"/>
                <a:gd name="connsiteY60" fmla="*/ 2178817 h 15946069"/>
                <a:gd name="connsiteX61" fmla="*/ 6594245 w 18171859"/>
                <a:gd name="connsiteY61" fmla="*/ 2055834 h 15946069"/>
                <a:gd name="connsiteX62" fmla="*/ 6431470 w 18171859"/>
                <a:gd name="connsiteY62" fmla="*/ 1314295 h 15946069"/>
                <a:gd name="connsiteX63" fmla="*/ 5642908 w 18171859"/>
                <a:gd name="connsiteY63" fmla="*/ 1343233 h 15946069"/>
                <a:gd name="connsiteX64" fmla="*/ 5150959 w 18171859"/>
                <a:gd name="connsiteY64" fmla="*/ 1610907 h 15946069"/>
                <a:gd name="connsiteX65" fmla="*/ 5480133 w 18171859"/>
                <a:gd name="connsiteY65" fmla="*/ 2167963 h 15946069"/>
                <a:gd name="connsiteX66" fmla="*/ 4742216 w 18171859"/>
                <a:gd name="connsiteY66" fmla="*/ 2862495 h 15946069"/>
                <a:gd name="connsiteX67" fmla="*/ 2658667 w 18171859"/>
                <a:gd name="connsiteY67" fmla="*/ 0 h 15946069"/>
                <a:gd name="connsiteX68" fmla="*/ 2658682 w 18171859"/>
                <a:gd name="connsiteY68" fmla="*/ 1018890 h 15946069"/>
                <a:gd name="connsiteX69" fmla="*/ 1850829 w 18171859"/>
                <a:gd name="connsiteY69" fmla="*/ 1730283 h 15946069"/>
                <a:gd name="connsiteX70" fmla="*/ 1404694 w 18171859"/>
                <a:gd name="connsiteY70" fmla="*/ 2272862 h 15946069"/>
                <a:gd name="connsiteX71" fmla="*/ 2351216 w 18171859"/>
                <a:gd name="connsiteY71" fmla="*/ 3388182 h 15946069"/>
                <a:gd name="connsiteX72" fmla="*/ 2658682 w 18171859"/>
                <a:gd name="connsiteY72" fmla="*/ 4286458 h 15946069"/>
                <a:gd name="connsiteX73" fmla="*/ 1935228 w 18171859"/>
                <a:gd name="connsiteY73" fmla="*/ 5220918 h 15946069"/>
                <a:gd name="connsiteX74" fmla="*/ 875281 w 18171859"/>
                <a:gd name="connsiteY74" fmla="*/ 5166646 h 15946069"/>
                <a:gd name="connsiteX75" fmla="*/ 0 w 18171859"/>
                <a:gd name="connsiteY75" fmla="*/ 5890112 h 15946069"/>
                <a:gd name="connsiteX76" fmla="*/ 72345 w 18171859"/>
                <a:gd name="connsiteY76" fmla="*/ 6921032 h 15946069"/>
                <a:gd name="connsiteX77" fmla="*/ 477776 w 18171859"/>
                <a:gd name="connsiteY77"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5946033 w 18171859"/>
                <a:gd name="connsiteY39" fmla="*/ 8440272 h 15946069"/>
                <a:gd name="connsiteX40" fmla="*/ 16024409 w 18171859"/>
                <a:gd name="connsiteY40" fmla="*/ 7433474 h 15946069"/>
                <a:gd name="connsiteX41" fmla="*/ 17911414 w 18171859"/>
                <a:gd name="connsiteY41" fmla="*/ 6083041 h 15946069"/>
                <a:gd name="connsiteX42" fmla="*/ 17385711 w 18171859"/>
                <a:gd name="connsiteY42" fmla="*/ 5219213 h 15946069"/>
                <a:gd name="connsiteX43" fmla="*/ 18171858 w 18171859"/>
                <a:gd name="connsiteY43" fmla="*/ 4701949 h 15946069"/>
                <a:gd name="connsiteX44" fmla="*/ 17814953 w 18171859"/>
                <a:gd name="connsiteY44" fmla="*/ 4117660 h 15946069"/>
                <a:gd name="connsiteX45" fmla="*/ 16852763 w 18171859"/>
                <a:gd name="connsiteY45" fmla="*/ 3282076 h 15946069"/>
                <a:gd name="connsiteX46" fmla="*/ 14429201 w 18171859"/>
                <a:gd name="connsiteY46" fmla="*/ 4027238 h 15946069"/>
                <a:gd name="connsiteX47" fmla="*/ 13383819 w 18171859"/>
                <a:gd name="connsiteY47" fmla="*/ 2963756 h 15946069"/>
                <a:gd name="connsiteX48" fmla="*/ 12493981 w 18171859"/>
                <a:gd name="connsiteY48" fmla="*/ 2927587 h 15946069"/>
                <a:gd name="connsiteX49" fmla="*/ 11976717 w 18171859"/>
                <a:gd name="connsiteY49" fmla="*/ 2139025 h 15946069"/>
                <a:gd name="connsiteX50" fmla="*/ 11484768 w 18171859"/>
                <a:gd name="connsiteY50" fmla="*/ 1495155 h 15946069"/>
                <a:gd name="connsiteX51" fmla="*/ 10830043 w 18171859"/>
                <a:gd name="connsiteY51" fmla="*/ 1256418 h 15946069"/>
                <a:gd name="connsiteX52" fmla="*/ 10323633 w 18171859"/>
                <a:gd name="connsiteY52" fmla="*/ 1220249 h 15946069"/>
                <a:gd name="connsiteX53" fmla="*/ 9802745 w 18171859"/>
                <a:gd name="connsiteY53" fmla="*/ 1603676 h 15946069"/>
                <a:gd name="connsiteX54" fmla="*/ 9223982 w 18171859"/>
                <a:gd name="connsiteY54" fmla="*/ 1621761 h 15946069"/>
                <a:gd name="connsiteX55" fmla="*/ 8782678 w 18171859"/>
                <a:gd name="connsiteY55" fmla="*/ 2171586 h 15946069"/>
                <a:gd name="connsiteX56" fmla="*/ 8272645 w 18171859"/>
                <a:gd name="connsiteY56" fmla="*/ 2102856 h 15946069"/>
                <a:gd name="connsiteX57" fmla="*/ 7853048 w 18171859"/>
                <a:gd name="connsiteY57" fmla="*/ 2526075 h 15946069"/>
                <a:gd name="connsiteX58" fmla="*/ 7323799 w 18171859"/>
                <a:gd name="connsiteY58" fmla="*/ 2632907 h 15946069"/>
                <a:gd name="connsiteX59" fmla="*/ 6977672 w 18171859"/>
                <a:gd name="connsiteY59" fmla="*/ 2178817 h 15946069"/>
                <a:gd name="connsiteX60" fmla="*/ 6594245 w 18171859"/>
                <a:gd name="connsiteY60" fmla="*/ 2055834 h 15946069"/>
                <a:gd name="connsiteX61" fmla="*/ 6431470 w 18171859"/>
                <a:gd name="connsiteY61" fmla="*/ 1314295 h 15946069"/>
                <a:gd name="connsiteX62" fmla="*/ 5642908 w 18171859"/>
                <a:gd name="connsiteY62" fmla="*/ 1343233 h 15946069"/>
                <a:gd name="connsiteX63" fmla="*/ 5150959 w 18171859"/>
                <a:gd name="connsiteY63" fmla="*/ 1610907 h 15946069"/>
                <a:gd name="connsiteX64" fmla="*/ 5480133 w 18171859"/>
                <a:gd name="connsiteY64" fmla="*/ 2167963 h 15946069"/>
                <a:gd name="connsiteX65" fmla="*/ 4742216 w 18171859"/>
                <a:gd name="connsiteY65" fmla="*/ 2862495 h 15946069"/>
                <a:gd name="connsiteX66" fmla="*/ 2658667 w 18171859"/>
                <a:gd name="connsiteY66" fmla="*/ 0 h 15946069"/>
                <a:gd name="connsiteX67" fmla="*/ 2658682 w 18171859"/>
                <a:gd name="connsiteY67" fmla="*/ 1018890 h 15946069"/>
                <a:gd name="connsiteX68" fmla="*/ 1850829 w 18171859"/>
                <a:gd name="connsiteY68" fmla="*/ 1730283 h 15946069"/>
                <a:gd name="connsiteX69" fmla="*/ 1404694 w 18171859"/>
                <a:gd name="connsiteY69" fmla="*/ 2272862 h 15946069"/>
                <a:gd name="connsiteX70" fmla="*/ 2351216 w 18171859"/>
                <a:gd name="connsiteY70" fmla="*/ 3388182 h 15946069"/>
                <a:gd name="connsiteX71" fmla="*/ 2658682 w 18171859"/>
                <a:gd name="connsiteY71" fmla="*/ 4286458 h 15946069"/>
                <a:gd name="connsiteX72" fmla="*/ 1935228 w 18171859"/>
                <a:gd name="connsiteY72" fmla="*/ 5220918 h 15946069"/>
                <a:gd name="connsiteX73" fmla="*/ 875281 w 18171859"/>
                <a:gd name="connsiteY73" fmla="*/ 5166646 h 15946069"/>
                <a:gd name="connsiteX74" fmla="*/ 0 w 18171859"/>
                <a:gd name="connsiteY74" fmla="*/ 5890112 h 15946069"/>
                <a:gd name="connsiteX75" fmla="*/ 72345 w 18171859"/>
                <a:gd name="connsiteY75" fmla="*/ 6921032 h 15946069"/>
                <a:gd name="connsiteX76" fmla="*/ 477776 w 18171859"/>
                <a:gd name="connsiteY76"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6024409 w 18171859"/>
                <a:gd name="connsiteY39" fmla="*/ 7433474 h 15946069"/>
                <a:gd name="connsiteX40" fmla="*/ 17911414 w 18171859"/>
                <a:gd name="connsiteY40" fmla="*/ 6083041 h 15946069"/>
                <a:gd name="connsiteX41" fmla="*/ 17385711 w 18171859"/>
                <a:gd name="connsiteY41" fmla="*/ 5219213 h 15946069"/>
                <a:gd name="connsiteX42" fmla="*/ 18171858 w 18171859"/>
                <a:gd name="connsiteY42" fmla="*/ 4701949 h 15946069"/>
                <a:gd name="connsiteX43" fmla="*/ 17814953 w 18171859"/>
                <a:gd name="connsiteY43" fmla="*/ 4117660 h 15946069"/>
                <a:gd name="connsiteX44" fmla="*/ 16852763 w 18171859"/>
                <a:gd name="connsiteY44" fmla="*/ 3282076 h 15946069"/>
                <a:gd name="connsiteX45" fmla="*/ 14429201 w 18171859"/>
                <a:gd name="connsiteY45" fmla="*/ 4027238 h 15946069"/>
                <a:gd name="connsiteX46" fmla="*/ 13383819 w 18171859"/>
                <a:gd name="connsiteY46" fmla="*/ 2963756 h 15946069"/>
                <a:gd name="connsiteX47" fmla="*/ 12493981 w 18171859"/>
                <a:gd name="connsiteY47" fmla="*/ 2927587 h 15946069"/>
                <a:gd name="connsiteX48" fmla="*/ 11976717 w 18171859"/>
                <a:gd name="connsiteY48" fmla="*/ 2139025 h 15946069"/>
                <a:gd name="connsiteX49" fmla="*/ 11484768 w 18171859"/>
                <a:gd name="connsiteY49" fmla="*/ 1495155 h 15946069"/>
                <a:gd name="connsiteX50" fmla="*/ 10830043 w 18171859"/>
                <a:gd name="connsiteY50" fmla="*/ 1256418 h 15946069"/>
                <a:gd name="connsiteX51" fmla="*/ 10323633 w 18171859"/>
                <a:gd name="connsiteY51" fmla="*/ 1220249 h 15946069"/>
                <a:gd name="connsiteX52" fmla="*/ 9802745 w 18171859"/>
                <a:gd name="connsiteY52" fmla="*/ 1603676 h 15946069"/>
                <a:gd name="connsiteX53" fmla="*/ 9223982 w 18171859"/>
                <a:gd name="connsiteY53" fmla="*/ 1621761 h 15946069"/>
                <a:gd name="connsiteX54" fmla="*/ 8782678 w 18171859"/>
                <a:gd name="connsiteY54" fmla="*/ 2171586 h 15946069"/>
                <a:gd name="connsiteX55" fmla="*/ 8272645 w 18171859"/>
                <a:gd name="connsiteY55" fmla="*/ 2102856 h 15946069"/>
                <a:gd name="connsiteX56" fmla="*/ 7853048 w 18171859"/>
                <a:gd name="connsiteY56" fmla="*/ 2526075 h 15946069"/>
                <a:gd name="connsiteX57" fmla="*/ 7323799 w 18171859"/>
                <a:gd name="connsiteY57" fmla="*/ 2632907 h 15946069"/>
                <a:gd name="connsiteX58" fmla="*/ 6977672 w 18171859"/>
                <a:gd name="connsiteY58" fmla="*/ 2178817 h 15946069"/>
                <a:gd name="connsiteX59" fmla="*/ 6594245 w 18171859"/>
                <a:gd name="connsiteY59" fmla="*/ 2055834 h 15946069"/>
                <a:gd name="connsiteX60" fmla="*/ 6431470 w 18171859"/>
                <a:gd name="connsiteY60" fmla="*/ 1314295 h 15946069"/>
                <a:gd name="connsiteX61" fmla="*/ 5642908 w 18171859"/>
                <a:gd name="connsiteY61" fmla="*/ 1343233 h 15946069"/>
                <a:gd name="connsiteX62" fmla="*/ 5150959 w 18171859"/>
                <a:gd name="connsiteY62" fmla="*/ 1610907 h 15946069"/>
                <a:gd name="connsiteX63" fmla="*/ 5480133 w 18171859"/>
                <a:gd name="connsiteY63" fmla="*/ 2167963 h 15946069"/>
                <a:gd name="connsiteX64" fmla="*/ 4742216 w 18171859"/>
                <a:gd name="connsiteY64" fmla="*/ 2862495 h 15946069"/>
                <a:gd name="connsiteX65" fmla="*/ 2658667 w 18171859"/>
                <a:gd name="connsiteY65" fmla="*/ 0 h 15946069"/>
                <a:gd name="connsiteX66" fmla="*/ 2658682 w 18171859"/>
                <a:gd name="connsiteY66" fmla="*/ 1018890 h 15946069"/>
                <a:gd name="connsiteX67" fmla="*/ 1850829 w 18171859"/>
                <a:gd name="connsiteY67" fmla="*/ 1730283 h 15946069"/>
                <a:gd name="connsiteX68" fmla="*/ 1404694 w 18171859"/>
                <a:gd name="connsiteY68" fmla="*/ 2272862 h 15946069"/>
                <a:gd name="connsiteX69" fmla="*/ 2351216 w 18171859"/>
                <a:gd name="connsiteY69" fmla="*/ 3388182 h 15946069"/>
                <a:gd name="connsiteX70" fmla="*/ 2658682 w 18171859"/>
                <a:gd name="connsiteY70" fmla="*/ 4286458 h 15946069"/>
                <a:gd name="connsiteX71" fmla="*/ 1935228 w 18171859"/>
                <a:gd name="connsiteY71" fmla="*/ 5220918 h 15946069"/>
                <a:gd name="connsiteX72" fmla="*/ 875281 w 18171859"/>
                <a:gd name="connsiteY72" fmla="*/ 5166646 h 15946069"/>
                <a:gd name="connsiteX73" fmla="*/ 0 w 18171859"/>
                <a:gd name="connsiteY73" fmla="*/ 5890112 h 15946069"/>
                <a:gd name="connsiteX74" fmla="*/ 72345 w 18171859"/>
                <a:gd name="connsiteY74" fmla="*/ 6921032 h 15946069"/>
                <a:gd name="connsiteX75" fmla="*/ 477776 w 18171859"/>
                <a:gd name="connsiteY75"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428336 w 18171859"/>
                <a:gd name="connsiteY37" fmla="*/ 9374732 h 15946069"/>
                <a:gd name="connsiteX38" fmla="*/ 16024409 w 18171859"/>
                <a:gd name="connsiteY38" fmla="*/ 7433474 h 15946069"/>
                <a:gd name="connsiteX39" fmla="*/ 17911414 w 18171859"/>
                <a:gd name="connsiteY39" fmla="*/ 6083041 h 15946069"/>
                <a:gd name="connsiteX40" fmla="*/ 17385711 w 18171859"/>
                <a:gd name="connsiteY40" fmla="*/ 5219213 h 15946069"/>
                <a:gd name="connsiteX41" fmla="*/ 18171858 w 18171859"/>
                <a:gd name="connsiteY41" fmla="*/ 4701949 h 15946069"/>
                <a:gd name="connsiteX42" fmla="*/ 17814953 w 18171859"/>
                <a:gd name="connsiteY42" fmla="*/ 4117660 h 15946069"/>
                <a:gd name="connsiteX43" fmla="*/ 16852763 w 18171859"/>
                <a:gd name="connsiteY43" fmla="*/ 3282076 h 15946069"/>
                <a:gd name="connsiteX44" fmla="*/ 14429201 w 18171859"/>
                <a:gd name="connsiteY44" fmla="*/ 4027238 h 15946069"/>
                <a:gd name="connsiteX45" fmla="*/ 13383819 w 18171859"/>
                <a:gd name="connsiteY45" fmla="*/ 2963756 h 15946069"/>
                <a:gd name="connsiteX46" fmla="*/ 12493981 w 18171859"/>
                <a:gd name="connsiteY46" fmla="*/ 2927587 h 15946069"/>
                <a:gd name="connsiteX47" fmla="*/ 11976717 w 18171859"/>
                <a:gd name="connsiteY47" fmla="*/ 2139025 h 15946069"/>
                <a:gd name="connsiteX48" fmla="*/ 11484768 w 18171859"/>
                <a:gd name="connsiteY48" fmla="*/ 1495155 h 15946069"/>
                <a:gd name="connsiteX49" fmla="*/ 10830043 w 18171859"/>
                <a:gd name="connsiteY49" fmla="*/ 1256418 h 15946069"/>
                <a:gd name="connsiteX50" fmla="*/ 10323633 w 18171859"/>
                <a:gd name="connsiteY50" fmla="*/ 1220249 h 15946069"/>
                <a:gd name="connsiteX51" fmla="*/ 9802745 w 18171859"/>
                <a:gd name="connsiteY51" fmla="*/ 1603676 h 15946069"/>
                <a:gd name="connsiteX52" fmla="*/ 9223982 w 18171859"/>
                <a:gd name="connsiteY52" fmla="*/ 1621761 h 15946069"/>
                <a:gd name="connsiteX53" fmla="*/ 8782678 w 18171859"/>
                <a:gd name="connsiteY53" fmla="*/ 2171586 h 15946069"/>
                <a:gd name="connsiteX54" fmla="*/ 8272645 w 18171859"/>
                <a:gd name="connsiteY54" fmla="*/ 2102856 h 15946069"/>
                <a:gd name="connsiteX55" fmla="*/ 7853048 w 18171859"/>
                <a:gd name="connsiteY55" fmla="*/ 2526075 h 15946069"/>
                <a:gd name="connsiteX56" fmla="*/ 7323799 w 18171859"/>
                <a:gd name="connsiteY56" fmla="*/ 2632907 h 15946069"/>
                <a:gd name="connsiteX57" fmla="*/ 6977672 w 18171859"/>
                <a:gd name="connsiteY57" fmla="*/ 2178817 h 15946069"/>
                <a:gd name="connsiteX58" fmla="*/ 6594245 w 18171859"/>
                <a:gd name="connsiteY58" fmla="*/ 2055834 h 15946069"/>
                <a:gd name="connsiteX59" fmla="*/ 6431470 w 18171859"/>
                <a:gd name="connsiteY59" fmla="*/ 1314295 h 15946069"/>
                <a:gd name="connsiteX60" fmla="*/ 5642908 w 18171859"/>
                <a:gd name="connsiteY60" fmla="*/ 1343233 h 15946069"/>
                <a:gd name="connsiteX61" fmla="*/ 5150959 w 18171859"/>
                <a:gd name="connsiteY61" fmla="*/ 1610907 h 15946069"/>
                <a:gd name="connsiteX62" fmla="*/ 5480133 w 18171859"/>
                <a:gd name="connsiteY62" fmla="*/ 2167963 h 15946069"/>
                <a:gd name="connsiteX63" fmla="*/ 4742216 w 18171859"/>
                <a:gd name="connsiteY63" fmla="*/ 2862495 h 15946069"/>
                <a:gd name="connsiteX64" fmla="*/ 2658667 w 18171859"/>
                <a:gd name="connsiteY64" fmla="*/ 0 h 15946069"/>
                <a:gd name="connsiteX65" fmla="*/ 2658682 w 18171859"/>
                <a:gd name="connsiteY65" fmla="*/ 1018890 h 15946069"/>
                <a:gd name="connsiteX66" fmla="*/ 1850829 w 18171859"/>
                <a:gd name="connsiteY66" fmla="*/ 1730283 h 15946069"/>
                <a:gd name="connsiteX67" fmla="*/ 1404694 w 18171859"/>
                <a:gd name="connsiteY67" fmla="*/ 2272862 h 15946069"/>
                <a:gd name="connsiteX68" fmla="*/ 2351216 w 18171859"/>
                <a:gd name="connsiteY68" fmla="*/ 3388182 h 15946069"/>
                <a:gd name="connsiteX69" fmla="*/ 2658682 w 18171859"/>
                <a:gd name="connsiteY69" fmla="*/ 4286458 h 15946069"/>
                <a:gd name="connsiteX70" fmla="*/ 1935228 w 18171859"/>
                <a:gd name="connsiteY70" fmla="*/ 5220918 h 15946069"/>
                <a:gd name="connsiteX71" fmla="*/ 875281 w 18171859"/>
                <a:gd name="connsiteY71" fmla="*/ 5166646 h 15946069"/>
                <a:gd name="connsiteX72" fmla="*/ 0 w 18171859"/>
                <a:gd name="connsiteY72" fmla="*/ 5890112 h 15946069"/>
                <a:gd name="connsiteX73" fmla="*/ 72345 w 18171859"/>
                <a:gd name="connsiteY73" fmla="*/ 6921032 h 15946069"/>
                <a:gd name="connsiteX74" fmla="*/ 477776 w 18171859"/>
                <a:gd name="connsiteY74"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6413199 w 18171859"/>
                <a:gd name="connsiteY35" fmla="*/ 10920339 h 15946069"/>
                <a:gd name="connsiteX36" fmla="*/ 16428336 w 18171859"/>
                <a:gd name="connsiteY36" fmla="*/ 9374732 h 15946069"/>
                <a:gd name="connsiteX37" fmla="*/ 16024409 w 18171859"/>
                <a:gd name="connsiteY37" fmla="*/ 7433474 h 15946069"/>
                <a:gd name="connsiteX38" fmla="*/ 17911414 w 18171859"/>
                <a:gd name="connsiteY38" fmla="*/ 6083041 h 15946069"/>
                <a:gd name="connsiteX39" fmla="*/ 17385711 w 18171859"/>
                <a:gd name="connsiteY39" fmla="*/ 5219213 h 15946069"/>
                <a:gd name="connsiteX40" fmla="*/ 18171858 w 18171859"/>
                <a:gd name="connsiteY40" fmla="*/ 4701949 h 15946069"/>
                <a:gd name="connsiteX41" fmla="*/ 17814953 w 18171859"/>
                <a:gd name="connsiteY41" fmla="*/ 4117660 h 15946069"/>
                <a:gd name="connsiteX42" fmla="*/ 16852763 w 18171859"/>
                <a:gd name="connsiteY42" fmla="*/ 3282076 h 15946069"/>
                <a:gd name="connsiteX43" fmla="*/ 14429201 w 18171859"/>
                <a:gd name="connsiteY43" fmla="*/ 4027238 h 15946069"/>
                <a:gd name="connsiteX44" fmla="*/ 13383819 w 18171859"/>
                <a:gd name="connsiteY44" fmla="*/ 2963756 h 15946069"/>
                <a:gd name="connsiteX45" fmla="*/ 12493981 w 18171859"/>
                <a:gd name="connsiteY45" fmla="*/ 2927587 h 15946069"/>
                <a:gd name="connsiteX46" fmla="*/ 11976717 w 18171859"/>
                <a:gd name="connsiteY46" fmla="*/ 2139025 h 15946069"/>
                <a:gd name="connsiteX47" fmla="*/ 11484768 w 18171859"/>
                <a:gd name="connsiteY47" fmla="*/ 1495155 h 15946069"/>
                <a:gd name="connsiteX48" fmla="*/ 10830043 w 18171859"/>
                <a:gd name="connsiteY48" fmla="*/ 1256418 h 15946069"/>
                <a:gd name="connsiteX49" fmla="*/ 10323633 w 18171859"/>
                <a:gd name="connsiteY49" fmla="*/ 1220249 h 15946069"/>
                <a:gd name="connsiteX50" fmla="*/ 9802745 w 18171859"/>
                <a:gd name="connsiteY50" fmla="*/ 1603676 h 15946069"/>
                <a:gd name="connsiteX51" fmla="*/ 9223982 w 18171859"/>
                <a:gd name="connsiteY51" fmla="*/ 1621761 h 15946069"/>
                <a:gd name="connsiteX52" fmla="*/ 8782678 w 18171859"/>
                <a:gd name="connsiteY52" fmla="*/ 2171586 h 15946069"/>
                <a:gd name="connsiteX53" fmla="*/ 8272645 w 18171859"/>
                <a:gd name="connsiteY53" fmla="*/ 2102856 h 15946069"/>
                <a:gd name="connsiteX54" fmla="*/ 7853048 w 18171859"/>
                <a:gd name="connsiteY54" fmla="*/ 2526075 h 15946069"/>
                <a:gd name="connsiteX55" fmla="*/ 7323799 w 18171859"/>
                <a:gd name="connsiteY55" fmla="*/ 2632907 h 15946069"/>
                <a:gd name="connsiteX56" fmla="*/ 6977672 w 18171859"/>
                <a:gd name="connsiteY56" fmla="*/ 2178817 h 15946069"/>
                <a:gd name="connsiteX57" fmla="*/ 6594245 w 18171859"/>
                <a:gd name="connsiteY57" fmla="*/ 2055834 h 15946069"/>
                <a:gd name="connsiteX58" fmla="*/ 6431470 w 18171859"/>
                <a:gd name="connsiteY58" fmla="*/ 1314295 h 15946069"/>
                <a:gd name="connsiteX59" fmla="*/ 5642908 w 18171859"/>
                <a:gd name="connsiteY59" fmla="*/ 1343233 h 15946069"/>
                <a:gd name="connsiteX60" fmla="*/ 5150959 w 18171859"/>
                <a:gd name="connsiteY60" fmla="*/ 1610907 h 15946069"/>
                <a:gd name="connsiteX61" fmla="*/ 5480133 w 18171859"/>
                <a:gd name="connsiteY61" fmla="*/ 2167963 h 15946069"/>
                <a:gd name="connsiteX62" fmla="*/ 4742216 w 18171859"/>
                <a:gd name="connsiteY62" fmla="*/ 2862495 h 15946069"/>
                <a:gd name="connsiteX63" fmla="*/ 2658667 w 18171859"/>
                <a:gd name="connsiteY63" fmla="*/ 0 h 15946069"/>
                <a:gd name="connsiteX64" fmla="*/ 2658682 w 18171859"/>
                <a:gd name="connsiteY64" fmla="*/ 1018890 h 15946069"/>
                <a:gd name="connsiteX65" fmla="*/ 1850829 w 18171859"/>
                <a:gd name="connsiteY65" fmla="*/ 1730283 h 15946069"/>
                <a:gd name="connsiteX66" fmla="*/ 1404694 w 18171859"/>
                <a:gd name="connsiteY66" fmla="*/ 2272862 h 15946069"/>
                <a:gd name="connsiteX67" fmla="*/ 2351216 w 18171859"/>
                <a:gd name="connsiteY67" fmla="*/ 3388182 h 15946069"/>
                <a:gd name="connsiteX68" fmla="*/ 2658682 w 18171859"/>
                <a:gd name="connsiteY68" fmla="*/ 4286458 h 15946069"/>
                <a:gd name="connsiteX69" fmla="*/ 1935228 w 18171859"/>
                <a:gd name="connsiteY69" fmla="*/ 5220918 h 15946069"/>
                <a:gd name="connsiteX70" fmla="*/ 875281 w 18171859"/>
                <a:gd name="connsiteY70" fmla="*/ 5166646 h 15946069"/>
                <a:gd name="connsiteX71" fmla="*/ 0 w 18171859"/>
                <a:gd name="connsiteY71" fmla="*/ 5890112 h 15946069"/>
                <a:gd name="connsiteX72" fmla="*/ 72345 w 18171859"/>
                <a:gd name="connsiteY72" fmla="*/ 6921032 h 15946069"/>
                <a:gd name="connsiteX73" fmla="*/ 477776 w 18171859"/>
                <a:gd name="connsiteY73"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5409477 w 18171859"/>
                <a:gd name="connsiteY33" fmla="*/ 11882693 h 15946069"/>
                <a:gd name="connsiteX34" fmla="*/ 16413199 w 18171859"/>
                <a:gd name="connsiteY34" fmla="*/ 10920339 h 15946069"/>
                <a:gd name="connsiteX35" fmla="*/ 16428336 w 18171859"/>
                <a:gd name="connsiteY35" fmla="*/ 9374732 h 15946069"/>
                <a:gd name="connsiteX36" fmla="*/ 16024409 w 18171859"/>
                <a:gd name="connsiteY36" fmla="*/ 7433474 h 15946069"/>
                <a:gd name="connsiteX37" fmla="*/ 17911414 w 18171859"/>
                <a:gd name="connsiteY37" fmla="*/ 6083041 h 15946069"/>
                <a:gd name="connsiteX38" fmla="*/ 17385711 w 18171859"/>
                <a:gd name="connsiteY38" fmla="*/ 5219213 h 15946069"/>
                <a:gd name="connsiteX39" fmla="*/ 18171858 w 18171859"/>
                <a:gd name="connsiteY39" fmla="*/ 4701949 h 15946069"/>
                <a:gd name="connsiteX40" fmla="*/ 17814953 w 18171859"/>
                <a:gd name="connsiteY40" fmla="*/ 4117660 h 15946069"/>
                <a:gd name="connsiteX41" fmla="*/ 16852763 w 18171859"/>
                <a:gd name="connsiteY41" fmla="*/ 3282076 h 15946069"/>
                <a:gd name="connsiteX42" fmla="*/ 14429201 w 18171859"/>
                <a:gd name="connsiteY42" fmla="*/ 4027238 h 15946069"/>
                <a:gd name="connsiteX43" fmla="*/ 13383819 w 18171859"/>
                <a:gd name="connsiteY43" fmla="*/ 2963756 h 15946069"/>
                <a:gd name="connsiteX44" fmla="*/ 12493981 w 18171859"/>
                <a:gd name="connsiteY44" fmla="*/ 2927587 h 15946069"/>
                <a:gd name="connsiteX45" fmla="*/ 11976717 w 18171859"/>
                <a:gd name="connsiteY45" fmla="*/ 2139025 h 15946069"/>
                <a:gd name="connsiteX46" fmla="*/ 11484768 w 18171859"/>
                <a:gd name="connsiteY46" fmla="*/ 1495155 h 15946069"/>
                <a:gd name="connsiteX47" fmla="*/ 10830043 w 18171859"/>
                <a:gd name="connsiteY47" fmla="*/ 1256418 h 15946069"/>
                <a:gd name="connsiteX48" fmla="*/ 10323633 w 18171859"/>
                <a:gd name="connsiteY48" fmla="*/ 1220249 h 15946069"/>
                <a:gd name="connsiteX49" fmla="*/ 9802745 w 18171859"/>
                <a:gd name="connsiteY49" fmla="*/ 1603676 h 15946069"/>
                <a:gd name="connsiteX50" fmla="*/ 9223982 w 18171859"/>
                <a:gd name="connsiteY50" fmla="*/ 1621761 h 15946069"/>
                <a:gd name="connsiteX51" fmla="*/ 8782678 w 18171859"/>
                <a:gd name="connsiteY51" fmla="*/ 2171586 h 15946069"/>
                <a:gd name="connsiteX52" fmla="*/ 8272645 w 18171859"/>
                <a:gd name="connsiteY52" fmla="*/ 2102856 h 15946069"/>
                <a:gd name="connsiteX53" fmla="*/ 7853048 w 18171859"/>
                <a:gd name="connsiteY53" fmla="*/ 2526075 h 15946069"/>
                <a:gd name="connsiteX54" fmla="*/ 7323799 w 18171859"/>
                <a:gd name="connsiteY54" fmla="*/ 2632907 h 15946069"/>
                <a:gd name="connsiteX55" fmla="*/ 6977672 w 18171859"/>
                <a:gd name="connsiteY55" fmla="*/ 2178817 h 15946069"/>
                <a:gd name="connsiteX56" fmla="*/ 6594245 w 18171859"/>
                <a:gd name="connsiteY56" fmla="*/ 2055834 h 15946069"/>
                <a:gd name="connsiteX57" fmla="*/ 6431470 w 18171859"/>
                <a:gd name="connsiteY57" fmla="*/ 1314295 h 15946069"/>
                <a:gd name="connsiteX58" fmla="*/ 5642908 w 18171859"/>
                <a:gd name="connsiteY58" fmla="*/ 1343233 h 15946069"/>
                <a:gd name="connsiteX59" fmla="*/ 5150959 w 18171859"/>
                <a:gd name="connsiteY59" fmla="*/ 1610907 h 15946069"/>
                <a:gd name="connsiteX60" fmla="*/ 5480133 w 18171859"/>
                <a:gd name="connsiteY60" fmla="*/ 2167963 h 15946069"/>
                <a:gd name="connsiteX61" fmla="*/ 4742216 w 18171859"/>
                <a:gd name="connsiteY61" fmla="*/ 2862495 h 15946069"/>
                <a:gd name="connsiteX62" fmla="*/ 2658667 w 18171859"/>
                <a:gd name="connsiteY62" fmla="*/ 0 h 15946069"/>
                <a:gd name="connsiteX63" fmla="*/ 2658682 w 18171859"/>
                <a:gd name="connsiteY63" fmla="*/ 1018890 h 15946069"/>
                <a:gd name="connsiteX64" fmla="*/ 1850829 w 18171859"/>
                <a:gd name="connsiteY64" fmla="*/ 1730283 h 15946069"/>
                <a:gd name="connsiteX65" fmla="*/ 1404694 w 18171859"/>
                <a:gd name="connsiteY65" fmla="*/ 2272862 h 15946069"/>
                <a:gd name="connsiteX66" fmla="*/ 2351216 w 18171859"/>
                <a:gd name="connsiteY66" fmla="*/ 3388182 h 15946069"/>
                <a:gd name="connsiteX67" fmla="*/ 2658682 w 18171859"/>
                <a:gd name="connsiteY67" fmla="*/ 4286458 h 15946069"/>
                <a:gd name="connsiteX68" fmla="*/ 1935228 w 18171859"/>
                <a:gd name="connsiteY68" fmla="*/ 5220918 h 15946069"/>
                <a:gd name="connsiteX69" fmla="*/ 875281 w 18171859"/>
                <a:gd name="connsiteY69" fmla="*/ 5166646 h 15946069"/>
                <a:gd name="connsiteX70" fmla="*/ 0 w 18171859"/>
                <a:gd name="connsiteY70" fmla="*/ 5890112 h 15946069"/>
                <a:gd name="connsiteX71" fmla="*/ 72345 w 18171859"/>
                <a:gd name="connsiteY71" fmla="*/ 6921032 h 15946069"/>
                <a:gd name="connsiteX72" fmla="*/ 477776 w 18171859"/>
                <a:gd name="connsiteY72"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4004775 w 18171859"/>
                <a:gd name="connsiteY31" fmla="*/ 11611395 h 15946069"/>
                <a:gd name="connsiteX32" fmla="*/ 15409477 w 18171859"/>
                <a:gd name="connsiteY32" fmla="*/ 11882693 h 15946069"/>
                <a:gd name="connsiteX33" fmla="*/ 16413199 w 18171859"/>
                <a:gd name="connsiteY33" fmla="*/ 10920339 h 15946069"/>
                <a:gd name="connsiteX34" fmla="*/ 16428336 w 18171859"/>
                <a:gd name="connsiteY34" fmla="*/ 9374732 h 15946069"/>
                <a:gd name="connsiteX35" fmla="*/ 16024409 w 18171859"/>
                <a:gd name="connsiteY35" fmla="*/ 7433474 h 15946069"/>
                <a:gd name="connsiteX36" fmla="*/ 17911414 w 18171859"/>
                <a:gd name="connsiteY36" fmla="*/ 6083041 h 15946069"/>
                <a:gd name="connsiteX37" fmla="*/ 17385711 w 18171859"/>
                <a:gd name="connsiteY37" fmla="*/ 5219213 h 15946069"/>
                <a:gd name="connsiteX38" fmla="*/ 18171858 w 18171859"/>
                <a:gd name="connsiteY38" fmla="*/ 4701949 h 15946069"/>
                <a:gd name="connsiteX39" fmla="*/ 17814953 w 18171859"/>
                <a:gd name="connsiteY39" fmla="*/ 4117660 h 15946069"/>
                <a:gd name="connsiteX40" fmla="*/ 16852763 w 18171859"/>
                <a:gd name="connsiteY40" fmla="*/ 3282076 h 15946069"/>
                <a:gd name="connsiteX41" fmla="*/ 14429201 w 18171859"/>
                <a:gd name="connsiteY41" fmla="*/ 4027238 h 15946069"/>
                <a:gd name="connsiteX42" fmla="*/ 13383819 w 18171859"/>
                <a:gd name="connsiteY42" fmla="*/ 2963756 h 15946069"/>
                <a:gd name="connsiteX43" fmla="*/ 12493981 w 18171859"/>
                <a:gd name="connsiteY43" fmla="*/ 2927587 h 15946069"/>
                <a:gd name="connsiteX44" fmla="*/ 11976717 w 18171859"/>
                <a:gd name="connsiteY44" fmla="*/ 2139025 h 15946069"/>
                <a:gd name="connsiteX45" fmla="*/ 11484768 w 18171859"/>
                <a:gd name="connsiteY45" fmla="*/ 1495155 h 15946069"/>
                <a:gd name="connsiteX46" fmla="*/ 10830043 w 18171859"/>
                <a:gd name="connsiteY46" fmla="*/ 1256418 h 15946069"/>
                <a:gd name="connsiteX47" fmla="*/ 10323633 w 18171859"/>
                <a:gd name="connsiteY47" fmla="*/ 1220249 h 15946069"/>
                <a:gd name="connsiteX48" fmla="*/ 9802745 w 18171859"/>
                <a:gd name="connsiteY48" fmla="*/ 1603676 h 15946069"/>
                <a:gd name="connsiteX49" fmla="*/ 9223982 w 18171859"/>
                <a:gd name="connsiteY49" fmla="*/ 1621761 h 15946069"/>
                <a:gd name="connsiteX50" fmla="*/ 8782678 w 18171859"/>
                <a:gd name="connsiteY50" fmla="*/ 2171586 h 15946069"/>
                <a:gd name="connsiteX51" fmla="*/ 8272645 w 18171859"/>
                <a:gd name="connsiteY51" fmla="*/ 2102856 h 15946069"/>
                <a:gd name="connsiteX52" fmla="*/ 7853048 w 18171859"/>
                <a:gd name="connsiteY52" fmla="*/ 2526075 h 15946069"/>
                <a:gd name="connsiteX53" fmla="*/ 7323799 w 18171859"/>
                <a:gd name="connsiteY53" fmla="*/ 2632907 h 15946069"/>
                <a:gd name="connsiteX54" fmla="*/ 6977672 w 18171859"/>
                <a:gd name="connsiteY54" fmla="*/ 2178817 h 15946069"/>
                <a:gd name="connsiteX55" fmla="*/ 6594245 w 18171859"/>
                <a:gd name="connsiteY55" fmla="*/ 2055834 h 15946069"/>
                <a:gd name="connsiteX56" fmla="*/ 6431470 w 18171859"/>
                <a:gd name="connsiteY56" fmla="*/ 1314295 h 15946069"/>
                <a:gd name="connsiteX57" fmla="*/ 5642908 w 18171859"/>
                <a:gd name="connsiteY57" fmla="*/ 1343233 h 15946069"/>
                <a:gd name="connsiteX58" fmla="*/ 5150959 w 18171859"/>
                <a:gd name="connsiteY58" fmla="*/ 1610907 h 15946069"/>
                <a:gd name="connsiteX59" fmla="*/ 5480133 w 18171859"/>
                <a:gd name="connsiteY59" fmla="*/ 2167963 h 15946069"/>
                <a:gd name="connsiteX60" fmla="*/ 4742216 w 18171859"/>
                <a:gd name="connsiteY60" fmla="*/ 2862495 h 15946069"/>
                <a:gd name="connsiteX61" fmla="*/ 2658667 w 18171859"/>
                <a:gd name="connsiteY61" fmla="*/ 0 h 15946069"/>
                <a:gd name="connsiteX62" fmla="*/ 2658682 w 18171859"/>
                <a:gd name="connsiteY62" fmla="*/ 1018890 h 15946069"/>
                <a:gd name="connsiteX63" fmla="*/ 1850829 w 18171859"/>
                <a:gd name="connsiteY63" fmla="*/ 1730283 h 15946069"/>
                <a:gd name="connsiteX64" fmla="*/ 1404694 w 18171859"/>
                <a:gd name="connsiteY64" fmla="*/ 2272862 h 15946069"/>
                <a:gd name="connsiteX65" fmla="*/ 2351216 w 18171859"/>
                <a:gd name="connsiteY65" fmla="*/ 3388182 h 15946069"/>
                <a:gd name="connsiteX66" fmla="*/ 2658682 w 18171859"/>
                <a:gd name="connsiteY66" fmla="*/ 4286458 h 15946069"/>
                <a:gd name="connsiteX67" fmla="*/ 1935228 w 18171859"/>
                <a:gd name="connsiteY67" fmla="*/ 5220918 h 15946069"/>
                <a:gd name="connsiteX68" fmla="*/ 875281 w 18171859"/>
                <a:gd name="connsiteY68" fmla="*/ 5166646 h 15946069"/>
                <a:gd name="connsiteX69" fmla="*/ 0 w 18171859"/>
                <a:gd name="connsiteY69" fmla="*/ 5890112 h 15946069"/>
                <a:gd name="connsiteX70" fmla="*/ 72345 w 18171859"/>
                <a:gd name="connsiteY70" fmla="*/ 6921032 h 15946069"/>
                <a:gd name="connsiteX71" fmla="*/ 477776 w 18171859"/>
                <a:gd name="connsiteY7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2196146 w 18171859"/>
                <a:gd name="connsiteY29" fmla="*/ 11388328 h 15946069"/>
                <a:gd name="connsiteX30" fmla="*/ 14004775 w 18171859"/>
                <a:gd name="connsiteY30" fmla="*/ 11611395 h 15946069"/>
                <a:gd name="connsiteX31" fmla="*/ 15409477 w 18171859"/>
                <a:gd name="connsiteY31" fmla="*/ 11882693 h 15946069"/>
                <a:gd name="connsiteX32" fmla="*/ 16413199 w 18171859"/>
                <a:gd name="connsiteY32" fmla="*/ 10920339 h 15946069"/>
                <a:gd name="connsiteX33" fmla="*/ 16428336 w 18171859"/>
                <a:gd name="connsiteY33" fmla="*/ 9374732 h 15946069"/>
                <a:gd name="connsiteX34" fmla="*/ 16024409 w 18171859"/>
                <a:gd name="connsiteY34" fmla="*/ 7433474 h 15946069"/>
                <a:gd name="connsiteX35" fmla="*/ 17911414 w 18171859"/>
                <a:gd name="connsiteY35" fmla="*/ 6083041 h 15946069"/>
                <a:gd name="connsiteX36" fmla="*/ 17385711 w 18171859"/>
                <a:gd name="connsiteY36" fmla="*/ 5219213 h 15946069"/>
                <a:gd name="connsiteX37" fmla="*/ 18171858 w 18171859"/>
                <a:gd name="connsiteY37" fmla="*/ 4701949 h 15946069"/>
                <a:gd name="connsiteX38" fmla="*/ 17814953 w 18171859"/>
                <a:gd name="connsiteY38" fmla="*/ 4117660 h 15946069"/>
                <a:gd name="connsiteX39" fmla="*/ 16852763 w 18171859"/>
                <a:gd name="connsiteY39" fmla="*/ 3282076 h 15946069"/>
                <a:gd name="connsiteX40" fmla="*/ 14429201 w 18171859"/>
                <a:gd name="connsiteY40" fmla="*/ 4027238 h 15946069"/>
                <a:gd name="connsiteX41" fmla="*/ 13383819 w 18171859"/>
                <a:gd name="connsiteY41" fmla="*/ 2963756 h 15946069"/>
                <a:gd name="connsiteX42" fmla="*/ 12493981 w 18171859"/>
                <a:gd name="connsiteY42" fmla="*/ 2927587 h 15946069"/>
                <a:gd name="connsiteX43" fmla="*/ 11976717 w 18171859"/>
                <a:gd name="connsiteY43" fmla="*/ 2139025 h 15946069"/>
                <a:gd name="connsiteX44" fmla="*/ 11484768 w 18171859"/>
                <a:gd name="connsiteY44" fmla="*/ 1495155 h 15946069"/>
                <a:gd name="connsiteX45" fmla="*/ 10830043 w 18171859"/>
                <a:gd name="connsiteY45" fmla="*/ 1256418 h 15946069"/>
                <a:gd name="connsiteX46" fmla="*/ 10323633 w 18171859"/>
                <a:gd name="connsiteY46" fmla="*/ 1220249 h 15946069"/>
                <a:gd name="connsiteX47" fmla="*/ 9802745 w 18171859"/>
                <a:gd name="connsiteY47" fmla="*/ 1603676 h 15946069"/>
                <a:gd name="connsiteX48" fmla="*/ 9223982 w 18171859"/>
                <a:gd name="connsiteY48" fmla="*/ 1621761 h 15946069"/>
                <a:gd name="connsiteX49" fmla="*/ 8782678 w 18171859"/>
                <a:gd name="connsiteY49" fmla="*/ 2171586 h 15946069"/>
                <a:gd name="connsiteX50" fmla="*/ 8272645 w 18171859"/>
                <a:gd name="connsiteY50" fmla="*/ 2102856 h 15946069"/>
                <a:gd name="connsiteX51" fmla="*/ 7853048 w 18171859"/>
                <a:gd name="connsiteY51" fmla="*/ 2526075 h 15946069"/>
                <a:gd name="connsiteX52" fmla="*/ 7323799 w 18171859"/>
                <a:gd name="connsiteY52" fmla="*/ 2632907 h 15946069"/>
                <a:gd name="connsiteX53" fmla="*/ 6977672 w 18171859"/>
                <a:gd name="connsiteY53" fmla="*/ 2178817 h 15946069"/>
                <a:gd name="connsiteX54" fmla="*/ 6594245 w 18171859"/>
                <a:gd name="connsiteY54" fmla="*/ 2055834 h 15946069"/>
                <a:gd name="connsiteX55" fmla="*/ 6431470 w 18171859"/>
                <a:gd name="connsiteY55" fmla="*/ 1314295 h 15946069"/>
                <a:gd name="connsiteX56" fmla="*/ 5642908 w 18171859"/>
                <a:gd name="connsiteY56" fmla="*/ 1343233 h 15946069"/>
                <a:gd name="connsiteX57" fmla="*/ 5150959 w 18171859"/>
                <a:gd name="connsiteY57" fmla="*/ 1610907 h 15946069"/>
                <a:gd name="connsiteX58" fmla="*/ 5480133 w 18171859"/>
                <a:gd name="connsiteY58" fmla="*/ 2167963 h 15946069"/>
                <a:gd name="connsiteX59" fmla="*/ 4742216 w 18171859"/>
                <a:gd name="connsiteY59" fmla="*/ 2862495 h 15946069"/>
                <a:gd name="connsiteX60" fmla="*/ 2658667 w 18171859"/>
                <a:gd name="connsiteY60" fmla="*/ 0 h 15946069"/>
                <a:gd name="connsiteX61" fmla="*/ 2658682 w 18171859"/>
                <a:gd name="connsiteY61" fmla="*/ 1018890 h 15946069"/>
                <a:gd name="connsiteX62" fmla="*/ 1850829 w 18171859"/>
                <a:gd name="connsiteY62" fmla="*/ 1730283 h 15946069"/>
                <a:gd name="connsiteX63" fmla="*/ 1404694 w 18171859"/>
                <a:gd name="connsiteY63" fmla="*/ 2272862 h 15946069"/>
                <a:gd name="connsiteX64" fmla="*/ 2351216 w 18171859"/>
                <a:gd name="connsiteY64" fmla="*/ 3388182 h 15946069"/>
                <a:gd name="connsiteX65" fmla="*/ 2658682 w 18171859"/>
                <a:gd name="connsiteY65" fmla="*/ 4286458 h 15946069"/>
                <a:gd name="connsiteX66" fmla="*/ 1935228 w 18171859"/>
                <a:gd name="connsiteY66" fmla="*/ 5220918 h 15946069"/>
                <a:gd name="connsiteX67" fmla="*/ 875281 w 18171859"/>
                <a:gd name="connsiteY67" fmla="*/ 5166646 h 15946069"/>
                <a:gd name="connsiteX68" fmla="*/ 0 w 18171859"/>
                <a:gd name="connsiteY68" fmla="*/ 5890112 h 15946069"/>
                <a:gd name="connsiteX69" fmla="*/ 72345 w 18171859"/>
                <a:gd name="connsiteY69" fmla="*/ 6921032 h 15946069"/>
                <a:gd name="connsiteX70" fmla="*/ 477776 w 18171859"/>
                <a:gd name="connsiteY7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780218 w 18171859"/>
                <a:gd name="connsiteY27" fmla="*/ 13579811 h 15946069"/>
                <a:gd name="connsiteX28" fmla="*/ 12196146 w 18171859"/>
                <a:gd name="connsiteY28" fmla="*/ 11388328 h 15946069"/>
                <a:gd name="connsiteX29" fmla="*/ 14004775 w 18171859"/>
                <a:gd name="connsiteY29" fmla="*/ 11611395 h 15946069"/>
                <a:gd name="connsiteX30" fmla="*/ 15409477 w 18171859"/>
                <a:gd name="connsiteY30" fmla="*/ 11882693 h 15946069"/>
                <a:gd name="connsiteX31" fmla="*/ 16413199 w 18171859"/>
                <a:gd name="connsiteY31" fmla="*/ 10920339 h 15946069"/>
                <a:gd name="connsiteX32" fmla="*/ 16428336 w 18171859"/>
                <a:gd name="connsiteY32" fmla="*/ 9374732 h 15946069"/>
                <a:gd name="connsiteX33" fmla="*/ 16024409 w 18171859"/>
                <a:gd name="connsiteY33" fmla="*/ 7433474 h 15946069"/>
                <a:gd name="connsiteX34" fmla="*/ 17911414 w 18171859"/>
                <a:gd name="connsiteY34" fmla="*/ 6083041 h 15946069"/>
                <a:gd name="connsiteX35" fmla="*/ 17385711 w 18171859"/>
                <a:gd name="connsiteY35" fmla="*/ 5219213 h 15946069"/>
                <a:gd name="connsiteX36" fmla="*/ 18171858 w 18171859"/>
                <a:gd name="connsiteY36" fmla="*/ 4701949 h 15946069"/>
                <a:gd name="connsiteX37" fmla="*/ 17814953 w 18171859"/>
                <a:gd name="connsiteY37" fmla="*/ 4117660 h 15946069"/>
                <a:gd name="connsiteX38" fmla="*/ 16852763 w 18171859"/>
                <a:gd name="connsiteY38" fmla="*/ 3282076 h 15946069"/>
                <a:gd name="connsiteX39" fmla="*/ 14429201 w 18171859"/>
                <a:gd name="connsiteY39" fmla="*/ 4027238 h 15946069"/>
                <a:gd name="connsiteX40" fmla="*/ 13383819 w 18171859"/>
                <a:gd name="connsiteY40" fmla="*/ 2963756 h 15946069"/>
                <a:gd name="connsiteX41" fmla="*/ 12493981 w 18171859"/>
                <a:gd name="connsiteY41" fmla="*/ 2927587 h 15946069"/>
                <a:gd name="connsiteX42" fmla="*/ 11976717 w 18171859"/>
                <a:gd name="connsiteY42" fmla="*/ 2139025 h 15946069"/>
                <a:gd name="connsiteX43" fmla="*/ 11484768 w 18171859"/>
                <a:gd name="connsiteY43" fmla="*/ 1495155 h 15946069"/>
                <a:gd name="connsiteX44" fmla="*/ 10830043 w 18171859"/>
                <a:gd name="connsiteY44" fmla="*/ 1256418 h 15946069"/>
                <a:gd name="connsiteX45" fmla="*/ 10323633 w 18171859"/>
                <a:gd name="connsiteY45" fmla="*/ 1220249 h 15946069"/>
                <a:gd name="connsiteX46" fmla="*/ 9802745 w 18171859"/>
                <a:gd name="connsiteY46" fmla="*/ 1603676 h 15946069"/>
                <a:gd name="connsiteX47" fmla="*/ 9223982 w 18171859"/>
                <a:gd name="connsiteY47" fmla="*/ 1621761 h 15946069"/>
                <a:gd name="connsiteX48" fmla="*/ 8782678 w 18171859"/>
                <a:gd name="connsiteY48" fmla="*/ 2171586 h 15946069"/>
                <a:gd name="connsiteX49" fmla="*/ 8272645 w 18171859"/>
                <a:gd name="connsiteY49" fmla="*/ 2102856 h 15946069"/>
                <a:gd name="connsiteX50" fmla="*/ 7853048 w 18171859"/>
                <a:gd name="connsiteY50" fmla="*/ 2526075 h 15946069"/>
                <a:gd name="connsiteX51" fmla="*/ 7323799 w 18171859"/>
                <a:gd name="connsiteY51" fmla="*/ 2632907 h 15946069"/>
                <a:gd name="connsiteX52" fmla="*/ 6977672 w 18171859"/>
                <a:gd name="connsiteY52" fmla="*/ 2178817 h 15946069"/>
                <a:gd name="connsiteX53" fmla="*/ 6594245 w 18171859"/>
                <a:gd name="connsiteY53" fmla="*/ 2055834 h 15946069"/>
                <a:gd name="connsiteX54" fmla="*/ 6431470 w 18171859"/>
                <a:gd name="connsiteY54" fmla="*/ 1314295 h 15946069"/>
                <a:gd name="connsiteX55" fmla="*/ 5642908 w 18171859"/>
                <a:gd name="connsiteY55" fmla="*/ 1343233 h 15946069"/>
                <a:gd name="connsiteX56" fmla="*/ 5150959 w 18171859"/>
                <a:gd name="connsiteY56" fmla="*/ 1610907 h 15946069"/>
                <a:gd name="connsiteX57" fmla="*/ 5480133 w 18171859"/>
                <a:gd name="connsiteY57" fmla="*/ 2167963 h 15946069"/>
                <a:gd name="connsiteX58" fmla="*/ 4742216 w 18171859"/>
                <a:gd name="connsiteY58" fmla="*/ 2862495 h 15946069"/>
                <a:gd name="connsiteX59" fmla="*/ 2658667 w 18171859"/>
                <a:gd name="connsiteY59" fmla="*/ 0 h 15946069"/>
                <a:gd name="connsiteX60" fmla="*/ 2658682 w 18171859"/>
                <a:gd name="connsiteY60" fmla="*/ 1018890 h 15946069"/>
                <a:gd name="connsiteX61" fmla="*/ 1850829 w 18171859"/>
                <a:gd name="connsiteY61" fmla="*/ 1730283 h 15946069"/>
                <a:gd name="connsiteX62" fmla="*/ 1404694 w 18171859"/>
                <a:gd name="connsiteY62" fmla="*/ 2272862 h 15946069"/>
                <a:gd name="connsiteX63" fmla="*/ 2351216 w 18171859"/>
                <a:gd name="connsiteY63" fmla="*/ 3388182 h 15946069"/>
                <a:gd name="connsiteX64" fmla="*/ 2658682 w 18171859"/>
                <a:gd name="connsiteY64" fmla="*/ 4286458 h 15946069"/>
                <a:gd name="connsiteX65" fmla="*/ 1935228 w 18171859"/>
                <a:gd name="connsiteY65" fmla="*/ 5220918 h 15946069"/>
                <a:gd name="connsiteX66" fmla="*/ 875281 w 18171859"/>
                <a:gd name="connsiteY66" fmla="*/ 5166646 h 15946069"/>
                <a:gd name="connsiteX67" fmla="*/ 0 w 18171859"/>
                <a:gd name="connsiteY67" fmla="*/ 5890112 h 15946069"/>
                <a:gd name="connsiteX68" fmla="*/ 72345 w 18171859"/>
                <a:gd name="connsiteY68" fmla="*/ 6921032 h 15946069"/>
                <a:gd name="connsiteX69" fmla="*/ 477776 w 18171859"/>
                <a:gd name="connsiteY69"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616683 w 18171859"/>
                <a:gd name="connsiteY24" fmla="*/ 15358294 h 15946069"/>
                <a:gd name="connsiteX25" fmla="*/ 11117010 w 18171859"/>
                <a:gd name="connsiteY25" fmla="*/ 15946069 h 15946069"/>
                <a:gd name="connsiteX26" fmla="*/ 11780218 w 18171859"/>
                <a:gd name="connsiteY26" fmla="*/ 13579811 h 15946069"/>
                <a:gd name="connsiteX27" fmla="*/ 12196146 w 18171859"/>
                <a:gd name="connsiteY27" fmla="*/ 11388328 h 15946069"/>
                <a:gd name="connsiteX28" fmla="*/ 14004775 w 18171859"/>
                <a:gd name="connsiteY28" fmla="*/ 11611395 h 15946069"/>
                <a:gd name="connsiteX29" fmla="*/ 15409477 w 18171859"/>
                <a:gd name="connsiteY29" fmla="*/ 11882693 h 15946069"/>
                <a:gd name="connsiteX30" fmla="*/ 16413199 w 18171859"/>
                <a:gd name="connsiteY30" fmla="*/ 10920339 h 15946069"/>
                <a:gd name="connsiteX31" fmla="*/ 16428336 w 18171859"/>
                <a:gd name="connsiteY31" fmla="*/ 9374732 h 15946069"/>
                <a:gd name="connsiteX32" fmla="*/ 16024409 w 18171859"/>
                <a:gd name="connsiteY32" fmla="*/ 7433474 h 15946069"/>
                <a:gd name="connsiteX33" fmla="*/ 17911414 w 18171859"/>
                <a:gd name="connsiteY33" fmla="*/ 6083041 h 15946069"/>
                <a:gd name="connsiteX34" fmla="*/ 17385711 w 18171859"/>
                <a:gd name="connsiteY34" fmla="*/ 5219213 h 15946069"/>
                <a:gd name="connsiteX35" fmla="*/ 18171858 w 18171859"/>
                <a:gd name="connsiteY35" fmla="*/ 4701949 h 15946069"/>
                <a:gd name="connsiteX36" fmla="*/ 17814953 w 18171859"/>
                <a:gd name="connsiteY36" fmla="*/ 4117660 h 15946069"/>
                <a:gd name="connsiteX37" fmla="*/ 16852763 w 18171859"/>
                <a:gd name="connsiteY37" fmla="*/ 3282076 h 15946069"/>
                <a:gd name="connsiteX38" fmla="*/ 14429201 w 18171859"/>
                <a:gd name="connsiteY38" fmla="*/ 4027238 h 15946069"/>
                <a:gd name="connsiteX39" fmla="*/ 13383819 w 18171859"/>
                <a:gd name="connsiteY39" fmla="*/ 2963756 h 15946069"/>
                <a:gd name="connsiteX40" fmla="*/ 12493981 w 18171859"/>
                <a:gd name="connsiteY40" fmla="*/ 2927587 h 15946069"/>
                <a:gd name="connsiteX41" fmla="*/ 11976717 w 18171859"/>
                <a:gd name="connsiteY41" fmla="*/ 2139025 h 15946069"/>
                <a:gd name="connsiteX42" fmla="*/ 11484768 w 18171859"/>
                <a:gd name="connsiteY42" fmla="*/ 1495155 h 15946069"/>
                <a:gd name="connsiteX43" fmla="*/ 10830043 w 18171859"/>
                <a:gd name="connsiteY43" fmla="*/ 1256418 h 15946069"/>
                <a:gd name="connsiteX44" fmla="*/ 10323633 w 18171859"/>
                <a:gd name="connsiteY44" fmla="*/ 1220249 h 15946069"/>
                <a:gd name="connsiteX45" fmla="*/ 9802745 w 18171859"/>
                <a:gd name="connsiteY45" fmla="*/ 1603676 h 15946069"/>
                <a:gd name="connsiteX46" fmla="*/ 9223982 w 18171859"/>
                <a:gd name="connsiteY46" fmla="*/ 1621761 h 15946069"/>
                <a:gd name="connsiteX47" fmla="*/ 8782678 w 18171859"/>
                <a:gd name="connsiteY47" fmla="*/ 2171586 h 15946069"/>
                <a:gd name="connsiteX48" fmla="*/ 8272645 w 18171859"/>
                <a:gd name="connsiteY48" fmla="*/ 2102856 h 15946069"/>
                <a:gd name="connsiteX49" fmla="*/ 7853048 w 18171859"/>
                <a:gd name="connsiteY49" fmla="*/ 2526075 h 15946069"/>
                <a:gd name="connsiteX50" fmla="*/ 7323799 w 18171859"/>
                <a:gd name="connsiteY50" fmla="*/ 2632907 h 15946069"/>
                <a:gd name="connsiteX51" fmla="*/ 6977672 w 18171859"/>
                <a:gd name="connsiteY51" fmla="*/ 2178817 h 15946069"/>
                <a:gd name="connsiteX52" fmla="*/ 6594245 w 18171859"/>
                <a:gd name="connsiteY52" fmla="*/ 2055834 h 15946069"/>
                <a:gd name="connsiteX53" fmla="*/ 6431470 w 18171859"/>
                <a:gd name="connsiteY53" fmla="*/ 1314295 h 15946069"/>
                <a:gd name="connsiteX54" fmla="*/ 5642908 w 18171859"/>
                <a:gd name="connsiteY54" fmla="*/ 1343233 h 15946069"/>
                <a:gd name="connsiteX55" fmla="*/ 5150959 w 18171859"/>
                <a:gd name="connsiteY55" fmla="*/ 1610907 h 15946069"/>
                <a:gd name="connsiteX56" fmla="*/ 5480133 w 18171859"/>
                <a:gd name="connsiteY56" fmla="*/ 2167963 h 15946069"/>
                <a:gd name="connsiteX57" fmla="*/ 4742216 w 18171859"/>
                <a:gd name="connsiteY57" fmla="*/ 2862495 h 15946069"/>
                <a:gd name="connsiteX58" fmla="*/ 2658667 w 18171859"/>
                <a:gd name="connsiteY58" fmla="*/ 0 h 15946069"/>
                <a:gd name="connsiteX59" fmla="*/ 2658682 w 18171859"/>
                <a:gd name="connsiteY59" fmla="*/ 1018890 h 15946069"/>
                <a:gd name="connsiteX60" fmla="*/ 1850829 w 18171859"/>
                <a:gd name="connsiteY60" fmla="*/ 1730283 h 15946069"/>
                <a:gd name="connsiteX61" fmla="*/ 1404694 w 18171859"/>
                <a:gd name="connsiteY61" fmla="*/ 2272862 h 15946069"/>
                <a:gd name="connsiteX62" fmla="*/ 2351216 w 18171859"/>
                <a:gd name="connsiteY62" fmla="*/ 3388182 h 15946069"/>
                <a:gd name="connsiteX63" fmla="*/ 2658682 w 18171859"/>
                <a:gd name="connsiteY63" fmla="*/ 4286458 h 15946069"/>
                <a:gd name="connsiteX64" fmla="*/ 1935228 w 18171859"/>
                <a:gd name="connsiteY64" fmla="*/ 5220918 h 15946069"/>
                <a:gd name="connsiteX65" fmla="*/ 875281 w 18171859"/>
                <a:gd name="connsiteY65" fmla="*/ 5166646 h 15946069"/>
                <a:gd name="connsiteX66" fmla="*/ 0 w 18171859"/>
                <a:gd name="connsiteY66" fmla="*/ 5890112 h 15946069"/>
                <a:gd name="connsiteX67" fmla="*/ 72345 w 18171859"/>
                <a:gd name="connsiteY67" fmla="*/ 6921032 h 15946069"/>
                <a:gd name="connsiteX68" fmla="*/ 477776 w 18171859"/>
                <a:gd name="connsiteY68"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2493981 w 18171859"/>
                <a:gd name="connsiteY39" fmla="*/ 2927587 h 15946069"/>
                <a:gd name="connsiteX40" fmla="*/ 11976717 w 18171859"/>
                <a:gd name="connsiteY40" fmla="*/ 2139025 h 15946069"/>
                <a:gd name="connsiteX41" fmla="*/ 11484768 w 18171859"/>
                <a:gd name="connsiteY41" fmla="*/ 1495155 h 15946069"/>
                <a:gd name="connsiteX42" fmla="*/ 10830043 w 18171859"/>
                <a:gd name="connsiteY42" fmla="*/ 1256418 h 15946069"/>
                <a:gd name="connsiteX43" fmla="*/ 10323633 w 18171859"/>
                <a:gd name="connsiteY43" fmla="*/ 1220249 h 15946069"/>
                <a:gd name="connsiteX44" fmla="*/ 9802745 w 18171859"/>
                <a:gd name="connsiteY44" fmla="*/ 1603676 h 15946069"/>
                <a:gd name="connsiteX45" fmla="*/ 9223982 w 18171859"/>
                <a:gd name="connsiteY45" fmla="*/ 1621761 h 15946069"/>
                <a:gd name="connsiteX46" fmla="*/ 8782678 w 18171859"/>
                <a:gd name="connsiteY46" fmla="*/ 2171586 h 15946069"/>
                <a:gd name="connsiteX47" fmla="*/ 8272645 w 18171859"/>
                <a:gd name="connsiteY47" fmla="*/ 2102856 h 15946069"/>
                <a:gd name="connsiteX48" fmla="*/ 7853048 w 18171859"/>
                <a:gd name="connsiteY48" fmla="*/ 2526075 h 15946069"/>
                <a:gd name="connsiteX49" fmla="*/ 7323799 w 18171859"/>
                <a:gd name="connsiteY49" fmla="*/ 2632907 h 15946069"/>
                <a:gd name="connsiteX50" fmla="*/ 6977672 w 18171859"/>
                <a:gd name="connsiteY50" fmla="*/ 2178817 h 15946069"/>
                <a:gd name="connsiteX51" fmla="*/ 6594245 w 18171859"/>
                <a:gd name="connsiteY51" fmla="*/ 2055834 h 15946069"/>
                <a:gd name="connsiteX52" fmla="*/ 6431470 w 18171859"/>
                <a:gd name="connsiteY52" fmla="*/ 1314295 h 15946069"/>
                <a:gd name="connsiteX53" fmla="*/ 5642908 w 18171859"/>
                <a:gd name="connsiteY53" fmla="*/ 1343233 h 15946069"/>
                <a:gd name="connsiteX54" fmla="*/ 5150959 w 18171859"/>
                <a:gd name="connsiteY54" fmla="*/ 1610907 h 15946069"/>
                <a:gd name="connsiteX55" fmla="*/ 5480133 w 18171859"/>
                <a:gd name="connsiteY55" fmla="*/ 2167963 h 15946069"/>
                <a:gd name="connsiteX56" fmla="*/ 4742216 w 18171859"/>
                <a:gd name="connsiteY56" fmla="*/ 2862495 h 15946069"/>
                <a:gd name="connsiteX57" fmla="*/ 2658667 w 18171859"/>
                <a:gd name="connsiteY57" fmla="*/ 0 h 15946069"/>
                <a:gd name="connsiteX58" fmla="*/ 2658682 w 18171859"/>
                <a:gd name="connsiteY58" fmla="*/ 1018890 h 15946069"/>
                <a:gd name="connsiteX59" fmla="*/ 1850829 w 18171859"/>
                <a:gd name="connsiteY59" fmla="*/ 1730283 h 15946069"/>
                <a:gd name="connsiteX60" fmla="*/ 1404694 w 18171859"/>
                <a:gd name="connsiteY60" fmla="*/ 2272862 h 15946069"/>
                <a:gd name="connsiteX61" fmla="*/ 2351216 w 18171859"/>
                <a:gd name="connsiteY61" fmla="*/ 3388182 h 15946069"/>
                <a:gd name="connsiteX62" fmla="*/ 2658682 w 18171859"/>
                <a:gd name="connsiteY62" fmla="*/ 4286458 h 15946069"/>
                <a:gd name="connsiteX63" fmla="*/ 1935228 w 18171859"/>
                <a:gd name="connsiteY63" fmla="*/ 5220918 h 15946069"/>
                <a:gd name="connsiteX64" fmla="*/ 875281 w 18171859"/>
                <a:gd name="connsiteY64" fmla="*/ 5166646 h 15946069"/>
                <a:gd name="connsiteX65" fmla="*/ 0 w 18171859"/>
                <a:gd name="connsiteY65" fmla="*/ 5890112 h 15946069"/>
                <a:gd name="connsiteX66" fmla="*/ 72345 w 18171859"/>
                <a:gd name="connsiteY66" fmla="*/ 6921032 h 15946069"/>
                <a:gd name="connsiteX67" fmla="*/ 477776 w 18171859"/>
                <a:gd name="connsiteY67"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1484768 w 18171859"/>
                <a:gd name="connsiteY40" fmla="*/ 1495155 h 15946069"/>
                <a:gd name="connsiteX41" fmla="*/ 10830043 w 18171859"/>
                <a:gd name="connsiteY41" fmla="*/ 1256418 h 15946069"/>
                <a:gd name="connsiteX42" fmla="*/ 10323633 w 18171859"/>
                <a:gd name="connsiteY42" fmla="*/ 1220249 h 15946069"/>
                <a:gd name="connsiteX43" fmla="*/ 9802745 w 18171859"/>
                <a:gd name="connsiteY43" fmla="*/ 1603676 h 15946069"/>
                <a:gd name="connsiteX44" fmla="*/ 9223982 w 18171859"/>
                <a:gd name="connsiteY44" fmla="*/ 1621761 h 15946069"/>
                <a:gd name="connsiteX45" fmla="*/ 8782678 w 18171859"/>
                <a:gd name="connsiteY45" fmla="*/ 2171586 h 15946069"/>
                <a:gd name="connsiteX46" fmla="*/ 8272645 w 18171859"/>
                <a:gd name="connsiteY46" fmla="*/ 2102856 h 15946069"/>
                <a:gd name="connsiteX47" fmla="*/ 7853048 w 18171859"/>
                <a:gd name="connsiteY47" fmla="*/ 2526075 h 15946069"/>
                <a:gd name="connsiteX48" fmla="*/ 7323799 w 18171859"/>
                <a:gd name="connsiteY48" fmla="*/ 2632907 h 15946069"/>
                <a:gd name="connsiteX49" fmla="*/ 6977672 w 18171859"/>
                <a:gd name="connsiteY49" fmla="*/ 2178817 h 15946069"/>
                <a:gd name="connsiteX50" fmla="*/ 6594245 w 18171859"/>
                <a:gd name="connsiteY50" fmla="*/ 2055834 h 15946069"/>
                <a:gd name="connsiteX51" fmla="*/ 6431470 w 18171859"/>
                <a:gd name="connsiteY51" fmla="*/ 1314295 h 15946069"/>
                <a:gd name="connsiteX52" fmla="*/ 5642908 w 18171859"/>
                <a:gd name="connsiteY52" fmla="*/ 1343233 h 15946069"/>
                <a:gd name="connsiteX53" fmla="*/ 5150959 w 18171859"/>
                <a:gd name="connsiteY53" fmla="*/ 1610907 h 15946069"/>
                <a:gd name="connsiteX54" fmla="*/ 5480133 w 18171859"/>
                <a:gd name="connsiteY54" fmla="*/ 2167963 h 15946069"/>
                <a:gd name="connsiteX55" fmla="*/ 4742216 w 18171859"/>
                <a:gd name="connsiteY55" fmla="*/ 2862495 h 15946069"/>
                <a:gd name="connsiteX56" fmla="*/ 2658667 w 18171859"/>
                <a:gd name="connsiteY56" fmla="*/ 0 h 15946069"/>
                <a:gd name="connsiteX57" fmla="*/ 2658682 w 18171859"/>
                <a:gd name="connsiteY57" fmla="*/ 1018890 h 15946069"/>
                <a:gd name="connsiteX58" fmla="*/ 1850829 w 18171859"/>
                <a:gd name="connsiteY58" fmla="*/ 1730283 h 15946069"/>
                <a:gd name="connsiteX59" fmla="*/ 1404694 w 18171859"/>
                <a:gd name="connsiteY59" fmla="*/ 2272862 h 15946069"/>
                <a:gd name="connsiteX60" fmla="*/ 2351216 w 18171859"/>
                <a:gd name="connsiteY60" fmla="*/ 3388182 h 15946069"/>
                <a:gd name="connsiteX61" fmla="*/ 2658682 w 18171859"/>
                <a:gd name="connsiteY61" fmla="*/ 4286458 h 15946069"/>
                <a:gd name="connsiteX62" fmla="*/ 1935228 w 18171859"/>
                <a:gd name="connsiteY62" fmla="*/ 5220918 h 15946069"/>
                <a:gd name="connsiteX63" fmla="*/ 875281 w 18171859"/>
                <a:gd name="connsiteY63" fmla="*/ 5166646 h 15946069"/>
                <a:gd name="connsiteX64" fmla="*/ 0 w 18171859"/>
                <a:gd name="connsiteY64" fmla="*/ 5890112 h 15946069"/>
                <a:gd name="connsiteX65" fmla="*/ 72345 w 18171859"/>
                <a:gd name="connsiteY65" fmla="*/ 6921032 h 15946069"/>
                <a:gd name="connsiteX66" fmla="*/ 477776 w 18171859"/>
                <a:gd name="connsiteY66"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10323633 w 18171859"/>
                <a:gd name="connsiteY41" fmla="*/ 1220249 h 15946069"/>
                <a:gd name="connsiteX42" fmla="*/ 9802745 w 18171859"/>
                <a:gd name="connsiteY42" fmla="*/ 1603676 h 15946069"/>
                <a:gd name="connsiteX43" fmla="*/ 9223982 w 18171859"/>
                <a:gd name="connsiteY43" fmla="*/ 1621761 h 15946069"/>
                <a:gd name="connsiteX44" fmla="*/ 8782678 w 18171859"/>
                <a:gd name="connsiteY44" fmla="*/ 2171586 h 15946069"/>
                <a:gd name="connsiteX45" fmla="*/ 8272645 w 18171859"/>
                <a:gd name="connsiteY45" fmla="*/ 2102856 h 15946069"/>
                <a:gd name="connsiteX46" fmla="*/ 7853048 w 18171859"/>
                <a:gd name="connsiteY46" fmla="*/ 2526075 h 15946069"/>
                <a:gd name="connsiteX47" fmla="*/ 7323799 w 18171859"/>
                <a:gd name="connsiteY47" fmla="*/ 2632907 h 15946069"/>
                <a:gd name="connsiteX48" fmla="*/ 6977672 w 18171859"/>
                <a:gd name="connsiteY48" fmla="*/ 2178817 h 15946069"/>
                <a:gd name="connsiteX49" fmla="*/ 6594245 w 18171859"/>
                <a:gd name="connsiteY49" fmla="*/ 2055834 h 15946069"/>
                <a:gd name="connsiteX50" fmla="*/ 6431470 w 18171859"/>
                <a:gd name="connsiteY50" fmla="*/ 1314295 h 15946069"/>
                <a:gd name="connsiteX51" fmla="*/ 5642908 w 18171859"/>
                <a:gd name="connsiteY51" fmla="*/ 1343233 h 15946069"/>
                <a:gd name="connsiteX52" fmla="*/ 5150959 w 18171859"/>
                <a:gd name="connsiteY52" fmla="*/ 1610907 h 15946069"/>
                <a:gd name="connsiteX53" fmla="*/ 5480133 w 18171859"/>
                <a:gd name="connsiteY53" fmla="*/ 2167963 h 15946069"/>
                <a:gd name="connsiteX54" fmla="*/ 4742216 w 18171859"/>
                <a:gd name="connsiteY54" fmla="*/ 2862495 h 15946069"/>
                <a:gd name="connsiteX55" fmla="*/ 2658667 w 18171859"/>
                <a:gd name="connsiteY55" fmla="*/ 0 h 15946069"/>
                <a:gd name="connsiteX56" fmla="*/ 2658682 w 18171859"/>
                <a:gd name="connsiteY56" fmla="*/ 1018890 h 15946069"/>
                <a:gd name="connsiteX57" fmla="*/ 1850829 w 18171859"/>
                <a:gd name="connsiteY57" fmla="*/ 1730283 h 15946069"/>
                <a:gd name="connsiteX58" fmla="*/ 1404694 w 18171859"/>
                <a:gd name="connsiteY58" fmla="*/ 2272862 h 15946069"/>
                <a:gd name="connsiteX59" fmla="*/ 2351216 w 18171859"/>
                <a:gd name="connsiteY59" fmla="*/ 3388182 h 15946069"/>
                <a:gd name="connsiteX60" fmla="*/ 2658682 w 18171859"/>
                <a:gd name="connsiteY60" fmla="*/ 4286458 h 15946069"/>
                <a:gd name="connsiteX61" fmla="*/ 1935228 w 18171859"/>
                <a:gd name="connsiteY61" fmla="*/ 5220918 h 15946069"/>
                <a:gd name="connsiteX62" fmla="*/ 875281 w 18171859"/>
                <a:gd name="connsiteY62" fmla="*/ 5166646 h 15946069"/>
                <a:gd name="connsiteX63" fmla="*/ 0 w 18171859"/>
                <a:gd name="connsiteY63" fmla="*/ 5890112 h 15946069"/>
                <a:gd name="connsiteX64" fmla="*/ 72345 w 18171859"/>
                <a:gd name="connsiteY64" fmla="*/ 6921032 h 15946069"/>
                <a:gd name="connsiteX65" fmla="*/ 477776 w 18171859"/>
                <a:gd name="connsiteY65"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9223982 w 18171859"/>
                <a:gd name="connsiteY42" fmla="*/ 1621761 h 15946069"/>
                <a:gd name="connsiteX43" fmla="*/ 8782678 w 18171859"/>
                <a:gd name="connsiteY43" fmla="*/ 2171586 h 15946069"/>
                <a:gd name="connsiteX44" fmla="*/ 8272645 w 18171859"/>
                <a:gd name="connsiteY44" fmla="*/ 2102856 h 15946069"/>
                <a:gd name="connsiteX45" fmla="*/ 7853048 w 18171859"/>
                <a:gd name="connsiteY45" fmla="*/ 2526075 h 15946069"/>
                <a:gd name="connsiteX46" fmla="*/ 7323799 w 18171859"/>
                <a:gd name="connsiteY46" fmla="*/ 2632907 h 15946069"/>
                <a:gd name="connsiteX47" fmla="*/ 6977672 w 18171859"/>
                <a:gd name="connsiteY47" fmla="*/ 2178817 h 15946069"/>
                <a:gd name="connsiteX48" fmla="*/ 6594245 w 18171859"/>
                <a:gd name="connsiteY48" fmla="*/ 2055834 h 15946069"/>
                <a:gd name="connsiteX49" fmla="*/ 6431470 w 18171859"/>
                <a:gd name="connsiteY49" fmla="*/ 1314295 h 15946069"/>
                <a:gd name="connsiteX50" fmla="*/ 5642908 w 18171859"/>
                <a:gd name="connsiteY50" fmla="*/ 1343233 h 15946069"/>
                <a:gd name="connsiteX51" fmla="*/ 5150959 w 18171859"/>
                <a:gd name="connsiteY51" fmla="*/ 1610907 h 15946069"/>
                <a:gd name="connsiteX52" fmla="*/ 5480133 w 18171859"/>
                <a:gd name="connsiteY52" fmla="*/ 2167963 h 15946069"/>
                <a:gd name="connsiteX53" fmla="*/ 4742216 w 18171859"/>
                <a:gd name="connsiteY53" fmla="*/ 2862495 h 15946069"/>
                <a:gd name="connsiteX54" fmla="*/ 2658667 w 18171859"/>
                <a:gd name="connsiteY54" fmla="*/ 0 h 15946069"/>
                <a:gd name="connsiteX55" fmla="*/ 2658682 w 18171859"/>
                <a:gd name="connsiteY55" fmla="*/ 1018890 h 15946069"/>
                <a:gd name="connsiteX56" fmla="*/ 1850829 w 18171859"/>
                <a:gd name="connsiteY56" fmla="*/ 1730283 h 15946069"/>
                <a:gd name="connsiteX57" fmla="*/ 1404694 w 18171859"/>
                <a:gd name="connsiteY57" fmla="*/ 2272862 h 15946069"/>
                <a:gd name="connsiteX58" fmla="*/ 2351216 w 18171859"/>
                <a:gd name="connsiteY58" fmla="*/ 3388182 h 15946069"/>
                <a:gd name="connsiteX59" fmla="*/ 2658682 w 18171859"/>
                <a:gd name="connsiteY59" fmla="*/ 4286458 h 15946069"/>
                <a:gd name="connsiteX60" fmla="*/ 1935228 w 18171859"/>
                <a:gd name="connsiteY60" fmla="*/ 5220918 h 15946069"/>
                <a:gd name="connsiteX61" fmla="*/ 875281 w 18171859"/>
                <a:gd name="connsiteY61" fmla="*/ 5166646 h 15946069"/>
                <a:gd name="connsiteX62" fmla="*/ 0 w 18171859"/>
                <a:gd name="connsiteY62" fmla="*/ 5890112 h 15946069"/>
                <a:gd name="connsiteX63" fmla="*/ 72345 w 18171859"/>
                <a:gd name="connsiteY63" fmla="*/ 6921032 h 15946069"/>
                <a:gd name="connsiteX64" fmla="*/ 477776 w 18171859"/>
                <a:gd name="connsiteY64"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782678 w 18171859"/>
                <a:gd name="connsiteY42" fmla="*/ 2171586 h 15946069"/>
                <a:gd name="connsiteX43" fmla="*/ 8272645 w 18171859"/>
                <a:gd name="connsiteY43" fmla="*/ 2102856 h 15946069"/>
                <a:gd name="connsiteX44" fmla="*/ 7853048 w 18171859"/>
                <a:gd name="connsiteY44" fmla="*/ 2526075 h 15946069"/>
                <a:gd name="connsiteX45" fmla="*/ 7323799 w 18171859"/>
                <a:gd name="connsiteY45" fmla="*/ 2632907 h 15946069"/>
                <a:gd name="connsiteX46" fmla="*/ 6977672 w 18171859"/>
                <a:gd name="connsiteY46" fmla="*/ 2178817 h 15946069"/>
                <a:gd name="connsiteX47" fmla="*/ 6594245 w 18171859"/>
                <a:gd name="connsiteY47" fmla="*/ 2055834 h 15946069"/>
                <a:gd name="connsiteX48" fmla="*/ 6431470 w 18171859"/>
                <a:gd name="connsiteY48" fmla="*/ 1314295 h 15946069"/>
                <a:gd name="connsiteX49" fmla="*/ 5642908 w 18171859"/>
                <a:gd name="connsiteY49" fmla="*/ 1343233 h 15946069"/>
                <a:gd name="connsiteX50" fmla="*/ 5150959 w 18171859"/>
                <a:gd name="connsiteY50" fmla="*/ 1610907 h 15946069"/>
                <a:gd name="connsiteX51" fmla="*/ 5480133 w 18171859"/>
                <a:gd name="connsiteY51" fmla="*/ 2167963 h 15946069"/>
                <a:gd name="connsiteX52" fmla="*/ 4742216 w 18171859"/>
                <a:gd name="connsiteY52" fmla="*/ 2862495 h 15946069"/>
                <a:gd name="connsiteX53" fmla="*/ 2658667 w 18171859"/>
                <a:gd name="connsiteY53" fmla="*/ 0 h 15946069"/>
                <a:gd name="connsiteX54" fmla="*/ 2658682 w 18171859"/>
                <a:gd name="connsiteY54" fmla="*/ 1018890 h 15946069"/>
                <a:gd name="connsiteX55" fmla="*/ 1850829 w 18171859"/>
                <a:gd name="connsiteY55" fmla="*/ 1730283 h 15946069"/>
                <a:gd name="connsiteX56" fmla="*/ 1404694 w 18171859"/>
                <a:gd name="connsiteY56" fmla="*/ 2272862 h 15946069"/>
                <a:gd name="connsiteX57" fmla="*/ 2351216 w 18171859"/>
                <a:gd name="connsiteY57" fmla="*/ 3388182 h 15946069"/>
                <a:gd name="connsiteX58" fmla="*/ 2658682 w 18171859"/>
                <a:gd name="connsiteY58" fmla="*/ 4286458 h 15946069"/>
                <a:gd name="connsiteX59" fmla="*/ 1935228 w 18171859"/>
                <a:gd name="connsiteY59" fmla="*/ 5220918 h 15946069"/>
                <a:gd name="connsiteX60" fmla="*/ 875281 w 18171859"/>
                <a:gd name="connsiteY60" fmla="*/ 5166646 h 15946069"/>
                <a:gd name="connsiteX61" fmla="*/ 0 w 18171859"/>
                <a:gd name="connsiteY61" fmla="*/ 5890112 h 15946069"/>
                <a:gd name="connsiteX62" fmla="*/ 72345 w 18171859"/>
                <a:gd name="connsiteY62" fmla="*/ 6921032 h 15946069"/>
                <a:gd name="connsiteX63" fmla="*/ 477776 w 18171859"/>
                <a:gd name="connsiteY63"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782678 w 18171859"/>
                <a:gd name="connsiteY42" fmla="*/ 2171586 h 15946069"/>
                <a:gd name="connsiteX43" fmla="*/ 7853048 w 18171859"/>
                <a:gd name="connsiteY43" fmla="*/ 2526075 h 15946069"/>
                <a:gd name="connsiteX44" fmla="*/ 7323799 w 18171859"/>
                <a:gd name="connsiteY44" fmla="*/ 2632907 h 15946069"/>
                <a:gd name="connsiteX45" fmla="*/ 6977672 w 18171859"/>
                <a:gd name="connsiteY45" fmla="*/ 2178817 h 15946069"/>
                <a:gd name="connsiteX46" fmla="*/ 6594245 w 18171859"/>
                <a:gd name="connsiteY46" fmla="*/ 2055834 h 15946069"/>
                <a:gd name="connsiteX47" fmla="*/ 6431470 w 18171859"/>
                <a:gd name="connsiteY47" fmla="*/ 1314295 h 15946069"/>
                <a:gd name="connsiteX48" fmla="*/ 5642908 w 18171859"/>
                <a:gd name="connsiteY48" fmla="*/ 1343233 h 15946069"/>
                <a:gd name="connsiteX49" fmla="*/ 5150959 w 18171859"/>
                <a:gd name="connsiteY49" fmla="*/ 1610907 h 15946069"/>
                <a:gd name="connsiteX50" fmla="*/ 5480133 w 18171859"/>
                <a:gd name="connsiteY50" fmla="*/ 2167963 h 15946069"/>
                <a:gd name="connsiteX51" fmla="*/ 4742216 w 18171859"/>
                <a:gd name="connsiteY51" fmla="*/ 2862495 h 15946069"/>
                <a:gd name="connsiteX52" fmla="*/ 2658667 w 18171859"/>
                <a:gd name="connsiteY52" fmla="*/ 0 h 15946069"/>
                <a:gd name="connsiteX53" fmla="*/ 2658682 w 18171859"/>
                <a:gd name="connsiteY53" fmla="*/ 1018890 h 15946069"/>
                <a:gd name="connsiteX54" fmla="*/ 1850829 w 18171859"/>
                <a:gd name="connsiteY54" fmla="*/ 1730283 h 15946069"/>
                <a:gd name="connsiteX55" fmla="*/ 1404694 w 18171859"/>
                <a:gd name="connsiteY55" fmla="*/ 2272862 h 15946069"/>
                <a:gd name="connsiteX56" fmla="*/ 2351216 w 18171859"/>
                <a:gd name="connsiteY56" fmla="*/ 3388182 h 15946069"/>
                <a:gd name="connsiteX57" fmla="*/ 2658682 w 18171859"/>
                <a:gd name="connsiteY57" fmla="*/ 4286458 h 15946069"/>
                <a:gd name="connsiteX58" fmla="*/ 1935228 w 18171859"/>
                <a:gd name="connsiteY58" fmla="*/ 5220918 h 15946069"/>
                <a:gd name="connsiteX59" fmla="*/ 875281 w 18171859"/>
                <a:gd name="connsiteY59" fmla="*/ 5166646 h 15946069"/>
                <a:gd name="connsiteX60" fmla="*/ 0 w 18171859"/>
                <a:gd name="connsiteY60" fmla="*/ 5890112 h 15946069"/>
                <a:gd name="connsiteX61" fmla="*/ 72345 w 18171859"/>
                <a:gd name="connsiteY61" fmla="*/ 6921032 h 15946069"/>
                <a:gd name="connsiteX62" fmla="*/ 477776 w 18171859"/>
                <a:gd name="connsiteY62"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782678 w 18171859"/>
                <a:gd name="connsiteY42" fmla="*/ 2171586 h 15946069"/>
                <a:gd name="connsiteX43" fmla="*/ 7853048 w 18171859"/>
                <a:gd name="connsiteY43" fmla="*/ 2526075 h 15946069"/>
                <a:gd name="connsiteX44" fmla="*/ 6977672 w 18171859"/>
                <a:gd name="connsiteY44" fmla="*/ 2178817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878357 w 18171859"/>
                <a:gd name="connsiteY42" fmla="*/ 3865809 h 15946069"/>
                <a:gd name="connsiteX43" fmla="*/ 7853048 w 18171859"/>
                <a:gd name="connsiteY43" fmla="*/ 2526075 h 15946069"/>
                <a:gd name="connsiteX44" fmla="*/ 6977672 w 18171859"/>
                <a:gd name="connsiteY44" fmla="*/ 2178817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878357 w 18171859"/>
                <a:gd name="connsiteY42" fmla="*/ 3865809 h 15946069"/>
                <a:gd name="connsiteX43" fmla="*/ 7446446 w 18171859"/>
                <a:gd name="connsiteY43" fmla="*/ 3504429 h 15946069"/>
                <a:gd name="connsiteX44" fmla="*/ 6977672 w 18171859"/>
                <a:gd name="connsiteY44" fmla="*/ 2178817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878357 w 18171859"/>
                <a:gd name="connsiteY42" fmla="*/ 3865809 h 15946069"/>
                <a:gd name="connsiteX43" fmla="*/ 7446446 w 18171859"/>
                <a:gd name="connsiteY43" fmla="*/ 3504429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878357 w 18171859"/>
                <a:gd name="connsiteY42" fmla="*/ 3865809 h 15946069"/>
                <a:gd name="connsiteX43" fmla="*/ 7637793 w 18171859"/>
                <a:gd name="connsiteY43" fmla="*/ 2526072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7706376 w 18171859"/>
                <a:gd name="connsiteY42" fmla="*/ 4987336 h 15946069"/>
                <a:gd name="connsiteX43" fmla="*/ 7637793 w 18171859"/>
                <a:gd name="connsiteY43" fmla="*/ 2526072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112983 w 18171859"/>
                <a:gd name="connsiteY42" fmla="*/ 3770361 h 15946069"/>
                <a:gd name="connsiteX43" fmla="*/ 7637793 w 18171859"/>
                <a:gd name="connsiteY43" fmla="*/ 2526072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10161509 w 18171859"/>
                <a:gd name="connsiteY41" fmla="*/ 5230746 h 15946069"/>
                <a:gd name="connsiteX42" fmla="*/ 8112983 w 18171859"/>
                <a:gd name="connsiteY42" fmla="*/ 3770361 h 15946069"/>
                <a:gd name="connsiteX43" fmla="*/ 7637793 w 18171859"/>
                <a:gd name="connsiteY43" fmla="*/ 2526072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9801570 w 18171859"/>
                <a:gd name="connsiteY40" fmla="*/ 6243641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6859659 w 18171859"/>
                <a:gd name="connsiteY40" fmla="*/ 6315230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6285626 w 18171859"/>
                <a:gd name="connsiteY40" fmla="*/ 5551639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5998609 w 18171859"/>
                <a:gd name="connsiteY40" fmla="*/ 5074389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6309547 w 18171859"/>
                <a:gd name="connsiteY40" fmla="*/ 5647086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6166035 w 18171859"/>
                <a:gd name="connsiteY40" fmla="*/ 540846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9704505 w 18171859"/>
                <a:gd name="connsiteY39" fmla="*/ 7102384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7982404 w 18171859"/>
                <a:gd name="connsiteY39" fmla="*/ 7508044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6017067 w 18171859"/>
                <a:gd name="connsiteY38" fmla="*/ 9931550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0076123 w 18171859"/>
                <a:gd name="connsiteY37" fmla="*/ 8513358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9844788 w 18171859"/>
                <a:gd name="connsiteY36" fmla="*/ 9748760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9366431 w 18171859"/>
                <a:gd name="connsiteY36" fmla="*/ 5930786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8218364 w 18171859"/>
                <a:gd name="connsiteY36" fmla="*/ 7219350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9318595 w 18171859"/>
                <a:gd name="connsiteY36" fmla="*/ 5859197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0639545 w 18171859"/>
                <a:gd name="connsiteY35" fmla="*/ 7482246 h 15946069"/>
                <a:gd name="connsiteX36" fmla="*/ 9318595 w 18171859"/>
                <a:gd name="connsiteY36" fmla="*/ 5859197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0017677 w 18171859"/>
                <a:gd name="connsiteY35" fmla="*/ 5883475 h 15946069"/>
                <a:gd name="connsiteX36" fmla="*/ 9318595 w 18171859"/>
                <a:gd name="connsiteY36" fmla="*/ 5859197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17385711 w 17911411"/>
                <a:gd name="connsiteY33" fmla="*/ 5219213 h 15946069"/>
                <a:gd name="connsiteX34" fmla="*/ 11259549 w 17911411"/>
                <a:gd name="connsiteY34" fmla="*/ 7947227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17385711 w 17911411"/>
                <a:gd name="connsiteY33" fmla="*/ 5219213 h 15946069"/>
                <a:gd name="connsiteX34" fmla="*/ 8628570 w 17911411"/>
                <a:gd name="connsiteY34" fmla="*/ 7994950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17385711 w 17911411"/>
                <a:gd name="connsiteY33" fmla="*/ 5219213 h 15946069"/>
                <a:gd name="connsiteX34" fmla="*/ 10709437 w 17911411"/>
                <a:gd name="connsiteY34" fmla="*/ 6730245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9779785 w 17911411"/>
                <a:gd name="connsiteY33" fmla="*/ 9514428 h 15946069"/>
                <a:gd name="connsiteX34" fmla="*/ 10709437 w 17911411"/>
                <a:gd name="connsiteY34" fmla="*/ 6730245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9301422 w 17911411"/>
                <a:gd name="connsiteY33" fmla="*/ 7486132 h 15946069"/>
                <a:gd name="connsiteX34" fmla="*/ 10709437 w 17911411"/>
                <a:gd name="connsiteY34" fmla="*/ 6730245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10425568 w 17911411"/>
                <a:gd name="connsiteY33" fmla="*/ 7223642 h 15946069"/>
                <a:gd name="connsiteX34" fmla="*/ 10709437 w 17911411"/>
                <a:gd name="connsiteY34" fmla="*/ 6730245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6024409 w 16428338"/>
                <a:gd name="connsiteY31" fmla="*/ 7433474 h 15946069"/>
                <a:gd name="connsiteX32" fmla="*/ 10161984 w 16428338"/>
                <a:gd name="connsiteY32" fmla="*/ 8636304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6024409 w 16428338"/>
                <a:gd name="connsiteY31" fmla="*/ 7433474 h 15946069"/>
                <a:gd name="connsiteX32" fmla="*/ 11118705 w 16428338"/>
                <a:gd name="connsiteY32" fmla="*/ 7156845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1886591 w 16428338"/>
                <a:gd name="connsiteY31" fmla="*/ 8912940 h 15946069"/>
                <a:gd name="connsiteX32" fmla="*/ 11118705 w 16428338"/>
                <a:gd name="connsiteY32" fmla="*/ 7156845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0451507 w 16428338"/>
                <a:gd name="connsiteY31" fmla="*/ 8889075 h 15946069"/>
                <a:gd name="connsiteX32" fmla="*/ 11118705 w 16428338"/>
                <a:gd name="connsiteY32" fmla="*/ 7156845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2149687 w 16428338"/>
                <a:gd name="connsiteY31" fmla="*/ 8101619 h 15946069"/>
                <a:gd name="connsiteX32" fmla="*/ 11118705 w 16428338"/>
                <a:gd name="connsiteY32" fmla="*/ 7156845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13202"/>
                <a:gd name="connsiteY0" fmla="*/ 7436569 h 15946069"/>
                <a:gd name="connsiteX1" fmla="*/ 271294 w 16413202"/>
                <a:gd name="connsiteY1" fmla="*/ 8060457 h 15946069"/>
                <a:gd name="connsiteX2" fmla="*/ 379812 w 16413202"/>
                <a:gd name="connsiteY2" fmla="*/ 8675382 h 15946069"/>
                <a:gd name="connsiteX3" fmla="*/ 759624 w 16413202"/>
                <a:gd name="connsiteY3" fmla="*/ 9217969 h 15946069"/>
                <a:gd name="connsiteX4" fmla="*/ 687278 w 16413202"/>
                <a:gd name="connsiteY4" fmla="*/ 9670126 h 15946069"/>
                <a:gd name="connsiteX5" fmla="*/ 144687 w 16413202"/>
                <a:gd name="connsiteY5" fmla="*/ 9941420 h 15946069"/>
                <a:gd name="connsiteX6" fmla="*/ 343643 w 16413202"/>
                <a:gd name="connsiteY6" fmla="*/ 10592536 h 15946069"/>
                <a:gd name="connsiteX7" fmla="*/ 940487 w 16413202"/>
                <a:gd name="connsiteY7" fmla="*/ 10954252 h 15946069"/>
                <a:gd name="connsiteX8" fmla="*/ 596844 w 16413202"/>
                <a:gd name="connsiteY8" fmla="*/ 11786221 h 15946069"/>
                <a:gd name="connsiteX9" fmla="*/ 633017 w 16413202"/>
                <a:gd name="connsiteY9" fmla="*/ 12780969 h 15946069"/>
                <a:gd name="connsiteX10" fmla="*/ 198944 w 16413202"/>
                <a:gd name="connsiteY10" fmla="*/ 13341645 h 15946069"/>
                <a:gd name="connsiteX11" fmla="*/ 723451 w 16413202"/>
                <a:gd name="connsiteY11" fmla="*/ 13757629 h 15946069"/>
                <a:gd name="connsiteX12" fmla="*/ 1640036 w 16413202"/>
                <a:gd name="connsiteY12" fmla="*/ 13197151 h 15946069"/>
                <a:gd name="connsiteX13" fmla="*/ 1880971 w 16413202"/>
                <a:gd name="connsiteY13" fmla="*/ 13395906 h 15946069"/>
                <a:gd name="connsiteX14" fmla="*/ 2930086 w 16413202"/>
                <a:gd name="connsiteY14" fmla="*/ 12952832 h 15946069"/>
                <a:gd name="connsiteX15" fmla="*/ 3828256 w 16413202"/>
                <a:gd name="connsiteY15" fmla="*/ 13245188 h 15946069"/>
                <a:gd name="connsiteX16" fmla="*/ 4768739 w 16413202"/>
                <a:gd name="connsiteY16" fmla="*/ 13040205 h 15946069"/>
                <a:gd name="connsiteX17" fmla="*/ 5190751 w 16413202"/>
                <a:gd name="connsiteY17" fmla="*/ 13649115 h 15946069"/>
                <a:gd name="connsiteX18" fmla="*/ 5932290 w 16413202"/>
                <a:gd name="connsiteY18" fmla="*/ 13444132 h 15946069"/>
                <a:gd name="connsiteX19" fmla="*/ 6498992 w 16413202"/>
                <a:gd name="connsiteY19" fmla="*/ 12991975 h 15946069"/>
                <a:gd name="connsiteX20" fmla="*/ 7373161 w 16413202"/>
                <a:gd name="connsiteY20" fmla="*/ 13582800 h 15946069"/>
                <a:gd name="connsiteX21" fmla="*/ 8512588 w 16413202"/>
                <a:gd name="connsiteY21" fmla="*/ 13570738 h 15946069"/>
                <a:gd name="connsiteX22" fmla="*/ 9742454 w 16413202"/>
                <a:gd name="connsiteY22" fmla="*/ 14004811 h 15946069"/>
                <a:gd name="connsiteX23" fmla="*/ 10616683 w 16413202"/>
                <a:gd name="connsiteY23" fmla="*/ 15358294 h 15946069"/>
                <a:gd name="connsiteX24" fmla="*/ 11117010 w 16413202"/>
                <a:gd name="connsiteY24" fmla="*/ 15946069 h 15946069"/>
                <a:gd name="connsiteX25" fmla="*/ 11780218 w 16413202"/>
                <a:gd name="connsiteY25" fmla="*/ 13579811 h 15946069"/>
                <a:gd name="connsiteX26" fmla="*/ 12196146 w 16413202"/>
                <a:gd name="connsiteY26" fmla="*/ 11388328 h 15946069"/>
                <a:gd name="connsiteX27" fmla="*/ 14004775 w 16413202"/>
                <a:gd name="connsiteY27" fmla="*/ 11611395 h 15946069"/>
                <a:gd name="connsiteX28" fmla="*/ 15409477 w 16413202"/>
                <a:gd name="connsiteY28" fmla="*/ 11882693 h 15946069"/>
                <a:gd name="connsiteX29" fmla="*/ 16413199 w 16413202"/>
                <a:gd name="connsiteY29" fmla="*/ 10920339 h 15946069"/>
                <a:gd name="connsiteX30" fmla="*/ 10305329 w 16413202"/>
                <a:gd name="connsiteY30" fmla="*/ 10066739 h 15946069"/>
                <a:gd name="connsiteX31" fmla="*/ 12149687 w 16413202"/>
                <a:gd name="connsiteY31" fmla="*/ 8101619 h 15946069"/>
                <a:gd name="connsiteX32" fmla="*/ 11118705 w 16413202"/>
                <a:gd name="connsiteY32" fmla="*/ 7156845 h 15946069"/>
                <a:gd name="connsiteX33" fmla="*/ 10425568 w 16413202"/>
                <a:gd name="connsiteY33" fmla="*/ 7223642 h 15946069"/>
                <a:gd name="connsiteX34" fmla="*/ 10709437 w 16413202"/>
                <a:gd name="connsiteY34" fmla="*/ 6730245 h 15946069"/>
                <a:gd name="connsiteX35" fmla="*/ 10017677 w 16413202"/>
                <a:gd name="connsiteY35" fmla="*/ 5883475 h 15946069"/>
                <a:gd name="connsiteX36" fmla="*/ 9318595 w 16413202"/>
                <a:gd name="connsiteY36" fmla="*/ 5859197 h 15946069"/>
                <a:gd name="connsiteX37" fmla="*/ 9215073 w 16413202"/>
                <a:gd name="connsiteY37" fmla="*/ 5387392 h 15946069"/>
                <a:gd name="connsiteX38" fmla="*/ 8600211 w 16413202"/>
                <a:gd name="connsiteY38" fmla="*/ 5564744 h 15946069"/>
                <a:gd name="connsiteX39" fmla="*/ 8412926 w 16413202"/>
                <a:gd name="connsiteY39" fmla="*/ 4835463 h 15946069"/>
                <a:gd name="connsiteX40" fmla="*/ 7744624 w 16413202"/>
                <a:gd name="connsiteY40" fmla="*/ 4382387 h 15946069"/>
                <a:gd name="connsiteX41" fmla="*/ 8112983 w 16413202"/>
                <a:gd name="connsiteY41" fmla="*/ 3770361 h 15946069"/>
                <a:gd name="connsiteX42" fmla="*/ 7637793 w 16413202"/>
                <a:gd name="connsiteY42" fmla="*/ 2526072 h 15946069"/>
                <a:gd name="connsiteX43" fmla="*/ 7264687 w 16413202"/>
                <a:gd name="connsiteY43" fmla="*/ 2131091 h 15946069"/>
                <a:gd name="connsiteX44" fmla="*/ 6594245 w 16413202"/>
                <a:gd name="connsiteY44" fmla="*/ 2055834 h 15946069"/>
                <a:gd name="connsiteX45" fmla="*/ 6431470 w 16413202"/>
                <a:gd name="connsiteY45" fmla="*/ 1314295 h 15946069"/>
                <a:gd name="connsiteX46" fmla="*/ 5642908 w 16413202"/>
                <a:gd name="connsiteY46" fmla="*/ 1343233 h 15946069"/>
                <a:gd name="connsiteX47" fmla="*/ 5150959 w 16413202"/>
                <a:gd name="connsiteY47" fmla="*/ 1610907 h 15946069"/>
                <a:gd name="connsiteX48" fmla="*/ 5480133 w 16413202"/>
                <a:gd name="connsiteY48" fmla="*/ 2167963 h 15946069"/>
                <a:gd name="connsiteX49" fmla="*/ 4742216 w 16413202"/>
                <a:gd name="connsiteY49" fmla="*/ 2862495 h 15946069"/>
                <a:gd name="connsiteX50" fmla="*/ 2658667 w 16413202"/>
                <a:gd name="connsiteY50" fmla="*/ 0 h 15946069"/>
                <a:gd name="connsiteX51" fmla="*/ 2658682 w 16413202"/>
                <a:gd name="connsiteY51" fmla="*/ 1018890 h 15946069"/>
                <a:gd name="connsiteX52" fmla="*/ 1850829 w 16413202"/>
                <a:gd name="connsiteY52" fmla="*/ 1730283 h 15946069"/>
                <a:gd name="connsiteX53" fmla="*/ 1404694 w 16413202"/>
                <a:gd name="connsiteY53" fmla="*/ 2272862 h 15946069"/>
                <a:gd name="connsiteX54" fmla="*/ 2351216 w 16413202"/>
                <a:gd name="connsiteY54" fmla="*/ 3388182 h 15946069"/>
                <a:gd name="connsiteX55" fmla="*/ 2658682 w 16413202"/>
                <a:gd name="connsiteY55" fmla="*/ 4286458 h 15946069"/>
                <a:gd name="connsiteX56" fmla="*/ 1935228 w 16413202"/>
                <a:gd name="connsiteY56" fmla="*/ 5220918 h 15946069"/>
                <a:gd name="connsiteX57" fmla="*/ 875281 w 16413202"/>
                <a:gd name="connsiteY57" fmla="*/ 5166646 h 15946069"/>
                <a:gd name="connsiteX58" fmla="*/ 0 w 16413202"/>
                <a:gd name="connsiteY58" fmla="*/ 5890112 h 15946069"/>
                <a:gd name="connsiteX59" fmla="*/ 72345 w 16413202"/>
                <a:gd name="connsiteY59" fmla="*/ 6921032 h 15946069"/>
                <a:gd name="connsiteX60" fmla="*/ 477776 w 16413202"/>
                <a:gd name="connsiteY60" fmla="*/ 7436569 h 15946069"/>
                <a:gd name="connsiteX0" fmla="*/ 477776 w 16413202"/>
                <a:gd name="connsiteY0" fmla="*/ 7436569 h 15946069"/>
                <a:gd name="connsiteX1" fmla="*/ 271294 w 16413202"/>
                <a:gd name="connsiteY1" fmla="*/ 8060457 h 15946069"/>
                <a:gd name="connsiteX2" fmla="*/ 379812 w 16413202"/>
                <a:gd name="connsiteY2" fmla="*/ 8675382 h 15946069"/>
                <a:gd name="connsiteX3" fmla="*/ 759624 w 16413202"/>
                <a:gd name="connsiteY3" fmla="*/ 9217969 h 15946069"/>
                <a:gd name="connsiteX4" fmla="*/ 687278 w 16413202"/>
                <a:gd name="connsiteY4" fmla="*/ 9670126 h 15946069"/>
                <a:gd name="connsiteX5" fmla="*/ 144687 w 16413202"/>
                <a:gd name="connsiteY5" fmla="*/ 9941420 h 15946069"/>
                <a:gd name="connsiteX6" fmla="*/ 343643 w 16413202"/>
                <a:gd name="connsiteY6" fmla="*/ 10592536 h 15946069"/>
                <a:gd name="connsiteX7" fmla="*/ 940487 w 16413202"/>
                <a:gd name="connsiteY7" fmla="*/ 10954252 h 15946069"/>
                <a:gd name="connsiteX8" fmla="*/ 596844 w 16413202"/>
                <a:gd name="connsiteY8" fmla="*/ 11786221 h 15946069"/>
                <a:gd name="connsiteX9" fmla="*/ 633017 w 16413202"/>
                <a:gd name="connsiteY9" fmla="*/ 12780969 h 15946069"/>
                <a:gd name="connsiteX10" fmla="*/ 198944 w 16413202"/>
                <a:gd name="connsiteY10" fmla="*/ 13341645 h 15946069"/>
                <a:gd name="connsiteX11" fmla="*/ 723451 w 16413202"/>
                <a:gd name="connsiteY11" fmla="*/ 13757629 h 15946069"/>
                <a:gd name="connsiteX12" fmla="*/ 1640036 w 16413202"/>
                <a:gd name="connsiteY12" fmla="*/ 13197151 h 15946069"/>
                <a:gd name="connsiteX13" fmla="*/ 1880971 w 16413202"/>
                <a:gd name="connsiteY13" fmla="*/ 13395906 h 15946069"/>
                <a:gd name="connsiteX14" fmla="*/ 2930086 w 16413202"/>
                <a:gd name="connsiteY14" fmla="*/ 12952832 h 15946069"/>
                <a:gd name="connsiteX15" fmla="*/ 3828256 w 16413202"/>
                <a:gd name="connsiteY15" fmla="*/ 13245188 h 15946069"/>
                <a:gd name="connsiteX16" fmla="*/ 4768739 w 16413202"/>
                <a:gd name="connsiteY16" fmla="*/ 13040205 h 15946069"/>
                <a:gd name="connsiteX17" fmla="*/ 5190751 w 16413202"/>
                <a:gd name="connsiteY17" fmla="*/ 13649115 h 15946069"/>
                <a:gd name="connsiteX18" fmla="*/ 5932290 w 16413202"/>
                <a:gd name="connsiteY18" fmla="*/ 13444132 h 15946069"/>
                <a:gd name="connsiteX19" fmla="*/ 6498992 w 16413202"/>
                <a:gd name="connsiteY19" fmla="*/ 12991975 h 15946069"/>
                <a:gd name="connsiteX20" fmla="*/ 7373161 w 16413202"/>
                <a:gd name="connsiteY20" fmla="*/ 13582800 h 15946069"/>
                <a:gd name="connsiteX21" fmla="*/ 8512588 w 16413202"/>
                <a:gd name="connsiteY21" fmla="*/ 13570738 h 15946069"/>
                <a:gd name="connsiteX22" fmla="*/ 9742454 w 16413202"/>
                <a:gd name="connsiteY22" fmla="*/ 14004811 h 15946069"/>
                <a:gd name="connsiteX23" fmla="*/ 10616683 w 16413202"/>
                <a:gd name="connsiteY23" fmla="*/ 15358294 h 15946069"/>
                <a:gd name="connsiteX24" fmla="*/ 11117010 w 16413202"/>
                <a:gd name="connsiteY24" fmla="*/ 15946069 h 15946069"/>
                <a:gd name="connsiteX25" fmla="*/ 11780218 w 16413202"/>
                <a:gd name="connsiteY25" fmla="*/ 13579811 h 15946069"/>
                <a:gd name="connsiteX26" fmla="*/ 12196146 w 16413202"/>
                <a:gd name="connsiteY26" fmla="*/ 11388328 h 15946069"/>
                <a:gd name="connsiteX27" fmla="*/ 14004775 w 16413202"/>
                <a:gd name="connsiteY27" fmla="*/ 11611395 h 15946069"/>
                <a:gd name="connsiteX28" fmla="*/ 15409477 w 16413202"/>
                <a:gd name="connsiteY28" fmla="*/ 11882693 h 15946069"/>
                <a:gd name="connsiteX29" fmla="*/ 16413199 w 16413202"/>
                <a:gd name="connsiteY29" fmla="*/ 10920339 h 15946069"/>
                <a:gd name="connsiteX30" fmla="*/ 9276853 w 16413202"/>
                <a:gd name="connsiteY30" fmla="*/ 9446319 h 15946069"/>
                <a:gd name="connsiteX31" fmla="*/ 12149687 w 16413202"/>
                <a:gd name="connsiteY31" fmla="*/ 8101619 h 15946069"/>
                <a:gd name="connsiteX32" fmla="*/ 11118705 w 16413202"/>
                <a:gd name="connsiteY32" fmla="*/ 7156845 h 15946069"/>
                <a:gd name="connsiteX33" fmla="*/ 10425568 w 16413202"/>
                <a:gd name="connsiteY33" fmla="*/ 7223642 h 15946069"/>
                <a:gd name="connsiteX34" fmla="*/ 10709437 w 16413202"/>
                <a:gd name="connsiteY34" fmla="*/ 6730245 h 15946069"/>
                <a:gd name="connsiteX35" fmla="*/ 10017677 w 16413202"/>
                <a:gd name="connsiteY35" fmla="*/ 5883475 h 15946069"/>
                <a:gd name="connsiteX36" fmla="*/ 9318595 w 16413202"/>
                <a:gd name="connsiteY36" fmla="*/ 5859197 h 15946069"/>
                <a:gd name="connsiteX37" fmla="*/ 9215073 w 16413202"/>
                <a:gd name="connsiteY37" fmla="*/ 5387392 h 15946069"/>
                <a:gd name="connsiteX38" fmla="*/ 8600211 w 16413202"/>
                <a:gd name="connsiteY38" fmla="*/ 5564744 h 15946069"/>
                <a:gd name="connsiteX39" fmla="*/ 8412926 w 16413202"/>
                <a:gd name="connsiteY39" fmla="*/ 4835463 h 15946069"/>
                <a:gd name="connsiteX40" fmla="*/ 7744624 w 16413202"/>
                <a:gd name="connsiteY40" fmla="*/ 4382387 h 15946069"/>
                <a:gd name="connsiteX41" fmla="*/ 8112983 w 16413202"/>
                <a:gd name="connsiteY41" fmla="*/ 3770361 h 15946069"/>
                <a:gd name="connsiteX42" fmla="*/ 7637793 w 16413202"/>
                <a:gd name="connsiteY42" fmla="*/ 2526072 h 15946069"/>
                <a:gd name="connsiteX43" fmla="*/ 7264687 w 16413202"/>
                <a:gd name="connsiteY43" fmla="*/ 2131091 h 15946069"/>
                <a:gd name="connsiteX44" fmla="*/ 6594245 w 16413202"/>
                <a:gd name="connsiteY44" fmla="*/ 2055834 h 15946069"/>
                <a:gd name="connsiteX45" fmla="*/ 6431470 w 16413202"/>
                <a:gd name="connsiteY45" fmla="*/ 1314295 h 15946069"/>
                <a:gd name="connsiteX46" fmla="*/ 5642908 w 16413202"/>
                <a:gd name="connsiteY46" fmla="*/ 1343233 h 15946069"/>
                <a:gd name="connsiteX47" fmla="*/ 5150959 w 16413202"/>
                <a:gd name="connsiteY47" fmla="*/ 1610907 h 15946069"/>
                <a:gd name="connsiteX48" fmla="*/ 5480133 w 16413202"/>
                <a:gd name="connsiteY48" fmla="*/ 2167963 h 15946069"/>
                <a:gd name="connsiteX49" fmla="*/ 4742216 w 16413202"/>
                <a:gd name="connsiteY49" fmla="*/ 2862495 h 15946069"/>
                <a:gd name="connsiteX50" fmla="*/ 2658667 w 16413202"/>
                <a:gd name="connsiteY50" fmla="*/ 0 h 15946069"/>
                <a:gd name="connsiteX51" fmla="*/ 2658682 w 16413202"/>
                <a:gd name="connsiteY51" fmla="*/ 1018890 h 15946069"/>
                <a:gd name="connsiteX52" fmla="*/ 1850829 w 16413202"/>
                <a:gd name="connsiteY52" fmla="*/ 1730283 h 15946069"/>
                <a:gd name="connsiteX53" fmla="*/ 1404694 w 16413202"/>
                <a:gd name="connsiteY53" fmla="*/ 2272862 h 15946069"/>
                <a:gd name="connsiteX54" fmla="*/ 2351216 w 16413202"/>
                <a:gd name="connsiteY54" fmla="*/ 3388182 h 15946069"/>
                <a:gd name="connsiteX55" fmla="*/ 2658682 w 16413202"/>
                <a:gd name="connsiteY55" fmla="*/ 4286458 h 15946069"/>
                <a:gd name="connsiteX56" fmla="*/ 1935228 w 16413202"/>
                <a:gd name="connsiteY56" fmla="*/ 5220918 h 15946069"/>
                <a:gd name="connsiteX57" fmla="*/ 875281 w 16413202"/>
                <a:gd name="connsiteY57" fmla="*/ 5166646 h 15946069"/>
                <a:gd name="connsiteX58" fmla="*/ 0 w 16413202"/>
                <a:gd name="connsiteY58" fmla="*/ 5890112 h 15946069"/>
                <a:gd name="connsiteX59" fmla="*/ 72345 w 16413202"/>
                <a:gd name="connsiteY59" fmla="*/ 6921032 h 15946069"/>
                <a:gd name="connsiteX60" fmla="*/ 477776 w 16413202"/>
                <a:gd name="connsiteY60" fmla="*/ 7436569 h 15946069"/>
                <a:gd name="connsiteX0" fmla="*/ 477776 w 16413202"/>
                <a:gd name="connsiteY0" fmla="*/ 7436569 h 15946069"/>
                <a:gd name="connsiteX1" fmla="*/ 271294 w 16413202"/>
                <a:gd name="connsiteY1" fmla="*/ 8060457 h 15946069"/>
                <a:gd name="connsiteX2" fmla="*/ 379812 w 16413202"/>
                <a:gd name="connsiteY2" fmla="*/ 8675382 h 15946069"/>
                <a:gd name="connsiteX3" fmla="*/ 759624 w 16413202"/>
                <a:gd name="connsiteY3" fmla="*/ 9217969 h 15946069"/>
                <a:gd name="connsiteX4" fmla="*/ 687278 w 16413202"/>
                <a:gd name="connsiteY4" fmla="*/ 9670126 h 15946069"/>
                <a:gd name="connsiteX5" fmla="*/ 144687 w 16413202"/>
                <a:gd name="connsiteY5" fmla="*/ 9941420 h 15946069"/>
                <a:gd name="connsiteX6" fmla="*/ 343643 w 16413202"/>
                <a:gd name="connsiteY6" fmla="*/ 10592536 h 15946069"/>
                <a:gd name="connsiteX7" fmla="*/ 940487 w 16413202"/>
                <a:gd name="connsiteY7" fmla="*/ 10954252 h 15946069"/>
                <a:gd name="connsiteX8" fmla="*/ 596844 w 16413202"/>
                <a:gd name="connsiteY8" fmla="*/ 11786221 h 15946069"/>
                <a:gd name="connsiteX9" fmla="*/ 633017 w 16413202"/>
                <a:gd name="connsiteY9" fmla="*/ 12780969 h 15946069"/>
                <a:gd name="connsiteX10" fmla="*/ 198944 w 16413202"/>
                <a:gd name="connsiteY10" fmla="*/ 13341645 h 15946069"/>
                <a:gd name="connsiteX11" fmla="*/ 723451 w 16413202"/>
                <a:gd name="connsiteY11" fmla="*/ 13757629 h 15946069"/>
                <a:gd name="connsiteX12" fmla="*/ 1640036 w 16413202"/>
                <a:gd name="connsiteY12" fmla="*/ 13197151 h 15946069"/>
                <a:gd name="connsiteX13" fmla="*/ 1880971 w 16413202"/>
                <a:gd name="connsiteY13" fmla="*/ 13395906 h 15946069"/>
                <a:gd name="connsiteX14" fmla="*/ 2930086 w 16413202"/>
                <a:gd name="connsiteY14" fmla="*/ 12952832 h 15946069"/>
                <a:gd name="connsiteX15" fmla="*/ 3828256 w 16413202"/>
                <a:gd name="connsiteY15" fmla="*/ 13245188 h 15946069"/>
                <a:gd name="connsiteX16" fmla="*/ 4768739 w 16413202"/>
                <a:gd name="connsiteY16" fmla="*/ 13040205 h 15946069"/>
                <a:gd name="connsiteX17" fmla="*/ 5190751 w 16413202"/>
                <a:gd name="connsiteY17" fmla="*/ 13649115 h 15946069"/>
                <a:gd name="connsiteX18" fmla="*/ 5932290 w 16413202"/>
                <a:gd name="connsiteY18" fmla="*/ 13444132 h 15946069"/>
                <a:gd name="connsiteX19" fmla="*/ 6498992 w 16413202"/>
                <a:gd name="connsiteY19" fmla="*/ 12991975 h 15946069"/>
                <a:gd name="connsiteX20" fmla="*/ 7373161 w 16413202"/>
                <a:gd name="connsiteY20" fmla="*/ 13582800 h 15946069"/>
                <a:gd name="connsiteX21" fmla="*/ 8512588 w 16413202"/>
                <a:gd name="connsiteY21" fmla="*/ 13570738 h 15946069"/>
                <a:gd name="connsiteX22" fmla="*/ 9742454 w 16413202"/>
                <a:gd name="connsiteY22" fmla="*/ 14004811 h 15946069"/>
                <a:gd name="connsiteX23" fmla="*/ 10616683 w 16413202"/>
                <a:gd name="connsiteY23" fmla="*/ 15358294 h 15946069"/>
                <a:gd name="connsiteX24" fmla="*/ 11117010 w 16413202"/>
                <a:gd name="connsiteY24" fmla="*/ 15946069 h 15946069"/>
                <a:gd name="connsiteX25" fmla="*/ 11780218 w 16413202"/>
                <a:gd name="connsiteY25" fmla="*/ 13579811 h 15946069"/>
                <a:gd name="connsiteX26" fmla="*/ 12196146 w 16413202"/>
                <a:gd name="connsiteY26" fmla="*/ 11388328 h 15946069"/>
                <a:gd name="connsiteX27" fmla="*/ 14004775 w 16413202"/>
                <a:gd name="connsiteY27" fmla="*/ 11611395 h 15946069"/>
                <a:gd name="connsiteX28" fmla="*/ 15409477 w 16413202"/>
                <a:gd name="connsiteY28" fmla="*/ 11882693 h 15946069"/>
                <a:gd name="connsiteX29" fmla="*/ 16413199 w 16413202"/>
                <a:gd name="connsiteY29" fmla="*/ 10920339 h 15946069"/>
                <a:gd name="connsiteX30" fmla="*/ 11668657 w 16413202"/>
                <a:gd name="connsiteY30" fmla="*/ 8754316 h 15946069"/>
                <a:gd name="connsiteX31" fmla="*/ 12149687 w 16413202"/>
                <a:gd name="connsiteY31" fmla="*/ 8101619 h 15946069"/>
                <a:gd name="connsiteX32" fmla="*/ 11118705 w 16413202"/>
                <a:gd name="connsiteY32" fmla="*/ 7156845 h 15946069"/>
                <a:gd name="connsiteX33" fmla="*/ 10425568 w 16413202"/>
                <a:gd name="connsiteY33" fmla="*/ 7223642 h 15946069"/>
                <a:gd name="connsiteX34" fmla="*/ 10709437 w 16413202"/>
                <a:gd name="connsiteY34" fmla="*/ 6730245 h 15946069"/>
                <a:gd name="connsiteX35" fmla="*/ 10017677 w 16413202"/>
                <a:gd name="connsiteY35" fmla="*/ 5883475 h 15946069"/>
                <a:gd name="connsiteX36" fmla="*/ 9318595 w 16413202"/>
                <a:gd name="connsiteY36" fmla="*/ 5859197 h 15946069"/>
                <a:gd name="connsiteX37" fmla="*/ 9215073 w 16413202"/>
                <a:gd name="connsiteY37" fmla="*/ 5387392 h 15946069"/>
                <a:gd name="connsiteX38" fmla="*/ 8600211 w 16413202"/>
                <a:gd name="connsiteY38" fmla="*/ 5564744 h 15946069"/>
                <a:gd name="connsiteX39" fmla="*/ 8412926 w 16413202"/>
                <a:gd name="connsiteY39" fmla="*/ 4835463 h 15946069"/>
                <a:gd name="connsiteX40" fmla="*/ 7744624 w 16413202"/>
                <a:gd name="connsiteY40" fmla="*/ 4382387 h 15946069"/>
                <a:gd name="connsiteX41" fmla="*/ 8112983 w 16413202"/>
                <a:gd name="connsiteY41" fmla="*/ 3770361 h 15946069"/>
                <a:gd name="connsiteX42" fmla="*/ 7637793 w 16413202"/>
                <a:gd name="connsiteY42" fmla="*/ 2526072 h 15946069"/>
                <a:gd name="connsiteX43" fmla="*/ 7264687 w 16413202"/>
                <a:gd name="connsiteY43" fmla="*/ 2131091 h 15946069"/>
                <a:gd name="connsiteX44" fmla="*/ 6594245 w 16413202"/>
                <a:gd name="connsiteY44" fmla="*/ 2055834 h 15946069"/>
                <a:gd name="connsiteX45" fmla="*/ 6431470 w 16413202"/>
                <a:gd name="connsiteY45" fmla="*/ 1314295 h 15946069"/>
                <a:gd name="connsiteX46" fmla="*/ 5642908 w 16413202"/>
                <a:gd name="connsiteY46" fmla="*/ 1343233 h 15946069"/>
                <a:gd name="connsiteX47" fmla="*/ 5150959 w 16413202"/>
                <a:gd name="connsiteY47" fmla="*/ 1610907 h 15946069"/>
                <a:gd name="connsiteX48" fmla="*/ 5480133 w 16413202"/>
                <a:gd name="connsiteY48" fmla="*/ 2167963 h 15946069"/>
                <a:gd name="connsiteX49" fmla="*/ 4742216 w 16413202"/>
                <a:gd name="connsiteY49" fmla="*/ 2862495 h 15946069"/>
                <a:gd name="connsiteX50" fmla="*/ 2658667 w 16413202"/>
                <a:gd name="connsiteY50" fmla="*/ 0 h 15946069"/>
                <a:gd name="connsiteX51" fmla="*/ 2658682 w 16413202"/>
                <a:gd name="connsiteY51" fmla="*/ 1018890 h 15946069"/>
                <a:gd name="connsiteX52" fmla="*/ 1850829 w 16413202"/>
                <a:gd name="connsiteY52" fmla="*/ 1730283 h 15946069"/>
                <a:gd name="connsiteX53" fmla="*/ 1404694 w 16413202"/>
                <a:gd name="connsiteY53" fmla="*/ 2272862 h 15946069"/>
                <a:gd name="connsiteX54" fmla="*/ 2351216 w 16413202"/>
                <a:gd name="connsiteY54" fmla="*/ 3388182 h 15946069"/>
                <a:gd name="connsiteX55" fmla="*/ 2658682 w 16413202"/>
                <a:gd name="connsiteY55" fmla="*/ 4286458 h 15946069"/>
                <a:gd name="connsiteX56" fmla="*/ 1935228 w 16413202"/>
                <a:gd name="connsiteY56" fmla="*/ 5220918 h 15946069"/>
                <a:gd name="connsiteX57" fmla="*/ 875281 w 16413202"/>
                <a:gd name="connsiteY57" fmla="*/ 5166646 h 15946069"/>
                <a:gd name="connsiteX58" fmla="*/ 0 w 16413202"/>
                <a:gd name="connsiteY58" fmla="*/ 5890112 h 15946069"/>
                <a:gd name="connsiteX59" fmla="*/ 72345 w 16413202"/>
                <a:gd name="connsiteY59" fmla="*/ 6921032 h 15946069"/>
                <a:gd name="connsiteX60" fmla="*/ 477776 w 16413202"/>
                <a:gd name="connsiteY60" fmla="*/ 7436569 h 15946069"/>
                <a:gd name="connsiteX0" fmla="*/ 477776 w 15409480"/>
                <a:gd name="connsiteY0" fmla="*/ 7436569 h 15946069"/>
                <a:gd name="connsiteX1" fmla="*/ 271294 w 15409480"/>
                <a:gd name="connsiteY1" fmla="*/ 8060457 h 15946069"/>
                <a:gd name="connsiteX2" fmla="*/ 379812 w 15409480"/>
                <a:gd name="connsiteY2" fmla="*/ 8675382 h 15946069"/>
                <a:gd name="connsiteX3" fmla="*/ 759624 w 15409480"/>
                <a:gd name="connsiteY3" fmla="*/ 9217969 h 15946069"/>
                <a:gd name="connsiteX4" fmla="*/ 687278 w 15409480"/>
                <a:gd name="connsiteY4" fmla="*/ 9670126 h 15946069"/>
                <a:gd name="connsiteX5" fmla="*/ 144687 w 15409480"/>
                <a:gd name="connsiteY5" fmla="*/ 9941420 h 15946069"/>
                <a:gd name="connsiteX6" fmla="*/ 343643 w 15409480"/>
                <a:gd name="connsiteY6" fmla="*/ 10592536 h 15946069"/>
                <a:gd name="connsiteX7" fmla="*/ 940487 w 15409480"/>
                <a:gd name="connsiteY7" fmla="*/ 10954252 h 15946069"/>
                <a:gd name="connsiteX8" fmla="*/ 596844 w 15409480"/>
                <a:gd name="connsiteY8" fmla="*/ 11786221 h 15946069"/>
                <a:gd name="connsiteX9" fmla="*/ 633017 w 15409480"/>
                <a:gd name="connsiteY9" fmla="*/ 12780969 h 15946069"/>
                <a:gd name="connsiteX10" fmla="*/ 198944 w 15409480"/>
                <a:gd name="connsiteY10" fmla="*/ 13341645 h 15946069"/>
                <a:gd name="connsiteX11" fmla="*/ 723451 w 15409480"/>
                <a:gd name="connsiteY11" fmla="*/ 13757629 h 15946069"/>
                <a:gd name="connsiteX12" fmla="*/ 1640036 w 15409480"/>
                <a:gd name="connsiteY12" fmla="*/ 13197151 h 15946069"/>
                <a:gd name="connsiteX13" fmla="*/ 1880971 w 15409480"/>
                <a:gd name="connsiteY13" fmla="*/ 13395906 h 15946069"/>
                <a:gd name="connsiteX14" fmla="*/ 2930086 w 15409480"/>
                <a:gd name="connsiteY14" fmla="*/ 12952832 h 15946069"/>
                <a:gd name="connsiteX15" fmla="*/ 3828256 w 15409480"/>
                <a:gd name="connsiteY15" fmla="*/ 13245188 h 15946069"/>
                <a:gd name="connsiteX16" fmla="*/ 4768739 w 15409480"/>
                <a:gd name="connsiteY16" fmla="*/ 13040205 h 15946069"/>
                <a:gd name="connsiteX17" fmla="*/ 5190751 w 15409480"/>
                <a:gd name="connsiteY17" fmla="*/ 13649115 h 15946069"/>
                <a:gd name="connsiteX18" fmla="*/ 5932290 w 15409480"/>
                <a:gd name="connsiteY18" fmla="*/ 13444132 h 15946069"/>
                <a:gd name="connsiteX19" fmla="*/ 6498992 w 15409480"/>
                <a:gd name="connsiteY19" fmla="*/ 12991975 h 15946069"/>
                <a:gd name="connsiteX20" fmla="*/ 7373161 w 15409480"/>
                <a:gd name="connsiteY20" fmla="*/ 13582800 h 15946069"/>
                <a:gd name="connsiteX21" fmla="*/ 8512588 w 15409480"/>
                <a:gd name="connsiteY21" fmla="*/ 13570738 h 15946069"/>
                <a:gd name="connsiteX22" fmla="*/ 9742454 w 15409480"/>
                <a:gd name="connsiteY22" fmla="*/ 14004811 h 15946069"/>
                <a:gd name="connsiteX23" fmla="*/ 10616683 w 15409480"/>
                <a:gd name="connsiteY23" fmla="*/ 15358294 h 15946069"/>
                <a:gd name="connsiteX24" fmla="*/ 11117010 w 15409480"/>
                <a:gd name="connsiteY24" fmla="*/ 15946069 h 15946069"/>
                <a:gd name="connsiteX25" fmla="*/ 11780218 w 15409480"/>
                <a:gd name="connsiteY25" fmla="*/ 13579811 h 15946069"/>
                <a:gd name="connsiteX26" fmla="*/ 12196146 w 15409480"/>
                <a:gd name="connsiteY26" fmla="*/ 11388328 h 15946069"/>
                <a:gd name="connsiteX27" fmla="*/ 14004775 w 15409480"/>
                <a:gd name="connsiteY27" fmla="*/ 11611395 h 15946069"/>
                <a:gd name="connsiteX28" fmla="*/ 15409477 w 15409480"/>
                <a:gd name="connsiteY28" fmla="*/ 11882693 h 15946069"/>
                <a:gd name="connsiteX29" fmla="*/ 10457619 w 15409480"/>
                <a:gd name="connsiteY29" fmla="*/ 10753303 h 15946069"/>
                <a:gd name="connsiteX30" fmla="*/ 11668657 w 15409480"/>
                <a:gd name="connsiteY30" fmla="*/ 8754316 h 15946069"/>
                <a:gd name="connsiteX31" fmla="*/ 12149687 w 15409480"/>
                <a:gd name="connsiteY31" fmla="*/ 8101619 h 15946069"/>
                <a:gd name="connsiteX32" fmla="*/ 11118705 w 15409480"/>
                <a:gd name="connsiteY32" fmla="*/ 7156845 h 15946069"/>
                <a:gd name="connsiteX33" fmla="*/ 10425568 w 15409480"/>
                <a:gd name="connsiteY33" fmla="*/ 7223642 h 15946069"/>
                <a:gd name="connsiteX34" fmla="*/ 10709437 w 15409480"/>
                <a:gd name="connsiteY34" fmla="*/ 6730245 h 15946069"/>
                <a:gd name="connsiteX35" fmla="*/ 10017677 w 15409480"/>
                <a:gd name="connsiteY35" fmla="*/ 5883475 h 15946069"/>
                <a:gd name="connsiteX36" fmla="*/ 9318595 w 15409480"/>
                <a:gd name="connsiteY36" fmla="*/ 5859197 h 15946069"/>
                <a:gd name="connsiteX37" fmla="*/ 9215073 w 15409480"/>
                <a:gd name="connsiteY37" fmla="*/ 5387392 h 15946069"/>
                <a:gd name="connsiteX38" fmla="*/ 8600211 w 15409480"/>
                <a:gd name="connsiteY38" fmla="*/ 5564744 h 15946069"/>
                <a:gd name="connsiteX39" fmla="*/ 8412926 w 15409480"/>
                <a:gd name="connsiteY39" fmla="*/ 4835463 h 15946069"/>
                <a:gd name="connsiteX40" fmla="*/ 7744624 w 15409480"/>
                <a:gd name="connsiteY40" fmla="*/ 4382387 h 15946069"/>
                <a:gd name="connsiteX41" fmla="*/ 8112983 w 15409480"/>
                <a:gd name="connsiteY41" fmla="*/ 3770361 h 15946069"/>
                <a:gd name="connsiteX42" fmla="*/ 7637793 w 15409480"/>
                <a:gd name="connsiteY42" fmla="*/ 2526072 h 15946069"/>
                <a:gd name="connsiteX43" fmla="*/ 7264687 w 15409480"/>
                <a:gd name="connsiteY43" fmla="*/ 2131091 h 15946069"/>
                <a:gd name="connsiteX44" fmla="*/ 6594245 w 15409480"/>
                <a:gd name="connsiteY44" fmla="*/ 2055834 h 15946069"/>
                <a:gd name="connsiteX45" fmla="*/ 6431470 w 15409480"/>
                <a:gd name="connsiteY45" fmla="*/ 1314295 h 15946069"/>
                <a:gd name="connsiteX46" fmla="*/ 5642908 w 15409480"/>
                <a:gd name="connsiteY46" fmla="*/ 1343233 h 15946069"/>
                <a:gd name="connsiteX47" fmla="*/ 5150959 w 15409480"/>
                <a:gd name="connsiteY47" fmla="*/ 1610907 h 15946069"/>
                <a:gd name="connsiteX48" fmla="*/ 5480133 w 15409480"/>
                <a:gd name="connsiteY48" fmla="*/ 2167963 h 15946069"/>
                <a:gd name="connsiteX49" fmla="*/ 4742216 w 15409480"/>
                <a:gd name="connsiteY49" fmla="*/ 2862495 h 15946069"/>
                <a:gd name="connsiteX50" fmla="*/ 2658667 w 15409480"/>
                <a:gd name="connsiteY50" fmla="*/ 0 h 15946069"/>
                <a:gd name="connsiteX51" fmla="*/ 2658682 w 15409480"/>
                <a:gd name="connsiteY51" fmla="*/ 1018890 h 15946069"/>
                <a:gd name="connsiteX52" fmla="*/ 1850829 w 15409480"/>
                <a:gd name="connsiteY52" fmla="*/ 1730283 h 15946069"/>
                <a:gd name="connsiteX53" fmla="*/ 1404694 w 15409480"/>
                <a:gd name="connsiteY53" fmla="*/ 2272862 h 15946069"/>
                <a:gd name="connsiteX54" fmla="*/ 2351216 w 15409480"/>
                <a:gd name="connsiteY54" fmla="*/ 3388182 h 15946069"/>
                <a:gd name="connsiteX55" fmla="*/ 2658682 w 15409480"/>
                <a:gd name="connsiteY55" fmla="*/ 4286458 h 15946069"/>
                <a:gd name="connsiteX56" fmla="*/ 1935228 w 15409480"/>
                <a:gd name="connsiteY56" fmla="*/ 5220918 h 15946069"/>
                <a:gd name="connsiteX57" fmla="*/ 875281 w 15409480"/>
                <a:gd name="connsiteY57" fmla="*/ 5166646 h 15946069"/>
                <a:gd name="connsiteX58" fmla="*/ 0 w 15409480"/>
                <a:gd name="connsiteY58" fmla="*/ 5890112 h 15946069"/>
                <a:gd name="connsiteX59" fmla="*/ 72345 w 15409480"/>
                <a:gd name="connsiteY59" fmla="*/ 6921032 h 15946069"/>
                <a:gd name="connsiteX60" fmla="*/ 477776 w 15409480"/>
                <a:gd name="connsiteY60" fmla="*/ 7436569 h 15946069"/>
                <a:gd name="connsiteX0" fmla="*/ 477776 w 15409480"/>
                <a:gd name="connsiteY0" fmla="*/ 7436569 h 15946069"/>
                <a:gd name="connsiteX1" fmla="*/ 271294 w 15409480"/>
                <a:gd name="connsiteY1" fmla="*/ 8060457 h 15946069"/>
                <a:gd name="connsiteX2" fmla="*/ 379812 w 15409480"/>
                <a:gd name="connsiteY2" fmla="*/ 8675382 h 15946069"/>
                <a:gd name="connsiteX3" fmla="*/ 759624 w 15409480"/>
                <a:gd name="connsiteY3" fmla="*/ 9217969 h 15946069"/>
                <a:gd name="connsiteX4" fmla="*/ 687278 w 15409480"/>
                <a:gd name="connsiteY4" fmla="*/ 9670126 h 15946069"/>
                <a:gd name="connsiteX5" fmla="*/ 144687 w 15409480"/>
                <a:gd name="connsiteY5" fmla="*/ 9941420 h 15946069"/>
                <a:gd name="connsiteX6" fmla="*/ 343643 w 15409480"/>
                <a:gd name="connsiteY6" fmla="*/ 10592536 h 15946069"/>
                <a:gd name="connsiteX7" fmla="*/ 940487 w 15409480"/>
                <a:gd name="connsiteY7" fmla="*/ 10954252 h 15946069"/>
                <a:gd name="connsiteX8" fmla="*/ 596844 w 15409480"/>
                <a:gd name="connsiteY8" fmla="*/ 11786221 h 15946069"/>
                <a:gd name="connsiteX9" fmla="*/ 633017 w 15409480"/>
                <a:gd name="connsiteY9" fmla="*/ 12780969 h 15946069"/>
                <a:gd name="connsiteX10" fmla="*/ 198944 w 15409480"/>
                <a:gd name="connsiteY10" fmla="*/ 13341645 h 15946069"/>
                <a:gd name="connsiteX11" fmla="*/ 723451 w 15409480"/>
                <a:gd name="connsiteY11" fmla="*/ 13757629 h 15946069"/>
                <a:gd name="connsiteX12" fmla="*/ 1640036 w 15409480"/>
                <a:gd name="connsiteY12" fmla="*/ 13197151 h 15946069"/>
                <a:gd name="connsiteX13" fmla="*/ 1880971 w 15409480"/>
                <a:gd name="connsiteY13" fmla="*/ 13395906 h 15946069"/>
                <a:gd name="connsiteX14" fmla="*/ 2930086 w 15409480"/>
                <a:gd name="connsiteY14" fmla="*/ 12952832 h 15946069"/>
                <a:gd name="connsiteX15" fmla="*/ 3828256 w 15409480"/>
                <a:gd name="connsiteY15" fmla="*/ 13245188 h 15946069"/>
                <a:gd name="connsiteX16" fmla="*/ 4768739 w 15409480"/>
                <a:gd name="connsiteY16" fmla="*/ 13040205 h 15946069"/>
                <a:gd name="connsiteX17" fmla="*/ 5190751 w 15409480"/>
                <a:gd name="connsiteY17" fmla="*/ 13649115 h 15946069"/>
                <a:gd name="connsiteX18" fmla="*/ 5932290 w 15409480"/>
                <a:gd name="connsiteY18" fmla="*/ 13444132 h 15946069"/>
                <a:gd name="connsiteX19" fmla="*/ 6498992 w 15409480"/>
                <a:gd name="connsiteY19" fmla="*/ 12991975 h 15946069"/>
                <a:gd name="connsiteX20" fmla="*/ 7373161 w 15409480"/>
                <a:gd name="connsiteY20" fmla="*/ 13582800 h 15946069"/>
                <a:gd name="connsiteX21" fmla="*/ 8512588 w 15409480"/>
                <a:gd name="connsiteY21" fmla="*/ 13570738 h 15946069"/>
                <a:gd name="connsiteX22" fmla="*/ 9742454 w 15409480"/>
                <a:gd name="connsiteY22" fmla="*/ 14004811 h 15946069"/>
                <a:gd name="connsiteX23" fmla="*/ 10616683 w 15409480"/>
                <a:gd name="connsiteY23" fmla="*/ 15358294 h 15946069"/>
                <a:gd name="connsiteX24" fmla="*/ 11117010 w 15409480"/>
                <a:gd name="connsiteY24" fmla="*/ 15946069 h 15946069"/>
                <a:gd name="connsiteX25" fmla="*/ 11780218 w 15409480"/>
                <a:gd name="connsiteY25" fmla="*/ 13579811 h 15946069"/>
                <a:gd name="connsiteX26" fmla="*/ 12196146 w 15409480"/>
                <a:gd name="connsiteY26" fmla="*/ 11388328 h 15946069"/>
                <a:gd name="connsiteX27" fmla="*/ 14004775 w 15409480"/>
                <a:gd name="connsiteY27" fmla="*/ 11611395 h 15946069"/>
                <a:gd name="connsiteX28" fmla="*/ 15409477 w 15409480"/>
                <a:gd name="connsiteY28" fmla="*/ 11882693 h 15946069"/>
                <a:gd name="connsiteX29" fmla="*/ 10146682 w 15409480"/>
                <a:gd name="connsiteY29" fmla="*/ 10061295 h 15946069"/>
                <a:gd name="connsiteX30" fmla="*/ 11668657 w 15409480"/>
                <a:gd name="connsiteY30" fmla="*/ 8754316 h 15946069"/>
                <a:gd name="connsiteX31" fmla="*/ 12149687 w 15409480"/>
                <a:gd name="connsiteY31" fmla="*/ 8101619 h 15946069"/>
                <a:gd name="connsiteX32" fmla="*/ 11118705 w 15409480"/>
                <a:gd name="connsiteY32" fmla="*/ 7156845 h 15946069"/>
                <a:gd name="connsiteX33" fmla="*/ 10425568 w 15409480"/>
                <a:gd name="connsiteY33" fmla="*/ 7223642 h 15946069"/>
                <a:gd name="connsiteX34" fmla="*/ 10709437 w 15409480"/>
                <a:gd name="connsiteY34" fmla="*/ 6730245 h 15946069"/>
                <a:gd name="connsiteX35" fmla="*/ 10017677 w 15409480"/>
                <a:gd name="connsiteY35" fmla="*/ 5883475 h 15946069"/>
                <a:gd name="connsiteX36" fmla="*/ 9318595 w 15409480"/>
                <a:gd name="connsiteY36" fmla="*/ 5859197 h 15946069"/>
                <a:gd name="connsiteX37" fmla="*/ 9215073 w 15409480"/>
                <a:gd name="connsiteY37" fmla="*/ 5387392 h 15946069"/>
                <a:gd name="connsiteX38" fmla="*/ 8600211 w 15409480"/>
                <a:gd name="connsiteY38" fmla="*/ 5564744 h 15946069"/>
                <a:gd name="connsiteX39" fmla="*/ 8412926 w 15409480"/>
                <a:gd name="connsiteY39" fmla="*/ 4835463 h 15946069"/>
                <a:gd name="connsiteX40" fmla="*/ 7744624 w 15409480"/>
                <a:gd name="connsiteY40" fmla="*/ 4382387 h 15946069"/>
                <a:gd name="connsiteX41" fmla="*/ 8112983 w 15409480"/>
                <a:gd name="connsiteY41" fmla="*/ 3770361 h 15946069"/>
                <a:gd name="connsiteX42" fmla="*/ 7637793 w 15409480"/>
                <a:gd name="connsiteY42" fmla="*/ 2526072 h 15946069"/>
                <a:gd name="connsiteX43" fmla="*/ 7264687 w 15409480"/>
                <a:gd name="connsiteY43" fmla="*/ 2131091 h 15946069"/>
                <a:gd name="connsiteX44" fmla="*/ 6594245 w 15409480"/>
                <a:gd name="connsiteY44" fmla="*/ 2055834 h 15946069"/>
                <a:gd name="connsiteX45" fmla="*/ 6431470 w 15409480"/>
                <a:gd name="connsiteY45" fmla="*/ 1314295 h 15946069"/>
                <a:gd name="connsiteX46" fmla="*/ 5642908 w 15409480"/>
                <a:gd name="connsiteY46" fmla="*/ 1343233 h 15946069"/>
                <a:gd name="connsiteX47" fmla="*/ 5150959 w 15409480"/>
                <a:gd name="connsiteY47" fmla="*/ 1610907 h 15946069"/>
                <a:gd name="connsiteX48" fmla="*/ 5480133 w 15409480"/>
                <a:gd name="connsiteY48" fmla="*/ 2167963 h 15946069"/>
                <a:gd name="connsiteX49" fmla="*/ 4742216 w 15409480"/>
                <a:gd name="connsiteY49" fmla="*/ 2862495 h 15946069"/>
                <a:gd name="connsiteX50" fmla="*/ 2658667 w 15409480"/>
                <a:gd name="connsiteY50" fmla="*/ 0 h 15946069"/>
                <a:gd name="connsiteX51" fmla="*/ 2658682 w 15409480"/>
                <a:gd name="connsiteY51" fmla="*/ 1018890 h 15946069"/>
                <a:gd name="connsiteX52" fmla="*/ 1850829 w 15409480"/>
                <a:gd name="connsiteY52" fmla="*/ 1730283 h 15946069"/>
                <a:gd name="connsiteX53" fmla="*/ 1404694 w 15409480"/>
                <a:gd name="connsiteY53" fmla="*/ 2272862 h 15946069"/>
                <a:gd name="connsiteX54" fmla="*/ 2351216 w 15409480"/>
                <a:gd name="connsiteY54" fmla="*/ 3388182 h 15946069"/>
                <a:gd name="connsiteX55" fmla="*/ 2658682 w 15409480"/>
                <a:gd name="connsiteY55" fmla="*/ 4286458 h 15946069"/>
                <a:gd name="connsiteX56" fmla="*/ 1935228 w 15409480"/>
                <a:gd name="connsiteY56" fmla="*/ 5220918 h 15946069"/>
                <a:gd name="connsiteX57" fmla="*/ 875281 w 15409480"/>
                <a:gd name="connsiteY57" fmla="*/ 5166646 h 15946069"/>
                <a:gd name="connsiteX58" fmla="*/ 0 w 15409480"/>
                <a:gd name="connsiteY58" fmla="*/ 5890112 h 15946069"/>
                <a:gd name="connsiteX59" fmla="*/ 72345 w 15409480"/>
                <a:gd name="connsiteY59" fmla="*/ 6921032 h 15946069"/>
                <a:gd name="connsiteX60" fmla="*/ 477776 w 15409480"/>
                <a:gd name="connsiteY60" fmla="*/ 7436569 h 15946069"/>
                <a:gd name="connsiteX0" fmla="*/ 477776 w 15409480"/>
                <a:gd name="connsiteY0" fmla="*/ 7436569 h 15946069"/>
                <a:gd name="connsiteX1" fmla="*/ 271294 w 15409480"/>
                <a:gd name="connsiteY1" fmla="*/ 8060457 h 15946069"/>
                <a:gd name="connsiteX2" fmla="*/ 379812 w 15409480"/>
                <a:gd name="connsiteY2" fmla="*/ 8675382 h 15946069"/>
                <a:gd name="connsiteX3" fmla="*/ 759624 w 15409480"/>
                <a:gd name="connsiteY3" fmla="*/ 9217969 h 15946069"/>
                <a:gd name="connsiteX4" fmla="*/ 687278 w 15409480"/>
                <a:gd name="connsiteY4" fmla="*/ 9670126 h 15946069"/>
                <a:gd name="connsiteX5" fmla="*/ 144687 w 15409480"/>
                <a:gd name="connsiteY5" fmla="*/ 9941420 h 15946069"/>
                <a:gd name="connsiteX6" fmla="*/ 343643 w 15409480"/>
                <a:gd name="connsiteY6" fmla="*/ 10592536 h 15946069"/>
                <a:gd name="connsiteX7" fmla="*/ 940487 w 15409480"/>
                <a:gd name="connsiteY7" fmla="*/ 10954252 h 15946069"/>
                <a:gd name="connsiteX8" fmla="*/ 596844 w 15409480"/>
                <a:gd name="connsiteY8" fmla="*/ 11786221 h 15946069"/>
                <a:gd name="connsiteX9" fmla="*/ 633017 w 15409480"/>
                <a:gd name="connsiteY9" fmla="*/ 12780969 h 15946069"/>
                <a:gd name="connsiteX10" fmla="*/ 198944 w 15409480"/>
                <a:gd name="connsiteY10" fmla="*/ 13341645 h 15946069"/>
                <a:gd name="connsiteX11" fmla="*/ 723451 w 15409480"/>
                <a:gd name="connsiteY11" fmla="*/ 13757629 h 15946069"/>
                <a:gd name="connsiteX12" fmla="*/ 1640036 w 15409480"/>
                <a:gd name="connsiteY12" fmla="*/ 13197151 h 15946069"/>
                <a:gd name="connsiteX13" fmla="*/ 1880971 w 15409480"/>
                <a:gd name="connsiteY13" fmla="*/ 13395906 h 15946069"/>
                <a:gd name="connsiteX14" fmla="*/ 2930086 w 15409480"/>
                <a:gd name="connsiteY14" fmla="*/ 12952832 h 15946069"/>
                <a:gd name="connsiteX15" fmla="*/ 3828256 w 15409480"/>
                <a:gd name="connsiteY15" fmla="*/ 13245188 h 15946069"/>
                <a:gd name="connsiteX16" fmla="*/ 4768739 w 15409480"/>
                <a:gd name="connsiteY16" fmla="*/ 13040205 h 15946069"/>
                <a:gd name="connsiteX17" fmla="*/ 5190751 w 15409480"/>
                <a:gd name="connsiteY17" fmla="*/ 13649115 h 15946069"/>
                <a:gd name="connsiteX18" fmla="*/ 5932290 w 15409480"/>
                <a:gd name="connsiteY18" fmla="*/ 13444132 h 15946069"/>
                <a:gd name="connsiteX19" fmla="*/ 6498992 w 15409480"/>
                <a:gd name="connsiteY19" fmla="*/ 12991975 h 15946069"/>
                <a:gd name="connsiteX20" fmla="*/ 7373161 w 15409480"/>
                <a:gd name="connsiteY20" fmla="*/ 13582800 h 15946069"/>
                <a:gd name="connsiteX21" fmla="*/ 8512588 w 15409480"/>
                <a:gd name="connsiteY21" fmla="*/ 13570738 h 15946069"/>
                <a:gd name="connsiteX22" fmla="*/ 9742454 w 15409480"/>
                <a:gd name="connsiteY22" fmla="*/ 14004811 h 15946069"/>
                <a:gd name="connsiteX23" fmla="*/ 10616683 w 15409480"/>
                <a:gd name="connsiteY23" fmla="*/ 15358294 h 15946069"/>
                <a:gd name="connsiteX24" fmla="*/ 11117010 w 15409480"/>
                <a:gd name="connsiteY24" fmla="*/ 15946069 h 15946069"/>
                <a:gd name="connsiteX25" fmla="*/ 11780218 w 15409480"/>
                <a:gd name="connsiteY25" fmla="*/ 13579811 h 15946069"/>
                <a:gd name="connsiteX26" fmla="*/ 12196146 w 15409480"/>
                <a:gd name="connsiteY26" fmla="*/ 11388328 h 15946069"/>
                <a:gd name="connsiteX27" fmla="*/ 14004775 w 15409480"/>
                <a:gd name="connsiteY27" fmla="*/ 11611395 h 15946069"/>
                <a:gd name="connsiteX28" fmla="*/ 15409477 w 15409480"/>
                <a:gd name="connsiteY28" fmla="*/ 11882693 h 15946069"/>
                <a:gd name="connsiteX29" fmla="*/ 11533930 w 15409480"/>
                <a:gd name="connsiteY29" fmla="*/ 9393151 h 15946069"/>
                <a:gd name="connsiteX30" fmla="*/ 11668657 w 15409480"/>
                <a:gd name="connsiteY30" fmla="*/ 8754316 h 15946069"/>
                <a:gd name="connsiteX31" fmla="*/ 12149687 w 15409480"/>
                <a:gd name="connsiteY31" fmla="*/ 8101619 h 15946069"/>
                <a:gd name="connsiteX32" fmla="*/ 11118705 w 15409480"/>
                <a:gd name="connsiteY32" fmla="*/ 7156845 h 15946069"/>
                <a:gd name="connsiteX33" fmla="*/ 10425568 w 15409480"/>
                <a:gd name="connsiteY33" fmla="*/ 7223642 h 15946069"/>
                <a:gd name="connsiteX34" fmla="*/ 10709437 w 15409480"/>
                <a:gd name="connsiteY34" fmla="*/ 6730245 h 15946069"/>
                <a:gd name="connsiteX35" fmla="*/ 10017677 w 15409480"/>
                <a:gd name="connsiteY35" fmla="*/ 5883475 h 15946069"/>
                <a:gd name="connsiteX36" fmla="*/ 9318595 w 15409480"/>
                <a:gd name="connsiteY36" fmla="*/ 5859197 h 15946069"/>
                <a:gd name="connsiteX37" fmla="*/ 9215073 w 15409480"/>
                <a:gd name="connsiteY37" fmla="*/ 5387392 h 15946069"/>
                <a:gd name="connsiteX38" fmla="*/ 8600211 w 15409480"/>
                <a:gd name="connsiteY38" fmla="*/ 5564744 h 15946069"/>
                <a:gd name="connsiteX39" fmla="*/ 8412926 w 15409480"/>
                <a:gd name="connsiteY39" fmla="*/ 4835463 h 15946069"/>
                <a:gd name="connsiteX40" fmla="*/ 7744624 w 15409480"/>
                <a:gd name="connsiteY40" fmla="*/ 4382387 h 15946069"/>
                <a:gd name="connsiteX41" fmla="*/ 8112983 w 15409480"/>
                <a:gd name="connsiteY41" fmla="*/ 3770361 h 15946069"/>
                <a:gd name="connsiteX42" fmla="*/ 7637793 w 15409480"/>
                <a:gd name="connsiteY42" fmla="*/ 2526072 h 15946069"/>
                <a:gd name="connsiteX43" fmla="*/ 7264687 w 15409480"/>
                <a:gd name="connsiteY43" fmla="*/ 2131091 h 15946069"/>
                <a:gd name="connsiteX44" fmla="*/ 6594245 w 15409480"/>
                <a:gd name="connsiteY44" fmla="*/ 2055834 h 15946069"/>
                <a:gd name="connsiteX45" fmla="*/ 6431470 w 15409480"/>
                <a:gd name="connsiteY45" fmla="*/ 1314295 h 15946069"/>
                <a:gd name="connsiteX46" fmla="*/ 5642908 w 15409480"/>
                <a:gd name="connsiteY46" fmla="*/ 1343233 h 15946069"/>
                <a:gd name="connsiteX47" fmla="*/ 5150959 w 15409480"/>
                <a:gd name="connsiteY47" fmla="*/ 1610907 h 15946069"/>
                <a:gd name="connsiteX48" fmla="*/ 5480133 w 15409480"/>
                <a:gd name="connsiteY48" fmla="*/ 2167963 h 15946069"/>
                <a:gd name="connsiteX49" fmla="*/ 4742216 w 15409480"/>
                <a:gd name="connsiteY49" fmla="*/ 2862495 h 15946069"/>
                <a:gd name="connsiteX50" fmla="*/ 2658667 w 15409480"/>
                <a:gd name="connsiteY50" fmla="*/ 0 h 15946069"/>
                <a:gd name="connsiteX51" fmla="*/ 2658682 w 15409480"/>
                <a:gd name="connsiteY51" fmla="*/ 1018890 h 15946069"/>
                <a:gd name="connsiteX52" fmla="*/ 1850829 w 15409480"/>
                <a:gd name="connsiteY52" fmla="*/ 1730283 h 15946069"/>
                <a:gd name="connsiteX53" fmla="*/ 1404694 w 15409480"/>
                <a:gd name="connsiteY53" fmla="*/ 2272862 h 15946069"/>
                <a:gd name="connsiteX54" fmla="*/ 2351216 w 15409480"/>
                <a:gd name="connsiteY54" fmla="*/ 3388182 h 15946069"/>
                <a:gd name="connsiteX55" fmla="*/ 2658682 w 15409480"/>
                <a:gd name="connsiteY55" fmla="*/ 4286458 h 15946069"/>
                <a:gd name="connsiteX56" fmla="*/ 1935228 w 15409480"/>
                <a:gd name="connsiteY56" fmla="*/ 5220918 h 15946069"/>
                <a:gd name="connsiteX57" fmla="*/ 875281 w 15409480"/>
                <a:gd name="connsiteY57" fmla="*/ 5166646 h 15946069"/>
                <a:gd name="connsiteX58" fmla="*/ 0 w 15409480"/>
                <a:gd name="connsiteY58" fmla="*/ 5890112 h 15946069"/>
                <a:gd name="connsiteX59" fmla="*/ 72345 w 15409480"/>
                <a:gd name="connsiteY59" fmla="*/ 6921032 h 15946069"/>
                <a:gd name="connsiteX60" fmla="*/ 477776 w 15409480"/>
                <a:gd name="connsiteY60" fmla="*/ 7436569 h 15946069"/>
                <a:gd name="connsiteX0" fmla="*/ 477776 w 14004774"/>
                <a:gd name="connsiteY0" fmla="*/ 7436569 h 15946069"/>
                <a:gd name="connsiteX1" fmla="*/ 271294 w 14004774"/>
                <a:gd name="connsiteY1" fmla="*/ 8060457 h 15946069"/>
                <a:gd name="connsiteX2" fmla="*/ 379812 w 14004774"/>
                <a:gd name="connsiteY2" fmla="*/ 8675382 h 15946069"/>
                <a:gd name="connsiteX3" fmla="*/ 759624 w 14004774"/>
                <a:gd name="connsiteY3" fmla="*/ 9217969 h 15946069"/>
                <a:gd name="connsiteX4" fmla="*/ 687278 w 14004774"/>
                <a:gd name="connsiteY4" fmla="*/ 9670126 h 15946069"/>
                <a:gd name="connsiteX5" fmla="*/ 144687 w 14004774"/>
                <a:gd name="connsiteY5" fmla="*/ 9941420 h 15946069"/>
                <a:gd name="connsiteX6" fmla="*/ 343643 w 14004774"/>
                <a:gd name="connsiteY6" fmla="*/ 10592536 h 15946069"/>
                <a:gd name="connsiteX7" fmla="*/ 940487 w 14004774"/>
                <a:gd name="connsiteY7" fmla="*/ 10954252 h 15946069"/>
                <a:gd name="connsiteX8" fmla="*/ 596844 w 14004774"/>
                <a:gd name="connsiteY8" fmla="*/ 11786221 h 15946069"/>
                <a:gd name="connsiteX9" fmla="*/ 633017 w 14004774"/>
                <a:gd name="connsiteY9" fmla="*/ 12780969 h 15946069"/>
                <a:gd name="connsiteX10" fmla="*/ 198944 w 14004774"/>
                <a:gd name="connsiteY10" fmla="*/ 13341645 h 15946069"/>
                <a:gd name="connsiteX11" fmla="*/ 723451 w 14004774"/>
                <a:gd name="connsiteY11" fmla="*/ 13757629 h 15946069"/>
                <a:gd name="connsiteX12" fmla="*/ 1640036 w 14004774"/>
                <a:gd name="connsiteY12" fmla="*/ 13197151 h 15946069"/>
                <a:gd name="connsiteX13" fmla="*/ 1880971 w 14004774"/>
                <a:gd name="connsiteY13" fmla="*/ 13395906 h 15946069"/>
                <a:gd name="connsiteX14" fmla="*/ 2930086 w 14004774"/>
                <a:gd name="connsiteY14" fmla="*/ 12952832 h 15946069"/>
                <a:gd name="connsiteX15" fmla="*/ 3828256 w 14004774"/>
                <a:gd name="connsiteY15" fmla="*/ 13245188 h 15946069"/>
                <a:gd name="connsiteX16" fmla="*/ 4768739 w 14004774"/>
                <a:gd name="connsiteY16" fmla="*/ 13040205 h 15946069"/>
                <a:gd name="connsiteX17" fmla="*/ 5190751 w 14004774"/>
                <a:gd name="connsiteY17" fmla="*/ 13649115 h 15946069"/>
                <a:gd name="connsiteX18" fmla="*/ 5932290 w 14004774"/>
                <a:gd name="connsiteY18" fmla="*/ 13444132 h 15946069"/>
                <a:gd name="connsiteX19" fmla="*/ 6498992 w 14004774"/>
                <a:gd name="connsiteY19" fmla="*/ 12991975 h 15946069"/>
                <a:gd name="connsiteX20" fmla="*/ 7373161 w 14004774"/>
                <a:gd name="connsiteY20" fmla="*/ 13582800 h 15946069"/>
                <a:gd name="connsiteX21" fmla="*/ 8512588 w 14004774"/>
                <a:gd name="connsiteY21" fmla="*/ 13570738 h 15946069"/>
                <a:gd name="connsiteX22" fmla="*/ 9742454 w 14004774"/>
                <a:gd name="connsiteY22" fmla="*/ 14004811 h 15946069"/>
                <a:gd name="connsiteX23" fmla="*/ 10616683 w 14004774"/>
                <a:gd name="connsiteY23" fmla="*/ 15358294 h 15946069"/>
                <a:gd name="connsiteX24" fmla="*/ 11117010 w 14004774"/>
                <a:gd name="connsiteY24" fmla="*/ 15946069 h 15946069"/>
                <a:gd name="connsiteX25" fmla="*/ 11780218 w 14004774"/>
                <a:gd name="connsiteY25" fmla="*/ 13579811 h 15946069"/>
                <a:gd name="connsiteX26" fmla="*/ 12196146 w 14004774"/>
                <a:gd name="connsiteY26" fmla="*/ 11388328 h 15946069"/>
                <a:gd name="connsiteX27" fmla="*/ 14004775 w 14004774"/>
                <a:gd name="connsiteY27" fmla="*/ 11611395 h 15946069"/>
                <a:gd name="connsiteX28" fmla="*/ 10195350 w 14004774"/>
                <a:gd name="connsiteY28" fmla="*/ 10617991 h 15946069"/>
                <a:gd name="connsiteX29" fmla="*/ 11533930 w 14004774"/>
                <a:gd name="connsiteY29" fmla="*/ 9393151 h 15946069"/>
                <a:gd name="connsiteX30" fmla="*/ 11668657 w 14004774"/>
                <a:gd name="connsiteY30" fmla="*/ 8754316 h 15946069"/>
                <a:gd name="connsiteX31" fmla="*/ 12149687 w 14004774"/>
                <a:gd name="connsiteY31" fmla="*/ 8101619 h 15946069"/>
                <a:gd name="connsiteX32" fmla="*/ 11118705 w 14004774"/>
                <a:gd name="connsiteY32" fmla="*/ 7156845 h 15946069"/>
                <a:gd name="connsiteX33" fmla="*/ 10425568 w 14004774"/>
                <a:gd name="connsiteY33" fmla="*/ 7223642 h 15946069"/>
                <a:gd name="connsiteX34" fmla="*/ 10709437 w 14004774"/>
                <a:gd name="connsiteY34" fmla="*/ 6730245 h 15946069"/>
                <a:gd name="connsiteX35" fmla="*/ 10017677 w 14004774"/>
                <a:gd name="connsiteY35" fmla="*/ 5883475 h 15946069"/>
                <a:gd name="connsiteX36" fmla="*/ 9318595 w 14004774"/>
                <a:gd name="connsiteY36" fmla="*/ 5859197 h 15946069"/>
                <a:gd name="connsiteX37" fmla="*/ 9215073 w 14004774"/>
                <a:gd name="connsiteY37" fmla="*/ 5387392 h 15946069"/>
                <a:gd name="connsiteX38" fmla="*/ 8600211 w 14004774"/>
                <a:gd name="connsiteY38" fmla="*/ 5564744 h 15946069"/>
                <a:gd name="connsiteX39" fmla="*/ 8412926 w 14004774"/>
                <a:gd name="connsiteY39" fmla="*/ 4835463 h 15946069"/>
                <a:gd name="connsiteX40" fmla="*/ 7744624 w 14004774"/>
                <a:gd name="connsiteY40" fmla="*/ 4382387 h 15946069"/>
                <a:gd name="connsiteX41" fmla="*/ 8112983 w 14004774"/>
                <a:gd name="connsiteY41" fmla="*/ 3770361 h 15946069"/>
                <a:gd name="connsiteX42" fmla="*/ 7637793 w 14004774"/>
                <a:gd name="connsiteY42" fmla="*/ 2526072 h 15946069"/>
                <a:gd name="connsiteX43" fmla="*/ 7264687 w 14004774"/>
                <a:gd name="connsiteY43" fmla="*/ 2131091 h 15946069"/>
                <a:gd name="connsiteX44" fmla="*/ 6594245 w 14004774"/>
                <a:gd name="connsiteY44" fmla="*/ 2055834 h 15946069"/>
                <a:gd name="connsiteX45" fmla="*/ 6431470 w 14004774"/>
                <a:gd name="connsiteY45" fmla="*/ 1314295 h 15946069"/>
                <a:gd name="connsiteX46" fmla="*/ 5642908 w 14004774"/>
                <a:gd name="connsiteY46" fmla="*/ 1343233 h 15946069"/>
                <a:gd name="connsiteX47" fmla="*/ 5150959 w 14004774"/>
                <a:gd name="connsiteY47" fmla="*/ 1610907 h 15946069"/>
                <a:gd name="connsiteX48" fmla="*/ 5480133 w 14004774"/>
                <a:gd name="connsiteY48" fmla="*/ 2167963 h 15946069"/>
                <a:gd name="connsiteX49" fmla="*/ 4742216 w 14004774"/>
                <a:gd name="connsiteY49" fmla="*/ 2862495 h 15946069"/>
                <a:gd name="connsiteX50" fmla="*/ 2658667 w 14004774"/>
                <a:gd name="connsiteY50" fmla="*/ 0 h 15946069"/>
                <a:gd name="connsiteX51" fmla="*/ 2658682 w 14004774"/>
                <a:gd name="connsiteY51" fmla="*/ 1018890 h 15946069"/>
                <a:gd name="connsiteX52" fmla="*/ 1850829 w 14004774"/>
                <a:gd name="connsiteY52" fmla="*/ 1730283 h 15946069"/>
                <a:gd name="connsiteX53" fmla="*/ 1404694 w 14004774"/>
                <a:gd name="connsiteY53" fmla="*/ 2272862 h 15946069"/>
                <a:gd name="connsiteX54" fmla="*/ 2351216 w 14004774"/>
                <a:gd name="connsiteY54" fmla="*/ 3388182 h 15946069"/>
                <a:gd name="connsiteX55" fmla="*/ 2658682 w 14004774"/>
                <a:gd name="connsiteY55" fmla="*/ 4286458 h 15946069"/>
                <a:gd name="connsiteX56" fmla="*/ 1935228 w 14004774"/>
                <a:gd name="connsiteY56" fmla="*/ 5220918 h 15946069"/>
                <a:gd name="connsiteX57" fmla="*/ 875281 w 14004774"/>
                <a:gd name="connsiteY57" fmla="*/ 5166646 h 15946069"/>
                <a:gd name="connsiteX58" fmla="*/ 0 w 14004774"/>
                <a:gd name="connsiteY58" fmla="*/ 5890112 h 15946069"/>
                <a:gd name="connsiteX59" fmla="*/ 72345 w 14004774"/>
                <a:gd name="connsiteY59" fmla="*/ 6921032 h 15946069"/>
                <a:gd name="connsiteX60" fmla="*/ 477776 w 14004774"/>
                <a:gd name="connsiteY60" fmla="*/ 7436569 h 15946069"/>
                <a:gd name="connsiteX0" fmla="*/ 477776 w 14004774"/>
                <a:gd name="connsiteY0" fmla="*/ 7436569 h 15946069"/>
                <a:gd name="connsiteX1" fmla="*/ 271294 w 14004774"/>
                <a:gd name="connsiteY1" fmla="*/ 8060457 h 15946069"/>
                <a:gd name="connsiteX2" fmla="*/ 379812 w 14004774"/>
                <a:gd name="connsiteY2" fmla="*/ 8675382 h 15946069"/>
                <a:gd name="connsiteX3" fmla="*/ 759624 w 14004774"/>
                <a:gd name="connsiteY3" fmla="*/ 9217969 h 15946069"/>
                <a:gd name="connsiteX4" fmla="*/ 687278 w 14004774"/>
                <a:gd name="connsiteY4" fmla="*/ 9670126 h 15946069"/>
                <a:gd name="connsiteX5" fmla="*/ 144687 w 14004774"/>
                <a:gd name="connsiteY5" fmla="*/ 9941420 h 15946069"/>
                <a:gd name="connsiteX6" fmla="*/ 343643 w 14004774"/>
                <a:gd name="connsiteY6" fmla="*/ 10592536 h 15946069"/>
                <a:gd name="connsiteX7" fmla="*/ 940487 w 14004774"/>
                <a:gd name="connsiteY7" fmla="*/ 10954252 h 15946069"/>
                <a:gd name="connsiteX8" fmla="*/ 596844 w 14004774"/>
                <a:gd name="connsiteY8" fmla="*/ 11786221 h 15946069"/>
                <a:gd name="connsiteX9" fmla="*/ 633017 w 14004774"/>
                <a:gd name="connsiteY9" fmla="*/ 12780969 h 15946069"/>
                <a:gd name="connsiteX10" fmla="*/ 198944 w 14004774"/>
                <a:gd name="connsiteY10" fmla="*/ 13341645 h 15946069"/>
                <a:gd name="connsiteX11" fmla="*/ 723451 w 14004774"/>
                <a:gd name="connsiteY11" fmla="*/ 13757629 h 15946069"/>
                <a:gd name="connsiteX12" fmla="*/ 1640036 w 14004774"/>
                <a:gd name="connsiteY12" fmla="*/ 13197151 h 15946069"/>
                <a:gd name="connsiteX13" fmla="*/ 1880971 w 14004774"/>
                <a:gd name="connsiteY13" fmla="*/ 13395906 h 15946069"/>
                <a:gd name="connsiteX14" fmla="*/ 2930086 w 14004774"/>
                <a:gd name="connsiteY14" fmla="*/ 12952832 h 15946069"/>
                <a:gd name="connsiteX15" fmla="*/ 3828256 w 14004774"/>
                <a:gd name="connsiteY15" fmla="*/ 13245188 h 15946069"/>
                <a:gd name="connsiteX16" fmla="*/ 4768739 w 14004774"/>
                <a:gd name="connsiteY16" fmla="*/ 13040205 h 15946069"/>
                <a:gd name="connsiteX17" fmla="*/ 5190751 w 14004774"/>
                <a:gd name="connsiteY17" fmla="*/ 13649115 h 15946069"/>
                <a:gd name="connsiteX18" fmla="*/ 5932290 w 14004774"/>
                <a:gd name="connsiteY18" fmla="*/ 13444132 h 15946069"/>
                <a:gd name="connsiteX19" fmla="*/ 6498992 w 14004774"/>
                <a:gd name="connsiteY19" fmla="*/ 12991975 h 15946069"/>
                <a:gd name="connsiteX20" fmla="*/ 7373161 w 14004774"/>
                <a:gd name="connsiteY20" fmla="*/ 13582800 h 15946069"/>
                <a:gd name="connsiteX21" fmla="*/ 8512588 w 14004774"/>
                <a:gd name="connsiteY21" fmla="*/ 13570738 h 15946069"/>
                <a:gd name="connsiteX22" fmla="*/ 9742454 w 14004774"/>
                <a:gd name="connsiteY22" fmla="*/ 14004811 h 15946069"/>
                <a:gd name="connsiteX23" fmla="*/ 10616683 w 14004774"/>
                <a:gd name="connsiteY23" fmla="*/ 15358294 h 15946069"/>
                <a:gd name="connsiteX24" fmla="*/ 11117010 w 14004774"/>
                <a:gd name="connsiteY24" fmla="*/ 15946069 h 15946069"/>
                <a:gd name="connsiteX25" fmla="*/ 11780218 w 14004774"/>
                <a:gd name="connsiteY25" fmla="*/ 13579811 h 15946069"/>
                <a:gd name="connsiteX26" fmla="*/ 12196146 w 14004774"/>
                <a:gd name="connsiteY26" fmla="*/ 11388328 h 15946069"/>
                <a:gd name="connsiteX27" fmla="*/ 14004775 w 14004774"/>
                <a:gd name="connsiteY27" fmla="*/ 11611395 h 15946069"/>
                <a:gd name="connsiteX28" fmla="*/ 11893530 w 14004774"/>
                <a:gd name="connsiteY28" fmla="*/ 10283919 h 15946069"/>
                <a:gd name="connsiteX29" fmla="*/ 11533930 w 14004774"/>
                <a:gd name="connsiteY29" fmla="*/ 9393151 h 15946069"/>
                <a:gd name="connsiteX30" fmla="*/ 11668657 w 14004774"/>
                <a:gd name="connsiteY30" fmla="*/ 8754316 h 15946069"/>
                <a:gd name="connsiteX31" fmla="*/ 12149687 w 14004774"/>
                <a:gd name="connsiteY31" fmla="*/ 8101619 h 15946069"/>
                <a:gd name="connsiteX32" fmla="*/ 11118705 w 14004774"/>
                <a:gd name="connsiteY32" fmla="*/ 7156845 h 15946069"/>
                <a:gd name="connsiteX33" fmla="*/ 10425568 w 14004774"/>
                <a:gd name="connsiteY33" fmla="*/ 7223642 h 15946069"/>
                <a:gd name="connsiteX34" fmla="*/ 10709437 w 14004774"/>
                <a:gd name="connsiteY34" fmla="*/ 6730245 h 15946069"/>
                <a:gd name="connsiteX35" fmla="*/ 10017677 w 14004774"/>
                <a:gd name="connsiteY35" fmla="*/ 5883475 h 15946069"/>
                <a:gd name="connsiteX36" fmla="*/ 9318595 w 14004774"/>
                <a:gd name="connsiteY36" fmla="*/ 5859197 h 15946069"/>
                <a:gd name="connsiteX37" fmla="*/ 9215073 w 14004774"/>
                <a:gd name="connsiteY37" fmla="*/ 5387392 h 15946069"/>
                <a:gd name="connsiteX38" fmla="*/ 8600211 w 14004774"/>
                <a:gd name="connsiteY38" fmla="*/ 5564744 h 15946069"/>
                <a:gd name="connsiteX39" fmla="*/ 8412926 w 14004774"/>
                <a:gd name="connsiteY39" fmla="*/ 4835463 h 15946069"/>
                <a:gd name="connsiteX40" fmla="*/ 7744624 w 14004774"/>
                <a:gd name="connsiteY40" fmla="*/ 4382387 h 15946069"/>
                <a:gd name="connsiteX41" fmla="*/ 8112983 w 14004774"/>
                <a:gd name="connsiteY41" fmla="*/ 3770361 h 15946069"/>
                <a:gd name="connsiteX42" fmla="*/ 7637793 w 14004774"/>
                <a:gd name="connsiteY42" fmla="*/ 2526072 h 15946069"/>
                <a:gd name="connsiteX43" fmla="*/ 7264687 w 14004774"/>
                <a:gd name="connsiteY43" fmla="*/ 2131091 h 15946069"/>
                <a:gd name="connsiteX44" fmla="*/ 6594245 w 14004774"/>
                <a:gd name="connsiteY44" fmla="*/ 2055834 h 15946069"/>
                <a:gd name="connsiteX45" fmla="*/ 6431470 w 14004774"/>
                <a:gd name="connsiteY45" fmla="*/ 1314295 h 15946069"/>
                <a:gd name="connsiteX46" fmla="*/ 5642908 w 14004774"/>
                <a:gd name="connsiteY46" fmla="*/ 1343233 h 15946069"/>
                <a:gd name="connsiteX47" fmla="*/ 5150959 w 14004774"/>
                <a:gd name="connsiteY47" fmla="*/ 1610907 h 15946069"/>
                <a:gd name="connsiteX48" fmla="*/ 5480133 w 14004774"/>
                <a:gd name="connsiteY48" fmla="*/ 2167963 h 15946069"/>
                <a:gd name="connsiteX49" fmla="*/ 4742216 w 14004774"/>
                <a:gd name="connsiteY49" fmla="*/ 2862495 h 15946069"/>
                <a:gd name="connsiteX50" fmla="*/ 2658667 w 14004774"/>
                <a:gd name="connsiteY50" fmla="*/ 0 h 15946069"/>
                <a:gd name="connsiteX51" fmla="*/ 2658682 w 14004774"/>
                <a:gd name="connsiteY51" fmla="*/ 1018890 h 15946069"/>
                <a:gd name="connsiteX52" fmla="*/ 1850829 w 14004774"/>
                <a:gd name="connsiteY52" fmla="*/ 1730283 h 15946069"/>
                <a:gd name="connsiteX53" fmla="*/ 1404694 w 14004774"/>
                <a:gd name="connsiteY53" fmla="*/ 2272862 h 15946069"/>
                <a:gd name="connsiteX54" fmla="*/ 2351216 w 14004774"/>
                <a:gd name="connsiteY54" fmla="*/ 3388182 h 15946069"/>
                <a:gd name="connsiteX55" fmla="*/ 2658682 w 14004774"/>
                <a:gd name="connsiteY55" fmla="*/ 4286458 h 15946069"/>
                <a:gd name="connsiteX56" fmla="*/ 1935228 w 14004774"/>
                <a:gd name="connsiteY56" fmla="*/ 5220918 h 15946069"/>
                <a:gd name="connsiteX57" fmla="*/ 875281 w 14004774"/>
                <a:gd name="connsiteY57" fmla="*/ 5166646 h 15946069"/>
                <a:gd name="connsiteX58" fmla="*/ 0 w 14004774"/>
                <a:gd name="connsiteY58" fmla="*/ 5890112 h 15946069"/>
                <a:gd name="connsiteX59" fmla="*/ 72345 w 14004774"/>
                <a:gd name="connsiteY59" fmla="*/ 6921032 h 15946069"/>
                <a:gd name="connsiteX60" fmla="*/ 477776 w 14004774"/>
                <a:gd name="connsiteY60" fmla="*/ 7436569 h 15946069"/>
                <a:gd name="connsiteX0" fmla="*/ 477776 w 12196146"/>
                <a:gd name="connsiteY0" fmla="*/ 7436569 h 15946069"/>
                <a:gd name="connsiteX1" fmla="*/ 271294 w 12196146"/>
                <a:gd name="connsiteY1" fmla="*/ 8060457 h 15946069"/>
                <a:gd name="connsiteX2" fmla="*/ 379812 w 12196146"/>
                <a:gd name="connsiteY2" fmla="*/ 8675382 h 15946069"/>
                <a:gd name="connsiteX3" fmla="*/ 759624 w 12196146"/>
                <a:gd name="connsiteY3" fmla="*/ 9217969 h 15946069"/>
                <a:gd name="connsiteX4" fmla="*/ 687278 w 12196146"/>
                <a:gd name="connsiteY4" fmla="*/ 9670126 h 15946069"/>
                <a:gd name="connsiteX5" fmla="*/ 144687 w 12196146"/>
                <a:gd name="connsiteY5" fmla="*/ 9941420 h 15946069"/>
                <a:gd name="connsiteX6" fmla="*/ 343643 w 12196146"/>
                <a:gd name="connsiteY6" fmla="*/ 10592536 h 15946069"/>
                <a:gd name="connsiteX7" fmla="*/ 940487 w 12196146"/>
                <a:gd name="connsiteY7" fmla="*/ 10954252 h 15946069"/>
                <a:gd name="connsiteX8" fmla="*/ 596844 w 12196146"/>
                <a:gd name="connsiteY8" fmla="*/ 11786221 h 15946069"/>
                <a:gd name="connsiteX9" fmla="*/ 633017 w 12196146"/>
                <a:gd name="connsiteY9" fmla="*/ 12780969 h 15946069"/>
                <a:gd name="connsiteX10" fmla="*/ 198944 w 12196146"/>
                <a:gd name="connsiteY10" fmla="*/ 13341645 h 15946069"/>
                <a:gd name="connsiteX11" fmla="*/ 723451 w 12196146"/>
                <a:gd name="connsiteY11" fmla="*/ 13757629 h 15946069"/>
                <a:gd name="connsiteX12" fmla="*/ 1640036 w 12196146"/>
                <a:gd name="connsiteY12" fmla="*/ 13197151 h 15946069"/>
                <a:gd name="connsiteX13" fmla="*/ 1880971 w 12196146"/>
                <a:gd name="connsiteY13" fmla="*/ 13395906 h 15946069"/>
                <a:gd name="connsiteX14" fmla="*/ 2930086 w 12196146"/>
                <a:gd name="connsiteY14" fmla="*/ 12952832 h 15946069"/>
                <a:gd name="connsiteX15" fmla="*/ 3828256 w 12196146"/>
                <a:gd name="connsiteY15" fmla="*/ 13245188 h 15946069"/>
                <a:gd name="connsiteX16" fmla="*/ 4768739 w 12196146"/>
                <a:gd name="connsiteY16" fmla="*/ 13040205 h 15946069"/>
                <a:gd name="connsiteX17" fmla="*/ 5190751 w 12196146"/>
                <a:gd name="connsiteY17" fmla="*/ 13649115 h 15946069"/>
                <a:gd name="connsiteX18" fmla="*/ 5932290 w 12196146"/>
                <a:gd name="connsiteY18" fmla="*/ 13444132 h 15946069"/>
                <a:gd name="connsiteX19" fmla="*/ 6498992 w 12196146"/>
                <a:gd name="connsiteY19" fmla="*/ 12991975 h 15946069"/>
                <a:gd name="connsiteX20" fmla="*/ 7373161 w 12196146"/>
                <a:gd name="connsiteY20" fmla="*/ 13582800 h 15946069"/>
                <a:gd name="connsiteX21" fmla="*/ 8512588 w 12196146"/>
                <a:gd name="connsiteY21" fmla="*/ 13570738 h 15946069"/>
                <a:gd name="connsiteX22" fmla="*/ 9742454 w 12196146"/>
                <a:gd name="connsiteY22" fmla="*/ 14004811 h 15946069"/>
                <a:gd name="connsiteX23" fmla="*/ 10616683 w 12196146"/>
                <a:gd name="connsiteY23" fmla="*/ 15358294 h 15946069"/>
                <a:gd name="connsiteX24" fmla="*/ 11117010 w 12196146"/>
                <a:gd name="connsiteY24" fmla="*/ 15946069 h 15946069"/>
                <a:gd name="connsiteX25" fmla="*/ 11780218 w 12196146"/>
                <a:gd name="connsiteY25" fmla="*/ 13579811 h 15946069"/>
                <a:gd name="connsiteX26" fmla="*/ 12196146 w 12196146"/>
                <a:gd name="connsiteY26" fmla="*/ 11388328 h 15946069"/>
                <a:gd name="connsiteX27" fmla="*/ 9651694 w 12196146"/>
                <a:gd name="connsiteY27" fmla="*/ 10609178 h 15946069"/>
                <a:gd name="connsiteX28" fmla="*/ 11893530 w 12196146"/>
                <a:gd name="connsiteY28" fmla="*/ 10283919 h 15946069"/>
                <a:gd name="connsiteX29" fmla="*/ 11533930 w 12196146"/>
                <a:gd name="connsiteY29" fmla="*/ 9393151 h 15946069"/>
                <a:gd name="connsiteX30" fmla="*/ 11668657 w 12196146"/>
                <a:gd name="connsiteY30" fmla="*/ 8754316 h 15946069"/>
                <a:gd name="connsiteX31" fmla="*/ 12149687 w 12196146"/>
                <a:gd name="connsiteY31" fmla="*/ 8101619 h 15946069"/>
                <a:gd name="connsiteX32" fmla="*/ 11118705 w 12196146"/>
                <a:gd name="connsiteY32" fmla="*/ 7156845 h 15946069"/>
                <a:gd name="connsiteX33" fmla="*/ 10425568 w 12196146"/>
                <a:gd name="connsiteY33" fmla="*/ 7223642 h 15946069"/>
                <a:gd name="connsiteX34" fmla="*/ 10709437 w 12196146"/>
                <a:gd name="connsiteY34" fmla="*/ 6730245 h 15946069"/>
                <a:gd name="connsiteX35" fmla="*/ 10017677 w 12196146"/>
                <a:gd name="connsiteY35" fmla="*/ 5883475 h 15946069"/>
                <a:gd name="connsiteX36" fmla="*/ 9318595 w 12196146"/>
                <a:gd name="connsiteY36" fmla="*/ 5859197 h 15946069"/>
                <a:gd name="connsiteX37" fmla="*/ 9215073 w 12196146"/>
                <a:gd name="connsiteY37" fmla="*/ 5387392 h 15946069"/>
                <a:gd name="connsiteX38" fmla="*/ 8600211 w 12196146"/>
                <a:gd name="connsiteY38" fmla="*/ 5564744 h 15946069"/>
                <a:gd name="connsiteX39" fmla="*/ 8412926 w 12196146"/>
                <a:gd name="connsiteY39" fmla="*/ 4835463 h 15946069"/>
                <a:gd name="connsiteX40" fmla="*/ 7744624 w 12196146"/>
                <a:gd name="connsiteY40" fmla="*/ 4382387 h 15946069"/>
                <a:gd name="connsiteX41" fmla="*/ 8112983 w 12196146"/>
                <a:gd name="connsiteY41" fmla="*/ 3770361 h 15946069"/>
                <a:gd name="connsiteX42" fmla="*/ 7637793 w 12196146"/>
                <a:gd name="connsiteY42" fmla="*/ 2526072 h 15946069"/>
                <a:gd name="connsiteX43" fmla="*/ 7264687 w 12196146"/>
                <a:gd name="connsiteY43" fmla="*/ 2131091 h 15946069"/>
                <a:gd name="connsiteX44" fmla="*/ 6594245 w 12196146"/>
                <a:gd name="connsiteY44" fmla="*/ 2055834 h 15946069"/>
                <a:gd name="connsiteX45" fmla="*/ 6431470 w 12196146"/>
                <a:gd name="connsiteY45" fmla="*/ 1314295 h 15946069"/>
                <a:gd name="connsiteX46" fmla="*/ 5642908 w 12196146"/>
                <a:gd name="connsiteY46" fmla="*/ 1343233 h 15946069"/>
                <a:gd name="connsiteX47" fmla="*/ 5150959 w 12196146"/>
                <a:gd name="connsiteY47" fmla="*/ 1610907 h 15946069"/>
                <a:gd name="connsiteX48" fmla="*/ 5480133 w 12196146"/>
                <a:gd name="connsiteY48" fmla="*/ 2167963 h 15946069"/>
                <a:gd name="connsiteX49" fmla="*/ 4742216 w 12196146"/>
                <a:gd name="connsiteY49" fmla="*/ 2862495 h 15946069"/>
                <a:gd name="connsiteX50" fmla="*/ 2658667 w 12196146"/>
                <a:gd name="connsiteY50" fmla="*/ 0 h 15946069"/>
                <a:gd name="connsiteX51" fmla="*/ 2658682 w 12196146"/>
                <a:gd name="connsiteY51" fmla="*/ 1018890 h 15946069"/>
                <a:gd name="connsiteX52" fmla="*/ 1850829 w 12196146"/>
                <a:gd name="connsiteY52" fmla="*/ 1730283 h 15946069"/>
                <a:gd name="connsiteX53" fmla="*/ 1404694 w 12196146"/>
                <a:gd name="connsiteY53" fmla="*/ 2272862 h 15946069"/>
                <a:gd name="connsiteX54" fmla="*/ 2351216 w 12196146"/>
                <a:gd name="connsiteY54" fmla="*/ 3388182 h 15946069"/>
                <a:gd name="connsiteX55" fmla="*/ 2658682 w 12196146"/>
                <a:gd name="connsiteY55" fmla="*/ 4286458 h 15946069"/>
                <a:gd name="connsiteX56" fmla="*/ 1935228 w 12196146"/>
                <a:gd name="connsiteY56" fmla="*/ 5220918 h 15946069"/>
                <a:gd name="connsiteX57" fmla="*/ 875281 w 12196146"/>
                <a:gd name="connsiteY57" fmla="*/ 5166646 h 15946069"/>
                <a:gd name="connsiteX58" fmla="*/ 0 w 12196146"/>
                <a:gd name="connsiteY58" fmla="*/ 5890112 h 15946069"/>
                <a:gd name="connsiteX59" fmla="*/ 72345 w 12196146"/>
                <a:gd name="connsiteY59" fmla="*/ 6921032 h 15946069"/>
                <a:gd name="connsiteX60" fmla="*/ 477776 w 12196146"/>
                <a:gd name="connsiteY60" fmla="*/ 7436569 h 15946069"/>
                <a:gd name="connsiteX0" fmla="*/ 477776 w 12196146"/>
                <a:gd name="connsiteY0" fmla="*/ 7436569 h 15946069"/>
                <a:gd name="connsiteX1" fmla="*/ 271294 w 12196146"/>
                <a:gd name="connsiteY1" fmla="*/ 8060457 h 15946069"/>
                <a:gd name="connsiteX2" fmla="*/ 379812 w 12196146"/>
                <a:gd name="connsiteY2" fmla="*/ 8675382 h 15946069"/>
                <a:gd name="connsiteX3" fmla="*/ 759624 w 12196146"/>
                <a:gd name="connsiteY3" fmla="*/ 9217969 h 15946069"/>
                <a:gd name="connsiteX4" fmla="*/ 687278 w 12196146"/>
                <a:gd name="connsiteY4" fmla="*/ 9670126 h 15946069"/>
                <a:gd name="connsiteX5" fmla="*/ 144687 w 12196146"/>
                <a:gd name="connsiteY5" fmla="*/ 9941420 h 15946069"/>
                <a:gd name="connsiteX6" fmla="*/ 343643 w 12196146"/>
                <a:gd name="connsiteY6" fmla="*/ 10592536 h 15946069"/>
                <a:gd name="connsiteX7" fmla="*/ 940487 w 12196146"/>
                <a:gd name="connsiteY7" fmla="*/ 10954252 h 15946069"/>
                <a:gd name="connsiteX8" fmla="*/ 596844 w 12196146"/>
                <a:gd name="connsiteY8" fmla="*/ 11786221 h 15946069"/>
                <a:gd name="connsiteX9" fmla="*/ 633017 w 12196146"/>
                <a:gd name="connsiteY9" fmla="*/ 12780969 h 15946069"/>
                <a:gd name="connsiteX10" fmla="*/ 198944 w 12196146"/>
                <a:gd name="connsiteY10" fmla="*/ 13341645 h 15946069"/>
                <a:gd name="connsiteX11" fmla="*/ 723451 w 12196146"/>
                <a:gd name="connsiteY11" fmla="*/ 13757629 h 15946069"/>
                <a:gd name="connsiteX12" fmla="*/ 1640036 w 12196146"/>
                <a:gd name="connsiteY12" fmla="*/ 13197151 h 15946069"/>
                <a:gd name="connsiteX13" fmla="*/ 1880971 w 12196146"/>
                <a:gd name="connsiteY13" fmla="*/ 13395906 h 15946069"/>
                <a:gd name="connsiteX14" fmla="*/ 2930086 w 12196146"/>
                <a:gd name="connsiteY14" fmla="*/ 12952832 h 15946069"/>
                <a:gd name="connsiteX15" fmla="*/ 3828256 w 12196146"/>
                <a:gd name="connsiteY15" fmla="*/ 13245188 h 15946069"/>
                <a:gd name="connsiteX16" fmla="*/ 4768739 w 12196146"/>
                <a:gd name="connsiteY16" fmla="*/ 13040205 h 15946069"/>
                <a:gd name="connsiteX17" fmla="*/ 5190751 w 12196146"/>
                <a:gd name="connsiteY17" fmla="*/ 13649115 h 15946069"/>
                <a:gd name="connsiteX18" fmla="*/ 5932290 w 12196146"/>
                <a:gd name="connsiteY18" fmla="*/ 13444132 h 15946069"/>
                <a:gd name="connsiteX19" fmla="*/ 6498992 w 12196146"/>
                <a:gd name="connsiteY19" fmla="*/ 12991975 h 15946069"/>
                <a:gd name="connsiteX20" fmla="*/ 7373161 w 12196146"/>
                <a:gd name="connsiteY20" fmla="*/ 13582800 h 15946069"/>
                <a:gd name="connsiteX21" fmla="*/ 8512588 w 12196146"/>
                <a:gd name="connsiteY21" fmla="*/ 13570738 h 15946069"/>
                <a:gd name="connsiteX22" fmla="*/ 9742454 w 12196146"/>
                <a:gd name="connsiteY22" fmla="*/ 14004811 h 15946069"/>
                <a:gd name="connsiteX23" fmla="*/ 10616683 w 12196146"/>
                <a:gd name="connsiteY23" fmla="*/ 15358294 h 15946069"/>
                <a:gd name="connsiteX24" fmla="*/ 11117010 w 12196146"/>
                <a:gd name="connsiteY24" fmla="*/ 15946069 h 15946069"/>
                <a:gd name="connsiteX25" fmla="*/ 11780218 w 12196146"/>
                <a:gd name="connsiteY25" fmla="*/ 13579811 h 15946069"/>
                <a:gd name="connsiteX26" fmla="*/ 12196146 w 12196146"/>
                <a:gd name="connsiteY26" fmla="*/ 11388328 h 15946069"/>
                <a:gd name="connsiteX27" fmla="*/ 11899987 w 12196146"/>
                <a:gd name="connsiteY27" fmla="*/ 10752355 h 15946069"/>
                <a:gd name="connsiteX28" fmla="*/ 11893530 w 12196146"/>
                <a:gd name="connsiteY28" fmla="*/ 10283919 h 15946069"/>
                <a:gd name="connsiteX29" fmla="*/ 11533930 w 12196146"/>
                <a:gd name="connsiteY29" fmla="*/ 9393151 h 15946069"/>
                <a:gd name="connsiteX30" fmla="*/ 11668657 w 12196146"/>
                <a:gd name="connsiteY30" fmla="*/ 8754316 h 15946069"/>
                <a:gd name="connsiteX31" fmla="*/ 12149687 w 12196146"/>
                <a:gd name="connsiteY31" fmla="*/ 8101619 h 15946069"/>
                <a:gd name="connsiteX32" fmla="*/ 11118705 w 12196146"/>
                <a:gd name="connsiteY32" fmla="*/ 7156845 h 15946069"/>
                <a:gd name="connsiteX33" fmla="*/ 10425568 w 12196146"/>
                <a:gd name="connsiteY33" fmla="*/ 7223642 h 15946069"/>
                <a:gd name="connsiteX34" fmla="*/ 10709437 w 12196146"/>
                <a:gd name="connsiteY34" fmla="*/ 6730245 h 15946069"/>
                <a:gd name="connsiteX35" fmla="*/ 10017677 w 12196146"/>
                <a:gd name="connsiteY35" fmla="*/ 5883475 h 15946069"/>
                <a:gd name="connsiteX36" fmla="*/ 9318595 w 12196146"/>
                <a:gd name="connsiteY36" fmla="*/ 5859197 h 15946069"/>
                <a:gd name="connsiteX37" fmla="*/ 9215073 w 12196146"/>
                <a:gd name="connsiteY37" fmla="*/ 5387392 h 15946069"/>
                <a:gd name="connsiteX38" fmla="*/ 8600211 w 12196146"/>
                <a:gd name="connsiteY38" fmla="*/ 5564744 h 15946069"/>
                <a:gd name="connsiteX39" fmla="*/ 8412926 w 12196146"/>
                <a:gd name="connsiteY39" fmla="*/ 4835463 h 15946069"/>
                <a:gd name="connsiteX40" fmla="*/ 7744624 w 12196146"/>
                <a:gd name="connsiteY40" fmla="*/ 4382387 h 15946069"/>
                <a:gd name="connsiteX41" fmla="*/ 8112983 w 12196146"/>
                <a:gd name="connsiteY41" fmla="*/ 3770361 h 15946069"/>
                <a:gd name="connsiteX42" fmla="*/ 7637793 w 12196146"/>
                <a:gd name="connsiteY42" fmla="*/ 2526072 h 15946069"/>
                <a:gd name="connsiteX43" fmla="*/ 7264687 w 12196146"/>
                <a:gd name="connsiteY43" fmla="*/ 2131091 h 15946069"/>
                <a:gd name="connsiteX44" fmla="*/ 6594245 w 12196146"/>
                <a:gd name="connsiteY44" fmla="*/ 2055834 h 15946069"/>
                <a:gd name="connsiteX45" fmla="*/ 6431470 w 12196146"/>
                <a:gd name="connsiteY45" fmla="*/ 1314295 h 15946069"/>
                <a:gd name="connsiteX46" fmla="*/ 5642908 w 12196146"/>
                <a:gd name="connsiteY46" fmla="*/ 1343233 h 15946069"/>
                <a:gd name="connsiteX47" fmla="*/ 5150959 w 12196146"/>
                <a:gd name="connsiteY47" fmla="*/ 1610907 h 15946069"/>
                <a:gd name="connsiteX48" fmla="*/ 5480133 w 12196146"/>
                <a:gd name="connsiteY48" fmla="*/ 2167963 h 15946069"/>
                <a:gd name="connsiteX49" fmla="*/ 4742216 w 12196146"/>
                <a:gd name="connsiteY49" fmla="*/ 2862495 h 15946069"/>
                <a:gd name="connsiteX50" fmla="*/ 2658667 w 12196146"/>
                <a:gd name="connsiteY50" fmla="*/ 0 h 15946069"/>
                <a:gd name="connsiteX51" fmla="*/ 2658682 w 12196146"/>
                <a:gd name="connsiteY51" fmla="*/ 1018890 h 15946069"/>
                <a:gd name="connsiteX52" fmla="*/ 1850829 w 12196146"/>
                <a:gd name="connsiteY52" fmla="*/ 1730283 h 15946069"/>
                <a:gd name="connsiteX53" fmla="*/ 1404694 w 12196146"/>
                <a:gd name="connsiteY53" fmla="*/ 2272862 h 15946069"/>
                <a:gd name="connsiteX54" fmla="*/ 2351216 w 12196146"/>
                <a:gd name="connsiteY54" fmla="*/ 3388182 h 15946069"/>
                <a:gd name="connsiteX55" fmla="*/ 2658682 w 12196146"/>
                <a:gd name="connsiteY55" fmla="*/ 4286458 h 15946069"/>
                <a:gd name="connsiteX56" fmla="*/ 1935228 w 12196146"/>
                <a:gd name="connsiteY56" fmla="*/ 5220918 h 15946069"/>
                <a:gd name="connsiteX57" fmla="*/ 875281 w 12196146"/>
                <a:gd name="connsiteY57" fmla="*/ 5166646 h 15946069"/>
                <a:gd name="connsiteX58" fmla="*/ 0 w 12196146"/>
                <a:gd name="connsiteY58" fmla="*/ 5890112 h 15946069"/>
                <a:gd name="connsiteX59" fmla="*/ 72345 w 12196146"/>
                <a:gd name="connsiteY59" fmla="*/ 6921032 h 15946069"/>
                <a:gd name="connsiteX60" fmla="*/ 477776 w 12196146"/>
                <a:gd name="connsiteY60" fmla="*/ 7436569 h 15946069"/>
                <a:gd name="connsiteX0" fmla="*/ 477776 w 12149688"/>
                <a:gd name="connsiteY0" fmla="*/ 7436569 h 15946069"/>
                <a:gd name="connsiteX1" fmla="*/ 271294 w 12149688"/>
                <a:gd name="connsiteY1" fmla="*/ 8060457 h 15946069"/>
                <a:gd name="connsiteX2" fmla="*/ 379812 w 12149688"/>
                <a:gd name="connsiteY2" fmla="*/ 8675382 h 15946069"/>
                <a:gd name="connsiteX3" fmla="*/ 759624 w 12149688"/>
                <a:gd name="connsiteY3" fmla="*/ 9217969 h 15946069"/>
                <a:gd name="connsiteX4" fmla="*/ 687278 w 12149688"/>
                <a:gd name="connsiteY4" fmla="*/ 9670126 h 15946069"/>
                <a:gd name="connsiteX5" fmla="*/ 144687 w 12149688"/>
                <a:gd name="connsiteY5" fmla="*/ 9941420 h 15946069"/>
                <a:gd name="connsiteX6" fmla="*/ 343643 w 12149688"/>
                <a:gd name="connsiteY6" fmla="*/ 10592536 h 15946069"/>
                <a:gd name="connsiteX7" fmla="*/ 940487 w 12149688"/>
                <a:gd name="connsiteY7" fmla="*/ 10954252 h 15946069"/>
                <a:gd name="connsiteX8" fmla="*/ 596844 w 12149688"/>
                <a:gd name="connsiteY8" fmla="*/ 11786221 h 15946069"/>
                <a:gd name="connsiteX9" fmla="*/ 633017 w 12149688"/>
                <a:gd name="connsiteY9" fmla="*/ 12780969 h 15946069"/>
                <a:gd name="connsiteX10" fmla="*/ 198944 w 12149688"/>
                <a:gd name="connsiteY10" fmla="*/ 13341645 h 15946069"/>
                <a:gd name="connsiteX11" fmla="*/ 723451 w 12149688"/>
                <a:gd name="connsiteY11" fmla="*/ 13757629 h 15946069"/>
                <a:gd name="connsiteX12" fmla="*/ 1640036 w 12149688"/>
                <a:gd name="connsiteY12" fmla="*/ 13197151 h 15946069"/>
                <a:gd name="connsiteX13" fmla="*/ 1880971 w 12149688"/>
                <a:gd name="connsiteY13" fmla="*/ 13395906 h 15946069"/>
                <a:gd name="connsiteX14" fmla="*/ 2930086 w 12149688"/>
                <a:gd name="connsiteY14" fmla="*/ 12952832 h 15946069"/>
                <a:gd name="connsiteX15" fmla="*/ 3828256 w 12149688"/>
                <a:gd name="connsiteY15" fmla="*/ 13245188 h 15946069"/>
                <a:gd name="connsiteX16" fmla="*/ 4768739 w 12149688"/>
                <a:gd name="connsiteY16" fmla="*/ 13040205 h 15946069"/>
                <a:gd name="connsiteX17" fmla="*/ 5190751 w 12149688"/>
                <a:gd name="connsiteY17" fmla="*/ 13649115 h 15946069"/>
                <a:gd name="connsiteX18" fmla="*/ 5932290 w 12149688"/>
                <a:gd name="connsiteY18" fmla="*/ 13444132 h 15946069"/>
                <a:gd name="connsiteX19" fmla="*/ 6498992 w 12149688"/>
                <a:gd name="connsiteY19" fmla="*/ 12991975 h 15946069"/>
                <a:gd name="connsiteX20" fmla="*/ 7373161 w 12149688"/>
                <a:gd name="connsiteY20" fmla="*/ 13582800 h 15946069"/>
                <a:gd name="connsiteX21" fmla="*/ 8512588 w 12149688"/>
                <a:gd name="connsiteY21" fmla="*/ 13570738 h 15946069"/>
                <a:gd name="connsiteX22" fmla="*/ 9742454 w 12149688"/>
                <a:gd name="connsiteY22" fmla="*/ 14004811 h 15946069"/>
                <a:gd name="connsiteX23" fmla="*/ 10616683 w 12149688"/>
                <a:gd name="connsiteY23" fmla="*/ 15358294 h 15946069"/>
                <a:gd name="connsiteX24" fmla="*/ 11117010 w 12149688"/>
                <a:gd name="connsiteY24" fmla="*/ 15946069 h 15946069"/>
                <a:gd name="connsiteX25" fmla="*/ 11780218 w 12149688"/>
                <a:gd name="connsiteY25" fmla="*/ 13579811 h 15946069"/>
                <a:gd name="connsiteX26" fmla="*/ 8823707 w 12149688"/>
                <a:gd name="connsiteY26" fmla="*/ 11436049 h 15946069"/>
                <a:gd name="connsiteX27" fmla="*/ 11899987 w 12149688"/>
                <a:gd name="connsiteY27" fmla="*/ 10752355 h 15946069"/>
                <a:gd name="connsiteX28" fmla="*/ 11893530 w 12149688"/>
                <a:gd name="connsiteY28" fmla="*/ 10283919 h 15946069"/>
                <a:gd name="connsiteX29" fmla="*/ 11533930 w 12149688"/>
                <a:gd name="connsiteY29" fmla="*/ 9393151 h 15946069"/>
                <a:gd name="connsiteX30" fmla="*/ 11668657 w 12149688"/>
                <a:gd name="connsiteY30" fmla="*/ 8754316 h 15946069"/>
                <a:gd name="connsiteX31" fmla="*/ 12149687 w 12149688"/>
                <a:gd name="connsiteY31" fmla="*/ 8101619 h 15946069"/>
                <a:gd name="connsiteX32" fmla="*/ 11118705 w 12149688"/>
                <a:gd name="connsiteY32" fmla="*/ 7156845 h 15946069"/>
                <a:gd name="connsiteX33" fmla="*/ 10425568 w 12149688"/>
                <a:gd name="connsiteY33" fmla="*/ 7223642 h 15946069"/>
                <a:gd name="connsiteX34" fmla="*/ 10709437 w 12149688"/>
                <a:gd name="connsiteY34" fmla="*/ 6730245 h 15946069"/>
                <a:gd name="connsiteX35" fmla="*/ 10017677 w 12149688"/>
                <a:gd name="connsiteY35" fmla="*/ 5883475 h 15946069"/>
                <a:gd name="connsiteX36" fmla="*/ 9318595 w 12149688"/>
                <a:gd name="connsiteY36" fmla="*/ 5859197 h 15946069"/>
                <a:gd name="connsiteX37" fmla="*/ 9215073 w 12149688"/>
                <a:gd name="connsiteY37" fmla="*/ 5387392 h 15946069"/>
                <a:gd name="connsiteX38" fmla="*/ 8600211 w 12149688"/>
                <a:gd name="connsiteY38" fmla="*/ 5564744 h 15946069"/>
                <a:gd name="connsiteX39" fmla="*/ 8412926 w 12149688"/>
                <a:gd name="connsiteY39" fmla="*/ 4835463 h 15946069"/>
                <a:gd name="connsiteX40" fmla="*/ 7744624 w 12149688"/>
                <a:gd name="connsiteY40" fmla="*/ 4382387 h 15946069"/>
                <a:gd name="connsiteX41" fmla="*/ 8112983 w 12149688"/>
                <a:gd name="connsiteY41" fmla="*/ 3770361 h 15946069"/>
                <a:gd name="connsiteX42" fmla="*/ 7637793 w 12149688"/>
                <a:gd name="connsiteY42" fmla="*/ 2526072 h 15946069"/>
                <a:gd name="connsiteX43" fmla="*/ 7264687 w 12149688"/>
                <a:gd name="connsiteY43" fmla="*/ 2131091 h 15946069"/>
                <a:gd name="connsiteX44" fmla="*/ 6594245 w 12149688"/>
                <a:gd name="connsiteY44" fmla="*/ 2055834 h 15946069"/>
                <a:gd name="connsiteX45" fmla="*/ 6431470 w 12149688"/>
                <a:gd name="connsiteY45" fmla="*/ 1314295 h 15946069"/>
                <a:gd name="connsiteX46" fmla="*/ 5642908 w 12149688"/>
                <a:gd name="connsiteY46" fmla="*/ 1343233 h 15946069"/>
                <a:gd name="connsiteX47" fmla="*/ 5150959 w 12149688"/>
                <a:gd name="connsiteY47" fmla="*/ 1610907 h 15946069"/>
                <a:gd name="connsiteX48" fmla="*/ 5480133 w 12149688"/>
                <a:gd name="connsiteY48" fmla="*/ 2167963 h 15946069"/>
                <a:gd name="connsiteX49" fmla="*/ 4742216 w 12149688"/>
                <a:gd name="connsiteY49" fmla="*/ 2862495 h 15946069"/>
                <a:gd name="connsiteX50" fmla="*/ 2658667 w 12149688"/>
                <a:gd name="connsiteY50" fmla="*/ 0 h 15946069"/>
                <a:gd name="connsiteX51" fmla="*/ 2658682 w 12149688"/>
                <a:gd name="connsiteY51" fmla="*/ 1018890 h 15946069"/>
                <a:gd name="connsiteX52" fmla="*/ 1850829 w 12149688"/>
                <a:gd name="connsiteY52" fmla="*/ 1730283 h 15946069"/>
                <a:gd name="connsiteX53" fmla="*/ 1404694 w 12149688"/>
                <a:gd name="connsiteY53" fmla="*/ 2272862 h 15946069"/>
                <a:gd name="connsiteX54" fmla="*/ 2351216 w 12149688"/>
                <a:gd name="connsiteY54" fmla="*/ 3388182 h 15946069"/>
                <a:gd name="connsiteX55" fmla="*/ 2658682 w 12149688"/>
                <a:gd name="connsiteY55" fmla="*/ 4286458 h 15946069"/>
                <a:gd name="connsiteX56" fmla="*/ 1935228 w 12149688"/>
                <a:gd name="connsiteY56" fmla="*/ 5220918 h 15946069"/>
                <a:gd name="connsiteX57" fmla="*/ 875281 w 12149688"/>
                <a:gd name="connsiteY57" fmla="*/ 5166646 h 15946069"/>
                <a:gd name="connsiteX58" fmla="*/ 0 w 12149688"/>
                <a:gd name="connsiteY58" fmla="*/ 5890112 h 15946069"/>
                <a:gd name="connsiteX59" fmla="*/ 72345 w 12149688"/>
                <a:gd name="connsiteY59" fmla="*/ 6921032 h 15946069"/>
                <a:gd name="connsiteX60" fmla="*/ 477776 w 12149688"/>
                <a:gd name="connsiteY60" fmla="*/ 7436569 h 15946069"/>
                <a:gd name="connsiteX0" fmla="*/ 477776 w 12149688"/>
                <a:gd name="connsiteY0" fmla="*/ 7436569 h 15946069"/>
                <a:gd name="connsiteX1" fmla="*/ 271294 w 12149688"/>
                <a:gd name="connsiteY1" fmla="*/ 8060457 h 15946069"/>
                <a:gd name="connsiteX2" fmla="*/ 379812 w 12149688"/>
                <a:gd name="connsiteY2" fmla="*/ 8675382 h 15946069"/>
                <a:gd name="connsiteX3" fmla="*/ 759624 w 12149688"/>
                <a:gd name="connsiteY3" fmla="*/ 9217969 h 15946069"/>
                <a:gd name="connsiteX4" fmla="*/ 687278 w 12149688"/>
                <a:gd name="connsiteY4" fmla="*/ 9670126 h 15946069"/>
                <a:gd name="connsiteX5" fmla="*/ 144687 w 12149688"/>
                <a:gd name="connsiteY5" fmla="*/ 9941420 h 15946069"/>
                <a:gd name="connsiteX6" fmla="*/ 343643 w 12149688"/>
                <a:gd name="connsiteY6" fmla="*/ 10592536 h 15946069"/>
                <a:gd name="connsiteX7" fmla="*/ 940487 w 12149688"/>
                <a:gd name="connsiteY7" fmla="*/ 10954252 h 15946069"/>
                <a:gd name="connsiteX8" fmla="*/ 596844 w 12149688"/>
                <a:gd name="connsiteY8" fmla="*/ 11786221 h 15946069"/>
                <a:gd name="connsiteX9" fmla="*/ 633017 w 12149688"/>
                <a:gd name="connsiteY9" fmla="*/ 12780969 h 15946069"/>
                <a:gd name="connsiteX10" fmla="*/ 198944 w 12149688"/>
                <a:gd name="connsiteY10" fmla="*/ 13341645 h 15946069"/>
                <a:gd name="connsiteX11" fmla="*/ 723451 w 12149688"/>
                <a:gd name="connsiteY11" fmla="*/ 13757629 h 15946069"/>
                <a:gd name="connsiteX12" fmla="*/ 1640036 w 12149688"/>
                <a:gd name="connsiteY12" fmla="*/ 13197151 h 15946069"/>
                <a:gd name="connsiteX13" fmla="*/ 1880971 w 12149688"/>
                <a:gd name="connsiteY13" fmla="*/ 13395906 h 15946069"/>
                <a:gd name="connsiteX14" fmla="*/ 2930086 w 12149688"/>
                <a:gd name="connsiteY14" fmla="*/ 12952832 h 15946069"/>
                <a:gd name="connsiteX15" fmla="*/ 3828256 w 12149688"/>
                <a:gd name="connsiteY15" fmla="*/ 13245188 h 15946069"/>
                <a:gd name="connsiteX16" fmla="*/ 4768739 w 12149688"/>
                <a:gd name="connsiteY16" fmla="*/ 13040205 h 15946069"/>
                <a:gd name="connsiteX17" fmla="*/ 5190751 w 12149688"/>
                <a:gd name="connsiteY17" fmla="*/ 13649115 h 15946069"/>
                <a:gd name="connsiteX18" fmla="*/ 5932290 w 12149688"/>
                <a:gd name="connsiteY18" fmla="*/ 13444132 h 15946069"/>
                <a:gd name="connsiteX19" fmla="*/ 6498992 w 12149688"/>
                <a:gd name="connsiteY19" fmla="*/ 12991975 h 15946069"/>
                <a:gd name="connsiteX20" fmla="*/ 7373161 w 12149688"/>
                <a:gd name="connsiteY20" fmla="*/ 13582800 h 15946069"/>
                <a:gd name="connsiteX21" fmla="*/ 8512588 w 12149688"/>
                <a:gd name="connsiteY21" fmla="*/ 13570738 h 15946069"/>
                <a:gd name="connsiteX22" fmla="*/ 9742454 w 12149688"/>
                <a:gd name="connsiteY22" fmla="*/ 14004811 h 15946069"/>
                <a:gd name="connsiteX23" fmla="*/ 10616683 w 12149688"/>
                <a:gd name="connsiteY23" fmla="*/ 15358294 h 15946069"/>
                <a:gd name="connsiteX24" fmla="*/ 11117010 w 12149688"/>
                <a:gd name="connsiteY24" fmla="*/ 15946069 h 15946069"/>
                <a:gd name="connsiteX25" fmla="*/ 11780218 w 12149688"/>
                <a:gd name="connsiteY25" fmla="*/ 13579811 h 15946069"/>
                <a:gd name="connsiteX26" fmla="*/ 11980885 w 12149688"/>
                <a:gd name="connsiteY26" fmla="*/ 11483773 h 15946069"/>
                <a:gd name="connsiteX27" fmla="*/ 11899987 w 12149688"/>
                <a:gd name="connsiteY27" fmla="*/ 10752355 h 15946069"/>
                <a:gd name="connsiteX28" fmla="*/ 11893530 w 12149688"/>
                <a:gd name="connsiteY28" fmla="*/ 10283919 h 15946069"/>
                <a:gd name="connsiteX29" fmla="*/ 11533930 w 12149688"/>
                <a:gd name="connsiteY29" fmla="*/ 9393151 h 15946069"/>
                <a:gd name="connsiteX30" fmla="*/ 11668657 w 12149688"/>
                <a:gd name="connsiteY30" fmla="*/ 8754316 h 15946069"/>
                <a:gd name="connsiteX31" fmla="*/ 12149687 w 12149688"/>
                <a:gd name="connsiteY31" fmla="*/ 8101619 h 15946069"/>
                <a:gd name="connsiteX32" fmla="*/ 11118705 w 12149688"/>
                <a:gd name="connsiteY32" fmla="*/ 7156845 h 15946069"/>
                <a:gd name="connsiteX33" fmla="*/ 10425568 w 12149688"/>
                <a:gd name="connsiteY33" fmla="*/ 7223642 h 15946069"/>
                <a:gd name="connsiteX34" fmla="*/ 10709437 w 12149688"/>
                <a:gd name="connsiteY34" fmla="*/ 6730245 h 15946069"/>
                <a:gd name="connsiteX35" fmla="*/ 10017677 w 12149688"/>
                <a:gd name="connsiteY35" fmla="*/ 5883475 h 15946069"/>
                <a:gd name="connsiteX36" fmla="*/ 9318595 w 12149688"/>
                <a:gd name="connsiteY36" fmla="*/ 5859197 h 15946069"/>
                <a:gd name="connsiteX37" fmla="*/ 9215073 w 12149688"/>
                <a:gd name="connsiteY37" fmla="*/ 5387392 h 15946069"/>
                <a:gd name="connsiteX38" fmla="*/ 8600211 w 12149688"/>
                <a:gd name="connsiteY38" fmla="*/ 5564744 h 15946069"/>
                <a:gd name="connsiteX39" fmla="*/ 8412926 w 12149688"/>
                <a:gd name="connsiteY39" fmla="*/ 4835463 h 15946069"/>
                <a:gd name="connsiteX40" fmla="*/ 7744624 w 12149688"/>
                <a:gd name="connsiteY40" fmla="*/ 4382387 h 15946069"/>
                <a:gd name="connsiteX41" fmla="*/ 8112983 w 12149688"/>
                <a:gd name="connsiteY41" fmla="*/ 3770361 h 15946069"/>
                <a:gd name="connsiteX42" fmla="*/ 7637793 w 12149688"/>
                <a:gd name="connsiteY42" fmla="*/ 2526072 h 15946069"/>
                <a:gd name="connsiteX43" fmla="*/ 7264687 w 12149688"/>
                <a:gd name="connsiteY43" fmla="*/ 2131091 h 15946069"/>
                <a:gd name="connsiteX44" fmla="*/ 6594245 w 12149688"/>
                <a:gd name="connsiteY44" fmla="*/ 2055834 h 15946069"/>
                <a:gd name="connsiteX45" fmla="*/ 6431470 w 12149688"/>
                <a:gd name="connsiteY45" fmla="*/ 1314295 h 15946069"/>
                <a:gd name="connsiteX46" fmla="*/ 5642908 w 12149688"/>
                <a:gd name="connsiteY46" fmla="*/ 1343233 h 15946069"/>
                <a:gd name="connsiteX47" fmla="*/ 5150959 w 12149688"/>
                <a:gd name="connsiteY47" fmla="*/ 1610907 h 15946069"/>
                <a:gd name="connsiteX48" fmla="*/ 5480133 w 12149688"/>
                <a:gd name="connsiteY48" fmla="*/ 2167963 h 15946069"/>
                <a:gd name="connsiteX49" fmla="*/ 4742216 w 12149688"/>
                <a:gd name="connsiteY49" fmla="*/ 2862495 h 15946069"/>
                <a:gd name="connsiteX50" fmla="*/ 2658667 w 12149688"/>
                <a:gd name="connsiteY50" fmla="*/ 0 h 15946069"/>
                <a:gd name="connsiteX51" fmla="*/ 2658682 w 12149688"/>
                <a:gd name="connsiteY51" fmla="*/ 1018890 h 15946069"/>
                <a:gd name="connsiteX52" fmla="*/ 1850829 w 12149688"/>
                <a:gd name="connsiteY52" fmla="*/ 1730283 h 15946069"/>
                <a:gd name="connsiteX53" fmla="*/ 1404694 w 12149688"/>
                <a:gd name="connsiteY53" fmla="*/ 2272862 h 15946069"/>
                <a:gd name="connsiteX54" fmla="*/ 2351216 w 12149688"/>
                <a:gd name="connsiteY54" fmla="*/ 3388182 h 15946069"/>
                <a:gd name="connsiteX55" fmla="*/ 2658682 w 12149688"/>
                <a:gd name="connsiteY55" fmla="*/ 4286458 h 15946069"/>
                <a:gd name="connsiteX56" fmla="*/ 1935228 w 12149688"/>
                <a:gd name="connsiteY56" fmla="*/ 5220918 h 15946069"/>
                <a:gd name="connsiteX57" fmla="*/ 875281 w 12149688"/>
                <a:gd name="connsiteY57" fmla="*/ 5166646 h 15946069"/>
                <a:gd name="connsiteX58" fmla="*/ 0 w 12149688"/>
                <a:gd name="connsiteY58" fmla="*/ 5890112 h 15946069"/>
                <a:gd name="connsiteX59" fmla="*/ 72345 w 12149688"/>
                <a:gd name="connsiteY59" fmla="*/ 6921032 h 15946069"/>
                <a:gd name="connsiteX60" fmla="*/ 477776 w 12149688"/>
                <a:gd name="connsiteY60" fmla="*/ 7436569 h 15946069"/>
                <a:gd name="connsiteX0" fmla="*/ 477776 w 12149688"/>
                <a:gd name="connsiteY0" fmla="*/ 7436569 h 15946069"/>
                <a:gd name="connsiteX1" fmla="*/ 271294 w 12149688"/>
                <a:gd name="connsiteY1" fmla="*/ 8060457 h 15946069"/>
                <a:gd name="connsiteX2" fmla="*/ 379812 w 12149688"/>
                <a:gd name="connsiteY2" fmla="*/ 8675382 h 15946069"/>
                <a:gd name="connsiteX3" fmla="*/ 759624 w 12149688"/>
                <a:gd name="connsiteY3" fmla="*/ 9217969 h 15946069"/>
                <a:gd name="connsiteX4" fmla="*/ 687278 w 12149688"/>
                <a:gd name="connsiteY4" fmla="*/ 9670126 h 15946069"/>
                <a:gd name="connsiteX5" fmla="*/ 144687 w 12149688"/>
                <a:gd name="connsiteY5" fmla="*/ 9941420 h 15946069"/>
                <a:gd name="connsiteX6" fmla="*/ 343643 w 12149688"/>
                <a:gd name="connsiteY6" fmla="*/ 10592536 h 15946069"/>
                <a:gd name="connsiteX7" fmla="*/ 940487 w 12149688"/>
                <a:gd name="connsiteY7" fmla="*/ 10954252 h 15946069"/>
                <a:gd name="connsiteX8" fmla="*/ 596844 w 12149688"/>
                <a:gd name="connsiteY8" fmla="*/ 11786221 h 15946069"/>
                <a:gd name="connsiteX9" fmla="*/ 633017 w 12149688"/>
                <a:gd name="connsiteY9" fmla="*/ 12780969 h 15946069"/>
                <a:gd name="connsiteX10" fmla="*/ 198944 w 12149688"/>
                <a:gd name="connsiteY10" fmla="*/ 13341645 h 15946069"/>
                <a:gd name="connsiteX11" fmla="*/ 723451 w 12149688"/>
                <a:gd name="connsiteY11" fmla="*/ 13757629 h 15946069"/>
                <a:gd name="connsiteX12" fmla="*/ 1640036 w 12149688"/>
                <a:gd name="connsiteY12" fmla="*/ 13197151 h 15946069"/>
                <a:gd name="connsiteX13" fmla="*/ 1880971 w 12149688"/>
                <a:gd name="connsiteY13" fmla="*/ 13395906 h 15946069"/>
                <a:gd name="connsiteX14" fmla="*/ 2930086 w 12149688"/>
                <a:gd name="connsiteY14" fmla="*/ 12952832 h 15946069"/>
                <a:gd name="connsiteX15" fmla="*/ 3828256 w 12149688"/>
                <a:gd name="connsiteY15" fmla="*/ 13245188 h 15946069"/>
                <a:gd name="connsiteX16" fmla="*/ 4768739 w 12149688"/>
                <a:gd name="connsiteY16" fmla="*/ 13040205 h 15946069"/>
                <a:gd name="connsiteX17" fmla="*/ 5190751 w 12149688"/>
                <a:gd name="connsiteY17" fmla="*/ 13649115 h 15946069"/>
                <a:gd name="connsiteX18" fmla="*/ 5932290 w 12149688"/>
                <a:gd name="connsiteY18" fmla="*/ 13444132 h 15946069"/>
                <a:gd name="connsiteX19" fmla="*/ 6498992 w 12149688"/>
                <a:gd name="connsiteY19" fmla="*/ 12991975 h 15946069"/>
                <a:gd name="connsiteX20" fmla="*/ 7373161 w 12149688"/>
                <a:gd name="connsiteY20" fmla="*/ 13582800 h 15946069"/>
                <a:gd name="connsiteX21" fmla="*/ 8512588 w 12149688"/>
                <a:gd name="connsiteY21" fmla="*/ 13570738 h 15946069"/>
                <a:gd name="connsiteX22" fmla="*/ 9742454 w 12149688"/>
                <a:gd name="connsiteY22" fmla="*/ 14004811 h 15946069"/>
                <a:gd name="connsiteX23" fmla="*/ 10616683 w 12149688"/>
                <a:gd name="connsiteY23" fmla="*/ 15358294 h 15946069"/>
                <a:gd name="connsiteX24" fmla="*/ 11117010 w 12149688"/>
                <a:gd name="connsiteY24" fmla="*/ 15946069 h 15946069"/>
                <a:gd name="connsiteX25" fmla="*/ 11589945 w 12149688"/>
                <a:gd name="connsiteY25" fmla="*/ 15762811 h 15946069"/>
                <a:gd name="connsiteX26" fmla="*/ 11980885 w 12149688"/>
                <a:gd name="connsiteY26" fmla="*/ 11483773 h 15946069"/>
                <a:gd name="connsiteX27" fmla="*/ 11899987 w 12149688"/>
                <a:gd name="connsiteY27" fmla="*/ 10752355 h 15946069"/>
                <a:gd name="connsiteX28" fmla="*/ 11893530 w 12149688"/>
                <a:gd name="connsiteY28" fmla="*/ 10283919 h 15946069"/>
                <a:gd name="connsiteX29" fmla="*/ 11533930 w 12149688"/>
                <a:gd name="connsiteY29" fmla="*/ 9393151 h 15946069"/>
                <a:gd name="connsiteX30" fmla="*/ 11668657 w 12149688"/>
                <a:gd name="connsiteY30" fmla="*/ 8754316 h 15946069"/>
                <a:gd name="connsiteX31" fmla="*/ 12149687 w 12149688"/>
                <a:gd name="connsiteY31" fmla="*/ 8101619 h 15946069"/>
                <a:gd name="connsiteX32" fmla="*/ 11118705 w 12149688"/>
                <a:gd name="connsiteY32" fmla="*/ 7156845 h 15946069"/>
                <a:gd name="connsiteX33" fmla="*/ 10425568 w 12149688"/>
                <a:gd name="connsiteY33" fmla="*/ 7223642 h 15946069"/>
                <a:gd name="connsiteX34" fmla="*/ 10709437 w 12149688"/>
                <a:gd name="connsiteY34" fmla="*/ 6730245 h 15946069"/>
                <a:gd name="connsiteX35" fmla="*/ 10017677 w 12149688"/>
                <a:gd name="connsiteY35" fmla="*/ 5883475 h 15946069"/>
                <a:gd name="connsiteX36" fmla="*/ 9318595 w 12149688"/>
                <a:gd name="connsiteY36" fmla="*/ 5859197 h 15946069"/>
                <a:gd name="connsiteX37" fmla="*/ 9215073 w 12149688"/>
                <a:gd name="connsiteY37" fmla="*/ 5387392 h 15946069"/>
                <a:gd name="connsiteX38" fmla="*/ 8600211 w 12149688"/>
                <a:gd name="connsiteY38" fmla="*/ 5564744 h 15946069"/>
                <a:gd name="connsiteX39" fmla="*/ 8412926 w 12149688"/>
                <a:gd name="connsiteY39" fmla="*/ 4835463 h 15946069"/>
                <a:gd name="connsiteX40" fmla="*/ 7744624 w 12149688"/>
                <a:gd name="connsiteY40" fmla="*/ 4382387 h 15946069"/>
                <a:gd name="connsiteX41" fmla="*/ 8112983 w 12149688"/>
                <a:gd name="connsiteY41" fmla="*/ 3770361 h 15946069"/>
                <a:gd name="connsiteX42" fmla="*/ 7637793 w 12149688"/>
                <a:gd name="connsiteY42" fmla="*/ 2526072 h 15946069"/>
                <a:gd name="connsiteX43" fmla="*/ 7264687 w 12149688"/>
                <a:gd name="connsiteY43" fmla="*/ 2131091 h 15946069"/>
                <a:gd name="connsiteX44" fmla="*/ 6594245 w 12149688"/>
                <a:gd name="connsiteY44" fmla="*/ 2055834 h 15946069"/>
                <a:gd name="connsiteX45" fmla="*/ 6431470 w 12149688"/>
                <a:gd name="connsiteY45" fmla="*/ 1314295 h 15946069"/>
                <a:gd name="connsiteX46" fmla="*/ 5642908 w 12149688"/>
                <a:gd name="connsiteY46" fmla="*/ 1343233 h 15946069"/>
                <a:gd name="connsiteX47" fmla="*/ 5150959 w 12149688"/>
                <a:gd name="connsiteY47" fmla="*/ 1610907 h 15946069"/>
                <a:gd name="connsiteX48" fmla="*/ 5480133 w 12149688"/>
                <a:gd name="connsiteY48" fmla="*/ 2167963 h 15946069"/>
                <a:gd name="connsiteX49" fmla="*/ 4742216 w 12149688"/>
                <a:gd name="connsiteY49" fmla="*/ 2862495 h 15946069"/>
                <a:gd name="connsiteX50" fmla="*/ 2658667 w 12149688"/>
                <a:gd name="connsiteY50" fmla="*/ 0 h 15946069"/>
                <a:gd name="connsiteX51" fmla="*/ 2658682 w 12149688"/>
                <a:gd name="connsiteY51" fmla="*/ 1018890 h 15946069"/>
                <a:gd name="connsiteX52" fmla="*/ 1850829 w 12149688"/>
                <a:gd name="connsiteY52" fmla="*/ 1730283 h 15946069"/>
                <a:gd name="connsiteX53" fmla="*/ 1404694 w 12149688"/>
                <a:gd name="connsiteY53" fmla="*/ 2272862 h 15946069"/>
                <a:gd name="connsiteX54" fmla="*/ 2351216 w 12149688"/>
                <a:gd name="connsiteY54" fmla="*/ 3388182 h 15946069"/>
                <a:gd name="connsiteX55" fmla="*/ 2658682 w 12149688"/>
                <a:gd name="connsiteY55" fmla="*/ 4286458 h 15946069"/>
                <a:gd name="connsiteX56" fmla="*/ 1935228 w 12149688"/>
                <a:gd name="connsiteY56" fmla="*/ 5220918 h 15946069"/>
                <a:gd name="connsiteX57" fmla="*/ 875281 w 12149688"/>
                <a:gd name="connsiteY57" fmla="*/ 5166646 h 15946069"/>
                <a:gd name="connsiteX58" fmla="*/ 0 w 12149688"/>
                <a:gd name="connsiteY58" fmla="*/ 5890112 h 15946069"/>
                <a:gd name="connsiteX59" fmla="*/ 72345 w 12149688"/>
                <a:gd name="connsiteY59" fmla="*/ 6921032 h 15946069"/>
                <a:gd name="connsiteX60" fmla="*/ 477776 w 12149688"/>
                <a:gd name="connsiteY60" fmla="*/ 7436569 h 15946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2149688" h="15946069">
                  <a:moveTo>
                    <a:pt x="477776" y="7436569"/>
                  </a:moveTo>
                  <a:lnTo>
                    <a:pt x="271294" y="8060457"/>
                  </a:lnTo>
                  <a:lnTo>
                    <a:pt x="379812" y="8675382"/>
                  </a:lnTo>
                  <a:lnTo>
                    <a:pt x="759624" y="9217969"/>
                  </a:lnTo>
                  <a:lnTo>
                    <a:pt x="687278" y="9670126"/>
                  </a:lnTo>
                  <a:lnTo>
                    <a:pt x="144687" y="9941420"/>
                  </a:lnTo>
                  <a:lnTo>
                    <a:pt x="343643" y="10592536"/>
                  </a:lnTo>
                  <a:lnTo>
                    <a:pt x="940487" y="10954252"/>
                  </a:lnTo>
                  <a:lnTo>
                    <a:pt x="596844" y="11786221"/>
                  </a:lnTo>
                  <a:lnTo>
                    <a:pt x="633017" y="12780969"/>
                  </a:lnTo>
                  <a:lnTo>
                    <a:pt x="198944" y="13341645"/>
                  </a:lnTo>
                  <a:lnTo>
                    <a:pt x="723451" y="13757629"/>
                  </a:lnTo>
                  <a:lnTo>
                    <a:pt x="1640036" y="13197151"/>
                  </a:lnTo>
                  <a:lnTo>
                    <a:pt x="1880971" y="13395906"/>
                  </a:lnTo>
                  <a:lnTo>
                    <a:pt x="2930086" y="12952832"/>
                  </a:lnTo>
                  <a:lnTo>
                    <a:pt x="3828256" y="13245188"/>
                  </a:lnTo>
                  <a:lnTo>
                    <a:pt x="4768739" y="13040205"/>
                  </a:lnTo>
                  <a:lnTo>
                    <a:pt x="5190751" y="13649115"/>
                  </a:lnTo>
                  <a:lnTo>
                    <a:pt x="5932290" y="13444132"/>
                  </a:lnTo>
                  <a:lnTo>
                    <a:pt x="6498992" y="12991975"/>
                  </a:lnTo>
                  <a:lnTo>
                    <a:pt x="7373161" y="13582800"/>
                  </a:lnTo>
                  <a:lnTo>
                    <a:pt x="8512588" y="13570738"/>
                  </a:lnTo>
                  <a:lnTo>
                    <a:pt x="9742454" y="14004811"/>
                  </a:lnTo>
                  <a:lnTo>
                    <a:pt x="10616683" y="15358294"/>
                  </a:lnTo>
                  <a:lnTo>
                    <a:pt x="11117010" y="15946069"/>
                  </a:lnTo>
                  <a:lnTo>
                    <a:pt x="11589945" y="15762811"/>
                  </a:lnTo>
                  <a:lnTo>
                    <a:pt x="11980885" y="11483773"/>
                  </a:lnTo>
                  <a:lnTo>
                    <a:pt x="11899987" y="10752355"/>
                  </a:lnTo>
                  <a:cubicBezTo>
                    <a:pt x="11897835" y="10596210"/>
                    <a:pt x="11895682" y="10440064"/>
                    <a:pt x="11893530" y="10283919"/>
                  </a:cubicBezTo>
                  <a:lnTo>
                    <a:pt x="11533930" y="9393151"/>
                  </a:lnTo>
                  <a:lnTo>
                    <a:pt x="11668657" y="8754316"/>
                  </a:lnTo>
                  <a:lnTo>
                    <a:pt x="12149687" y="8101619"/>
                  </a:lnTo>
                  <a:lnTo>
                    <a:pt x="11118705" y="7156845"/>
                  </a:lnTo>
                  <a:lnTo>
                    <a:pt x="10425568" y="7223642"/>
                  </a:lnTo>
                  <a:lnTo>
                    <a:pt x="10709437" y="6730245"/>
                  </a:lnTo>
                  <a:lnTo>
                    <a:pt x="10017677" y="5883475"/>
                  </a:lnTo>
                  <a:lnTo>
                    <a:pt x="9318595" y="5859197"/>
                  </a:lnTo>
                  <a:lnTo>
                    <a:pt x="9215073" y="5387392"/>
                  </a:lnTo>
                  <a:lnTo>
                    <a:pt x="8600211" y="5564744"/>
                  </a:lnTo>
                  <a:lnTo>
                    <a:pt x="8412926" y="4835463"/>
                  </a:lnTo>
                  <a:lnTo>
                    <a:pt x="7744624" y="4382387"/>
                  </a:lnTo>
                  <a:lnTo>
                    <a:pt x="8112983" y="3770361"/>
                  </a:lnTo>
                  <a:lnTo>
                    <a:pt x="7637793" y="2526072"/>
                  </a:lnTo>
                  <a:lnTo>
                    <a:pt x="7264687" y="2131091"/>
                  </a:lnTo>
                  <a:lnTo>
                    <a:pt x="6594245" y="2055834"/>
                  </a:lnTo>
                  <a:lnTo>
                    <a:pt x="6431470" y="1314295"/>
                  </a:lnTo>
                  <a:lnTo>
                    <a:pt x="5642908" y="1343233"/>
                  </a:lnTo>
                  <a:lnTo>
                    <a:pt x="5150959" y="1610907"/>
                  </a:lnTo>
                  <a:lnTo>
                    <a:pt x="5480133" y="2167963"/>
                  </a:lnTo>
                  <a:lnTo>
                    <a:pt x="4742216" y="2862495"/>
                  </a:lnTo>
                  <a:lnTo>
                    <a:pt x="2658667" y="0"/>
                  </a:lnTo>
                  <a:lnTo>
                    <a:pt x="2658682" y="1018890"/>
                  </a:lnTo>
                  <a:lnTo>
                    <a:pt x="1850829" y="1730283"/>
                  </a:lnTo>
                  <a:lnTo>
                    <a:pt x="1404694" y="2272862"/>
                  </a:lnTo>
                  <a:lnTo>
                    <a:pt x="2351216" y="3388182"/>
                  </a:lnTo>
                  <a:lnTo>
                    <a:pt x="2658682" y="4286458"/>
                  </a:lnTo>
                  <a:lnTo>
                    <a:pt x="1935228" y="5220918"/>
                  </a:lnTo>
                  <a:lnTo>
                    <a:pt x="875281" y="5166646"/>
                  </a:lnTo>
                  <a:lnTo>
                    <a:pt x="0" y="5890112"/>
                  </a:lnTo>
                  <a:lnTo>
                    <a:pt x="72345" y="6921032"/>
                  </a:lnTo>
                  <a:lnTo>
                    <a:pt x="477776" y="7436569"/>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13" name="任意多边形 114">
              <a:extLst>
                <a:ext uri="{FF2B5EF4-FFF2-40B4-BE49-F238E27FC236}">
                  <a16:creationId xmlns:a16="http://schemas.microsoft.com/office/drawing/2014/main" id="{C8CD7E2D-738D-A53C-5A35-ABB84ECF7695}"/>
                </a:ext>
              </a:extLst>
            </p:cNvPr>
            <p:cNvSpPr>
              <a:spLocks/>
            </p:cNvSpPr>
            <p:nvPr/>
          </p:nvSpPr>
          <p:spPr bwMode="auto">
            <a:xfrm>
              <a:off x="8255970" y="3854122"/>
              <a:ext cx="2381346" cy="1737972"/>
            </a:xfrm>
            <a:custGeom>
              <a:avLst/>
              <a:gdLst>
                <a:gd name="connsiteX0" fmla="*/ 0 w 17157070"/>
                <a:gd name="connsiteY0" fmla="*/ 4521645 h 12886678"/>
                <a:gd name="connsiteX1" fmla="*/ 613837 w 17157070"/>
                <a:gd name="connsiteY1" fmla="*/ 6900003 h 12886678"/>
                <a:gd name="connsiteX2" fmla="*/ 1518338 w 17157070"/>
                <a:gd name="connsiteY2" fmla="*/ 7768153 h 12886678"/>
                <a:gd name="connsiteX3" fmla="*/ 1735898 w 17157070"/>
                <a:gd name="connsiteY3" fmla="*/ 8600077 h 12886678"/>
                <a:gd name="connsiteX4" fmla="*/ 3137400 w 17157070"/>
                <a:gd name="connsiteY4" fmla="*/ 9124637 h 12886678"/>
                <a:gd name="connsiteX5" fmla="*/ 3453963 w 17157070"/>
                <a:gd name="connsiteY5" fmla="*/ 10481128 h 12886678"/>
                <a:gd name="connsiteX6" fmla="*/ 4168520 w 17157070"/>
                <a:gd name="connsiteY6" fmla="*/ 11855697 h 12886678"/>
                <a:gd name="connsiteX7" fmla="*/ 4162343 w 17157070"/>
                <a:gd name="connsiteY7" fmla="*/ 12886678 h 12886678"/>
                <a:gd name="connsiteX8" fmla="*/ 4605215 w 17157070"/>
                <a:gd name="connsiteY8" fmla="*/ 12802514 h 12886678"/>
                <a:gd name="connsiteX9" fmla="*/ 4840336 w 17157070"/>
                <a:gd name="connsiteY9" fmla="*/ 12513132 h 12886678"/>
                <a:gd name="connsiteX10" fmla="*/ 6070201 w 17157070"/>
                <a:gd name="connsiteY10" fmla="*/ 12531224 h 12886678"/>
                <a:gd name="connsiteX11" fmla="*/ 6884082 w 17157070"/>
                <a:gd name="connsiteY11" fmla="*/ 11934372 h 12886678"/>
                <a:gd name="connsiteX12" fmla="*/ 7716051 w 17157070"/>
                <a:gd name="connsiteY12" fmla="*/ 12259931 h 12886678"/>
                <a:gd name="connsiteX13" fmla="*/ 8584189 w 17157070"/>
                <a:gd name="connsiteY13" fmla="*/ 12060979 h 12886678"/>
                <a:gd name="connsiteX14" fmla="*/ 9289552 w 17157070"/>
                <a:gd name="connsiteY14" fmla="*/ 12259931 h 12886678"/>
                <a:gd name="connsiteX15" fmla="*/ 10139605 w 17157070"/>
                <a:gd name="connsiteY15" fmla="*/ 11862031 h 12886678"/>
                <a:gd name="connsiteX16" fmla="*/ 10664108 w 17157070"/>
                <a:gd name="connsiteY16" fmla="*/ 12079067 h 12886678"/>
                <a:gd name="connsiteX17" fmla="*/ 11387555 w 17157070"/>
                <a:gd name="connsiteY17" fmla="*/ 11988637 h 12886678"/>
                <a:gd name="connsiteX18" fmla="*/ 11966315 w 17157070"/>
                <a:gd name="connsiteY18" fmla="*/ 12712092 h 12886678"/>
                <a:gd name="connsiteX19" fmla="*/ 12942975 w 17157070"/>
                <a:gd name="connsiteY19" fmla="*/ 12476963 h 12886678"/>
                <a:gd name="connsiteX20" fmla="*/ 13575992 w 17157070"/>
                <a:gd name="connsiteY20" fmla="*/ 12874863 h 12886678"/>
                <a:gd name="connsiteX21" fmla="*/ 13973888 w 17157070"/>
                <a:gd name="connsiteY21" fmla="*/ 12784430 h 12886678"/>
                <a:gd name="connsiteX22" fmla="*/ 14028146 w 17157070"/>
                <a:gd name="connsiteY22" fmla="*/ 12241839 h 12886678"/>
                <a:gd name="connsiteX23" fmla="*/ 13594073 w 17157070"/>
                <a:gd name="connsiteY23" fmla="*/ 12187582 h 12886678"/>
                <a:gd name="connsiteX24" fmla="*/ 13612161 w 17157070"/>
                <a:gd name="connsiteY24" fmla="*/ 11500303 h 12886678"/>
                <a:gd name="connsiteX25" fmla="*/ 14190925 w 17157070"/>
                <a:gd name="connsiteY25" fmla="*/ 11355616 h 12886678"/>
                <a:gd name="connsiteX26" fmla="*/ 13865366 w 17157070"/>
                <a:gd name="connsiteY26" fmla="*/ 10885371 h 12886678"/>
                <a:gd name="connsiteX27" fmla="*/ 14136664 w 17157070"/>
                <a:gd name="connsiteY27" fmla="*/ 10487475 h 12886678"/>
                <a:gd name="connsiteX28" fmla="*/ 14703435 w 17157070"/>
                <a:gd name="connsiteY28" fmla="*/ 10514571 h 12886678"/>
                <a:gd name="connsiteX29" fmla="*/ 14661163 w 17157070"/>
                <a:gd name="connsiteY29" fmla="*/ 10342787 h 12886678"/>
                <a:gd name="connsiteX30" fmla="*/ 14335608 w 17157070"/>
                <a:gd name="connsiteY30" fmla="*/ 10180012 h 12886678"/>
                <a:gd name="connsiteX31" fmla="*/ 14498387 w 17157070"/>
                <a:gd name="connsiteY31" fmla="*/ 9601248 h 12886678"/>
                <a:gd name="connsiteX32" fmla="*/ 13847278 w 17157070"/>
                <a:gd name="connsiteY32" fmla="*/ 8696934 h 12886678"/>
                <a:gd name="connsiteX33" fmla="*/ 13340864 w 17157070"/>
                <a:gd name="connsiteY33" fmla="*/ 7991571 h 12886678"/>
                <a:gd name="connsiteX34" fmla="*/ 13123831 w 17157070"/>
                <a:gd name="connsiteY34" fmla="*/ 6906393 h 12886678"/>
                <a:gd name="connsiteX35" fmla="*/ 13232349 w 17157070"/>
                <a:gd name="connsiteY35" fmla="*/ 6219119 h 12886678"/>
                <a:gd name="connsiteX36" fmla="*/ 12273778 w 17157070"/>
                <a:gd name="connsiteY36" fmla="*/ 6252280 h 12886678"/>
                <a:gd name="connsiteX37" fmla="*/ 12201432 w 17157070"/>
                <a:gd name="connsiteY37" fmla="*/ 5854380 h 12886678"/>
                <a:gd name="connsiteX38" fmla="*/ 12508887 w 17157070"/>
                <a:gd name="connsiteY38" fmla="*/ 5350985 h 12886678"/>
                <a:gd name="connsiteX39" fmla="*/ 13774933 w 17157070"/>
                <a:gd name="connsiteY39" fmla="*/ 4573269 h 12886678"/>
                <a:gd name="connsiteX40" fmla="*/ 15294184 w 17157070"/>
                <a:gd name="connsiteY40" fmla="*/ 4066854 h 12886678"/>
                <a:gd name="connsiteX41" fmla="*/ 15746333 w 17157070"/>
                <a:gd name="connsiteY41" fmla="*/ 4392409 h 12886678"/>
                <a:gd name="connsiteX42" fmla="*/ 16578306 w 17157070"/>
                <a:gd name="connsiteY42" fmla="*/ 4103027 h 12886678"/>
                <a:gd name="connsiteX43" fmla="*/ 17084732 w 17157070"/>
                <a:gd name="connsiteY43" fmla="*/ 4500935 h 12886678"/>
                <a:gd name="connsiteX44" fmla="*/ 17157070 w 17157070"/>
                <a:gd name="connsiteY44" fmla="*/ 3560444 h 12886678"/>
                <a:gd name="connsiteX45" fmla="*/ 16433615 w 17157070"/>
                <a:gd name="connsiteY45" fmla="*/ 3470014 h 12886678"/>
                <a:gd name="connsiteX46" fmla="*/ 16415865 w 17157070"/>
                <a:gd name="connsiteY46" fmla="*/ 2853862 h 12886678"/>
                <a:gd name="connsiteX47" fmla="*/ 15963191 w 17157070"/>
                <a:gd name="connsiteY47" fmla="*/ 2993318 h 12886678"/>
                <a:gd name="connsiteX48" fmla="*/ 14923009 w 17157070"/>
                <a:gd name="connsiteY48" fmla="*/ 1763435 h 12886678"/>
                <a:gd name="connsiteX49" fmla="*/ 14244644 w 17157070"/>
                <a:gd name="connsiteY49" fmla="*/ 325540 h 12886678"/>
                <a:gd name="connsiteX50" fmla="*/ 13367278 w 17157070"/>
                <a:gd name="connsiteY50" fmla="*/ 614945 h 12886678"/>
                <a:gd name="connsiteX51" fmla="*/ 12218563 w 17157070"/>
                <a:gd name="connsiteY51" fmla="*/ 623988 h 12886678"/>
                <a:gd name="connsiteX52" fmla="*/ 11323109 w 17157070"/>
                <a:gd name="connsiteY52" fmla="*/ 36169 h 12886678"/>
                <a:gd name="connsiteX53" fmla="*/ 10780410 w 17157070"/>
                <a:gd name="connsiteY53" fmla="*/ 488337 h 12886678"/>
                <a:gd name="connsiteX54" fmla="*/ 10038717 w 17157070"/>
                <a:gd name="connsiteY54" fmla="*/ 687288 h 12886678"/>
                <a:gd name="connsiteX55" fmla="*/ 9622651 w 17157070"/>
                <a:gd name="connsiteY55" fmla="*/ 81389 h 12886678"/>
                <a:gd name="connsiteX56" fmla="*/ 8672925 w 17157070"/>
                <a:gd name="connsiteY56" fmla="*/ 280344 h 12886678"/>
                <a:gd name="connsiteX57" fmla="*/ 7759379 w 17157070"/>
                <a:gd name="connsiteY57" fmla="*/ 0 h 12886678"/>
                <a:gd name="connsiteX58" fmla="*/ 6729494 w 17157070"/>
                <a:gd name="connsiteY58" fmla="*/ 443189 h 12886678"/>
                <a:gd name="connsiteX59" fmla="*/ 6493079 w 17157070"/>
                <a:gd name="connsiteY59" fmla="*/ 1012843 h 12886678"/>
                <a:gd name="connsiteX60" fmla="*/ 6710175 w 17157070"/>
                <a:gd name="connsiteY60" fmla="*/ 2161345 h 12886678"/>
                <a:gd name="connsiteX61" fmla="*/ 4141784 w 17157070"/>
                <a:gd name="connsiteY61" fmla="*/ 2086470 h 12886678"/>
                <a:gd name="connsiteX62" fmla="*/ 2314296 w 17157070"/>
                <a:gd name="connsiteY62" fmla="*/ 2369327 h 12886678"/>
                <a:gd name="connsiteX63" fmla="*/ 1334589 w 17157070"/>
                <a:gd name="connsiteY63" fmla="*/ 3174199 h 12886678"/>
                <a:gd name="connsiteX64" fmla="*/ 0 w 17157070"/>
                <a:gd name="connsiteY64" fmla="*/ 4521645 h 12886678"/>
                <a:gd name="connsiteX0" fmla="*/ 0 w 17157070"/>
                <a:gd name="connsiteY0" fmla="*/ 4521645 h 12886678"/>
                <a:gd name="connsiteX1" fmla="*/ 613837 w 17157070"/>
                <a:gd name="connsiteY1" fmla="*/ 6900003 h 12886678"/>
                <a:gd name="connsiteX2" fmla="*/ 1518338 w 17157070"/>
                <a:gd name="connsiteY2" fmla="*/ 7768153 h 12886678"/>
                <a:gd name="connsiteX3" fmla="*/ 1735898 w 17157070"/>
                <a:gd name="connsiteY3" fmla="*/ 8600077 h 12886678"/>
                <a:gd name="connsiteX4" fmla="*/ 3137400 w 17157070"/>
                <a:gd name="connsiteY4" fmla="*/ 9124637 h 12886678"/>
                <a:gd name="connsiteX5" fmla="*/ 3453963 w 17157070"/>
                <a:gd name="connsiteY5" fmla="*/ 10481128 h 12886678"/>
                <a:gd name="connsiteX6" fmla="*/ 4168520 w 17157070"/>
                <a:gd name="connsiteY6" fmla="*/ 11855697 h 12886678"/>
                <a:gd name="connsiteX7" fmla="*/ 4162343 w 17157070"/>
                <a:gd name="connsiteY7" fmla="*/ 12886678 h 12886678"/>
                <a:gd name="connsiteX8" fmla="*/ 4605215 w 17157070"/>
                <a:gd name="connsiteY8" fmla="*/ 12802514 h 12886678"/>
                <a:gd name="connsiteX9" fmla="*/ 4840336 w 17157070"/>
                <a:gd name="connsiteY9" fmla="*/ 12513132 h 12886678"/>
                <a:gd name="connsiteX10" fmla="*/ 6070201 w 17157070"/>
                <a:gd name="connsiteY10" fmla="*/ 12531224 h 12886678"/>
                <a:gd name="connsiteX11" fmla="*/ 6884082 w 17157070"/>
                <a:gd name="connsiteY11" fmla="*/ 11934372 h 12886678"/>
                <a:gd name="connsiteX12" fmla="*/ 7716051 w 17157070"/>
                <a:gd name="connsiteY12" fmla="*/ 12259931 h 12886678"/>
                <a:gd name="connsiteX13" fmla="*/ 8584189 w 17157070"/>
                <a:gd name="connsiteY13" fmla="*/ 12060979 h 12886678"/>
                <a:gd name="connsiteX14" fmla="*/ 9289552 w 17157070"/>
                <a:gd name="connsiteY14" fmla="*/ 12259931 h 12886678"/>
                <a:gd name="connsiteX15" fmla="*/ 10139605 w 17157070"/>
                <a:gd name="connsiteY15" fmla="*/ 11862031 h 12886678"/>
                <a:gd name="connsiteX16" fmla="*/ 10664108 w 17157070"/>
                <a:gd name="connsiteY16" fmla="*/ 12079067 h 12886678"/>
                <a:gd name="connsiteX17" fmla="*/ 11387555 w 17157070"/>
                <a:gd name="connsiteY17" fmla="*/ 11988637 h 12886678"/>
                <a:gd name="connsiteX18" fmla="*/ 11966315 w 17157070"/>
                <a:gd name="connsiteY18" fmla="*/ 12712092 h 12886678"/>
                <a:gd name="connsiteX19" fmla="*/ 12942975 w 17157070"/>
                <a:gd name="connsiteY19" fmla="*/ 12476963 h 12886678"/>
                <a:gd name="connsiteX20" fmla="*/ 13575992 w 17157070"/>
                <a:gd name="connsiteY20" fmla="*/ 12874863 h 12886678"/>
                <a:gd name="connsiteX21" fmla="*/ 13973888 w 17157070"/>
                <a:gd name="connsiteY21" fmla="*/ 12784430 h 12886678"/>
                <a:gd name="connsiteX22" fmla="*/ 14028146 w 17157070"/>
                <a:gd name="connsiteY22" fmla="*/ 12241839 h 12886678"/>
                <a:gd name="connsiteX23" fmla="*/ 13594073 w 17157070"/>
                <a:gd name="connsiteY23" fmla="*/ 12187582 h 12886678"/>
                <a:gd name="connsiteX24" fmla="*/ 13612161 w 17157070"/>
                <a:gd name="connsiteY24" fmla="*/ 11500303 h 12886678"/>
                <a:gd name="connsiteX25" fmla="*/ 14190925 w 17157070"/>
                <a:gd name="connsiteY25" fmla="*/ 11355616 h 12886678"/>
                <a:gd name="connsiteX26" fmla="*/ 13865366 w 17157070"/>
                <a:gd name="connsiteY26" fmla="*/ 10885371 h 12886678"/>
                <a:gd name="connsiteX27" fmla="*/ 14136664 w 17157070"/>
                <a:gd name="connsiteY27" fmla="*/ 10487475 h 12886678"/>
                <a:gd name="connsiteX28" fmla="*/ 14703435 w 17157070"/>
                <a:gd name="connsiteY28" fmla="*/ 10514571 h 12886678"/>
                <a:gd name="connsiteX29" fmla="*/ 14661163 w 17157070"/>
                <a:gd name="connsiteY29" fmla="*/ 10342787 h 12886678"/>
                <a:gd name="connsiteX30" fmla="*/ 14335608 w 17157070"/>
                <a:gd name="connsiteY30" fmla="*/ 10180012 h 12886678"/>
                <a:gd name="connsiteX31" fmla="*/ 14498387 w 17157070"/>
                <a:gd name="connsiteY31" fmla="*/ 9601248 h 12886678"/>
                <a:gd name="connsiteX32" fmla="*/ 13847278 w 17157070"/>
                <a:gd name="connsiteY32" fmla="*/ 8696934 h 12886678"/>
                <a:gd name="connsiteX33" fmla="*/ 13340864 w 17157070"/>
                <a:gd name="connsiteY33" fmla="*/ 7991571 h 12886678"/>
                <a:gd name="connsiteX34" fmla="*/ 13123831 w 17157070"/>
                <a:gd name="connsiteY34" fmla="*/ 6906393 h 12886678"/>
                <a:gd name="connsiteX35" fmla="*/ 13232349 w 17157070"/>
                <a:gd name="connsiteY35" fmla="*/ 6219119 h 12886678"/>
                <a:gd name="connsiteX36" fmla="*/ 12273778 w 17157070"/>
                <a:gd name="connsiteY36" fmla="*/ 6252280 h 12886678"/>
                <a:gd name="connsiteX37" fmla="*/ 12201432 w 17157070"/>
                <a:gd name="connsiteY37" fmla="*/ 5854380 h 12886678"/>
                <a:gd name="connsiteX38" fmla="*/ 12508887 w 17157070"/>
                <a:gd name="connsiteY38" fmla="*/ 5350985 h 12886678"/>
                <a:gd name="connsiteX39" fmla="*/ 13774933 w 17157070"/>
                <a:gd name="connsiteY39" fmla="*/ 4573269 h 12886678"/>
                <a:gd name="connsiteX40" fmla="*/ 15294184 w 17157070"/>
                <a:gd name="connsiteY40" fmla="*/ 4066854 h 12886678"/>
                <a:gd name="connsiteX41" fmla="*/ 15746333 w 17157070"/>
                <a:gd name="connsiteY41" fmla="*/ 4392409 h 12886678"/>
                <a:gd name="connsiteX42" fmla="*/ 16578306 w 17157070"/>
                <a:gd name="connsiteY42" fmla="*/ 4103027 h 12886678"/>
                <a:gd name="connsiteX43" fmla="*/ 17084732 w 17157070"/>
                <a:gd name="connsiteY43" fmla="*/ 4500935 h 12886678"/>
                <a:gd name="connsiteX44" fmla="*/ 17157070 w 17157070"/>
                <a:gd name="connsiteY44" fmla="*/ 3560444 h 12886678"/>
                <a:gd name="connsiteX45" fmla="*/ 16433615 w 17157070"/>
                <a:gd name="connsiteY45" fmla="*/ 3470014 h 12886678"/>
                <a:gd name="connsiteX46" fmla="*/ 16415865 w 17157070"/>
                <a:gd name="connsiteY46" fmla="*/ 2853862 h 12886678"/>
                <a:gd name="connsiteX47" fmla="*/ 15963191 w 17157070"/>
                <a:gd name="connsiteY47" fmla="*/ 2993318 h 12886678"/>
                <a:gd name="connsiteX48" fmla="*/ 14923009 w 17157070"/>
                <a:gd name="connsiteY48" fmla="*/ 1763435 h 12886678"/>
                <a:gd name="connsiteX49" fmla="*/ 14244644 w 17157070"/>
                <a:gd name="connsiteY49" fmla="*/ 325540 h 12886678"/>
                <a:gd name="connsiteX50" fmla="*/ 13367278 w 17157070"/>
                <a:gd name="connsiteY50" fmla="*/ 614945 h 12886678"/>
                <a:gd name="connsiteX51" fmla="*/ 12218563 w 17157070"/>
                <a:gd name="connsiteY51" fmla="*/ 623988 h 12886678"/>
                <a:gd name="connsiteX52" fmla="*/ 11323109 w 17157070"/>
                <a:gd name="connsiteY52" fmla="*/ 36169 h 12886678"/>
                <a:gd name="connsiteX53" fmla="*/ 10780410 w 17157070"/>
                <a:gd name="connsiteY53" fmla="*/ 488337 h 12886678"/>
                <a:gd name="connsiteX54" fmla="*/ 10038717 w 17157070"/>
                <a:gd name="connsiteY54" fmla="*/ 687288 h 12886678"/>
                <a:gd name="connsiteX55" fmla="*/ 9622651 w 17157070"/>
                <a:gd name="connsiteY55" fmla="*/ 81389 h 12886678"/>
                <a:gd name="connsiteX56" fmla="*/ 8672925 w 17157070"/>
                <a:gd name="connsiteY56" fmla="*/ 280344 h 12886678"/>
                <a:gd name="connsiteX57" fmla="*/ 7759379 w 17157070"/>
                <a:gd name="connsiteY57" fmla="*/ 0 h 12886678"/>
                <a:gd name="connsiteX58" fmla="*/ 6729494 w 17157070"/>
                <a:gd name="connsiteY58" fmla="*/ 443189 h 12886678"/>
                <a:gd name="connsiteX59" fmla="*/ 6493079 w 17157070"/>
                <a:gd name="connsiteY59" fmla="*/ 1012843 h 12886678"/>
                <a:gd name="connsiteX60" fmla="*/ 4437471 w 17157070"/>
                <a:gd name="connsiteY60" fmla="*/ 2805824 h 12886678"/>
                <a:gd name="connsiteX61" fmla="*/ 4141784 w 17157070"/>
                <a:gd name="connsiteY61" fmla="*/ 2086470 h 12886678"/>
                <a:gd name="connsiteX62" fmla="*/ 2314296 w 17157070"/>
                <a:gd name="connsiteY62" fmla="*/ 2369327 h 12886678"/>
                <a:gd name="connsiteX63" fmla="*/ 1334589 w 17157070"/>
                <a:gd name="connsiteY63" fmla="*/ 3174199 h 12886678"/>
                <a:gd name="connsiteX64" fmla="*/ 0 w 17157070"/>
                <a:gd name="connsiteY64" fmla="*/ 4521645 h 12886678"/>
                <a:gd name="connsiteX0" fmla="*/ 0 w 17157070"/>
                <a:gd name="connsiteY0" fmla="*/ 4521645 h 12886678"/>
                <a:gd name="connsiteX1" fmla="*/ 613837 w 17157070"/>
                <a:gd name="connsiteY1" fmla="*/ 6900003 h 12886678"/>
                <a:gd name="connsiteX2" fmla="*/ 1518338 w 17157070"/>
                <a:gd name="connsiteY2" fmla="*/ 7768153 h 12886678"/>
                <a:gd name="connsiteX3" fmla="*/ 1735898 w 17157070"/>
                <a:gd name="connsiteY3" fmla="*/ 8600077 h 12886678"/>
                <a:gd name="connsiteX4" fmla="*/ 3137400 w 17157070"/>
                <a:gd name="connsiteY4" fmla="*/ 9124637 h 12886678"/>
                <a:gd name="connsiteX5" fmla="*/ 3453963 w 17157070"/>
                <a:gd name="connsiteY5" fmla="*/ 10481128 h 12886678"/>
                <a:gd name="connsiteX6" fmla="*/ 4168520 w 17157070"/>
                <a:gd name="connsiteY6" fmla="*/ 11855697 h 12886678"/>
                <a:gd name="connsiteX7" fmla="*/ 4162343 w 17157070"/>
                <a:gd name="connsiteY7" fmla="*/ 12886678 h 12886678"/>
                <a:gd name="connsiteX8" fmla="*/ 4605215 w 17157070"/>
                <a:gd name="connsiteY8" fmla="*/ 12802514 h 12886678"/>
                <a:gd name="connsiteX9" fmla="*/ 4840336 w 17157070"/>
                <a:gd name="connsiteY9" fmla="*/ 12513132 h 12886678"/>
                <a:gd name="connsiteX10" fmla="*/ 6070201 w 17157070"/>
                <a:gd name="connsiteY10" fmla="*/ 12531224 h 12886678"/>
                <a:gd name="connsiteX11" fmla="*/ 6884082 w 17157070"/>
                <a:gd name="connsiteY11" fmla="*/ 11934372 h 12886678"/>
                <a:gd name="connsiteX12" fmla="*/ 7716051 w 17157070"/>
                <a:gd name="connsiteY12" fmla="*/ 12259931 h 12886678"/>
                <a:gd name="connsiteX13" fmla="*/ 8584189 w 17157070"/>
                <a:gd name="connsiteY13" fmla="*/ 12060979 h 12886678"/>
                <a:gd name="connsiteX14" fmla="*/ 9289552 w 17157070"/>
                <a:gd name="connsiteY14" fmla="*/ 12259931 h 12886678"/>
                <a:gd name="connsiteX15" fmla="*/ 10139605 w 17157070"/>
                <a:gd name="connsiteY15" fmla="*/ 11862031 h 12886678"/>
                <a:gd name="connsiteX16" fmla="*/ 10664108 w 17157070"/>
                <a:gd name="connsiteY16" fmla="*/ 12079067 h 12886678"/>
                <a:gd name="connsiteX17" fmla="*/ 11387555 w 17157070"/>
                <a:gd name="connsiteY17" fmla="*/ 11988637 h 12886678"/>
                <a:gd name="connsiteX18" fmla="*/ 11966315 w 17157070"/>
                <a:gd name="connsiteY18" fmla="*/ 12712092 h 12886678"/>
                <a:gd name="connsiteX19" fmla="*/ 12942975 w 17157070"/>
                <a:gd name="connsiteY19" fmla="*/ 12476963 h 12886678"/>
                <a:gd name="connsiteX20" fmla="*/ 13575992 w 17157070"/>
                <a:gd name="connsiteY20" fmla="*/ 12874863 h 12886678"/>
                <a:gd name="connsiteX21" fmla="*/ 13973888 w 17157070"/>
                <a:gd name="connsiteY21" fmla="*/ 12784430 h 12886678"/>
                <a:gd name="connsiteX22" fmla="*/ 14028146 w 17157070"/>
                <a:gd name="connsiteY22" fmla="*/ 12241839 h 12886678"/>
                <a:gd name="connsiteX23" fmla="*/ 13594073 w 17157070"/>
                <a:gd name="connsiteY23" fmla="*/ 12187582 h 12886678"/>
                <a:gd name="connsiteX24" fmla="*/ 13612161 w 17157070"/>
                <a:gd name="connsiteY24" fmla="*/ 11500303 h 12886678"/>
                <a:gd name="connsiteX25" fmla="*/ 14190925 w 17157070"/>
                <a:gd name="connsiteY25" fmla="*/ 11355616 h 12886678"/>
                <a:gd name="connsiteX26" fmla="*/ 13865366 w 17157070"/>
                <a:gd name="connsiteY26" fmla="*/ 10885371 h 12886678"/>
                <a:gd name="connsiteX27" fmla="*/ 14136664 w 17157070"/>
                <a:gd name="connsiteY27" fmla="*/ 10487475 h 12886678"/>
                <a:gd name="connsiteX28" fmla="*/ 14703435 w 17157070"/>
                <a:gd name="connsiteY28" fmla="*/ 10514571 h 12886678"/>
                <a:gd name="connsiteX29" fmla="*/ 14661163 w 17157070"/>
                <a:gd name="connsiteY29" fmla="*/ 10342787 h 12886678"/>
                <a:gd name="connsiteX30" fmla="*/ 14335608 w 17157070"/>
                <a:gd name="connsiteY30" fmla="*/ 10180012 h 12886678"/>
                <a:gd name="connsiteX31" fmla="*/ 14498387 w 17157070"/>
                <a:gd name="connsiteY31" fmla="*/ 9601248 h 12886678"/>
                <a:gd name="connsiteX32" fmla="*/ 13847278 w 17157070"/>
                <a:gd name="connsiteY32" fmla="*/ 8696934 h 12886678"/>
                <a:gd name="connsiteX33" fmla="*/ 13340864 w 17157070"/>
                <a:gd name="connsiteY33" fmla="*/ 7991571 h 12886678"/>
                <a:gd name="connsiteX34" fmla="*/ 13123831 w 17157070"/>
                <a:gd name="connsiteY34" fmla="*/ 6906393 h 12886678"/>
                <a:gd name="connsiteX35" fmla="*/ 13232349 w 17157070"/>
                <a:gd name="connsiteY35" fmla="*/ 6219119 h 12886678"/>
                <a:gd name="connsiteX36" fmla="*/ 12273778 w 17157070"/>
                <a:gd name="connsiteY36" fmla="*/ 6252280 h 12886678"/>
                <a:gd name="connsiteX37" fmla="*/ 12201432 w 17157070"/>
                <a:gd name="connsiteY37" fmla="*/ 5854380 h 12886678"/>
                <a:gd name="connsiteX38" fmla="*/ 12508887 w 17157070"/>
                <a:gd name="connsiteY38" fmla="*/ 5350985 h 12886678"/>
                <a:gd name="connsiteX39" fmla="*/ 13774933 w 17157070"/>
                <a:gd name="connsiteY39" fmla="*/ 4573269 h 12886678"/>
                <a:gd name="connsiteX40" fmla="*/ 15294184 w 17157070"/>
                <a:gd name="connsiteY40" fmla="*/ 4066854 h 12886678"/>
                <a:gd name="connsiteX41" fmla="*/ 15746333 w 17157070"/>
                <a:gd name="connsiteY41" fmla="*/ 4392409 h 12886678"/>
                <a:gd name="connsiteX42" fmla="*/ 16578306 w 17157070"/>
                <a:gd name="connsiteY42" fmla="*/ 4103027 h 12886678"/>
                <a:gd name="connsiteX43" fmla="*/ 17084732 w 17157070"/>
                <a:gd name="connsiteY43" fmla="*/ 4500935 h 12886678"/>
                <a:gd name="connsiteX44" fmla="*/ 17157070 w 17157070"/>
                <a:gd name="connsiteY44" fmla="*/ 3560444 h 12886678"/>
                <a:gd name="connsiteX45" fmla="*/ 16433615 w 17157070"/>
                <a:gd name="connsiteY45" fmla="*/ 3470014 h 12886678"/>
                <a:gd name="connsiteX46" fmla="*/ 16415865 w 17157070"/>
                <a:gd name="connsiteY46" fmla="*/ 2853862 h 12886678"/>
                <a:gd name="connsiteX47" fmla="*/ 15963191 w 17157070"/>
                <a:gd name="connsiteY47" fmla="*/ 2993318 h 12886678"/>
                <a:gd name="connsiteX48" fmla="*/ 14923009 w 17157070"/>
                <a:gd name="connsiteY48" fmla="*/ 1763435 h 12886678"/>
                <a:gd name="connsiteX49" fmla="*/ 14244644 w 17157070"/>
                <a:gd name="connsiteY49" fmla="*/ 325540 h 12886678"/>
                <a:gd name="connsiteX50" fmla="*/ 13367278 w 17157070"/>
                <a:gd name="connsiteY50" fmla="*/ 614945 h 12886678"/>
                <a:gd name="connsiteX51" fmla="*/ 12218563 w 17157070"/>
                <a:gd name="connsiteY51" fmla="*/ 623988 h 12886678"/>
                <a:gd name="connsiteX52" fmla="*/ 11323109 w 17157070"/>
                <a:gd name="connsiteY52" fmla="*/ 36169 h 12886678"/>
                <a:gd name="connsiteX53" fmla="*/ 10780410 w 17157070"/>
                <a:gd name="connsiteY53" fmla="*/ 488337 h 12886678"/>
                <a:gd name="connsiteX54" fmla="*/ 10038717 w 17157070"/>
                <a:gd name="connsiteY54" fmla="*/ 687288 h 12886678"/>
                <a:gd name="connsiteX55" fmla="*/ 9622651 w 17157070"/>
                <a:gd name="connsiteY55" fmla="*/ 81389 h 12886678"/>
                <a:gd name="connsiteX56" fmla="*/ 8672925 w 17157070"/>
                <a:gd name="connsiteY56" fmla="*/ 280344 h 12886678"/>
                <a:gd name="connsiteX57" fmla="*/ 7759379 w 17157070"/>
                <a:gd name="connsiteY57" fmla="*/ 0 h 12886678"/>
                <a:gd name="connsiteX58" fmla="*/ 6729494 w 17157070"/>
                <a:gd name="connsiteY58" fmla="*/ 443189 h 12886678"/>
                <a:gd name="connsiteX59" fmla="*/ 4437471 w 17157070"/>
                <a:gd name="connsiteY59" fmla="*/ 2805824 h 12886678"/>
                <a:gd name="connsiteX60" fmla="*/ 4141784 w 17157070"/>
                <a:gd name="connsiteY60" fmla="*/ 2086470 h 12886678"/>
                <a:gd name="connsiteX61" fmla="*/ 2314296 w 17157070"/>
                <a:gd name="connsiteY61" fmla="*/ 2369327 h 12886678"/>
                <a:gd name="connsiteX62" fmla="*/ 1334589 w 17157070"/>
                <a:gd name="connsiteY62" fmla="*/ 3174199 h 12886678"/>
                <a:gd name="connsiteX63" fmla="*/ 0 w 17157070"/>
                <a:gd name="connsiteY63" fmla="*/ 4521645 h 12886678"/>
                <a:gd name="connsiteX0" fmla="*/ 0 w 17157070"/>
                <a:gd name="connsiteY0" fmla="*/ 4521645 h 12886678"/>
                <a:gd name="connsiteX1" fmla="*/ 613837 w 17157070"/>
                <a:gd name="connsiteY1" fmla="*/ 6900003 h 12886678"/>
                <a:gd name="connsiteX2" fmla="*/ 1518338 w 17157070"/>
                <a:gd name="connsiteY2" fmla="*/ 7768153 h 12886678"/>
                <a:gd name="connsiteX3" fmla="*/ 1735898 w 17157070"/>
                <a:gd name="connsiteY3" fmla="*/ 8600077 h 12886678"/>
                <a:gd name="connsiteX4" fmla="*/ 3137400 w 17157070"/>
                <a:gd name="connsiteY4" fmla="*/ 9124637 h 12886678"/>
                <a:gd name="connsiteX5" fmla="*/ 3453963 w 17157070"/>
                <a:gd name="connsiteY5" fmla="*/ 10481128 h 12886678"/>
                <a:gd name="connsiteX6" fmla="*/ 4168520 w 17157070"/>
                <a:gd name="connsiteY6" fmla="*/ 11855697 h 12886678"/>
                <a:gd name="connsiteX7" fmla="*/ 4162343 w 17157070"/>
                <a:gd name="connsiteY7" fmla="*/ 12886678 h 12886678"/>
                <a:gd name="connsiteX8" fmla="*/ 4605215 w 17157070"/>
                <a:gd name="connsiteY8" fmla="*/ 12802514 h 12886678"/>
                <a:gd name="connsiteX9" fmla="*/ 4840336 w 17157070"/>
                <a:gd name="connsiteY9" fmla="*/ 12513132 h 12886678"/>
                <a:gd name="connsiteX10" fmla="*/ 6070201 w 17157070"/>
                <a:gd name="connsiteY10" fmla="*/ 12531224 h 12886678"/>
                <a:gd name="connsiteX11" fmla="*/ 6884082 w 17157070"/>
                <a:gd name="connsiteY11" fmla="*/ 11934372 h 12886678"/>
                <a:gd name="connsiteX12" fmla="*/ 7716051 w 17157070"/>
                <a:gd name="connsiteY12" fmla="*/ 12259931 h 12886678"/>
                <a:gd name="connsiteX13" fmla="*/ 8584189 w 17157070"/>
                <a:gd name="connsiteY13" fmla="*/ 12060979 h 12886678"/>
                <a:gd name="connsiteX14" fmla="*/ 9289552 w 17157070"/>
                <a:gd name="connsiteY14" fmla="*/ 12259931 h 12886678"/>
                <a:gd name="connsiteX15" fmla="*/ 10139605 w 17157070"/>
                <a:gd name="connsiteY15" fmla="*/ 11862031 h 12886678"/>
                <a:gd name="connsiteX16" fmla="*/ 10664108 w 17157070"/>
                <a:gd name="connsiteY16" fmla="*/ 12079067 h 12886678"/>
                <a:gd name="connsiteX17" fmla="*/ 11387555 w 17157070"/>
                <a:gd name="connsiteY17" fmla="*/ 11988637 h 12886678"/>
                <a:gd name="connsiteX18" fmla="*/ 11966315 w 17157070"/>
                <a:gd name="connsiteY18" fmla="*/ 12712092 h 12886678"/>
                <a:gd name="connsiteX19" fmla="*/ 12942975 w 17157070"/>
                <a:gd name="connsiteY19" fmla="*/ 12476963 h 12886678"/>
                <a:gd name="connsiteX20" fmla="*/ 13575992 w 17157070"/>
                <a:gd name="connsiteY20" fmla="*/ 12874863 h 12886678"/>
                <a:gd name="connsiteX21" fmla="*/ 13973888 w 17157070"/>
                <a:gd name="connsiteY21" fmla="*/ 12784430 h 12886678"/>
                <a:gd name="connsiteX22" fmla="*/ 14028146 w 17157070"/>
                <a:gd name="connsiteY22" fmla="*/ 12241839 h 12886678"/>
                <a:gd name="connsiteX23" fmla="*/ 13594073 w 17157070"/>
                <a:gd name="connsiteY23" fmla="*/ 12187582 h 12886678"/>
                <a:gd name="connsiteX24" fmla="*/ 13612161 w 17157070"/>
                <a:gd name="connsiteY24" fmla="*/ 11500303 h 12886678"/>
                <a:gd name="connsiteX25" fmla="*/ 14190925 w 17157070"/>
                <a:gd name="connsiteY25" fmla="*/ 11355616 h 12886678"/>
                <a:gd name="connsiteX26" fmla="*/ 13865366 w 17157070"/>
                <a:gd name="connsiteY26" fmla="*/ 10885371 h 12886678"/>
                <a:gd name="connsiteX27" fmla="*/ 14136664 w 17157070"/>
                <a:gd name="connsiteY27" fmla="*/ 10487475 h 12886678"/>
                <a:gd name="connsiteX28" fmla="*/ 14703435 w 17157070"/>
                <a:gd name="connsiteY28" fmla="*/ 10514571 h 12886678"/>
                <a:gd name="connsiteX29" fmla="*/ 14661163 w 17157070"/>
                <a:gd name="connsiteY29" fmla="*/ 10342787 h 12886678"/>
                <a:gd name="connsiteX30" fmla="*/ 14335608 w 17157070"/>
                <a:gd name="connsiteY30" fmla="*/ 10180012 h 12886678"/>
                <a:gd name="connsiteX31" fmla="*/ 14498387 w 17157070"/>
                <a:gd name="connsiteY31" fmla="*/ 9601248 h 12886678"/>
                <a:gd name="connsiteX32" fmla="*/ 13847278 w 17157070"/>
                <a:gd name="connsiteY32" fmla="*/ 8696934 h 12886678"/>
                <a:gd name="connsiteX33" fmla="*/ 13340864 w 17157070"/>
                <a:gd name="connsiteY33" fmla="*/ 7991571 h 12886678"/>
                <a:gd name="connsiteX34" fmla="*/ 13123831 w 17157070"/>
                <a:gd name="connsiteY34" fmla="*/ 6906393 h 12886678"/>
                <a:gd name="connsiteX35" fmla="*/ 13232349 w 17157070"/>
                <a:gd name="connsiteY35" fmla="*/ 6219119 h 12886678"/>
                <a:gd name="connsiteX36" fmla="*/ 12273778 w 17157070"/>
                <a:gd name="connsiteY36" fmla="*/ 6252280 h 12886678"/>
                <a:gd name="connsiteX37" fmla="*/ 12201432 w 17157070"/>
                <a:gd name="connsiteY37" fmla="*/ 5854380 h 12886678"/>
                <a:gd name="connsiteX38" fmla="*/ 12508887 w 17157070"/>
                <a:gd name="connsiteY38" fmla="*/ 5350985 h 12886678"/>
                <a:gd name="connsiteX39" fmla="*/ 13774933 w 17157070"/>
                <a:gd name="connsiteY39" fmla="*/ 4573269 h 12886678"/>
                <a:gd name="connsiteX40" fmla="*/ 15294184 w 17157070"/>
                <a:gd name="connsiteY40" fmla="*/ 4066854 h 12886678"/>
                <a:gd name="connsiteX41" fmla="*/ 15746333 w 17157070"/>
                <a:gd name="connsiteY41" fmla="*/ 4392409 h 12886678"/>
                <a:gd name="connsiteX42" fmla="*/ 16578306 w 17157070"/>
                <a:gd name="connsiteY42" fmla="*/ 4103027 h 12886678"/>
                <a:gd name="connsiteX43" fmla="*/ 17084732 w 17157070"/>
                <a:gd name="connsiteY43" fmla="*/ 4500935 h 12886678"/>
                <a:gd name="connsiteX44" fmla="*/ 17157070 w 17157070"/>
                <a:gd name="connsiteY44" fmla="*/ 3560444 h 12886678"/>
                <a:gd name="connsiteX45" fmla="*/ 16433615 w 17157070"/>
                <a:gd name="connsiteY45" fmla="*/ 3470014 h 12886678"/>
                <a:gd name="connsiteX46" fmla="*/ 16415865 w 17157070"/>
                <a:gd name="connsiteY46" fmla="*/ 2853862 h 12886678"/>
                <a:gd name="connsiteX47" fmla="*/ 15963191 w 17157070"/>
                <a:gd name="connsiteY47" fmla="*/ 2993318 h 12886678"/>
                <a:gd name="connsiteX48" fmla="*/ 14923009 w 17157070"/>
                <a:gd name="connsiteY48" fmla="*/ 1763435 h 12886678"/>
                <a:gd name="connsiteX49" fmla="*/ 14244644 w 17157070"/>
                <a:gd name="connsiteY49" fmla="*/ 325540 h 12886678"/>
                <a:gd name="connsiteX50" fmla="*/ 13367278 w 17157070"/>
                <a:gd name="connsiteY50" fmla="*/ 614945 h 12886678"/>
                <a:gd name="connsiteX51" fmla="*/ 12218563 w 17157070"/>
                <a:gd name="connsiteY51" fmla="*/ 623988 h 12886678"/>
                <a:gd name="connsiteX52" fmla="*/ 11323109 w 17157070"/>
                <a:gd name="connsiteY52" fmla="*/ 36169 h 12886678"/>
                <a:gd name="connsiteX53" fmla="*/ 10780410 w 17157070"/>
                <a:gd name="connsiteY53" fmla="*/ 488337 h 12886678"/>
                <a:gd name="connsiteX54" fmla="*/ 10038717 w 17157070"/>
                <a:gd name="connsiteY54" fmla="*/ 687288 h 12886678"/>
                <a:gd name="connsiteX55" fmla="*/ 9622651 w 17157070"/>
                <a:gd name="connsiteY55" fmla="*/ 81389 h 12886678"/>
                <a:gd name="connsiteX56" fmla="*/ 8672925 w 17157070"/>
                <a:gd name="connsiteY56" fmla="*/ 280344 h 12886678"/>
                <a:gd name="connsiteX57" fmla="*/ 7759379 w 17157070"/>
                <a:gd name="connsiteY57" fmla="*/ 0 h 12886678"/>
                <a:gd name="connsiteX58" fmla="*/ 4432864 w 17157070"/>
                <a:gd name="connsiteY58" fmla="*/ 3474612 h 12886678"/>
                <a:gd name="connsiteX59" fmla="*/ 4437471 w 17157070"/>
                <a:gd name="connsiteY59" fmla="*/ 2805824 h 12886678"/>
                <a:gd name="connsiteX60" fmla="*/ 4141784 w 17157070"/>
                <a:gd name="connsiteY60" fmla="*/ 2086470 h 12886678"/>
                <a:gd name="connsiteX61" fmla="*/ 2314296 w 17157070"/>
                <a:gd name="connsiteY61" fmla="*/ 2369327 h 12886678"/>
                <a:gd name="connsiteX62" fmla="*/ 1334589 w 17157070"/>
                <a:gd name="connsiteY62" fmla="*/ 3174199 h 12886678"/>
                <a:gd name="connsiteX63" fmla="*/ 0 w 17157070"/>
                <a:gd name="connsiteY63" fmla="*/ 4521645 h 12886678"/>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10780410 w 17157070"/>
                <a:gd name="connsiteY53" fmla="*/ 452168 h 12850509"/>
                <a:gd name="connsiteX54" fmla="*/ 10038717 w 17157070"/>
                <a:gd name="connsiteY54" fmla="*/ 651119 h 12850509"/>
                <a:gd name="connsiteX55" fmla="*/ 9622651 w 17157070"/>
                <a:gd name="connsiteY55" fmla="*/ 45220 h 12850509"/>
                <a:gd name="connsiteX56" fmla="*/ 8672925 w 17157070"/>
                <a:gd name="connsiteY56" fmla="*/ 244175 h 12850509"/>
                <a:gd name="connsiteX57" fmla="*/ 4432864 w 17157070"/>
                <a:gd name="connsiteY57" fmla="*/ 3438443 h 12850509"/>
                <a:gd name="connsiteX58" fmla="*/ 4437471 w 17157070"/>
                <a:gd name="connsiteY58" fmla="*/ 2769655 h 12850509"/>
                <a:gd name="connsiteX59" fmla="*/ 4141784 w 17157070"/>
                <a:gd name="connsiteY59" fmla="*/ 2050301 h 12850509"/>
                <a:gd name="connsiteX60" fmla="*/ 2314296 w 17157070"/>
                <a:gd name="connsiteY60" fmla="*/ 2333158 h 12850509"/>
                <a:gd name="connsiteX61" fmla="*/ 1334589 w 17157070"/>
                <a:gd name="connsiteY61" fmla="*/ 3138030 h 12850509"/>
                <a:gd name="connsiteX62" fmla="*/ 0 w 17157070"/>
                <a:gd name="connsiteY62" fmla="*/ 4485476 h 12850509"/>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10780410 w 17157070"/>
                <a:gd name="connsiteY53" fmla="*/ 452168 h 12850509"/>
                <a:gd name="connsiteX54" fmla="*/ 10038717 w 17157070"/>
                <a:gd name="connsiteY54" fmla="*/ 651119 h 12850509"/>
                <a:gd name="connsiteX55" fmla="*/ 9622651 w 17157070"/>
                <a:gd name="connsiteY55" fmla="*/ 45220 h 12850509"/>
                <a:gd name="connsiteX56" fmla="*/ 4653822 w 17157070"/>
                <a:gd name="connsiteY56" fmla="*/ 3991678 h 12850509"/>
                <a:gd name="connsiteX57" fmla="*/ 4432864 w 17157070"/>
                <a:gd name="connsiteY57" fmla="*/ 3438443 h 12850509"/>
                <a:gd name="connsiteX58" fmla="*/ 4437471 w 17157070"/>
                <a:gd name="connsiteY58" fmla="*/ 2769655 h 12850509"/>
                <a:gd name="connsiteX59" fmla="*/ 4141784 w 17157070"/>
                <a:gd name="connsiteY59" fmla="*/ 2050301 h 12850509"/>
                <a:gd name="connsiteX60" fmla="*/ 2314296 w 17157070"/>
                <a:gd name="connsiteY60" fmla="*/ 2333158 h 12850509"/>
                <a:gd name="connsiteX61" fmla="*/ 1334589 w 17157070"/>
                <a:gd name="connsiteY61" fmla="*/ 3138030 h 12850509"/>
                <a:gd name="connsiteX62" fmla="*/ 0 w 17157070"/>
                <a:gd name="connsiteY62" fmla="*/ 4485476 h 12850509"/>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10780410 w 17157070"/>
                <a:gd name="connsiteY53" fmla="*/ 452168 h 12850509"/>
                <a:gd name="connsiteX54" fmla="*/ 10038717 w 17157070"/>
                <a:gd name="connsiteY54" fmla="*/ 651119 h 12850509"/>
                <a:gd name="connsiteX55" fmla="*/ 4653822 w 17157070"/>
                <a:gd name="connsiteY55" fmla="*/ 3991678 h 12850509"/>
                <a:gd name="connsiteX56" fmla="*/ 4432864 w 17157070"/>
                <a:gd name="connsiteY56" fmla="*/ 3438443 h 12850509"/>
                <a:gd name="connsiteX57" fmla="*/ 4437471 w 17157070"/>
                <a:gd name="connsiteY57" fmla="*/ 2769655 h 12850509"/>
                <a:gd name="connsiteX58" fmla="*/ 4141784 w 17157070"/>
                <a:gd name="connsiteY58" fmla="*/ 2050301 h 12850509"/>
                <a:gd name="connsiteX59" fmla="*/ 2314296 w 17157070"/>
                <a:gd name="connsiteY59" fmla="*/ 2333158 h 12850509"/>
                <a:gd name="connsiteX60" fmla="*/ 1334589 w 17157070"/>
                <a:gd name="connsiteY60" fmla="*/ 3138030 h 12850509"/>
                <a:gd name="connsiteX61" fmla="*/ 0 w 17157070"/>
                <a:gd name="connsiteY61" fmla="*/ 4485476 h 12850509"/>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10780410 w 17157070"/>
                <a:gd name="connsiteY53" fmla="*/ 452168 h 12850509"/>
                <a:gd name="connsiteX54" fmla="*/ 4416749 w 17157070"/>
                <a:gd name="connsiteY54" fmla="*/ 4541845 h 12850509"/>
                <a:gd name="connsiteX55" fmla="*/ 4653822 w 17157070"/>
                <a:gd name="connsiteY55" fmla="*/ 3991678 h 12850509"/>
                <a:gd name="connsiteX56" fmla="*/ 4432864 w 17157070"/>
                <a:gd name="connsiteY56" fmla="*/ 3438443 h 12850509"/>
                <a:gd name="connsiteX57" fmla="*/ 4437471 w 17157070"/>
                <a:gd name="connsiteY57" fmla="*/ 2769655 h 12850509"/>
                <a:gd name="connsiteX58" fmla="*/ 4141784 w 17157070"/>
                <a:gd name="connsiteY58" fmla="*/ 2050301 h 12850509"/>
                <a:gd name="connsiteX59" fmla="*/ 2314296 w 17157070"/>
                <a:gd name="connsiteY59" fmla="*/ 2333158 h 12850509"/>
                <a:gd name="connsiteX60" fmla="*/ 1334589 w 17157070"/>
                <a:gd name="connsiteY60" fmla="*/ 3138030 h 12850509"/>
                <a:gd name="connsiteX61" fmla="*/ 0 w 17157070"/>
                <a:gd name="connsiteY61" fmla="*/ 4485476 h 12850509"/>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4416749 w 17157070"/>
                <a:gd name="connsiteY53" fmla="*/ 4541845 h 12850509"/>
                <a:gd name="connsiteX54" fmla="*/ 4653822 w 17157070"/>
                <a:gd name="connsiteY54" fmla="*/ 3991678 h 12850509"/>
                <a:gd name="connsiteX55" fmla="*/ 4432864 w 17157070"/>
                <a:gd name="connsiteY55" fmla="*/ 3438443 h 12850509"/>
                <a:gd name="connsiteX56" fmla="*/ 4437471 w 17157070"/>
                <a:gd name="connsiteY56" fmla="*/ 2769655 h 12850509"/>
                <a:gd name="connsiteX57" fmla="*/ 4141784 w 17157070"/>
                <a:gd name="connsiteY57" fmla="*/ 2050301 h 12850509"/>
                <a:gd name="connsiteX58" fmla="*/ 2314296 w 17157070"/>
                <a:gd name="connsiteY58" fmla="*/ 2333158 h 12850509"/>
                <a:gd name="connsiteX59" fmla="*/ 1334589 w 17157070"/>
                <a:gd name="connsiteY59" fmla="*/ 3138030 h 12850509"/>
                <a:gd name="connsiteX60" fmla="*/ 0 w 17157070"/>
                <a:gd name="connsiteY60" fmla="*/ 4485476 h 12850509"/>
                <a:gd name="connsiteX0" fmla="*/ 0 w 17157070"/>
                <a:gd name="connsiteY0" fmla="*/ 4196103 h 12561136"/>
                <a:gd name="connsiteX1" fmla="*/ 613837 w 17157070"/>
                <a:gd name="connsiteY1" fmla="*/ 6574461 h 12561136"/>
                <a:gd name="connsiteX2" fmla="*/ 1518338 w 17157070"/>
                <a:gd name="connsiteY2" fmla="*/ 7442611 h 12561136"/>
                <a:gd name="connsiteX3" fmla="*/ 1735898 w 17157070"/>
                <a:gd name="connsiteY3" fmla="*/ 8274535 h 12561136"/>
                <a:gd name="connsiteX4" fmla="*/ 3137400 w 17157070"/>
                <a:gd name="connsiteY4" fmla="*/ 8799095 h 12561136"/>
                <a:gd name="connsiteX5" fmla="*/ 3453963 w 17157070"/>
                <a:gd name="connsiteY5" fmla="*/ 10155586 h 12561136"/>
                <a:gd name="connsiteX6" fmla="*/ 4168520 w 17157070"/>
                <a:gd name="connsiteY6" fmla="*/ 11530155 h 12561136"/>
                <a:gd name="connsiteX7" fmla="*/ 4162343 w 17157070"/>
                <a:gd name="connsiteY7" fmla="*/ 12561136 h 12561136"/>
                <a:gd name="connsiteX8" fmla="*/ 4605215 w 17157070"/>
                <a:gd name="connsiteY8" fmla="*/ 12476972 h 12561136"/>
                <a:gd name="connsiteX9" fmla="*/ 4840336 w 17157070"/>
                <a:gd name="connsiteY9" fmla="*/ 12187590 h 12561136"/>
                <a:gd name="connsiteX10" fmla="*/ 6070201 w 17157070"/>
                <a:gd name="connsiteY10" fmla="*/ 12205682 h 12561136"/>
                <a:gd name="connsiteX11" fmla="*/ 6884082 w 17157070"/>
                <a:gd name="connsiteY11" fmla="*/ 11608830 h 12561136"/>
                <a:gd name="connsiteX12" fmla="*/ 7716051 w 17157070"/>
                <a:gd name="connsiteY12" fmla="*/ 11934389 h 12561136"/>
                <a:gd name="connsiteX13" fmla="*/ 8584189 w 17157070"/>
                <a:gd name="connsiteY13" fmla="*/ 11735437 h 12561136"/>
                <a:gd name="connsiteX14" fmla="*/ 9289552 w 17157070"/>
                <a:gd name="connsiteY14" fmla="*/ 11934389 h 12561136"/>
                <a:gd name="connsiteX15" fmla="*/ 10139605 w 17157070"/>
                <a:gd name="connsiteY15" fmla="*/ 11536489 h 12561136"/>
                <a:gd name="connsiteX16" fmla="*/ 10664108 w 17157070"/>
                <a:gd name="connsiteY16" fmla="*/ 11753525 h 12561136"/>
                <a:gd name="connsiteX17" fmla="*/ 11387555 w 17157070"/>
                <a:gd name="connsiteY17" fmla="*/ 11663095 h 12561136"/>
                <a:gd name="connsiteX18" fmla="*/ 11966315 w 17157070"/>
                <a:gd name="connsiteY18" fmla="*/ 12386550 h 12561136"/>
                <a:gd name="connsiteX19" fmla="*/ 12942975 w 17157070"/>
                <a:gd name="connsiteY19" fmla="*/ 12151421 h 12561136"/>
                <a:gd name="connsiteX20" fmla="*/ 13575992 w 17157070"/>
                <a:gd name="connsiteY20" fmla="*/ 12549321 h 12561136"/>
                <a:gd name="connsiteX21" fmla="*/ 13973888 w 17157070"/>
                <a:gd name="connsiteY21" fmla="*/ 12458888 h 12561136"/>
                <a:gd name="connsiteX22" fmla="*/ 14028146 w 17157070"/>
                <a:gd name="connsiteY22" fmla="*/ 11916297 h 12561136"/>
                <a:gd name="connsiteX23" fmla="*/ 13594073 w 17157070"/>
                <a:gd name="connsiteY23" fmla="*/ 11862040 h 12561136"/>
                <a:gd name="connsiteX24" fmla="*/ 13612161 w 17157070"/>
                <a:gd name="connsiteY24" fmla="*/ 11174761 h 12561136"/>
                <a:gd name="connsiteX25" fmla="*/ 14190925 w 17157070"/>
                <a:gd name="connsiteY25" fmla="*/ 11030074 h 12561136"/>
                <a:gd name="connsiteX26" fmla="*/ 13865366 w 17157070"/>
                <a:gd name="connsiteY26" fmla="*/ 10559829 h 12561136"/>
                <a:gd name="connsiteX27" fmla="*/ 14136664 w 17157070"/>
                <a:gd name="connsiteY27" fmla="*/ 10161933 h 12561136"/>
                <a:gd name="connsiteX28" fmla="*/ 14703435 w 17157070"/>
                <a:gd name="connsiteY28" fmla="*/ 10189029 h 12561136"/>
                <a:gd name="connsiteX29" fmla="*/ 14661163 w 17157070"/>
                <a:gd name="connsiteY29" fmla="*/ 10017245 h 12561136"/>
                <a:gd name="connsiteX30" fmla="*/ 14335608 w 17157070"/>
                <a:gd name="connsiteY30" fmla="*/ 9854470 h 12561136"/>
                <a:gd name="connsiteX31" fmla="*/ 14498387 w 17157070"/>
                <a:gd name="connsiteY31" fmla="*/ 9275706 h 12561136"/>
                <a:gd name="connsiteX32" fmla="*/ 13847278 w 17157070"/>
                <a:gd name="connsiteY32" fmla="*/ 8371392 h 12561136"/>
                <a:gd name="connsiteX33" fmla="*/ 13340864 w 17157070"/>
                <a:gd name="connsiteY33" fmla="*/ 7666029 h 12561136"/>
                <a:gd name="connsiteX34" fmla="*/ 13123831 w 17157070"/>
                <a:gd name="connsiteY34" fmla="*/ 6580851 h 12561136"/>
                <a:gd name="connsiteX35" fmla="*/ 13232349 w 17157070"/>
                <a:gd name="connsiteY35" fmla="*/ 5893577 h 12561136"/>
                <a:gd name="connsiteX36" fmla="*/ 12273778 w 17157070"/>
                <a:gd name="connsiteY36" fmla="*/ 5926738 h 12561136"/>
                <a:gd name="connsiteX37" fmla="*/ 12201432 w 17157070"/>
                <a:gd name="connsiteY37" fmla="*/ 5528838 h 12561136"/>
                <a:gd name="connsiteX38" fmla="*/ 12508887 w 17157070"/>
                <a:gd name="connsiteY38" fmla="*/ 5025443 h 12561136"/>
                <a:gd name="connsiteX39" fmla="*/ 13774933 w 17157070"/>
                <a:gd name="connsiteY39" fmla="*/ 4247727 h 12561136"/>
                <a:gd name="connsiteX40" fmla="*/ 15294184 w 17157070"/>
                <a:gd name="connsiteY40" fmla="*/ 3741312 h 12561136"/>
                <a:gd name="connsiteX41" fmla="*/ 15746333 w 17157070"/>
                <a:gd name="connsiteY41" fmla="*/ 4066867 h 12561136"/>
                <a:gd name="connsiteX42" fmla="*/ 16578306 w 17157070"/>
                <a:gd name="connsiteY42" fmla="*/ 3777485 h 12561136"/>
                <a:gd name="connsiteX43" fmla="*/ 17084732 w 17157070"/>
                <a:gd name="connsiteY43" fmla="*/ 4175393 h 12561136"/>
                <a:gd name="connsiteX44" fmla="*/ 17157070 w 17157070"/>
                <a:gd name="connsiteY44" fmla="*/ 3234902 h 12561136"/>
                <a:gd name="connsiteX45" fmla="*/ 16433615 w 17157070"/>
                <a:gd name="connsiteY45" fmla="*/ 3144472 h 12561136"/>
                <a:gd name="connsiteX46" fmla="*/ 16415865 w 17157070"/>
                <a:gd name="connsiteY46" fmla="*/ 2528320 h 12561136"/>
                <a:gd name="connsiteX47" fmla="*/ 15963191 w 17157070"/>
                <a:gd name="connsiteY47" fmla="*/ 2667776 h 12561136"/>
                <a:gd name="connsiteX48" fmla="*/ 14923009 w 17157070"/>
                <a:gd name="connsiteY48" fmla="*/ 1437893 h 12561136"/>
                <a:gd name="connsiteX49" fmla="*/ 14244644 w 17157070"/>
                <a:gd name="connsiteY49" fmla="*/ -2 h 12561136"/>
                <a:gd name="connsiteX50" fmla="*/ 13367278 w 17157070"/>
                <a:gd name="connsiteY50" fmla="*/ 289403 h 12561136"/>
                <a:gd name="connsiteX51" fmla="*/ 12218563 w 17157070"/>
                <a:gd name="connsiteY51" fmla="*/ 298446 h 12561136"/>
                <a:gd name="connsiteX52" fmla="*/ 4600673 w 17157070"/>
                <a:gd name="connsiteY52" fmla="*/ 4675479 h 12561136"/>
                <a:gd name="connsiteX53" fmla="*/ 4416749 w 17157070"/>
                <a:gd name="connsiteY53" fmla="*/ 4252472 h 12561136"/>
                <a:gd name="connsiteX54" fmla="*/ 4653822 w 17157070"/>
                <a:gd name="connsiteY54" fmla="*/ 3702305 h 12561136"/>
                <a:gd name="connsiteX55" fmla="*/ 4432864 w 17157070"/>
                <a:gd name="connsiteY55" fmla="*/ 3149070 h 12561136"/>
                <a:gd name="connsiteX56" fmla="*/ 4437471 w 17157070"/>
                <a:gd name="connsiteY56" fmla="*/ 2480282 h 12561136"/>
                <a:gd name="connsiteX57" fmla="*/ 4141784 w 17157070"/>
                <a:gd name="connsiteY57" fmla="*/ 1760928 h 12561136"/>
                <a:gd name="connsiteX58" fmla="*/ 2314296 w 17157070"/>
                <a:gd name="connsiteY58" fmla="*/ 2043785 h 12561136"/>
                <a:gd name="connsiteX59" fmla="*/ 1334589 w 17157070"/>
                <a:gd name="connsiteY59" fmla="*/ 2848657 h 12561136"/>
                <a:gd name="connsiteX60" fmla="*/ 0 w 17157070"/>
                <a:gd name="connsiteY60" fmla="*/ 4196103 h 12561136"/>
                <a:gd name="connsiteX0" fmla="*/ 0 w 17157070"/>
                <a:gd name="connsiteY0" fmla="*/ 4196103 h 12561136"/>
                <a:gd name="connsiteX1" fmla="*/ 613837 w 17157070"/>
                <a:gd name="connsiteY1" fmla="*/ 6574461 h 12561136"/>
                <a:gd name="connsiteX2" fmla="*/ 1518338 w 17157070"/>
                <a:gd name="connsiteY2" fmla="*/ 7442611 h 12561136"/>
                <a:gd name="connsiteX3" fmla="*/ 1735898 w 17157070"/>
                <a:gd name="connsiteY3" fmla="*/ 8274535 h 12561136"/>
                <a:gd name="connsiteX4" fmla="*/ 3137400 w 17157070"/>
                <a:gd name="connsiteY4" fmla="*/ 8799095 h 12561136"/>
                <a:gd name="connsiteX5" fmla="*/ 3453963 w 17157070"/>
                <a:gd name="connsiteY5" fmla="*/ 10155586 h 12561136"/>
                <a:gd name="connsiteX6" fmla="*/ 4168520 w 17157070"/>
                <a:gd name="connsiteY6" fmla="*/ 11530155 h 12561136"/>
                <a:gd name="connsiteX7" fmla="*/ 4162343 w 17157070"/>
                <a:gd name="connsiteY7" fmla="*/ 12561136 h 12561136"/>
                <a:gd name="connsiteX8" fmla="*/ 4605215 w 17157070"/>
                <a:gd name="connsiteY8" fmla="*/ 12476972 h 12561136"/>
                <a:gd name="connsiteX9" fmla="*/ 4840336 w 17157070"/>
                <a:gd name="connsiteY9" fmla="*/ 12187590 h 12561136"/>
                <a:gd name="connsiteX10" fmla="*/ 6070201 w 17157070"/>
                <a:gd name="connsiteY10" fmla="*/ 12205682 h 12561136"/>
                <a:gd name="connsiteX11" fmla="*/ 6884082 w 17157070"/>
                <a:gd name="connsiteY11" fmla="*/ 11608830 h 12561136"/>
                <a:gd name="connsiteX12" fmla="*/ 7716051 w 17157070"/>
                <a:gd name="connsiteY12" fmla="*/ 11934389 h 12561136"/>
                <a:gd name="connsiteX13" fmla="*/ 8584189 w 17157070"/>
                <a:gd name="connsiteY13" fmla="*/ 11735437 h 12561136"/>
                <a:gd name="connsiteX14" fmla="*/ 9289552 w 17157070"/>
                <a:gd name="connsiteY14" fmla="*/ 11934389 h 12561136"/>
                <a:gd name="connsiteX15" fmla="*/ 10139605 w 17157070"/>
                <a:gd name="connsiteY15" fmla="*/ 11536489 h 12561136"/>
                <a:gd name="connsiteX16" fmla="*/ 10664108 w 17157070"/>
                <a:gd name="connsiteY16" fmla="*/ 11753525 h 12561136"/>
                <a:gd name="connsiteX17" fmla="*/ 11387555 w 17157070"/>
                <a:gd name="connsiteY17" fmla="*/ 11663095 h 12561136"/>
                <a:gd name="connsiteX18" fmla="*/ 11966315 w 17157070"/>
                <a:gd name="connsiteY18" fmla="*/ 12386550 h 12561136"/>
                <a:gd name="connsiteX19" fmla="*/ 12942975 w 17157070"/>
                <a:gd name="connsiteY19" fmla="*/ 12151421 h 12561136"/>
                <a:gd name="connsiteX20" fmla="*/ 13575992 w 17157070"/>
                <a:gd name="connsiteY20" fmla="*/ 12549321 h 12561136"/>
                <a:gd name="connsiteX21" fmla="*/ 13973888 w 17157070"/>
                <a:gd name="connsiteY21" fmla="*/ 12458888 h 12561136"/>
                <a:gd name="connsiteX22" fmla="*/ 14028146 w 17157070"/>
                <a:gd name="connsiteY22" fmla="*/ 11916297 h 12561136"/>
                <a:gd name="connsiteX23" fmla="*/ 13594073 w 17157070"/>
                <a:gd name="connsiteY23" fmla="*/ 11862040 h 12561136"/>
                <a:gd name="connsiteX24" fmla="*/ 13612161 w 17157070"/>
                <a:gd name="connsiteY24" fmla="*/ 11174761 h 12561136"/>
                <a:gd name="connsiteX25" fmla="*/ 14190925 w 17157070"/>
                <a:gd name="connsiteY25" fmla="*/ 11030074 h 12561136"/>
                <a:gd name="connsiteX26" fmla="*/ 13865366 w 17157070"/>
                <a:gd name="connsiteY26" fmla="*/ 10559829 h 12561136"/>
                <a:gd name="connsiteX27" fmla="*/ 14136664 w 17157070"/>
                <a:gd name="connsiteY27" fmla="*/ 10161933 h 12561136"/>
                <a:gd name="connsiteX28" fmla="*/ 14703435 w 17157070"/>
                <a:gd name="connsiteY28" fmla="*/ 10189029 h 12561136"/>
                <a:gd name="connsiteX29" fmla="*/ 14661163 w 17157070"/>
                <a:gd name="connsiteY29" fmla="*/ 10017245 h 12561136"/>
                <a:gd name="connsiteX30" fmla="*/ 14335608 w 17157070"/>
                <a:gd name="connsiteY30" fmla="*/ 9854470 h 12561136"/>
                <a:gd name="connsiteX31" fmla="*/ 14498387 w 17157070"/>
                <a:gd name="connsiteY31" fmla="*/ 9275706 h 12561136"/>
                <a:gd name="connsiteX32" fmla="*/ 13847278 w 17157070"/>
                <a:gd name="connsiteY32" fmla="*/ 8371392 h 12561136"/>
                <a:gd name="connsiteX33" fmla="*/ 13340864 w 17157070"/>
                <a:gd name="connsiteY33" fmla="*/ 7666029 h 12561136"/>
                <a:gd name="connsiteX34" fmla="*/ 13123831 w 17157070"/>
                <a:gd name="connsiteY34" fmla="*/ 6580851 h 12561136"/>
                <a:gd name="connsiteX35" fmla="*/ 13232349 w 17157070"/>
                <a:gd name="connsiteY35" fmla="*/ 5893577 h 12561136"/>
                <a:gd name="connsiteX36" fmla="*/ 12273778 w 17157070"/>
                <a:gd name="connsiteY36" fmla="*/ 5926738 h 12561136"/>
                <a:gd name="connsiteX37" fmla="*/ 12201432 w 17157070"/>
                <a:gd name="connsiteY37" fmla="*/ 5528838 h 12561136"/>
                <a:gd name="connsiteX38" fmla="*/ 12508887 w 17157070"/>
                <a:gd name="connsiteY38" fmla="*/ 5025443 h 12561136"/>
                <a:gd name="connsiteX39" fmla="*/ 13774933 w 17157070"/>
                <a:gd name="connsiteY39" fmla="*/ 4247727 h 12561136"/>
                <a:gd name="connsiteX40" fmla="*/ 15294184 w 17157070"/>
                <a:gd name="connsiteY40" fmla="*/ 3741312 h 12561136"/>
                <a:gd name="connsiteX41" fmla="*/ 15746333 w 17157070"/>
                <a:gd name="connsiteY41" fmla="*/ 4066867 h 12561136"/>
                <a:gd name="connsiteX42" fmla="*/ 16578306 w 17157070"/>
                <a:gd name="connsiteY42" fmla="*/ 3777485 h 12561136"/>
                <a:gd name="connsiteX43" fmla="*/ 17084732 w 17157070"/>
                <a:gd name="connsiteY43" fmla="*/ 4175393 h 12561136"/>
                <a:gd name="connsiteX44" fmla="*/ 17157070 w 17157070"/>
                <a:gd name="connsiteY44" fmla="*/ 3234902 h 12561136"/>
                <a:gd name="connsiteX45" fmla="*/ 16433615 w 17157070"/>
                <a:gd name="connsiteY45" fmla="*/ 3144472 h 12561136"/>
                <a:gd name="connsiteX46" fmla="*/ 16415865 w 17157070"/>
                <a:gd name="connsiteY46" fmla="*/ 2528320 h 12561136"/>
                <a:gd name="connsiteX47" fmla="*/ 15963191 w 17157070"/>
                <a:gd name="connsiteY47" fmla="*/ 2667776 h 12561136"/>
                <a:gd name="connsiteX48" fmla="*/ 14923009 w 17157070"/>
                <a:gd name="connsiteY48" fmla="*/ 1437893 h 12561136"/>
                <a:gd name="connsiteX49" fmla="*/ 14244644 w 17157070"/>
                <a:gd name="connsiteY49" fmla="*/ -2 h 12561136"/>
                <a:gd name="connsiteX50" fmla="*/ 13367278 w 17157070"/>
                <a:gd name="connsiteY50" fmla="*/ 289403 h 12561136"/>
                <a:gd name="connsiteX51" fmla="*/ 4600673 w 17157070"/>
                <a:gd name="connsiteY51" fmla="*/ 4675479 h 12561136"/>
                <a:gd name="connsiteX52" fmla="*/ 4416749 w 17157070"/>
                <a:gd name="connsiteY52" fmla="*/ 4252472 h 12561136"/>
                <a:gd name="connsiteX53" fmla="*/ 4653822 w 17157070"/>
                <a:gd name="connsiteY53" fmla="*/ 3702305 h 12561136"/>
                <a:gd name="connsiteX54" fmla="*/ 4432864 w 17157070"/>
                <a:gd name="connsiteY54" fmla="*/ 3149070 h 12561136"/>
                <a:gd name="connsiteX55" fmla="*/ 4437471 w 17157070"/>
                <a:gd name="connsiteY55" fmla="*/ 2480282 h 12561136"/>
                <a:gd name="connsiteX56" fmla="*/ 4141784 w 17157070"/>
                <a:gd name="connsiteY56" fmla="*/ 1760928 h 12561136"/>
                <a:gd name="connsiteX57" fmla="*/ 2314296 w 17157070"/>
                <a:gd name="connsiteY57" fmla="*/ 2043785 h 12561136"/>
                <a:gd name="connsiteX58" fmla="*/ 1334589 w 17157070"/>
                <a:gd name="connsiteY58" fmla="*/ 2848657 h 12561136"/>
                <a:gd name="connsiteX59" fmla="*/ 0 w 17157070"/>
                <a:gd name="connsiteY59" fmla="*/ 4196103 h 12561136"/>
                <a:gd name="connsiteX0" fmla="*/ 0 w 17157070"/>
                <a:gd name="connsiteY0" fmla="*/ 4196103 h 12561136"/>
                <a:gd name="connsiteX1" fmla="*/ 613837 w 17157070"/>
                <a:gd name="connsiteY1" fmla="*/ 6574461 h 12561136"/>
                <a:gd name="connsiteX2" fmla="*/ 1518338 w 17157070"/>
                <a:gd name="connsiteY2" fmla="*/ 7442611 h 12561136"/>
                <a:gd name="connsiteX3" fmla="*/ 1735898 w 17157070"/>
                <a:gd name="connsiteY3" fmla="*/ 8274535 h 12561136"/>
                <a:gd name="connsiteX4" fmla="*/ 3137400 w 17157070"/>
                <a:gd name="connsiteY4" fmla="*/ 8799095 h 12561136"/>
                <a:gd name="connsiteX5" fmla="*/ 3453963 w 17157070"/>
                <a:gd name="connsiteY5" fmla="*/ 10155586 h 12561136"/>
                <a:gd name="connsiteX6" fmla="*/ 4168520 w 17157070"/>
                <a:gd name="connsiteY6" fmla="*/ 11530155 h 12561136"/>
                <a:gd name="connsiteX7" fmla="*/ 4162343 w 17157070"/>
                <a:gd name="connsiteY7" fmla="*/ 12561136 h 12561136"/>
                <a:gd name="connsiteX8" fmla="*/ 4605215 w 17157070"/>
                <a:gd name="connsiteY8" fmla="*/ 12476972 h 12561136"/>
                <a:gd name="connsiteX9" fmla="*/ 4840336 w 17157070"/>
                <a:gd name="connsiteY9" fmla="*/ 12187590 h 12561136"/>
                <a:gd name="connsiteX10" fmla="*/ 6070201 w 17157070"/>
                <a:gd name="connsiteY10" fmla="*/ 12205682 h 12561136"/>
                <a:gd name="connsiteX11" fmla="*/ 6884082 w 17157070"/>
                <a:gd name="connsiteY11" fmla="*/ 11608830 h 12561136"/>
                <a:gd name="connsiteX12" fmla="*/ 7716051 w 17157070"/>
                <a:gd name="connsiteY12" fmla="*/ 11934389 h 12561136"/>
                <a:gd name="connsiteX13" fmla="*/ 8584189 w 17157070"/>
                <a:gd name="connsiteY13" fmla="*/ 11735437 h 12561136"/>
                <a:gd name="connsiteX14" fmla="*/ 9289552 w 17157070"/>
                <a:gd name="connsiteY14" fmla="*/ 11934389 h 12561136"/>
                <a:gd name="connsiteX15" fmla="*/ 10139605 w 17157070"/>
                <a:gd name="connsiteY15" fmla="*/ 11536489 h 12561136"/>
                <a:gd name="connsiteX16" fmla="*/ 10664108 w 17157070"/>
                <a:gd name="connsiteY16" fmla="*/ 11753525 h 12561136"/>
                <a:gd name="connsiteX17" fmla="*/ 11387555 w 17157070"/>
                <a:gd name="connsiteY17" fmla="*/ 11663095 h 12561136"/>
                <a:gd name="connsiteX18" fmla="*/ 11966315 w 17157070"/>
                <a:gd name="connsiteY18" fmla="*/ 12386550 h 12561136"/>
                <a:gd name="connsiteX19" fmla="*/ 12942975 w 17157070"/>
                <a:gd name="connsiteY19" fmla="*/ 12151421 h 12561136"/>
                <a:gd name="connsiteX20" fmla="*/ 13575992 w 17157070"/>
                <a:gd name="connsiteY20" fmla="*/ 12549321 h 12561136"/>
                <a:gd name="connsiteX21" fmla="*/ 13973888 w 17157070"/>
                <a:gd name="connsiteY21" fmla="*/ 12458888 h 12561136"/>
                <a:gd name="connsiteX22" fmla="*/ 14028146 w 17157070"/>
                <a:gd name="connsiteY22" fmla="*/ 11916297 h 12561136"/>
                <a:gd name="connsiteX23" fmla="*/ 13594073 w 17157070"/>
                <a:gd name="connsiteY23" fmla="*/ 11862040 h 12561136"/>
                <a:gd name="connsiteX24" fmla="*/ 13612161 w 17157070"/>
                <a:gd name="connsiteY24" fmla="*/ 11174761 h 12561136"/>
                <a:gd name="connsiteX25" fmla="*/ 14190925 w 17157070"/>
                <a:gd name="connsiteY25" fmla="*/ 11030074 h 12561136"/>
                <a:gd name="connsiteX26" fmla="*/ 13865366 w 17157070"/>
                <a:gd name="connsiteY26" fmla="*/ 10559829 h 12561136"/>
                <a:gd name="connsiteX27" fmla="*/ 14136664 w 17157070"/>
                <a:gd name="connsiteY27" fmla="*/ 10161933 h 12561136"/>
                <a:gd name="connsiteX28" fmla="*/ 14703435 w 17157070"/>
                <a:gd name="connsiteY28" fmla="*/ 10189029 h 12561136"/>
                <a:gd name="connsiteX29" fmla="*/ 14661163 w 17157070"/>
                <a:gd name="connsiteY29" fmla="*/ 10017245 h 12561136"/>
                <a:gd name="connsiteX30" fmla="*/ 14335608 w 17157070"/>
                <a:gd name="connsiteY30" fmla="*/ 9854470 h 12561136"/>
                <a:gd name="connsiteX31" fmla="*/ 14498387 w 17157070"/>
                <a:gd name="connsiteY31" fmla="*/ 9275706 h 12561136"/>
                <a:gd name="connsiteX32" fmla="*/ 13847278 w 17157070"/>
                <a:gd name="connsiteY32" fmla="*/ 8371392 h 12561136"/>
                <a:gd name="connsiteX33" fmla="*/ 13340864 w 17157070"/>
                <a:gd name="connsiteY33" fmla="*/ 7666029 h 12561136"/>
                <a:gd name="connsiteX34" fmla="*/ 13123831 w 17157070"/>
                <a:gd name="connsiteY34" fmla="*/ 6580851 h 12561136"/>
                <a:gd name="connsiteX35" fmla="*/ 13232349 w 17157070"/>
                <a:gd name="connsiteY35" fmla="*/ 5893577 h 12561136"/>
                <a:gd name="connsiteX36" fmla="*/ 12273778 w 17157070"/>
                <a:gd name="connsiteY36" fmla="*/ 5926738 h 12561136"/>
                <a:gd name="connsiteX37" fmla="*/ 12201432 w 17157070"/>
                <a:gd name="connsiteY37" fmla="*/ 5528838 h 12561136"/>
                <a:gd name="connsiteX38" fmla="*/ 12508887 w 17157070"/>
                <a:gd name="connsiteY38" fmla="*/ 5025443 h 12561136"/>
                <a:gd name="connsiteX39" fmla="*/ 13774933 w 17157070"/>
                <a:gd name="connsiteY39" fmla="*/ 4247727 h 12561136"/>
                <a:gd name="connsiteX40" fmla="*/ 15294184 w 17157070"/>
                <a:gd name="connsiteY40" fmla="*/ 3741312 h 12561136"/>
                <a:gd name="connsiteX41" fmla="*/ 15746333 w 17157070"/>
                <a:gd name="connsiteY41" fmla="*/ 4066867 h 12561136"/>
                <a:gd name="connsiteX42" fmla="*/ 16578306 w 17157070"/>
                <a:gd name="connsiteY42" fmla="*/ 3777485 h 12561136"/>
                <a:gd name="connsiteX43" fmla="*/ 17084732 w 17157070"/>
                <a:gd name="connsiteY43" fmla="*/ 4175393 h 12561136"/>
                <a:gd name="connsiteX44" fmla="*/ 17157070 w 17157070"/>
                <a:gd name="connsiteY44" fmla="*/ 3234902 h 12561136"/>
                <a:gd name="connsiteX45" fmla="*/ 16433615 w 17157070"/>
                <a:gd name="connsiteY45" fmla="*/ 3144472 h 12561136"/>
                <a:gd name="connsiteX46" fmla="*/ 16415865 w 17157070"/>
                <a:gd name="connsiteY46" fmla="*/ 2528320 h 12561136"/>
                <a:gd name="connsiteX47" fmla="*/ 15963191 w 17157070"/>
                <a:gd name="connsiteY47" fmla="*/ 2667776 h 12561136"/>
                <a:gd name="connsiteX48" fmla="*/ 14923009 w 17157070"/>
                <a:gd name="connsiteY48" fmla="*/ 1437893 h 12561136"/>
                <a:gd name="connsiteX49" fmla="*/ 14244644 w 17157070"/>
                <a:gd name="connsiteY49" fmla="*/ -2 h 12561136"/>
                <a:gd name="connsiteX50" fmla="*/ 4898441 w 17157070"/>
                <a:gd name="connsiteY50" fmla="*/ 4943950 h 12561136"/>
                <a:gd name="connsiteX51" fmla="*/ 4600673 w 17157070"/>
                <a:gd name="connsiteY51" fmla="*/ 4675479 h 12561136"/>
                <a:gd name="connsiteX52" fmla="*/ 4416749 w 17157070"/>
                <a:gd name="connsiteY52" fmla="*/ 4252472 h 12561136"/>
                <a:gd name="connsiteX53" fmla="*/ 4653822 w 17157070"/>
                <a:gd name="connsiteY53" fmla="*/ 3702305 h 12561136"/>
                <a:gd name="connsiteX54" fmla="*/ 4432864 w 17157070"/>
                <a:gd name="connsiteY54" fmla="*/ 3149070 h 12561136"/>
                <a:gd name="connsiteX55" fmla="*/ 4437471 w 17157070"/>
                <a:gd name="connsiteY55" fmla="*/ 2480282 h 12561136"/>
                <a:gd name="connsiteX56" fmla="*/ 4141784 w 17157070"/>
                <a:gd name="connsiteY56" fmla="*/ 1760928 h 12561136"/>
                <a:gd name="connsiteX57" fmla="*/ 2314296 w 17157070"/>
                <a:gd name="connsiteY57" fmla="*/ 2043785 h 12561136"/>
                <a:gd name="connsiteX58" fmla="*/ 1334589 w 17157070"/>
                <a:gd name="connsiteY58" fmla="*/ 2848657 h 12561136"/>
                <a:gd name="connsiteX59" fmla="*/ 0 w 17157070"/>
                <a:gd name="connsiteY59" fmla="*/ 4196103 h 12561136"/>
                <a:gd name="connsiteX0" fmla="*/ 0 w 17157070"/>
                <a:gd name="connsiteY0" fmla="*/ 2758209 h 11123242"/>
                <a:gd name="connsiteX1" fmla="*/ 613837 w 17157070"/>
                <a:gd name="connsiteY1" fmla="*/ 5136567 h 11123242"/>
                <a:gd name="connsiteX2" fmla="*/ 1518338 w 17157070"/>
                <a:gd name="connsiteY2" fmla="*/ 6004717 h 11123242"/>
                <a:gd name="connsiteX3" fmla="*/ 1735898 w 17157070"/>
                <a:gd name="connsiteY3" fmla="*/ 6836641 h 11123242"/>
                <a:gd name="connsiteX4" fmla="*/ 3137400 w 17157070"/>
                <a:gd name="connsiteY4" fmla="*/ 7361201 h 11123242"/>
                <a:gd name="connsiteX5" fmla="*/ 3453963 w 17157070"/>
                <a:gd name="connsiteY5" fmla="*/ 8717692 h 11123242"/>
                <a:gd name="connsiteX6" fmla="*/ 4168520 w 17157070"/>
                <a:gd name="connsiteY6" fmla="*/ 10092261 h 11123242"/>
                <a:gd name="connsiteX7" fmla="*/ 4162343 w 17157070"/>
                <a:gd name="connsiteY7" fmla="*/ 11123242 h 11123242"/>
                <a:gd name="connsiteX8" fmla="*/ 4605215 w 17157070"/>
                <a:gd name="connsiteY8" fmla="*/ 11039078 h 11123242"/>
                <a:gd name="connsiteX9" fmla="*/ 4840336 w 17157070"/>
                <a:gd name="connsiteY9" fmla="*/ 10749696 h 11123242"/>
                <a:gd name="connsiteX10" fmla="*/ 6070201 w 17157070"/>
                <a:gd name="connsiteY10" fmla="*/ 10767788 h 11123242"/>
                <a:gd name="connsiteX11" fmla="*/ 6884082 w 17157070"/>
                <a:gd name="connsiteY11" fmla="*/ 10170936 h 11123242"/>
                <a:gd name="connsiteX12" fmla="*/ 7716051 w 17157070"/>
                <a:gd name="connsiteY12" fmla="*/ 10496495 h 11123242"/>
                <a:gd name="connsiteX13" fmla="*/ 8584189 w 17157070"/>
                <a:gd name="connsiteY13" fmla="*/ 10297543 h 11123242"/>
                <a:gd name="connsiteX14" fmla="*/ 9289552 w 17157070"/>
                <a:gd name="connsiteY14" fmla="*/ 10496495 h 11123242"/>
                <a:gd name="connsiteX15" fmla="*/ 10139605 w 17157070"/>
                <a:gd name="connsiteY15" fmla="*/ 10098595 h 11123242"/>
                <a:gd name="connsiteX16" fmla="*/ 10664108 w 17157070"/>
                <a:gd name="connsiteY16" fmla="*/ 10315631 h 11123242"/>
                <a:gd name="connsiteX17" fmla="*/ 11387555 w 17157070"/>
                <a:gd name="connsiteY17" fmla="*/ 10225201 h 11123242"/>
                <a:gd name="connsiteX18" fmla="*/ 11966315 w 17157070"/>
                <a:gd name="connsiteY18" fmla="*/ 10948656 h 11123242"/>
                <a:gd name="connsiteX19" fmla="*/ 12942975 w 17157070"/>
                <a:gd name="connsiteY19" fmla="*/ 10713527 h 11123242"/>
                <a:gd name="connsiteX20" fmla="*/ 13575992 w 17157070"/>
                <a:gd name="connsiteY20" fmla="*/ 11111427 h 11123242"/>
                <a:gd name="connsiteX21" fmla="*/ 13973888 w 17157070"/>
                <a:gd name="connsiteY21" fmla="*/ 11020994 h 11123242"/>
                <a:gd name="connsiteX22" fmla="*/ 14028146 w 17157070"/>
                <a:gd name="connsiteY22" fmla="*/ 10478403 h 11123242"/>
                <a:gd name="connsiteX23" fmla="*/ 13594073 w 17157070"/>
                <a:gd name="connsiteY23" fmla="*/ 10424146 h 11123242"/>
                <a:gd name="connsiteX24" fmla="*/ 13612161 w 17157070"/>
                <a:gd name="connsiteY24" fmla="*/ 9736867 h 11123242"/>
                <a:gd name="connsiteX25" fmla="*/ 14190925 w 17157070"/>
                <a:gd name="connsiteY25" fmla="*/ 9592180 h 11123242"/>
                <a:gd name="connsiteX26" fmla="*/ 13865366 w 17157070"/>
                <a:gd name="connsiteY26" fmla="*/ 9121935 h 11123242"/>
                <a:gd name="connsiteX27" fmla="*/ 14136664 w 17157070"/>
                <a:gd name="connsiteY27" fmla="*/ 8724039 h 11123242"/>
                <a:gd name="connsiteX28" fmla="*/ 14703435 w 17157070"/>
                <a:gd name="connsiteY28" fmla="*/ 8751135 h 11123242"/>
                <a:gd name="connsiteX29" fmla="*/ 14661163 w 17157070"/>
                <a:gd name="connsiteY29" fmla="*/ 8579351 h 11123242"/>
                <a:gd name="connsiteX30" fmla="*/ 14335608 w 17157070"/>
                <a:gd name="connsiteY30" fmla="*/ 8416576 h 11123242"/>
                <a:gd name="connsiteX31" fmla="*/ 14498387 w 17157070"/>
                <a:gd name="connsiteY31" fmla="*/ 7837812 h 11123242"/>
                <a:gd name="connsiteX32" fmla="*/ 13847278 w 17157070"/>
                <a:gd name="connsiteY32" fmla="*/ 6933498 h 11123242"/>
                <a:gd name="connsiteX33" fmla="*/ 13340864 w 17157070"/>
                <a:gd name="connsiteY33" fmla="*/ 6228135 h 11123242"/>
                <a:gd name="connsiteX34" fmla="*/ 13123831 w 17157070"/>
                <a:gd name="connsiteY34" fmla="*/ 5142957 h 11123242"/>
                <a:gd name="connsiteX35" fmla="*/ 13232349 w 17157070"/>
                <a:gd name="connsiteY35" fmla="*/ 4455683 h 11123242"/>
                <a:gd name="connsiteX36" fmla="*/ 12273778 w 17157070"/>
                <a:gd name="connsiteY36" fmla="*/ 4488844 h 11123242"/>
                <a:gd name="connsiteX37" fmla="*/ 12201432 w 17157070"/>
                <a:gd name="connsiteY37" fmla="*/ 4090944 h 11123242"/>
                <a:gd name="connsiteX38" fmla="*/ 12508887 w 17157070"/>
                <a:gd name="connsiteY38" fmla="*/ 3587549 h 11123242"/>
                <a:gd name="connsiteX39" fmla="*/ 13774933 w 17157070"/>
                <a:gd name="connsiteY39" fmla="*/ 2809833 h 11123242"/>
                <a:gd name="connsiteX40" fmla="*/ 15294184 w 17157070"/>
                <a:gd name="connsiteY40" fmla="*/ 2303418 h 11123242"/>
                <a:gd name="connsiteX41" fmla="*/ 15746333 w 17157070"/>
                <a:gd name="connsiteY41" fmla="*/ 2628973 h 11123242"/>
                <a:gd name="connsiteX42" fmla="*/ 16578306 w 17157070"/>
                <a:gd name="connsiteY42" fmla="*/ 2339591 h 11123242"/>
                <a:gd name="connsiteX43" fmla="*/ 17084732 w 17157070"/>
                <a:gd name="connsiteY43" fmla="*/ 2737499 h 11123242"/>
                <a:gd name="connsiteX44" fmla="*/ 17157070 w 17157070"/>
                <a:gd name="connsiteY44" fmla="*/ 1797008 h 11123242"/>
                <a:gd name="connsiteX45" fmla="*/ 16433615 w 17157070"/>
                <a:gd name="connsiteY45" fmla="*/ 1706578 h 11123242"/>
                <a:gd name="connsiteX46" fmla="*/ 16415865 w 17157070"/>
                <a:gd name="connsiteY46" fmla="*/ 1090426 h 11123242"/>
                <a:gd name="connsiteX47" fmla="*/ 15963191 w 17157070"/>
                <a:gd name="connsiteY47" fmla="*/ 1229882 h 11123242"/>
                <a:gd name="connsiteX48" fmla="*/ 14923009 w 17157070"/>
                <a:gd name="connsiteY48" fmla="*/ -1 h 11123242"/>
                <a:gd name="connsiteX49" fmla="*/ 5153802 w 17157070"/>
                <a:gd name="connsiteY49" fmla="*/ 3455348 h 11123242"/>
                <a:gd name="connsiteX50" fmla="*/ 4898441 w 17157070"/>
                <a:gd name="connsiteY50" fmla="*/ 3506056 h 11123242"/>
                <a:gd name="connsiteX51" fmla="*/ 4600673 w 17157070"/>
                <a:gd name="connsiteY51" fmla="*/ 3237585 h 11123242"/>
                <a:gd name="connsiteX52" fmla="*/ 4416749 w 17157070"/>
                <a:gd name="connsiteY52" fmla="*/ 2814578 h 11123242"/>
                <a:gd name="connsiteX53" fmla="*/ 4653822 w 17157070"/>
                <a:gd name="connsiteY53" fmla="*/ 2264411 h 11123242"/>
                <a:gd name="connsiteX54" fmla="*/ 4432864 w 17157070"/>
                <a:gd name="connsiteY54" fmla="*/ 1711176 h 11123242"/>
                <a:gd name="connsiteX55" fmla="*/ 4437471 w 17157070"/>
                <a:gd name="connsiteY55" fmla="*/ 1042388 h 11123242"/>
                <a:gd name="connsiteX56" fmla="*/ 4141784 w 17157070"/>
                <a:gd name="connsiteY56" fmla="*/ 323034 h 11123242"/>
                <a:gd name="connsiteX57" fmla="*/ 2314296 w 17157070"/>
                <a:gd name="connsiteY57" fmla="*/ 605891 h 11123242"/>
                <a:gd name="connsiteX58" fmla="*/ 1334589 w 17157070"/>
                <a:gd name="connsiteY58" fmla="*/ 1410763 h 11123242"/>
                <a:gd name="connsiteX59" fmla="*/ 0 w 17157070"/>
                <a:gd name="connsiteY59" fmla="*/ 2758209 h 11123242"/>
                <a:gd name="connsiteX0" fmla="*/ 0 w 17157070"/>
                <a:gd name="connsiteY0" fmla="*/ 2435175 h 10800208"/>
                <a:gd name="connsiteX1" fmla="*/ 613837 w 17157070"/>
                <a:gd name="connsiteY1" fmla="*/ 4813533 h 10800208"/>
                <a:gd name="connsiteX2" fmla="*/ 1518338 w 17157070"/>
                <a:gd name="connsiteY2" fmla="*/ 5681683 h 10800208"/>
                <a:gd name="connsiteX3" fmla="*/ 1735898 w 17157070"/>
                <a:gd name="connsiteY3" fmla="*/ 6513607 h 10800208"/>
                <a:gd name="connsiteX4" fmla="*/ 3137400 w 17157070"/>
                <a:gd name="connsiteY4" fmla="*/ 7038167 h 10800208"/>
                <a:gd name="connsiteX5" fmla="*/ 3453963 w 17157070"/>
                <a:gd name="connsiteY5" fmla="*/ 8394658 h 10800208"/>
                <a:gd name="connsiteX6" fmla="*/ 4168520 w 17157070"/>
                <a:gd name="connsiteY6" fmla="*/ 9769227 h 10800208"/>
                <a:gd name="connsiteX7" fmla="*/ 4162343 w 17157070"/>
                <a:gd name="connsiteY7" fmla="*/ 10800208 h 10800208"/>
                <a:gd name="connsiteX8" fmla="*/ 4605215 w 17157070"/>
                <a:gd name="connsiteY8" fmla="*/ 10716044 h 10800208"/>
                <a:gd name="connsiteX9" fmla="*/ 4840336 w 17157070"/>
                <a:gd name="connsiteY9" fmla="*/ 10426662 h 10800208"/>
                <a:gd name="connsiteX10" fmla="*/ 6070201 w 17157070"/>
                <a:gd name="connsiteY10" fmla="*/ 10444754 h 10800208"/>
                <a:gd name="connsiteX11" fmla="*/ 6884082 w 17157070"/>
                <a:gd name="connsiteY11" fmla="*/ 9847902 h 10800208"/>
                <a:gd name="connsiteX12" fmla="*/ 7716051 w 17157070"/>
                <a:gd name="connsiteY12" fmla="*/ 10173461 h 10800208"/>
                <a:gd name="connsiteX13" fmla="*/ 8584189 w 17157070"/>
                <a:gd name="connsiteY13" fmla="*/ 9974509 h 10800208"/>
                <a:gd name="connsiteX14" fmla="*/ 9289552 w 17157070"/>
                <a:gd name="connsiteY14" fmla="*/ 10173461 h 10800208"/>
                <a:gd name="connsiteX15" fmla="*/ 10139605 w 17157070"/>
                <a:gd name="connsiteY15" fmla="*/ 9775561 h 10800208"/>
                <a:gd name="connsiteX16" fmla="*/ 10664108 w 17157070"/>
                <a:gd name="connsiteY16" fmla="*/ 9992597 h 10800208"/>
                <a:gd name="connsiteX17" fmla="*/ 11387555 w 17157070"/>
                <a:gd name="connsiteY17" fmla="*/ 9902167 h 10800208"/>
                <a:gd name="connsiteX18" fmla="*/ 11966315 w 17157070"/>
                <a:gd name="connsiteY18" fmla="*/ 10625622 h 10800208"/>
                <a:gd name="connsiteX19" fmla="*/ 12942975 w 17157070"/>
                <a:gd name="connsiteY19" fmla="*/ 10390493 h 10800208"/>
                <a:gd name="connsiteX20" fmla="*/ 13575992 w 17157070"/>
                <a:gd name="connsiteY20" fmla="*/ 10788393 h 10800208"/>
                <a:gd name="connsiteX21" fmla="*/ 13973888 w 17157070"/>
                <a:gd name="connsiteY21" fmla="*/ 10697960 h 10800208"/>
                <a:gd name="connsiteX22" fmla="*/ 14028146 w 17157070"/>
                <a:gd name="connsiteY22" fmla="*/ 10155369 h 10800208"/>
                <a:gd name="connsiteX23" fmla="*/ 13594073 w 17157070"/>
                <a:gd name="connsiteY23" fmla="*/ 10101112 h 10800208"/>
                <a:gd name="connsiteX24" fmla="*/ 13612161 w 17157070"/>
                <a:gd name="connsiteY24" fmla="*/ 9413833 h 10800208"/>
                <a:gd name="connsiteX25" fmla="*/ 14190925 w 17157070"/>
                <a:gd name="connsiteY25" fmla="*/ 9269146 h 10800208"/>
                <a:gd name="connsiteX26" fmla="*/ 13865366 w 17157070"/>
                <a:gd name="connsiteY26" fmla="*/ 8798901 h 10800208"/>
                <a:gd name="connsiteX27" fmla="*/ 14136664 w 17157070"/>
                <a:gd name="connsiteY27" fmla="*/ 8401005 h 10800208"/>
                <a:gd name="connsiteX28" fmla="*/ 14703435 w 17157070"/>
                <a:gd name="connsiteY28" fmla="*/ 8428101 h 10800208"/>
                <a:gd name="connsiteX29" fmla="*/ 14661163 w 17157070"/>
                <a:gd name="connsiteY29" fmla="*/ 8256317 h 10800208"/>
                <a:gd name="connsiteX30" fmla="*/ 14335608 w 17157070"/>
                <a:gd name="connsiteY30" fmla="*/ 8093542 h 10800208"/>
                <a:gd name="connsiteX31" fmla="*/ 14498387 w 17157070"/>
                <a:gd name="connsiteY31" fmla="*/ 7514778 h 10800208"/>
                <a:gd name="connsiteX32" fmla="*/ 13847278 w 17157070"/>
                <a:gd name="connsiteY32" fmla="*/ 6610464 h 10800208"/>
                <a:gd name="connsiteX33" fmla="*/ 13340864 w 17157070"/>
                <a:gd name="connsiteY33" fmla="*/ 5905101 h 10800208"/>
                <a:gd name="connsiteX34" fmla="*/ 13123831 w 17157070"/>
                <a:gd name="connsiteY34" fmla="*/ 4819923 h 10800208"/>
                <a:gd name="connsiteX35" fmla="*/ 13232349 w 17157070"/>
                <a:gd name="connsiteY35" fmla="*/ 4132649 h 10800208"/>
                <a:gd name="connsiteX36" fmla="*/ 12273778 w 17157070"/>
                <a:gd name="connsiteY36" fmla="*/ 4165810 h 10800208"/>
                <a:gd name="connsiteX37" fmla="*/ 12201432 w 17157070"/>
                <a:gd name="connsiteY37" fmla="*/ 3767910 h 10800208"/>
                <a:gd name="connsiteX38" fmla="*/ 12508887 w 17157070"/>
                <a:gd name="connsiteY38" fmla="*/ 3264515 h 10800208"/>
                <a:gd name="connsiteX39" fmla="*/ 13774933 w 17157070"/>
                <a:gd name="connsiteY39" fmla="*/ 2486799 h 10800208"/>
                <a:gd name="connsiteX40" fmla="*/ 15294184 w 17157070"/>
                <a:gd name="connsiteY40" fmla="*/ 1980384 h 10800208"/>
                <a:gd name="connsiteX41" fmla="*/ 15746333 w 17157070"/>
                <a:gd name="connsiteY41" fmla="*/ 2305939 h 10800208"/>
                <a:gd name="connsiteX42" fmla="*/ 16578306 w 17157070"/>
                <a:gd name="connsiteY42" fmla="*/ 2016557 h 10800208"/>
                <a:gd name="connsiteX43" fmla="*/ 17084732 w 17157070"/>
                <a:gd name="connsiteY43" fmla="*/ 2414465 h 10800208"/>
                <a:gd name="connsiteX44" fmla="*/ 17157070 w 17157070"/>
                <a:gd name="connsiteY44" fmla="*/ 1473974 h 10800208"/>
                <a:gd name="connsiteX45" fmla="*/ 16433615 w 17157070"/>
                <a:gd name="connsiteY45" fmla="*/ 1383544 h 10800208"/>
                <a:gd name="connsiteX46" fmla="*/ 16415865 w 17157070"/>
                <a:gd name="connsiteY46" fmla="*/ 767392 h 10800208"/>
                <a:gd name="connsiteX47" fmla="*/ 15963191 w 17157070"/>
                <a:gd name="connsiteY47" fmla="*/ 906848 h 10800208"/>
                <a:gd name="connsiteX48" fmla="*/ 5153802 w 17157070"/>
                <a:gd name="connsiteY48" fmla="*/ 3132314 h 10800208"/>
                <a:gd name="connsiteX49" fmla="*/ 4898441 w 17157070"/>
                <a:gd name="connsiteY49" fmla="*/ 3183022 h 10800208"/>
                <a:gd name="connsiteX50" fmla="*/ 4600673 w 17157070"/>
                <a:gd name="connsiteY50" fmla="*/ 2914551 h 10800208"/>
                <a:gd name="connsiteX51" fmla="*/ 4416749 w 17157070"/>
                <a:gd name="connsiteY51" fmla="*/ 2491544 h 10800208"/>
                <a:gd name="connsiteX52" fmla="*/ 4653822 w 17157070"/>
                <a:gd name="connsiteY52" fmla="*/ 1941377 h 10800208"/>
                <a:gd name="connsiteX53" fmla="*/ 4432864 w 17157070"/>
                <a:gd name="connsiteY53" fmla="*/ 1388142 h 10800208"/>
                <a:gd name="connsiteX54" fmla="*/ 4437471 w 17157070"/>
                <a:gd name="connsiteY54" fmla="*/ 719354 h 10800208"/>
                <a:gd name="connsiteX55" fmla="*/ 4141784 w 17157070"/>
                <a:gd name="connsiteY55" fmla="*/ 0 h 10800208"/>
                <a:gd name="connsiteX56" fmla="*/ 2314296 w 17157070"/>
                <a:gd name="connsiteY56" fmla="*/ 282857 h 10800208"/>
                <a:gd name="connsiteX57" fmla="*/ 1334589 w 17157070"/>
                <a:gd name="connsiteY57" fmla="*/ 1087729 h 10800208"/>
                <a:gd name="connsiteX58" fmla="*/ 0 w 17157070"/>
                <a:gd name="connsiteY58" fmla="*/ 2435175 h 10800208"/>
                <a:gd name="connsiteX0" fmla="*/ 0 w 17157070"/>
                <a:gd name="connsiteY0" fmla="*/ 2435175 h 10800208"/>
                <a:gd name="connsiteX1" fmla="*/ 613837 w 17157070"/>
                <a:gd name="connsiteY1" fmla="*/ 4813533 h 10800208"/>
                <a:gd name="connsiteX2" fmla="*/ 1518338 w 17157070"/>
                <a:gd name="connsiteY2" fmla="*/ 5681683 h 10800208"/>
                <a:gd name="connsiteX3" fmla="*/ 1735898 w 17157070"/>
                <a:gd name="connsiteY3" fmla="*/ 6513607 h 10800208"/>
                <a:gd name="connsiteX4" fmla="*/ 3137400 w 17157070"/>
                <a:gd name="connsiteY4" fmla="*/ 7038167 h 10800208"/>
                <a:gd name="connsiteX5" fmla="*/ 3453963 w 17157070"/>
                <a:gd name="connsiteY5" fmla="*/ 8394658 h 10800208"/>
                <a:gd name="connsiteX6" fmla="*/ 4168520 w 17157070"/>
                <a:gd name="connsiteY6" fmla="*/ 9769227 h 10800208"/>
                <a:gd name="connsiteX7" fmla="*/ 4162343 w 17157070"/>
                <a:gd name="connsiteY7" fmla="*/ 10800208 h 10800208"/>
                <a:gd name="connsiteX8" fmla="*/ 4605215 w 17157070"/>
                <a:gd name="connsiteY8" fmla="*/ 10716044 h 10800208"/>
                <a:gd name="connsiteX9" fmla="*/ 4840336 w 17157070"/>
                <a:gd name="connsiteY9" fmla="*/ 10426662 h 10800208"/>
                <a:gd name="connsiteX10" fmla="*/ 6070201 w 17157070"/>
                <a:gd name="connsiteY10" fmla="*/ 10444754 h 10800208"/>
                <a:gd name="connsiteX11" fmla="*/ 6884082 w 17157070"/>
                <a:gd name="connsiteY11" fmla="*/ 9847902 h 10800208"/>
                <a:gd name="connsiteX12" fmla="*/ 7716051 w 17157070"/>
                <a:gd name="connsiteY12" fmla="*/ 10173461 h 10800208"/>
                <a:gd name="connsiteX13" fmla="*/ 8584189 w 17157070"/>
                <a:gd name="connsiteY13" fmla="*/ 9974509 h 10800208"/>
                <a:gd name="connsiteX14" fmla="*/ 9289552 w 17157070"/>
                <a:gd name="connsiteY14" fmla="*/ 10173461 h 10800208"/>
                <a:gd name="connsiteX15" fmla="*/ 10139605 w 17157070"/>
                <a:gd name="connsiteY15" fmla="*/ 9775561 h 10800208"/>
                <a:gd name="connsiteX16" fmla="*/ 10664108 w 17157070"/>
                <a:gd name="connsiteY16" fmla="*/ 9992597 h 10800208"/>
                <a:gd name="connsiteX17" fmla="*/ 11387555 w 17157070"/>
                <a:gd name="connsiteY17" fmla="*/ 9902167 h 10800208"/>
                <a:gd name="connsiteX18" fmla="*/ 11966315 w 17157070"/>
                <a:gd name="connsiteY18" fmla="*/ 10625622 h 10800208"/>
                <a:gd name="connsiteX19" fmla="*/ 12942975 w 17157070"/>
                <a:gd name="connsiteY19" fmla="*/ 10390493 h 10800208"/>
                <a:gd name="connsiteX20" fmla="*/ 13575992 w 17157070"/>
                <a:gd name="connsiteY20" fmla="*/ 10788393 h 10800208"/>
                <a:gd name="connsiteX21" fmla="*/ 13973888 w 17157070"/>
                <a:gd name="connsiteY21" fmla="*/ 10697960 h 10800208"/>
                <a:gd name="connsiteX22" fmla="*/ 14028146 w 17157070"/>
                <a:gd name="connsiteY22" fmla="*/ 10155369 h 10800208"/>
                <a:gd name="connsiteX23" fmla="*/ 13594073 w 17157070"/>
                <a:gd name="connsiteY23" fmla="*/ 10101112 h 10800208"/>
                <a:gd name="connsiteX24" fmla="*/ 13612161 w 17157070"/>
                <a:gd name="connsiteY24" fmla="*/ 9413833 h 10800208"/>
                <a:gd name="connsiteX25" fmla="*/ 14190925 w 17157070"/>
                <a:gd name="connsiteY25" fmla="*/ 9269146 h 10800208"/>
                <a:gd name="connsiteX26" fmla="*/ 13865366 w 17157070"/>
                <a:gd name="connsiteY26" fmla="*/ 8798901 h 10800208"/>
                <a:gd name="connsiteX27" fmla="*/ 14136664 w 17157070"/>
                <a:gd name="connsiteY27" fmla="*/ 8401005 h 10800208"/>
                <a:gd name="connsiteX28" fmla="*/ 14703435 w 17157070"/>
                <a:gd name="connsiteY28" fmla="*/ 8428101 h 10800208"/>
                <a:gd name="connsiteX29" fmla="*/ 14661163 w 17157070"/>
                <a:gd name="connsiteY29" fmla="*/ 8256317 h 10800208"/>
                <a:gd name="connsiteX30" fmla="*/ 14335608 w 17157070"/>
                <a:gd name="connsiteY30" fmla="*/ 8093542 h 10800208"/>
                <a:gd name="connsiteX31" fmla="*/ 14498387 w 17157070"/>
                <a:gd name="connsiteY31" fmla="*/ 7514778 h 10800208"/>
                <a:gd name="connsiteX32" fmla="*/ 13847278 w 17157070"/>
                <a:gd name="connsiteY32" fmla="*/ 6610464 h 10800208"/>
                <a:gd name="connsiteX33" fmla="*/ 13340864 w 17157070"/>
                <a:gd name="connsiteY33" fmla="*/ 5905101 h 10800208"/>
                <a:gd name="connsiteX34" fmla="*/ 13123831 w 17157070"/>
                <a:gd name="connsiteY34" fmla="*/ 4819923 h 10800208"/>
                <a:gd name="connsiteX35" fmla="*/ 13232349 w 17157070"/>
                <a:gd name="connsiteY35" fmla="*/ 4132649 h 10800208"/>
                <a:gd name="connsiteX36" fmla="*/ 12273778 w 17157070"/>
                <a:gd name="connsiteY36" fmla="*/ 4165810 h 10800208"/>
                <a:gd name="connsiteX37" fmla="*/ 12201432 w 17157070"/>
                <a:gd name="connsiteY37" fmla="*/ 3767910 h 10800208"/>
                <a:gd name="connsiteX38" fmla="*/ 12508887 w 17157070"/>
                <a:gd name="connsiteY38" fmla="*/ 3264515 h 10800208"/>
                <a:gd name="connsiteX39" fmla="*/ 13774933 w 17157070"/>
                <a:gd name="connsiteY39" fmla="*/ 2486799 h 10800208"/>
                <a:gd name="connsiteX40" fmla="*/ 15294184 w 17157070"/>
                <a:gd name="connsiteY40" fmla="*/ 1980384 h 10800208"/>
                <a:gd name="connsiteX41" fmla="*/ 15746333 w 17157070"/>
                <a:gd name="connsiteY41" fmla="*/ 2305939 h 10800208"/>
                <a:gd name="connsiteX42" fmla="*/ 16578306 w 17157070"/>
                <a:gd name="connsiteY42" fmla="*/ 2016557 h 10800208"/>
                <a:gd name="connsiteX43" fmla="*/ 17084732 w 17157070"/>
                <a:gd name="connsiteY43" fmla="*/ 2414465 h 10800208"/>
                <a:gd name="connsiteX44" fmla="*/ 17157070 w 17157070"/>
                <a:gd name="connsiteY44" fmla="*/ 1473974 h 10800208"/>
                <a:gd name="connsiteX45" fmla="*/ 16433615 w 17157070"/>
                <a:gd name="connsiteY45" fmla="*/ 1383544 h 10800208"/>
                <a:gd name="connsiteX46" fmla="*/ 16415865 w 17157070"/>
                <a:gd name="connsiteY46" fmla="*/ 767392 h 10800208"/>
                <a:gd name="connsiteX47" fmla="*/ 5365184 w 17157070"/>
                <a:gd name="connsiteY47" fmla="*/ 3460880 h 10800208"/>
                <a:gd name="connsiteX48" fmla="*/ 5153802 w 17157070"/>
                <a:gd name="connsiteY48" fmla="*/ 3132314 h 10800208"/>
                <a:gd name="connsiteX49" fmla="*/ 4898441 w 17157070"/>
                <a:gd name="connsiteY49" fmla="*/ 3183022 h 10800208"/>
                <a:gd name="connsiteX50" fmla="*/ 4600673 w 17157070"/>
                <a:gd name="connsiteY50" fmla="*/ 2914551 h 10800208"/>
                <a:gd name="connsiteX51" fmla="*/ 4416749 w 17157070"/>
                <a:gd name="connsiteY51" fmla="*/ 2491544 h 10800208"/>
                <a:gd name="connsiteX52" fmla="*/ 4653822 w 17157070"/>
                <a:gd name="connsiteY52" fmla="*/ 1941377 h 10800208"/>
                <a:gd name="connsiteX53" fmla="*/ 4432864 w 17157070"/>
                <a:gd name="connsiteY53" fmla="*/ 1388142 h 10800208"/>
                <a:gd name="connsiteX54" fmla="*/ 4437471 w 17157070"/>
                <a:gd name="connsiteY54" fmla="*/ 719354 h 10800208"/>
                <a:gd name="connsiteX55" fmla="*/ 4141784 w 17157070"/>
                <a:gd name="connsiteY55" fmla="*/ 0 h 10800208"/>
                <a:gd name="connsiteX56" fmla="*/ 2314296 w 17157070"/>
                <a:gd name="connsiteY56" fmla="*/ 282857 h 10800208"/>
                <a:gd name="connsiteX57" fmla="*/ 1334589 w 17157070"/>
                <a:gd name="connsiteY57" fmla="*/ 1087729 h 10800208"/>
                <a:gd name="connsiteX58" fmla="*/ 0 w 17157070"/>
                <a:gd name="connsiteY58" fmla="*/ 2435175 h 10800208"/>
                <a:gd name="connsiteX0" fmla="*/ 0 w 17157070"/>
                <a:gd name="connsiteY0" fmla="*/ 2435175 h 10800208"/>
                <a:gd name="connsiteX1" fmla="*/ 613837 w 17157070"/>
                <a:gd name="connsiteY1" fmla="*/ 4813533 h 10800208"/>
                <a:gd name="connsiteX2" fmla="*/ 1518338 w 17157070"/>
                <a:gd name="connsiteY2" fmla="*/ 5681683 h 10800208"/>
                <a:gd name="connsiteX3" fmla="*/ 1735898 w 17157070"/>
                <a:gd name="connsiteY3" fmla="*/ 6513607 h 10800208"/>
                <a:gd name="connsiteX4" fmla="*/ 3137400 w 17157070"/>
                <a:gd name="connsiteY4" fmla="*/ 7038167 h 10800208"/>
                <a:gd name="connsiteX5" fmla="*/ 3453963 w 17157070"/>
                <a:gd name="connsiteY5" fmla="*/ 8394658 h 10800208"/>
                <a:gd name="connsiteX6" fmla="*/ 4168520 w 17157070"/>
                <a:gd name="connsiteY6" fmla="*/ 9769227 h 10800208"/>
                <a:gd name="connsiteX7" fmla="*/ 4162343 w 17157070"/>
                <a:gd name="connsiteY7" fmla="*/ 10800208 h 10800208"/>
                <a:gd name="connsiteX8" fmla="*/ 4605215 w 17157070"/>
                <a:gd name="connsiteY8" fmla="*/ 10716044 h 10800208"/>
                <a:gd name="connsiteX9" fmla="*/ 4840336 w 17157070"/>
                <a:gd name="connsiteY9" fmla="*/ 10426662 h 10800208"/>
                <a:gd name="connsiteX10" fmla="*/ 6070201 w 17157070"/>
                <a:gd name="connsiteY10" fmla="*/ 10444754 h 10800208"/>
                <a:gd name="connsiteX11" fmla="*/ 6884082 w 17157070"/>
                <a:gd name="connsiteY11" fmla="*/ 9847902 h 10800208"/>
                <a:gd name="connsiteX12" fmla="*/ 7716051 w 17157070"/>
                <a:gd name="connsiteY12" fmla="*/ 10173461 h 10800208"/>
                <a:gd name="connsiteX13" fmla="*/ 8584189 w 17157070"/>
                <a:gd name="connsiteY13" fmla="*/ 9974509 h 10800208"/>
                <a:gd name="connsiteX14" fmla="*/ 9289552 w 17157070"/>
                <a:gd name="connsiteY14" fmla="*/ 10173461 h 10800208"/>
                <a:gd name="connsiteX15" fmla="*/ 10139605 w 17157070"/>
                <a:gd name="connsiteY15" fmla="*/ 9775561 h 10800208"/>
                <a:gd name="connsiteX16" fmla="*/ 10664108 w 17157070"/>
                <a:gd name="connsiteY16" fmla="*/ 9992597 h 10800208"/>
                <a:gd name="connsiteX17" fmla="*/ 11387555 w 17157070"/>
                <a:gd name="connsiteY17" fmla="*/ 9902167 h 10800208"/>
                <a:gd name="connsiteX18" fmla="*/ 11966315 w 17157070"/>
                <a:gd name="connsiteY18" fmla="*/ 10625622 h 10800208"/>
                <a:gd name="connsiteX19" fmla="*/ 12942975 w 17157070"/>
                <a:gd name="connsiteY19" fmla="*/ 10390493 h 10800208"/>
                <a:gd name="connsiteX20" fmla="*/ 13575992 w 17157070"/>
                <a:gd name="connsiteY20" fmla="*/ 10788393 h 10800208"/>
                <a:gd name="connsiteX21" fmla="*/ 13973888 w 17157070"/>
                <a:gd name="connsiteY21" fmla="*/ 10697960 h 10800208"/>
                <a:gd name="connsiteX22" fmla="*/ 14028146 w 17157070"/>
                <a:gd name="connsiteY22" fmla="*/ 10155369 h 10800208"/>
                <a:gd name="connsiteX23" fmla="*/ 13594073 w 17157070"/>
                <a:gd name="connsiteY23" fmla="*/ 10101112 h 10800208"/>
                <a:gd name="connsiteX24" fmla="*/ 13612161 w 17157070"/>
                <a:gd name="connsiteY24" fmla="*/ 9413833 h 10800208"/>
                <a:gd name="connsiteX25" fmla="*/ 14190925 w 17157070"/>
                <a:gd name="connsiteY25" fmla="*/ 9269146 h 10800208"/>
                <a:gd name="connsiteX26" fmla="*/ 13865366 w 17157070"/>
                <a:gd name="connsiteY26" fmla="*/ 8798901 h 10800208"/>
                <a:gd name="connsiteX27" fmla="*/ 14136664 w 17157070"/>
                <a:gd name="connsiteY27" fmla="*/ 8401005 h 10800208"/>
                <a:gd name="connsiteX28" fmla="*/ 14703435 w 17157070"/>
                <a:gd name="connsiteY28" fmla="*/ 8428101 h 10800208"/>
                <a:gd name="connsiteX29" fmla="*/ 14661163 w 17157070"/>
                <a:gd name="connsiteY29" fmla="*/ 8256317 h 10800208"/>
                <a:gd name="connsiteX30" fmla="*/ 14335608 w 17157070"/>
                <a:gd name="connsiteY30" fmla="*/ 8093542 h 10800208"/>
                <a:gd name="connsiteX31" fmla="*/ 14498387 w 17157070"/>
                <a:gd name="connsiteY31" fmla="*/ 7514778 h 10800208"/>
                <a:gd name="connsiteX32" fmla="*/ 13847278 w 17157070"/>
                <a:gd name="connsiteY32" fmla="*/ 6610464 h 10800208"/>
                <a:gd name="connsiteX33" fmla="*/ 13340864 w 17157070"/>
                <a:gd name="connsiteY33" fmla="*/ 5905101 h 10800208"/>
                <a:gd name="connsiteX34" fmla="*/ 13123831 w 17157070"/>
                <a:gd name="connsiteY34" fmla="*/ 4819923 h 10800208"/>
                <a:gd name="connsiteX35" fmla="*/ 13232349 w 17157070"/>
                <a:gd name="connsiteY35" fmla="*/ 4132649 h 10800208"/>
                <a:gd name="connsiteX36" fmla="*/ 12273778 w 17157070"/>
                <a:gd name="connsiteY36" fmla="*/ 4165810 h 10800208"/>
                <a:gd name="connsiteX37" fmla="*/ 12201432 w 17157070"/>
                <a:gd name="connsiteY37" fmla="*/ 3767910 h 10800208"/>
                <a:gd name="connsiteX38" fmla="*/ 12508887 w 17157070"/>
                <a:gd name="connsiteY38" fmla="*/ 3264515 h 10800208"/>
                <a:gd name="connsiteX39" fmla="*/ 13774933 w 17157070"/>
                <a:gd name="connsiteY39" fmla="*/ 2486799 h 10800208"/>
                <a:gd name="connsiteX40" fmla="*/ 15294184 w 17157070"/>
                <a:gd name="connsiteY40" fmla="*/ 1980384 h 10800208"/>
                <a:gd name="connsiteX41" fmla="*/ 15746333 w 17157070"/>
                <a:gd name="connsiteY41" fmla="*/ 2305939 h 10800208"/>
                <a:gd name="connsiteX42" fmla="*/ 16578306 w 17157070"/>
                <a:gd name="connsiteY42" fmla="*/ 2016557 h 10800208"/>
                <a:gd name="connsiteX43" fmla="*/ 17084732 w 17157070"/>
                <a:gd name="connsiteY43" fmla="*/ 2414465 h 10800208"/>
                <a:gd name="connsiteX44" fmla="*/ 17157070 w 17157070"/>
                <a:gd name="connsiteY44" fmla="*/ 1473974 h 10800208"/>
                <a:gd name="connsiteX45" fmla="*/ 16433615 w 17157070"/>
                <a:gd name="connsiteY45" fmla="*/ 1383544 h 10800208"/>
                <a:gd name="connsiteX46" fmla="*/ 5365184 w 17157070"/>
                <a:gd name="connsiteY46" fmla="*/ 3460880 h 10800208"/>
                <a:gd name="connsiteX47" fmla="*/ 5153802 w 17157070"/>
                <a:gd name="connsiteY47" fmla="*/ 3132314 h 10800208"/>
                <a:gd name="connsiteX48" fmla="*/ 4898441 w 17157070"/>
                <a:gd name="connsiteY48" fmla="*/ 3183022 h 10800208"/>
                <a:gd name="connsiteX49" fmla="*/ 4600673 w 17157070"/>
                <a:gd name="connsiteY49" fmla="*/ 2914551 h 10800208"/>
                <a:gd name="connsiteX50" fmla="*/ 4416749 w 17157070"/>
                <a:gd name="connsiteY50" fmla="*/ 2491544 h 10800208"/>
                <a:gd name="connsiteX51" fmla="*/ 4653822 w 17157070"/>
                <a:gd name="connsiteY51" fmla="*/ 1941377 h 10800208"/>
                <a:gd name="connsiteX52" fmla="*/ 4432864 w 17157070"/>
                <a:gd name="connsiteY52" fmla="*/ 1388142 h 10800208"/>
                <a:gd name="connsiteX53" fmla="*/ 4437471 w 17157070"/>
                <a:gd name="connsiteY53" fmla="*/ 719354 h 10800208"/>
                <a:gd name="connsiteX54" fmla="*/ 4141784 w 17157070"/>
                <a:gd name="connsiteY54" fmla="*/ 0 h 10800208"/>
                <a:gd name="connsiteX55" fmla="*/ 2314296 w 17157070"/>
                <a:gd name="connsiteY55" fmla="*/ 282857 h 10800208"/>
                <a:gd name="connsiteX56" fmla="*/ 1334589 w 17157070"/>
                <a:gd name="connsiteY56" fmla="*/ 1087729 h 10800208"/>
                <a:gd name="connsiteX57" fmla="*/ 0 w 17157070"/>
                <a:gd name="connsiteY57" fmla="*/ 2435175 h 10800208"/>
                <a:gd name="connsiteX0" fmla="*/ 0 w 17157070"/>
                <a:gd name="connsiteY0" fmla="*/ 2435175 h 10800208"/>
                <a:gd name="connsiteX1" fmla="*/ 613837 w 17157070"/>
                <a:gd name="connsiteY1" fmla="*/ 4813533 h 10800208"/>
                <a:gd name="connsiteX2" fmla="*/ 1518338 w 17157070"/>
                <a:gd name="connsiteY2" fmla="*/ 5681683 h 10800208"/>
                <a:gd name="connsiteX3" fmla="*/ 1735898 w 17157070"/>
                <a:gd name="connsiteY3" fmla="*/ 6513607 h 10800208"/>
                <a:gd name="connsiteX4" fmla="*/ 3137400 w 17157070"/>
                <a:gd name="connsiteY4" fmla="*/ 7038167 h 10800208"/>
                <a:gd name="connsiteX5" fmla="*/ 3453963 w 17157070"/>
                <a:gd name="connsiteY5" fmla="*/ 8394658 h 10800208"/>
                <a:gd name="connsiteX6" fmla="*/ 4168520 w 17157070"/>
                <a:gd name="connsiteY6" fmla="*/ 9769227 h 10800208"/>
                <a:gd name="connsiteX7" fmla="*/ 4162343 w 17157070"/>
                <a:gd name="connsiteY7" fmla="*/ 10800208 h 10800208"/>
                <a:gd name="connsiteX8" fmla="*/ 4605215 w 17157070"/>
                <a:gd name="connsiteY8" fmla="*/ 10716044 h 10800208"/>
                <a:gd name="connsiteX9" fmla="*/ 4840336 w 17157070"/>
                <a:gd name="connsiteY9" fmla="*/ 10426662 h 10800208"/>
                <a:gd name="connsiteX10" fmla="*/ 6070201 w 17157070"/>
                <a:gd name="connsiteY10" fmla="*/ 10444754 h 10800208"/>
                <a:gd name="connsiteX11" fmla="*/ 6884082 w 17157070"/>
                <a:gd name="connsiteY11" fmla="*/ 9847902 h 10800208"/>
                <a:gd name="connsiteX12" fmla="*/ 7716051 w 17157070"/>
                <a:gd name="connsiteY12" fmla="*/ 10173461 h 10800208"/>
                <a:gd name="connsiteX13" fmla="*/ 8584189 w 17157070"/>
                <a:gd name="connsiteY13" fmla="*/ 9974509 h 10800208"/>
                <a:gd name="connsiteX14" fmla="*/ 9289552 w 17157070"/>
                <a:gd name="connsiteY14" fmla="*/ 10173461 h 10800208"/>
                <a:gd name="connsiteX15" fmla="*/ 10139605 w 17157070"/>
                <a:gd name="connsiteY15" fmla="*/ 9775561 h 10800208"/>
                <a:gd name="connsiteX16" fmla="*/ 10664108 w 17157070"/>
                <a:gd name="connsiteY16" fmla="*/ 9992597 h 10800208"/>
                <a:gd name="connsiteX17" fmla="*/ 11387555 w 17157070"/>
                <a:gd name="connsiteY17" fmla="*/ 9902167 h 10800208"/>
                <a:gd name="connsiteX18" fmla="*/ 11966315 w 17157070"/>
                <a:gd name="connsiteY18" fmla="*/ 10625622 h 10800208"/>
                <a:gd name="connsiteX19" fmla="*/ 12942975 w 17157070"/>
                <a:gd name="connsiteY19" fmla="*/ 10390493 h 10800208"/>
                <a:gd name="connsiteX20" fmla="*/ 13575992 w 17157070"/>
                <a:gd name="connsiteY20" fmla="*/ 10788393 h 10800208"/>
                <a:gd name="connsiteX21" fmla="*/ 13973888 w 17157070"/>
                <a:gd name="connsiteY21" fmla="*/ 10697960 h 10800208"/>
                <a:gd name="connsiteX22" fmla="*/ 14028146 w 17157070"/>
                <a:gd name="connsiteY22" fmla="*/ 10155369 h 10800208"/>
                <a:gd name="connsiteX23" fmla="*/ 13594073 w 17157070"/>
                <a:gd name="connsiteY23" fmla="*/ 10101112 h 10800208"/>
                <a:gd name="connsiteX24" fmla="*/ 13612161 w 17157070"/>
                <a:gd name="connsiteY24" fmla="*/ 9413833 h 10800208"/>
                <a:gd name="connsiteX25" fmla="*/ 14190925 w 17157070"/>
                <a:gd name="connsiteY25" fmla="*/ 9269146 h 10800208"/>
                <a:gd name="connsiteX26" fmla="*/ 13865366 w 17157070"/>
                <a:gd name="connsiteY26" fmla="*/ 8798901 h 10800208"/>
                <a:gd name="connsiteX27" fmla="*/ 14136664 w 17157070"/>
                <a:gd name="connsiteY27" fmla="*/ 8401005 h 10800208"/>
                <a:gd name="connsiteX28" fmla="*/ 14703435 w 17157070"/>
                <a:gd name="connsiteY28" fmla="*/ 8428101 h 10800208"/>
                <a:gd name="connsiteX29" fmla="*/ 14661163 w 17157070"/>
                <a:gd name="connsiteY29" fmla="*/ 8256317 h 10800208"/>
                <a:gd name="connsiteX30" fmla="*/ 14335608 w 17157070"/>
                <a:gd name="connsiteY30" fmla="*/ 8093542 h 10800208"/>
                <a:gd name="connsiteX31" fmla="*/ 14498387 w 17157070"/>
                <a:gd name="connsiteY31" fmla="*/ 7514778 h 10800208"/>
                <a:gd name="connsiteX32" fmla="*/ 13847278 w 17157070"/>
                <a:gd name="connsiteY32" fmla="*/ 6610464 h 10800208"/>
                <a:gd name="connsiteX33" fmla="*/ 13340864 w 17157070"/>
                <a:gd name="connsiteY33" fmla="*/ 5905101 h 10800208"/>
                <a:gd name="connsiteX34" fmla="*/ 13123831 w 17157070"/>
                <a:gd name="connsiteY34" fmla="*/ 4819923 h 10800208"/>
                <a:gd name="connsiteX35" fmla="*/ 13232349 w 17157070"/>
                <a:gd name="connsiteY35" fmla="*/ 4132649 h 10800208"/>
                <a:gd name="connsiteX36" fmla="*/ 12273778 w 17157070"/>
                <a:gd name="connsiteY36" fmla="*/ 4165810 h 10800208"/>
                <a:gd name="connsiteX37" fmla="*/ 12201432 w 17157070"/>
                <a:gd name="connsiteY37" fmla="*/ 3767910 h 10800208"/>
                <a:gd name="connsiteX38" fmla="*/ 12508887 w 17157070"/>
                <a:gd name="connsiteY38" fmla="*/ 3264515 h 10800208"/>
                <a:gd name="connsiteX39" fmla="*/ 13774933 w 17157070"/>
                <a:gd name="connsiteY39" fmla="*/ 2486799 h 10800208"/>
                <a:gd name="connsiteX40" fmla="*/ 15294184 w 17157070"/>
                <a:gd name="connsiteY40" fmla="*/ 1980384 h 10800208"/>
                <a:gd name="connsiteX41" fmla="*/ 15746333 w 17157070"/>
                <a:gd name="connsiteY41" fmla="*/ 2305939 h 10800208"/>
                <a:gd name="connsiteX42" fmla="*/ 16578306 w 17157070"/>
                <a:gd name="connsiteY42" fmla="*/ 2016557 h 10800208"/>
                <a:gd name="connsiteX43" fmla="*/ 17084732 w 17157070"/>
                <a:gd name="connsiteY43" fmla="*/ 2414465 h 10800208"/>
                <a:gd name="connsiteX44" fmla="*/ 17157070 w 17157070"/>
                <a:gd name="connsiteY44" fmla="*/ 1473974 h 10800208"/>
                <a:gd name="connsiteX45" fmla="*/ 5596373 w 17157070"/>
                <a:gd name="connsiteY45" fmla="*/ 4033059 h 10800208"/>
                <a:gd name="connsiteX46" fmla="*/ 5365184 w 17157070"/>
                <a:gd name="connsiteY46" fmla="*/ 3460880 h 10800208"/>
                <a:gd name="connsiteX47" fmla="*/ 5153802 w 17157070"/>
                <a:gd name="connsiteY47" fmla="*/ 3132314 h 10800208"/>
                <a:gd name="connsiteX48" fmla="*/ 4898441 w 17157070"/>
                <a:gd name="connsiteY48" fmla="*/ 3183022 h 10800208"/>
                <a:gd name="connsiteX49" fmla="*/ 4600673 w 17157070"/>
                <a:gd name="connsiteY49" fmla="*/ 2914551 h 10800208"/>
                <a:gd name="connsiteX50" fmla="*/ 4416749 w 17157070"/>
                <a:gd name="connsiteY50" fmla="*/ 2491544 h 10800208"/>
                <a:gd name="connsiteX51" fmla="*/ 4653822 w 17157070"/>
                <a:gd name="connsiteY51" fmla="*/ 1941377 h 10800208"/>
                <a:gd name="connsiteX52" fmla="*/ 4432864 w 17157070"/>
                <a:gd name="connsiteY52" fmla="*/ 1388142 h 10800208"/>
                <a:gd name="connsiteX53" fmla="*/ 4437471 w 17157070"/>
                <a:gd name="connsiteY53" fmla="*/ 719354 h 10800208"/>
                <a:gd name="connsiteX54" fmla="*/ 4141784 w 17157070"/>
                <a:gd name="connsiteY54" fmla="*/ 0 h 10800208"/>
                <a:gd name="connsiteX55" fmla="*/ 2314296 w 17157070"/>
                <a:gd name="connsiteY55" fmla="*/ 282857 h 10800208"/>
                <a:gd name="connsiteX56" fmla="*/ 1334589 w 17157070"/>
                <a:gd name="connsiteY56" fmla="*/ 1087729 h 10800208"/>
                <a:gd name="connsiteX57" fmla="*/ 0 w 17157070"/>
                <a:gd name="connsiteY57" fmla="*/ 2435175 h 10800208"/>
                <a:gd name="connsiteX0" fmla="*/ 0 w 17084730"/>
                <a:gd name="connsiteY0" fmla="*/ 2435175 h 10800208"/>
                <a:gd name="connsiteX1" fmla="*/ 613837 w 17084730"/>
                <a:gd name="connsiteY1" fmla="*/ 4813533 h 10800208"/>
                <a:gd name="connsiteX2" fmla="*/ 1518338 w 17084730"/>
                <a:gd name="connsiteY2" fmla="*/ 5681683 h 10800208"/>
                <a:gd name="connsiteX3" fmla="*/ 1735898 w 17084730"/>
                <a:gd name="connsiteY3" fmla="*/ 6513607 h 10800208"/>
                <a:gd name="connsiteX4" fmla="*/ 3137400 w 17084730"/>
                <a:gd name="connsiteY4" fmla="*/ 7038167 h 10800208"/>
                <a:gd name="connsiteX5" fmla="*/ 3453963 w 17084730"/>
                <a:gd name="connsiteY5" fmla="*/ 8394658 h 10800208"/>
                <a:gd name="connsiteX6" fmla="*/ 4168520 w 17084730"/>
                <a:gd name="connsiteY6" fmla="*/ 9769227 h 10800208"/>
                <a:gd name="connsiteX7" fmla="*/ 4162343 w 17084730"/>
                <a:gd name="connsiteY7" fmla="*/ 10800208 h 10800208"/>
                <a:gd name="connsiteX8" fmla="*/ 4605215 w 17084730"/>
                <a:gd name="connsiteY8" fmla="*/ 10716044 h 10800208"/>
                <a:gd name="connsiteX9" fmla="*/ 4840336 w 17084730"/>
                <a:gd name="connsiteY9" fmla="*/ 10426662 h 10800208"/>
                <a:gd name="connsiteX10" fmla="*/ 6070201 w 17084730"/>
                <a:gd name="connsiteY10" fmla="*/ 10444754 h 10800208"/>
                <a:gd name="connsiteX11" fmla="*/ 6884082 w 17084730"/>
                <a:gd name="connsiteY11" fmla="*/ 9847902 h 10800208"/>
                <a:gd name="connsiteX12" fmla="*/ 7716051 w 17084730"/>
                <a:gd name="connsiteY12" fmla="*/ 10173461 h 10800208"/>
                <a:gd name="connsiteX13" fmla="*/ 8584189 w 17084730"/>
                <a:gd name="connsiteY13" fmla="*/ 9974509 h 10800208"/>
                <a:gd name="connsiteX14" fmla="*/ 9289552 w 17084730"/>
                <a:gd name="connsiteY14" fmla="*/ 10173461 h 10800208"/>
                <a:gd name="connsiteX15" fmla="*/ 10139605 w 17084730"/>
                <a:gd name="connsiteY15" fmla="*/ 9775561 h 10800208"/>
                <a:gd name="connsiteX16" fmla="*/ 10664108 w 17084730"/>
                <a:gd name="connsiteY16" fmla="*/ 9992597 h 10800208"/>
                <a:gd name="connsiteX17" fmla="*/ 11387555 w 17084730"/>
                <a:gd name="connsiteY17" fmla="*/ 9902167 h 10800208"/>
                <a:gd name="connsiteX18" fmla="*/ 11966315 w 17084730"/>
                <a:gd name="connsiteY18" fmla="*/ 10625622 h 10800208"/>
                <a:gd name="connsiteX19" fmla="*/ 12942975 w 17084730"/>
                <a:gd name="connsiteY19" fmla="*/ 10390493 h 10800208"/>
                <a:gd name="connsiteX20" fmla="*/ 13575992 w 17084730"/>
                <a:gd name="connsiteY20" fmla="*/ 10788393 h 10800208"/>
                <a:gd name="connsiteX21" fmla="*/ 13973888 w 17084730"/>
                <a:gd name="connsiteY21" fmla="*/ 10697960 h 10800208"/>
                <a:gd name="connsiteX22" fmla="*/ 14028146 w 17084730"/>
                <a:gd name="connsiteY22" fmla="*/ 10155369 h 10800208"/>
                <a:gd name="connsiteX23" fmla="*/ 13594073 w 17084730"/>
                <a:gd name="connsiteY23" fmla="*/ 10101112 h 10800208"/>
                <a:gd name="connsiteX24" fmla="*/ 13612161 w 17084730"/>
                <a:gd name="connsiteY24" fmla="*/ 9413833 h 10800208"/>
                <a:gd name="connsiteX25" fmla="*/ 14190925 w 17084730"/>
                <a:gd name="connsiteY25" fmla="*/ 9269146 h 10800208"/>
                <a:gd name="connsiteX26" fmla="*/ 13865366 w 17084730"/>
                <a:gd name="connsiteY26" fmla="*/ 8798901 h 10800208"/>
                <a:gd name="connsiteX27" fmla="*/ 14136664 w 17084730"/>
                <a:gd name="connsiteY27" fmla="*/ 8401005 h 10800208"/>
                <a:gd name="connsiteX28" fmla="*/ 14703435 w 17084730"/>
                <a:gd name="connsiteY28" fmla="*/ 8428101 h 10800208"/>
                <a:gd name="connsiteX29" fmla="*/ 14661163 w 17084730"/>
                <a:gd name="connsiteY29" fmla="*/ 8256317 h 10800208"/>
                <a:gd name="connsiteX30" fmla="*/ 14335608 w 17084730"/>
                <a:gd name="connsiteY30" fmla="*/ 8093542 h 10800208"/>
                <a:gd name="connsiteX31" fmla="*/ 14498387 w 17084730"/>
                <a:gd name="connsiteY31" fmla="*/ 7514778 h 10800208"/>
                <a:gd name="connsiteX32" fmla="*/ 13847278 w 17084730"/>
                <a:gd name="connsiteY32" fmla="*/ 6610464 h 10800208"/>
                <a:gd name="connsiteX33" fmla="*/ 13340864 w 17084730"/>
                <a:gd name="connsiteY33" fmla="*/ 5905101 h 10800208"/>
                <a:gd name="connsiteX34" fmla="*/ 13123831 w 17084730"/>
                <a:gd name="connsiteY34" fmla="*/ 4819923 h 10800208"/>
                <a:gd name="connsiteX35" fmla="*/ 13232349 w 17084730"/>
                <a:gd name="connsiteY35" fmla="*/ 4132649 h 10800208"/>
                <a:gd name="connsiteX36" fmla="*/ 12273778 w 17084730"/>
                <a:gd name="connsiteY36" fmla="*/ 4165810 h 10800208"/>
                <a:gd name="connsiteX37" fmla="*/ 12201432 w 17084730"/>
                <a:gd name="connsiteY37" fmla="*/ 3767910 h 10800208"/>
                <a:gd name="connsiteX38" fmla="*/ 12508887 w 17084730"/>
                <a:gd name="connsiteY38" fmla="*/ 3264515 h 10800208"/>
                <a:gd name="connsiteX39" fmla="*/ 13774933 w 17084730"/>
                <a:gd name="connsiteY39" fmla="*/ 2486799 h 10800208"/>
                <a:gd name="connsiteX40" fmla="*/ 15294184 w 17084730"/>
                <a:gd name="connsiteY40" fmla="*/ 1980384 h 10800208"/>
                <a:gd name="connsiteX41" fmla="*/ 15746333 w 17084730"/>
                <a:gd name="connsiteY41" fmla="*/ 2305939 h 10800208"/>
                <a:gd name="connsiteX42" fmla="*/ 16578306 w 17084730"/>
                <a:gd name="connsiteY42" fmla="*/ 2016557 h 10800208"/>
                <a:gd name="connsiteX43" fmla="*/ 17084732 w 17084730"/>
                <a:gd name="connsiteY43" fmla="*/ 2414465 h 10800208"/>
                <a:gd name="connsiteX44" fmla="*/ 5596373 w 17084730"/>
                <a:gd name="connsiteY44" fmla="*/ 4033059 h 10800208"/>
                <a:gd name="connsiteX45" fmla="*/ 5365184 w 17084730"/>
                <a:gd name="connsiteY45" fmla="*/ 3460880 h 10800208"/>
                <a:gd name="connsiteX46" fmla="*/ 5153802 w 17084730"/>
                <a:gd name="connsiteY46" fmla="*/ 3132314 h 10800208"/>
                <a:gd name="connsiteX47" fmla="*/ 4898441 w 17084730"/>
                <a:gd name="connsiteY47" fmla="*/ 3183022 h 10800208"/>
                <a:gd name="connsiteX48" fmla="*/ 4600673 w 17084730"/>
                <a:gd name="connsiteY48" fmla="*/ 2914551 h 10800208"/>
                <a:gd name="connsiteX49" fmla="*/ 4416749 w 17084730"/>
                <a:gd name="connsiteY49" fmla="*/ 2491544 h 10800208"/>
                <a:gd name="connsiteX50" fmla="*/ 4653822 w 17084730"/>
                <a:gd name="connsiteY50" fmla="*/ 1941377 h 10800208"/>
                <a:gd name="connsiteX51" fmla="*/ 4432864 w 17084730"/>
                <a:gd name="connsiteY51" fmla="*/ 1388142 h 10800208"/>
                <a:gd name="connsiteX52" fmla="*/ 4437471 w 17084730"/>
                <a:gd name="connsiteY52" fmla="*/ 719354 h 10800208"/>
                <a:gd name="connsiteX53" fmla="*/ 4141784 w 17084730"/>
                <a:gd name="connsiteY53" fmla="*/ 0 h 10800208"/>
                <a:gd name="connsiteX54" fmla="*/ 2314296 w 17084730"/>
                <a:gd name="connsiteY54" fmla="*/ 282857 h 10800208"/>
                <a:gd name="connsiteX55" fmla="*/ 1334589 w 17084730"/>
                <a:gd name="connsiteY55" fmla="*/ 1087729 h 10800208"/>
                <a:gd name="connsiteX56" fmla="*/ 0 w 17084730"/>
                <a:gd name="connsiteY56" fmla="*/ 2435175 h 10800208"/>
                <a:gd name="connsiteX0" fmla="*/ 0 w 16578304"/>
                <a:gd name="connsiteY0" fmla="*/ 2435175 h 10800208"/>
                <a:gd name="connsiteX1" fmla="*/ 613837 w 16578304"/>
                <a:gd name="connsiteY1" fmla="*/ 4813533 h 10800208"/>
                <a:gd name="connsiteX2" fmla="*/ 1518338 w 16578304"/>
                <a:gd name="connsiteY2" fmla="*/ 5681683 h 10800208"/>
                <a:gd name="connsiteX3" fmla="*/ 1735898 w 16578304"/>
                <a:gd name="connsiteY3" fmla="*/ 6513607 h 10800208"/>
                <a:gd name="connsiteX4" fmla="*/ 3137400 w 16578304"/>
                <a:gd name="connsiteY4" fmla="*/ 7038167 h 10800208"/>
                <a:gd name="connsiteX5" fmla="*/ 3453963 w 16578304"/>
                <a:gd name="connsiteY5" fmla="*/ 8394658 h 10800208"/>
                <a:gd name="connsiteX6" fmla="*/ 4168520 w 16578304"/>
                <a:gd name="connsiteY6" fmla="*/ 9769227 h 10800208"/>
                <a:gd name="connsiteX7" fmla="*/ 4162343 w 16578304"/>
                <a:gd name="connsiteY7" fmla="*/ 10800208 h 10800208"/>
                <a:gd name="connsiteX8" fmla="*/ 4605215 w 16578304"/>
                <a:gd name="connsiteY8" fmla="*/ 10716044 h 10800208"/>
                <a:gd name="connsiteX9" fmla="*/ 4840336 w 16578304"/>
                <a:gd name="connsiteY9" fmla="*/ 10426662 h 10800208"/>
                <a:gd name="connsiteX10" fmla="*/ 6070201 w 16578304"/>
                <a:gd name="connsiteY10" fmla="*/ 10444754 h 10800208"/>
                <a:gd name="connsiteX11" fmla="*/ 6884082 w 16578304"/>
                <a:gd name="connsiteY11" fmla="*/ 9847902 h 10800208"/>
                <a:gd name="connsiteX12" fmla="*/ 7716051 w 16578304"/>
                <a:gd name="connsiteY12" fmla="*/ 10173461 h 10800208"/>
                <a:gd name="connsiteX13" fmla="*/ 8584189 w 16578304"/>
                <a:gd name="connsiteY13" fmla="*/ 9974509 h 10800208"/>
                <a:gd name="connsiteX14" fmla="*/ 9289552 w 16578304"/>
                <a:gd name="connsiteY14" fmla="*/ 10173461 h 10800208"/>
                <a:gd name="connsiteX15" fmla="*/ 10139605 w 16578304"/>
                <a:gd name="connsiteY15" fmla="*/ 9775561 h 10800208"/>
                <a:gd name="connsiteX16" fmla="*/ 10664108 w 16578304"/>
                <a:gd name="connsiteY16" fmla="*/ 9992597 h 10800208"/>
                <a:gd name="connsiteX17" fmla="*/ 11387555 w 16578304"/>
                <a:gd name="connsiteY17" fmla="*/ 9902167 h 10800208"/>
                <a:gd name="connsiteX18" fmla="*/ 11966315 w 16578304"/>
                <a:gd name="connsiteY18" fmla="*/ 10625622 h 10800208"/>
                <a:gd name="connsiteX19" fmla="*/ 12942975 w 16578304"/>
                <a:gd name="connsiteY19" fmla="*/ 10390493 h 10800208"/>
                <a:gd name="connsiteX20" fmla="*/ 13575992 w 16578304"/>
                <a:gd name="connsiteY20" fmla="*/ 10788393 h 10800208"/>
                <a:gd name="connsiteX21" fmla="*/ 13973888 w 16578304"/>
                <a:gd name="connsiteY21" fmla="*/ 10697960 h 10800208"/>
                <a:gd name="connsiteX22" fmla="*/ 14028146 w 16578304"/>
                <a:gd name="connsiteY22" fmla="*/ 10155369 h 10800208"/>
                <a:gd name="connsiteX23" fmla="*/ 13594073 w 16578304"/>
                <a:gd name="connsiteY23" fmla="*/ 10101112 h 10800208"/>
                <a:gd name="connsiteX24" fmla="*/ 13612161 w 16578304"/>
                <a:gd name="connsiteY24" fmla="*/ 9413833 h 10800208"/>
                <a:gd name="connsiteX25" fmla="*/ 14190925 w 16578304"/>
                <a:gd name="connsiteY25" fmla="*/ 9269146 h 10800208"/>
                <a:gd name="connsiteX26" fmla="*/ 13865366 w 16578304"/>
                <a:gd name="connsiteY26" fmla="*/ 8798901 h 10800208"/>
                <a:gd name="connsiteX27" fmla="*/ 14136664 w 16578304"/>
                <a:gd name="connsiteY27" fmla="*/ 8401005 h 10800208"/>
                <a:gd name="connsiteX28" fmla="*/ 14703435 w 16578304"/>
                <a:gd name="connsiteY28" fmla="*/ 8428101 h 10800208"/>
                <a:gd name="connsiteX29" fmla="*/ 14661163 w 16578304"/>
                <a:gd name="connsiteY29" fmla="*/ 8256317 h 10800208"/>
                <a:gd name="connsiteX30" fmla="*/ 14335608 w 16578304"/>
                <a:gd name="connsiteY30" fmla="*/ 8093542 h 10800208"/>
                <a:gd name="connsiteX31" fmla="*/ 14498387 w 16578304"/>
                <a:gd name="connsiteY31" fmla="*/ 7514778 h 10800208"/>
                <a:gd name="connsiteX32" fmla="*/ 13847278 w 16578304"/>
                <a:gd name="connsiteY32" fmla="*/ 6610464 h 10800208"/>
                <a:gd name="connsiteX33" fmla="*/ 13340864 w 16578304"/>
                <a:gd name="connsiteY33" fmla="*/ 5905101 h 10800208"/>
                <a:gd name="connsiteX34" fmla="*/ 13123831 w 16578304"/>
                <a:gd name="connsiteY34" fmla="*/ 4819923 h 10800208"/>
                <a:gd name="connsiteX35" fmla="*/ 13232349 w 16578304"/>
                <a:gd name="connsiteY35" fmla="*/ 4132649 h 10800208"/>
                <a:gd name="connsiteX36" fmla="*/ 12273778 w 16578304"/>
                <a:gd name="connsiteY36" fmla="*/ 4165810 h 10800208"/>
                <a:gd name="connsiteX37" fmla="*/ 12201432 w 16578304"/>
                <a:gd name="connsiteY37" fmla="*/ 3767910 h 10800208"/>
                <a:gd name="connsiteX38" fmla="*/ 12508887 w 16578304"/>
                <a:gd name="connsiteY38" fmla="*/ 3264515 h 10800208"/>
                <a:gd name="connsiteX39" fmla="*/ 13774933 w 16578304"/>
                <a:gd name="connsiteY39" fmla="*/ 2486799 h 10800208"/>
                <a:gd name="connsiteX40" fmla="*/ 15294184 w 16578304"/>
                <a:gd name="connsiteY40" fmla="*/ 1980384 h 10800208"/>
                <a:gd name="connsiteX41" fmla="*/ 15746333 w 16578304"/>
                <a:gd name="connsiteY41" fmla="*/ 2305939 h 10800208"/>
                <a:gd name="connsiteX42" fmla="*/ 16578306 w 16578304"/>
                <a:gd name="connsiteY42" fmla="*/ 2016557 h 10800208"/>
                <a:gd name="connsiteX43" fmla="*/ 6319261 w 16578304"/>
                <a:gd name="connsiteY43" fmla="*/ 4419497 h 10800208"/>
                <a:gd name="connsiteX44" fmla="*/ 5596373 w 16578304"/>
                <a:gd name="connsiteY44" fmla="*/ 4033059 h 10800208"/>
                <a:gd name="connsiteX45" fmla="*/ 5365184 w 16578304"/>
                <a:gd name="connsiteY45" fmla="*/ 3460880 h 10800208"/>
                <a:gd name="connsiteX46" fmla="*/ 5153802 w 16578304"/>
                <a:gd name="connsiteY46" fmla="*/ 3132314 h 10800208"/>
                <a:gd name="connsiteX47" fmla="*/ 4898441 w 16578304"/>
                <a:gd name="connsiteY47" fmla="*/ 3183022 h 10800208"/>
                <a:gd name="connsiteX48" fmla="*/ 4600673 w 16578304"/>
                <a:gd name="connsiteY48" fmla="*/ 2914551 h 10800208"/>
                <a:gd name="connsiteX49" fmla="*/ 4416749 w 16578304"/>
                <a:gd name="connsiteY49" fmla="*/ 2491544 h 10800208"/>
                <a:gd name="connsiteX50" fmla="*/ 4653822 w 16578304"/>
                <a:gd name="connsiteY50" fmla="*/ 1941377 h 10800208"/>
                <a:gd name="connsiteX51" fmla="*/ 4432864 w 16578304"/>
                <a:gd name="connsiteY51" fmla="*/ 1388142 h 10800208"/>
                <a:gd name="connsiteX52" fmla="*/ 4437471 w 16578304"/>
                <a:gd name="connsiteY52" fmla="*/ 719354 h 10800208"/>
                <a:gd name="connsiteX53" fmla="*/ 4141784 w 16578304"/>
                <a:gd name="connsiteY53" fmla="*/ 0 h 10800208"/>
                <a:gd name="connsiteX54" fmla="*/ 2314296 w 16578304"/>
                <a:gd name="connsiteY54" fmla="*/ 282857 h 10800208"/>
                <a:gd name="connsiteX55" fmla="*/ 1334589 w 16578304"/>
                <a:gd name="connsiteY55" fmla="*/ 1087729 h 10800208"/>
                <a:gd name="connsiteX56" fmla="*/ 0 w 16578304"/>
                <a:gd name="connsiteY56" fmla="*/ 2435175 h 10800208"/>
                <a:gd name="connsiteX0" fmla="*/ 0 w 15746332"/>
                <a:gd name="connsiteY0" fmla="*/ 2435175 h 10800208"/>
                <a:gd name="connsiteX1" fmla="*/ 613837 w 15746332"/>
                <a:gd name="connsiteY1" fmla="*/ 4813533 h 10800208"/>
                <a:gd name="connsiteX2" fmla="*/ 1518338 w 15746332"/>
                <a:gd name="connsiteY2" fmla="*/ 5681683 h 10800208"/>
                <a:gd name="connsiteX3" fmla="*/ 1735898 w 15746332"/>
                <a:gd name="connsiteY3" fmla="*/ 6513607 h 10800208"/>
                <a:gd name="connsiteX4" fmla="*/ 3137400 w 15746332"/>
                <a:gd name="connsiteY4" fmla="*/ 7038167 h 10800208"/>
                <a:gd name="connsiteX5" fmla="*/ 3453963 w 15746332"/>
                <a:gd name="connsiteY5" fmla="*/ 8394658 h 10800208"/>
                <a:gd name="connsiteX6" fmla="*/ 4168520 w 15746332"/>
                <a:gd name="connsiteY6" fmla="*/ 9769227 h 10800208"/>
                <a:gd name="connsiteX7" fmla="*/ 4162343 w 15746332"/>
                <a:gd name="connsiteY7" fmla="*/ 10800208 h 10800208"/>
                <a:gd name="connsiteX8" fmla="*/ 4605215 w 15746332"/>
                <a:gd name="connsiteY8" fmla="*/ 10716044 h 10800208"/>
                <a:gd name="connsiteX9" fmla="*/ 4840336 w 15746332"/>
                <a:gd name="connsiteY9" fmla="*/ 10426662 h 10800208"/>
                <a:gd name="connsiteX10" fmla="*/ 6070201 w 15746332"/>
                <a:gd name="connsiteY10" fmla="*/ 10444754 h 10800208"/>
                <a:gd name="connsiteX11" fmla="*/ 6884082 w 15746332"/>
                <a:gd name="connsiteY11" fmla="*/ 9847902 h 10800208"/>
                <a:gd name="connsiteX12" fmla="*/ 7716051 w 15746332"/>
                <a:gd name="connsiteY12" fmla="*/ 10173461 h 10800208"/>
                <a:gd name="connsiteX13" fmla="*/ 8584189 w 15746332"/>
                <a:gd name="connsiteY13" fmla="*/ 9974509 h 10800208"/>
                <a:gd name="connsiteX14" fmla="*/ 9289552 w 15746332"/>
                <a:gd name="connsiteY14" fmla="*/ 10173461 h 10800208"/>
                <a:gd name="connsiteX15" fmla="*/ 10139605 w 15746332"/>
                <a:gd name="connsiteY15" fmla="*/ 9775561 h 10800208"/>
                <a:gd name="connsiteX16" fmla="*/ 10664108 w 15746332"/>
                <a:gd name="connsiteY16" fmla="*/ 9992597 h 10800208"/>
                <a:gd name="connsiteX17" fmla="*/ 11387555 w 15746332"/>
                <a:gd name="connsiteY17" fmla="*/ 9902167 h 10800208"/>
                <a:gd name="connsiteX18" fmla="*/ 11966315 w 15746332"/>
                <a:gd name="connsiteY18" fmla="*/ 10625622 h 10800208"/>
                <a:gd name="connsiteX19" fmla="*/ 12942975 w 15746332"/>
                <a:gd name="connsiteY19" fmla="*/ 10390493 h 10800208"/>
                <a:gd name="connsiteX20" fmla="*/ 13575992 w 15746332"/>
                <a:gd name="connsiteY20" fmla="*/ 10788393 h 10800208"/>
                <a:gd name="connsiteX21" fmla="*/ 13973888 w 15746332"/>
                <a:gd name="connsiteY21" fmla="*/ 10697960 h 10800208"/>
                <a:gd name="connsiteX22" fmla="*/ 14028146 w 15746332"/>
                <a:gd name="connsiteY22" fmla="*/ 10155369 h 10800208"/>
                <a:gd name="connsiteX23" fmla="*/ 13594073 w 15746332"/>
                <a:gd name="connsiteY23" fmla="*/ 10101112 h 10800208"/>
                <a:gd name="connsiteX24" fmla="*/ 13612161 w 15746332"/>
                <a:gd name="connsiteY24" fmla="*/ 9413833 h 10800208"/>
                <a:gd name="connsiteX25" fmla="*/ 14190925 w 15746332"/>
                <a:gd name="connsiteY25" fmla="*/ 9269146 h 10800208"/>
                <a:gd name="connsiteX26" fmla="*/ 13865366 w 15746332"/>
                <a:gd name="connsiteY26" fmla="*/ 8798901 h 10800208"/>
                <a:gd name="connsiteX27" fmla="*/ 14136664 w 15746332"/>
                <a:gd name="connsiteY27" fmla="*/ 8401005 h 10800208"/>
                <a:gd name="connsiteX28" fmla="*/ 14703435 w 15746332"/>
                <a:gd name="connsiteY28" fmla="*/ 8428101 h 10800208"/>
                <a:gd name="connsiteX29" fmla="*/ 14661163 w 15746332"/>
                <a:gd name="connsiteY29" fmla="*/ 8256317 h 10800208"/>
                <a:gd name="connsiteX30" fmla="*/ 14335608 w 15746332"/>
                <a:gd name="connsiteY30" fmla="*/ 8093542 h 10800208"/>
                <a:gd name="connsiteX31" fmla="*/ 14498387 w 15746332"/>
                <a:gd name="connsiteY31" fmla="*/ 7514778 h 10800208"/>
                <a:gd name="connsiteX32" fmla="*/ 13847278 w 15746332"/>
                <a:gd name="connsiteY32" fmla="*/ 6610464 h 10800208"/>
                <a:gd name="connsiteX33" fmla="*/ 13340864 w 15746332"/>
                <a:gd name="connsiteY33" fmla="*/ 5905101 h 10800208"/>
                <a:gd name="connsiteX34" fmla="*/ 13123831 w 15746332"/>
                <a:gd name="connsiteY34" fmla="*/ 4819923 h 10800208"/>
                <a:gd name="connsiteX35" fmla="*/ 13232349 w 15746332"/>
                <a:gd name="connsiteY35" fmla="*/ 4132649 h 10800208"/>
                <a:gd name="connsiteX36" fmla="*/ 12273778 w 15746332"/>
                <a:gd name="connsiteY36" fmla="*/ 4165810 h 10800208"/>
                <a:gd name="connsiteX37" fmla="*/ 12201432 w 15746332"/>
                <a:gd name="connsiteY37" fmla="*/ 3767910 h 10800208"/>
                <a:gd name="connsiteX38" fmla="*/ 12508887 w 15746332"/>
                <a:gd name="connsiteY38" fmla="*/ 3264515 h 10800208"/>
                <a:gd name="connsiteX39" fmla="*/ 13774933 w 15746332"/>
                <a:gd name="connsiteY39" fmla="*/ 2486799 h 10800208"/>
                <a:gd name="connsiteX40" fmla="*/ 15294184 w 15746332"/>
                <a:gd name="connsiteY40" fmla="*/ 1980384 h 10800208"/>
                <a:gd name="connsiteX41" fmla="*/ 15746333 w 15746332"/>
                <a:gd name="connsiteY41" fmla="*/ 2305939 h 10800208"/>
                <a:gd name="connsiteX42" fmla="*/ 6319261 w 15746332"/>
                <a:gd name="connsiteY42" fmla="*/ 4419497 h 10800208"/>
                <a:gd name="connsiteX43" fmla="*/ 5596373 w 15746332"/>
                <a:gd name="connsiteY43" fmla="*/ 4033059 h 10800208"/>
                <a:gd name="connsiteX44" fmla="*/ 5365184 w 15746332"/>
                <a:gd name="connsiteY44" fmla="*/ 3460880 h 10800208"/>
                <a:gd name="connsiteX45" fmla="*/ 5153802 w 15746332"/>
                <a:gd name="connsiteY45" fmla="*/ 3132314 h 10800208"/>
                <a:gd name="connsiteX46" fmla="*/ 4898441 w 15746332"/>
                <a:gd name="connsiteY46" fmla="*/ 3183022 h 10800208"/>
                <a:gd name="connsiteX47" fmla="*/ 4600673 w 15746332"/>
                <a:gd name="connsiteY47" fmla="*/ 2914551 h 10800208"/>
                <a:gd name="connsiteX48" fmla="*/ 4416749 w 15746332"/>
                <a:gd name="connsiteY48" fmla="*/ 2491544 h 10800208"/>
                <a:gd name="connsiteX49" fmla="*/ 4653822 w 15746332"/>
                <a:gd name="connsiteY49" fmla="*/ 1941377 h 10800208"/>
                <a:gd name="connsiteX50" fmla="*/ 4432864 w 15746332"/>
                <a:gd name="connsiteY50" fmla="*/ 1388142 h 10800208"/>
                <a:gd name="connsiteX51" fmla="*/ 4437471 w 15746332"/>
                <a:gd name="connsiteY51" fmla="*/ 719354 h 10800208"/>
                <a:gd name="connsiteX52" fmla="*/ 4141784 w 15746332"/>
                <a:gd name="connsiteY52" fmla="*/ 0 h 10800208"/>
                <a:gd name="connsiteX53" fmla="*/ 2314296 w 15746332"/>
                <a:gd name="connsiteY53" fmla="*/ 282857 h 10800208"/>
                <a:gd name="connsiteX54" fmla="*/ 1334589 w 15746332"/>
                <a:gd name="connsiteY54" fmla="*/ 1087729 h 10800208"/>
                <a:gd name="connsiteX55" fmla="*/ 0 w 15746332"/>
                <a:gd name="connsiteY55" fmla="*/ 2435175 h 10800208"/>
                <a:gd name="connsiteX0" fmla="*/ 0 w 15294185"/>
                <a:gd name="connsiteY0" fmla="*/ 2435175 h 10800208"/>
                <a:gd name="connsiteX1" fmla="*/ 613837 w 15294185"/>
                <a:gd name="connsiteY1" fmla="*/ 4813533 h 10800208"/>
                <a:gd name="connsiteX2" fmla="*/ 1518338 w 15294185"/>
                <a:gd name="connsiteY2" fmla="*/ 5681683 h 10800208"/>
                <a:gd name="connsiteX3" fmla="*/ 1735898 w 15294185"/>
                <a:gd name="connsiteY3" fmla="*/ 6513607 h 10800208"/>
                <a:gd name="connsiteX4" fmla="*/ 3137400 w 15294185"/>
                <a:gd name="connsiteY4" fmla="*/ 7038167 h 10800208"/>
                <a:gd name="connsiteX5" fmla="*/ 3453963 w 15294185"/>
                <a:gd name="connsiteY5" fmla="*/ 8394658 h 10800208"/>
                <a:gd name="connsiteX6" fmla="*/ 4168520 w 15294185"/>
                <a:gd name="connsiteY6" fmla="*/ 9769227 h 10800208"/>
                <a:gd name="connsiteX7" fmla="*/ 4162343 w 15294185"/>
                <a:gd name="connsiteY7" fmla="*/ 10800208 h 10800208"/>
                <a:gd name="connsiteX8" fmla="*/ 4605215 w 15294185"/>
                <a:gd name="connsiteY8" fmla="*/ 10716044 h 10800208"/>
                <a:gd name="connsiteX9" fmla="*/ 4840336 w 15294185"/>
                <a:gd name="connsiteY9" fmla="*/ 10426662 h 10800208"/>
                <a:gd name="connsiteX10" fmla="*/ 6070201 w 15294185"/>
                <a:gd name="connsiteY10" fmla="*/ 10444754 h 10800208"/>
                <a:gd name="connsiteX11" fmla="*/ 6884082 w 15294185"/>
                <a:gd name="connsiteY11" fmla="*/ 9847902 h 10800208"/>
                <a:gd name="connsiteX12" fmla="*/ 7716051 w 15294185"/>
                <a:gd name="connsiteY12" fmla="*/ 10173461 h 10800208"/>
                <a:gd name="connsiteX13" fmla="*/ 8584189 w 15294185"/>
                <a:gd name="connsiteY13" fmla="*/ 9974509 h 10800208"/>
                <a:gd name="connsiteX14" fmla="*/ 9289552 w 15294185"/>
                <a:gd name="connsiteY14" fmla="*/ 10173461 h 10800208"/>
                <a:gd name="connsiteX15" fmla="*/ 10139605 w 15294185"/>
                <a:gd name="connsiteY15" fmla="*/ 9775561 h 10800208"/>
                <a:gd name="connsiteX16" fmla="*/ 10664108 w 15294185"/>
                <a:gd name="connsiteY16" fmla="*/ 9992597 h 10800208"/>
                <a:gd name="connsiteX17" fmla="*/ 11387555 w 15294185"/>
                <a:gd name="connsiteY17" fmla="*/ 9902167 h 10800208"/>
                <a:gd name="connsiteX18" fmla="*/ 11966315 w 15294185"/>
                <a:gd name="connsiteY18" fmla="*/ 10625622 h 10800208"/>
                <a:gd name="connsiteX19" fmla="*/ 12942975 w 15294185"/>
                <a:gd name="connsiteY19" fmla="*/ 10390493 h 10800208"/>
                <a:gd name="connsiteX20" fmla="*/ 13575992 w 15294185"/>
                <a:gd name="connsiteY20" fmla="*/ 10788393 h 10800208"/>
                <a:gd name="connsiteX21" fmla="*/ 13973888 w 15294185"/>
                <a:gd name="connsiteY21" fmla="*/ 10697960 h 10800208"/>
                <a:gd name="connsiteX22" fmla="*/ 14028146 w 15294185"/>
                <a:gd name="connsiteY22" fmla="*/ 10155369 h 10800208"/>
                <a:gd name="connsiteX23" fmla="*/ 13594073 w 15294185"/>
                <a:gd name="connsiteY23" fmla="*/ 10101112 h 10800208"/>
                <a:gd name="connsiteX24" fmla="*/ 13612161 w 15294185"/>
                <a:gd name="connsiteY24" fmla="*/ 9413833 h 10800208"/>
                <a:gd name="connsiteX25" fmla="*/ 14190925 w 15294185"/>
                <a:gd name="connsiteY25" fmla="*/ 9269146 h 10800208"/>
                <a:gd name="connsiteX26" fmla="*/ 13865366 w 15294185"/>
                <a:gd name="connsiteY26" fmla="*/ 8798901 h 10800208"/>
                <a:gd name="connsiteX27" fmla="*/ 14136664 w 15294185"/>
                <a:gd name="connsiteY27" fmla="*/ 8401005 h 10800208"/>
                <a:gd name="connsiteX28" fmla="*/ 14703435 w 15294185"/>
                <a:gd name="connsiteY28" fmla="*/ 8428101 h 10800208"/>
                <a:gd name="connsiteX29" fmla="*/ 14661163 w 15294185"/>
                <a:gd name="connsiteY29" fmla="*/ 8256317 h 10800208"/>
                <a:gd name="connsiteX30" fmla="*/ 14335608 w 15294185"/>
                <a:gd name="connsiteY30" fmla="*/ 8093542 h 10800208"/>
                <a:gd name="connsiteX31" fmla="*/ 14498387 w 15294185"/>
                <a:gd name="connsiteY31" fmla="*/ 7514778 h 10800208"/>
                <a:gd name="connsiteX32" fmla="*/ 13847278 w 15294185"/>
                <a:gd name="connsiteY32" fmla="*/ 6610464 h 10800208"/>
                <a:gd name="connsiteX33" fmla="*/ 13340864 w 15294185"/>
                <a:gd name="connsiteY33" fmla="*/ 5905101 h 10800208"/>
                <a:gd name="connsiteX34" fmla="*/ 13123831 w 15294185"/>
                <a:gd name="connsiteY34" fmla="*/ 4819923 h 10800208"/>
                <a:gd name="connsiteX35" fmla="*/ 13232349 w 15294185"/>
                <a:gd name="connsiteY35" fmla="*/ 4132649 h 10800208"/>
                <a:gd name="connsiteX36" fmla="*/ 12273778 w 15294185"/>
                <a:gd name="connsiteY36" fmla="*/ 4165810 h 10800208"/>
                <a:gd name="connsiteX37" fmla="*/ 12201432 w 15294185"/>
                <a:gd name="connsiteY37" fmla="*/ 3767910 h 10800208"/>
                <a:gd name="connsiteX38" fmla="*/ 12508887 w 15294185"/>
                <a:gd name="connsiteY38" fmla="*/ 3264515 h 10800208"/>
                <a:gd name="connsiteX39" fmla="*/ 13774933 w 15294185"/>
                <a:gd name="connsiteY39" fmla="*/ 2486799 h 10800208"/>
                <a:gd name="connsiteX40" fmla="*/ 15294184 w 15294185"/>
                <a:gd name="connsiteY40" fmla="*/ 1980384 h 10800208"/>
                <a:gd name="connsiteX41" fmla="*/ 6319261 w 15294185"/>
                <a:gd name="connsiteY41" fmla="*/ 4419497 h 10800208"/>
                <a:gd name="connsiteX42" fmla="*/ 5596373 w 15294185"/>
                <a:gd name="connsiteY42" fmla="*/ 4033059 h 10800208"/>
                <a:gd name="connsiteX43" fmla="*/ 5365184 w 15294185"/>
                <a:gd name="connsiteY43" fmla="*/ 3460880 h 10800208"/>
                <a:gd name="connsiteX44" fmla="*/ 5153802 w 15294185"/>
                <a:gd name="connsiteY44" fmla="*/ 3132314 h 10800208"/>
                <a:gd name="connsiteX45" fmla="*/ 4898441 w 15294185"/>
                <a:gd name="connsiteY45" fmla="*/ 3183022 h 10800208"/>
                <a:gd name="connsiteX46" fmla="*/ 4600673 w 15294185"/>
                <a:gd name="connsiteY46" fmla="*/ 2914551 h 10800208"/>
                <a:gd name="connsiteX47" fmla="*/ 4416749 w 15294185"/>
                <a:gd name="connsiteY47" fmla="*/ 2491544 h 10800208"/>
                <a:gd name="connsiteX48" fmla="*/ 4653822 w 15294185"/>
                <a:gd name="connsiteY48" fmla="*/ 1941377 h 10800208"/>
                <a:gd name="connsiteX49" fmla="*/ 4432864 w 15294185"/>
                <a:gd name="connsiteY49" fmla="*/ 1388142 h 10800208"/>
                <a:gd name="connsiteX50" fmla="*/ 4437471 w 15294185"/>
                <a:gd name="connsiteY50" fmla="*/ 719354 h 10800208"/>
                <a:gd name="connsiteX51" fmla="*/ 4141784 w 15294185"/>
                <a:gd name="connsiteY51" fmla="*/ 0 h 10800208"/>
                <a:gd name="connsiteX52" fmla="*/ 2314296 w 15294185"/>
                <a:gd name="connsiteY52" fmla="*/ 282857 h 10800208"/>
                <a:gd name="connsiteX53" fmla="*/ 1334589 w 15294185"/>
                <a:gd name="connsiteY53" fmla="*/ 1087729 h 10800208"/>
                <a:gd name="connsiteX54" fmla="*/ 0 w 15294185"/>
                <a:gd name="connsiteY54"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12273778 w 14703435"/>
                <a:gd name="connsiteY36" fmla="*/ 4165810 h 10800208"/>
                <a:gd name="connsiteX37" fmla="*/ 12201432 w 14703435"/>
                <a:gd name="connsiteY37" fmla="*/ 3767910 h 10800208"/>
                <a:gd name="connsiteX38" fmla="*/ 12508887 w 14703435"/>
                <a:gd name="connsiteY38" fmla="*/ 3264515 h 10800208"/>
                <a:gd name="connsiteX39" fmla="*/ 13774933 w 14703435"/>
                <a:gd name="connsiteY39" fmla="*/ 2486799 h 10800208"/>
                <a:gd name="connsiteX40" fmla="*/ 6319261 w 14703435"/>
                <a:gd name="connsiteY40" fmla="*/ 4419497 h 10800208"/>
                <a:gd name="connsiteX41" fmla="*/ 5596373 w 14703435"/>
                <a:gd name="connsiteY41" fmla="*/ 4033059 h 10800208"/>
                <a:gd name="connsiteX42" fmla="*/ 5365184 w 14703435"/>
                <a:gd name="connsiteY42" fmla="*/ 3460880 h 10800208"/>
                <a:gd name="connsiteX43" fmla="*/ 5153802 w 14703435"/>
                <a:gd name="connsiteY43" fmla="*/ 3132314 h 10800208"/>
                <a:gd name="connsiteX44" fmla="*/ 4898441 w 14703435"/>
                <a:gd name="connsiteY44" fmla="*/ 3183022 h 10800208"/>
                <a:gd name="connsiteX45" fmla="*/ 4600673 w 14703435"/>
                <a:gd name="connsiteY45" fmla="*/ 2914551 h 10800208"/>
                <a:gd name="connsiteX46" fmla="*/ 4416749 w 14703435"/>
                <a:gd name="connsiteY46" fmla="*/ 2491544 h 10800208"/>
                <a:gd name="connsiteX47" fmla="*/ 4653822 w 14703435"/>
                <a:gd name="connsiteY47" fmla="*/ 1941377 h 10800208"/>
                <a:gd name="connsiteX48" fmla="*/ 4432864 w 14703435"/>
                <a:gd name="connsiteY48" fmla="*/ 1388142 h 10800208"/>
                <a:gd name="connsiteX49" fmla="*/ 4437471 w 14703435"/>
                <a:gd name="connsiteY49" fmla="*/ 719354 h 10800208"/>
                <a:gd name="connsiteX50" fmla="*/ 4141784 w 14703435"/>
                <a:gd name="connsiteY50" fmla="*/ 0 h 10800208"/>
                <a:gd name="connsiteX51" fmla="*/ 2314296 w 14703435"/>
                <a:gd name="connsiteY51" fmla="*/ 282857 h 10800208"/>
                <a:gd name="connsiteX52" fmla="*/ 1334589 w 14703435"/>
                <a:gd name="connsiteY52" fmla="*/ 1087729 h 10800208"/>
                <a:gd name="connsiteX53" fmla="*/ 0 w 14703435"/>
                <a:gd name="connsiteY53"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12273778 w 14703435"/>
                <a:gd name="connsiteY36" fmla="*/ 4165810 h 10800208"/>
                <a:gd name="connsiteX37" fmla="*/ 12201432 w 14703435"/>
                <a:gd name="connsiteY37" fmla="*/ 3767910 h 10800208"/>
                <a:gd name="connsiteX38" fmla="*/ 12508887 w 14703435"/>
                <a:gd name="connsiteY38" fmla="*/ 32645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12273778 w 14703435"/>
                <a:gd name="connsiteY36" fmla="*/ 4165810 h 10800208"/>
                <a:gd name="connsiteX37" fmla="*/ 12201432 w 14703435"/>
                <a:gd name="connsiteY37" fmla="*/ 3767910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12273778 w 14703435"/>
                <a:gd name="connsiteY36" fmla="*/ 4165810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9824147 w 14703435"/>
                <a:gd name="connsiteY33" fmla="*/ 6931488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1909491 w 14703435"/>
                <a:gd name="connsiteY32" fmla="*/ 6300156 h 10800208"/>
                <a:gd name="connsiteX33" fmla="*/ 9824147 w 14703435"/>
                <a:gd name="connsiteY33" fmla="*/ 6931488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3924235 w 14703435"/>
                <a:gd name="connsiteY31" fmla="*/ 6560001 h 10800208"/>
                <a:gd name="connsiteX32" fmla="*/ 11909491 w 14703435"/>
                <a:gd name="connsiteY32" fmla="*/ 6300156 h 10800208"/>
                <a:gd name="connsiteX33" fmla="*/ 9824147 w 14703435"/>
                <a:gd name="connsiteY33" fmla="*/ 6931488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407378 w 14703435"/>
                <a:gd name="connsiteY30" fmla="*/ 7544542 h 10800208"/>
                <a:gd name="connsiteX31" fmla="*/ 13924235 w 14703435"/>
                <a:gd name="connsiteY31" fmla="*/ 6560001 h 10800208"/>
                <a:gd name="connsiteX32" fmla="*/ 11909491 w 14703435"/>
                <a:gd name="connsiteY32" fmla="*/ 6300156 h 10800208"/>
                <a:gd name="connsiteX33" fmla="*/ 9824147 w 14703435"/>
                <a:gd name="connsiteY33" fmla="*/ 6931488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341812 h 10706845"/>
                <a:gd name="connsiteX1" fmla="*/ 613837 w 14703435"/>
                <a:gd name="connsiteY1" fmla="*/ 4720170 h 10706845"/>
                <a:gd name="connsiteX2" fmla="*/ 1518338 w 14703435"/>
                <a:gd name="connsiteY2" fmla="*/ 5588320 h 10706845"/>
                <a:gd name="connsiteX3" fmla="*/ 1735898 w 14703435"/>
                <a:gd name="connsiteY3" fmla="*/ 6420244 h 10706845"/>
                <a:gd name="connsiteX4" fmla="*/ 3137400 w 14703435"/>
                <a:gd name="connsiteY4" fmla="*/ 6944804 h 10706845"/>
                <a:gd name="connsiteX5" fmla="*/ 3453963 w 14703435"/>
                <a:gd name="connsiteY5" fmla="*/ 8301295 h 10706845"/>
                <a:gd name="connsiteX6" fmla="*/ 4168520 w 14703435"/>
                <a:gd name="connsiteY6" fmla="*/ 9675864 h 10706845"/>
                <a:gd name="connsiteX7" fmla="*/ 4162343 w 14703435"/>
                <a:gd name="connsiteY7" fmla="*/ 10706845 h 10706845"/>
                <a:gd name="connsiteX8" fmla="*/ 4605215 w 14703435"/>
                <a:gd name="connsiteY8" fmla="*/ 10622681 h 10706845"/>
                <a:gd name="connsiteX9" fmla="*/ 4840336 w 14703435"/>
                <a:gd name="connsiteY9" fmla="*/ 10333299 h 10706845"/>
                <a:gd name="connsiteX10" fmla="*/ 6070201 w 14703435"/>
                <a:gd name="connsiteY10" fmla="*/ 10351391 h 10706845"/>
                <a:gd name="connsiteX11" fmla="*/ 6884082 w 14703435"/>
                <a:gd name="connsiteY11" fmla="*/ 9754539 h 10706845"/>
                <a:gd name="connsiteX12" fmla="*/ 7716051 w 14703435"/>
                <a:gd name="connsiteY12" fmla="*/ 10080098 h 10706845"/>
                <a:gd name="connsiteX13" fmla="*/ 8584189 w 14703435"/>
                <a:gd name="connsiteY13" fmla="*/ 9881146 h 10706845"/>
                <a:gd name="connsiteX14" fmla="*/ 9289552 w 14703435"/>
                <a:gd name="connsiteY14" fmla="*/ 10080098 h 10706845"/>
                <a:gd name="connsiteX15" fmla="*/ 10139605 w 14703435"/>
                <a:gd name="connsiteY15" fmla="*/ 9682198 h 10706845"/>
                <a:gd name="connsiteX16" fmla="*/ 10664108 w 14703435"/>
                <a:gd name="connsiteY16" fmla="*/ 9899234 h 10706845"/>
                <a:gd name="connsiteX17" fmla="*/ 11387555 w 14703435"/>
                <a:gd name="connsiteY17" fmla="*/ 9808804 h 10706845"/>
                <a:gd name="connsiteX18" fmla="*/ 11966315 w 14703435"/>
                <a:gd name="connsiteY18" fmla="*/ 10532259 h 10706845"/>
                <a:gd name="connsiteX19" fmla="*/ 12942975 w 14703435"/>
                <a:gd name="connsiteY19" fmla="*/ 10297130 h 10706845"/>
                <a:gd name="connsiteX20" fmla="*/ 13575992 w 14703435"/>
                <a:gd name="connsiteY20" fmla="*/ 10695030 h 10706845"/>
                <a:gd name="connsiteX21" fmla="*/ 13973888 w 14703435"/>
                <a:gd name="connsiteY21" fmla="*/ 10604597 h 10706845"/>
                <a:gd name="connsiteX22" fmla="*/ 14028146 w 14703435"/>
                <a:gd name="connsiteY22" fmla="*/ 10062006 h 10706845"/>
                <a:gd name="connsiteX23" fmla="*/ 13594073 w 14703435"/>
                <a:gd name="connsiteY23" fmla="*/ 10007749 h 10706845"/>
                <a:gd name="connsiteX24" fmla="*/ 13612161 w 14703435"/>
                <a:gd name="connsiteY24" fmla="*/ 9320470 h 10706845"/>
                <a:gd name="connsiteX25" fmla="*/ 14190925 w 14703435"/>
                <a:gd name="connsiteY25" fmla="*/ 9175783 h 10706845"/>
                <a:gd name="connsiteX26" fmla="*/ 13865366 w 14703435"/>
                <a:gd name="connsiteY26" fmla="*/ 8705538 h 10706845"/>
                <a:gd name="connsiteX27" fmla="*/ 14136664 w 14703435"/>
                <a:gd name="connsiteY27" fmla="*/ 8307642 h 10706845"/>
                <a:gd name="connsiteX28" fmla="*/ 14703435 w 14703435"/>
                <a:gd name="connsiteY28" fmla="*/ 8334738 h 10706845"/>
                <a:gd name="connsiteX29" fmla="*/ 14661163 w 14703435"/>
                <a:gd name="connsiteY29" fmla="*/ 8162954 h 10706845"/>
                <a:gd name="connsiteX30" fmla="*/ 14407378 w 14703435"/>
                <a:gd name="connsiteY30" fmla="*/ 7451179 h 10706845"/>
                <a:gd name="connsiteX31" fmla="*/ 13924235 w 14703435"/>
                <a:gd name="connsiteY31" fmla="*/ 6466638 h 10706845"/>
                <a:gd name="connsiteX32" fmla="*/ 11909491 w 14703435"/>
                <a:gd name="connsiteY32" fmla="*/ 6206793 h 10706845"/>
                <a:gd name="connsiteX33" fmla="*/ 9824147 w 14703435"/>
                <a:gd name="connsiteY33" fmla="*/ 6838125 h 10706845"/>
                <a:gd name="connsiteX34" fmla="*/ 8482717 w 14703435"/>
                <a:gd name="connsiteY34" fmla="*/ 6994165 h 10706845"/>
                <a:gd name="connsiteX35" fmla="*/ 8328079 w 14703435"/>
                <a:gd name="connsiteY35" fmla="*/ 6569451 h 10706845"/>
                <a:gd name="connsiteX36" fmla="*/ 7632672 w 14703435"/>
                <a:gd name="connsiteY36" fmla="*/ 6387789 h 10706845"/>
                <a:gd name="connsiteX37" fmla="*/ 7081852 w 14703435"/>
                <a:gd name="connsiteY37" fmla="*/ 5966020 h 10706845"/>
                <a:gd name="connsiteX38" fmla="*/ 6336686 w 14703435"/>
                <a:gd name="connsiteY38" fmla="*/ 5128452 h 10706845"/>
                <a:gd name="connsiteX39" fmla="*/ 6319261 w 14703435"/>
                <a:gd name="connsiteY39" fmla="*/ 4326134 h 10706845"/>
                <a:gd name="connsiteX40" fmla="*/ 5596373 w 14703435"/>
                <a:gd name="connsiteY40" fmla="*/ 3939696 h 10706845"/>
                <a:gd name="connsiteX41" fmla="*/ 5365184 w 14703435"/>
                <a:gd name="connsiteY41" fmla="*/ 3367517 h 10706845"/>
                <a:gd name="connsiteX42" fmla="*/ 5153802 w 14703435"/>
                <a:gd name="connsiteY42" fmla="*/ 3038951 h 10706845"/>
                <a:gd name="connsiteX43" fmla="*/ 4898441 w 14703435"/>
                <a:gd name="connsiteY43" fmla="*/ 3089659 h 10706845"/>
                <a:gd name="connsiteX44" fmla="*/ 4600673 w 14703435"/>
                <a:gd name="connsiteY44" fmla="*/ 2821188 h 10706845"/>
                <a:gd name="connsiteX45" fmla="*/ 4416749 w 14703435"/>
                <a:gd name="connsiteY45" fmla="*/ 2398181 h 10706845"/>
                <a:gd name="connsiteX46" fmla="*/ 4653822 w 14703435"/>
                <a:gd name="connsiteY46" fmla="*/ 1848014 h 10706845"/>
                <a:gd name="connsiteX47" fmla="*/ 4432864 w 14703435"/>
                <a:gd name="connsiteY47" fmla="*/ 1294779 h 10706845"/>
                <a:gd name="connsiteX48" fmla="*/ 4437471 w 14703435"/>
                <a:gd name="connsiteY48" fmla="*/ 625991 h 10706845"/>
                <a:gd name="connsiteX49" fmla="*/ 4141784 w 14703435"/>
                <a:gd name="connsiteY49" fmla="*/ 0 h 10706845"/>
                <a:gd name="connsiteX50" fmla="*/ 2314296 w 14703435"/>
                <a:gd name="connsiteY50" fmla="*/ 189494 h 10706845"/>
                <a:gd name="connsiteX51" fmla="*/ 1334589 w 14703435"/>
                <a:gd name="connsiteY51" fmla="*/ 994366 h 10706845"/>
                <a:gd name="connsiteX52" fmla="*/ 0 w 14703435"/>
                <a:gd name="connsiteY52" fmla="*/ 2341812 h 10706845"/>
                <a:gd name="connsiteX0" fmla="*/ 0 w 14703435"/>
                <a:gd name="connsiteY0" fmla="*/ 2341812 h 10706845"/>
                <a:gd name="connsiteX1" fmla="*/ 613837 w 14703435"/>
                <a:gd name="connsiteY1" fmla="*/ 4720170 h 10706845"/>
                <a:gd name="connsiteX2" fmla="*/ 1518338 w 14703435"/>
                <a:gd name="connsiteY2" fmla="*/ 5588320 h 10706845"/>
                <a:gd name="connsiteX3" fmla="*/ 1735898 w 14703435"/>
                <a:gd name="connsiteY3" fmla="*/ 6420244 h 10706845"/>
                <a:gd name="connsiteX4" fmla="*/ 3137400 w 14703435"/>
                <a:gd name="connsiteY4" fmla="*/ 6944804 h 10706845"/>
                <a:gd name="connsiteX5" fmla="*/ 3453963 w 14703435"/>
                <a:gd name="connsiteY5" fmla="*/ 8301295 h 10706845"/>
                <a:gd name="connsiteX6" fmla="*/ 4168520 w 14703435"/>
                <a:gd name="connsiteY6" fmla="*/ 9675864 h 10706845"/>
                <a:gd name="connsiteX7" fmla="*/ 4162343 w 14703435"/>
                <a:gd name="connsiteY7" fmla="*/ 10706845 h 10706845"/>
                <a:gd name="connsiteX8" fmla="*/ 4605215 w 14703435"/>
                <a:gd name="connsiteY8" fmla="*/ 10622681 h 10706845"/>
                <a:gd name="connsiteX9" fmla="*/ 4840336 w 14703435"/>
                <a:gd name="connsiteY9" fmla="*/ 10333299 h 10706845"/>
                <a:gd name="connsiteX10" fmla="*/ 6070201 w 14703435"/>
                <a:gd name="connsiteY10" fmla="*/ 10351391 h 10706845"/>
                <a:gd name="connsiteX11" fmla="*/ 6884082 w 14703435"/>
                <a:gd name="connsiteY11" fmla="*/ 9754539 h 10706845"/>
                <a:gd name="connsiteX12" fmla="*/ 7716051 w 14703435"/>
                <a:gd name="connsiteY12" fmla="*/ 10080098 h 10706845"/>
                <a:gd name="connsiteX13" fmla="*/ 8584189 w 14703435"/>
                <a:gd name="connsiteY13" fmla="*/ 9881146 h 10706845"/>
                <a:gd name="connsiteX14" fmla="*/ 9289552 w 14703435"/>
                <a:gd name="connsiteY14" fmla="*/ 10080098 h 10706845"/>
                <a:gd name="connsiteX15" fmla="*/ 10139605 w 14703435"/>
                <a:gd name="connsiteY15" fmla="*/ 9682198 h 10706845"/>
                <a:gd name="connsiteX16" fmla="*/ 10664108 w 14703435"/>
                <a:gd name="connsiteY16" fmla="*/ 9899234 h 10706845"/>
                <a:gd name="connsiteX17" fmla="*/ 11387555 w 14703435"/>
                <a:gd name="connsiteY17" fmla="*/ 9808804 h 10706845"/>
                <a:gd name="connsiteX18" fmla="*/ 11966315 w 14703435"/>
                <a:gd name="connsiteY18" fmla="*/ 10532259 h 10706845"/>
                <a:gd name="connsiteX19" fmla="*/ 12942975 w 14703435"/>
                <a:gd name="connsiteY19" fmla="*/ 10297130 h 10706845"/>
                <a:gd name="connsiteX20" fmla="*/ 13575992 w 14703435"/>
                <a:gd name="connsiteY20" fmla="*/ 10695030 h 10706845"/>
                <a:gd name="connsiteX21" fmla="*/ 13973888 w 14703435"/>
                <a:gd name="connsiteY21" fmla="*/ 10604597 h 10706845"/>
                <a:gd name="connsiteX22" fmla="*/ 14028146 w 14703435"/>
                <a:gd name="connsiteY22" fmla="*/ 10062006 h 10706845"/>
                <a:gd name="connsiteX23" fmla="*/ 13594073 w 14703435"/>
                <a:gd name="connsiteY23" fmla="*/ 10007749 h 10706845"/>
                <a:gd name="connsiteX24" fmla="*/ 13612161 w 14703435"/>
                <a:gd name="connsiteY24" fmla="*/ 9320470 h 10706845"/>
                <a:gd name="connsiteX25" fmla="*/ 14190925 w 14703435"/>
                <a:gd name="connsiteY25" fmla="*/ 9175783 h 10706845"/>
                <a:gd name="connsiteX26" fmla="*/ 13865366 w 14703435"/>
                <a:gd name="connsiteY26" fmla="*/ 8705538 h 10706845"/>
                <a:gd name="connsiteX27" fmla="*/ 14136664 w 14703435"/>
                <a:gd name="connsiteY27" fmla="*/ 8307642 h 10706845"/>
                <a:gd name="connsiteX28" fmla="*/ 14703435 w 14703435"/>
                <a:gd name="connsiteY28" fmla="*/ 8334738 h 10706845"/>
                <a:gd name="connsiteX29" fmla="*/ 14255660 w 14703435"/>
                <a:gd name="connsiteY29" fmla="*/ 8007340 h 10706845"/>
                <a:gd name="connsiteX30" fmla="*/ 14407378 w 14703435"/>
                <a:gd name="connsiteY30" fmla="*/ 7451179 h 10706845"/>
                <a:gd name="connsiteX31" fmla="*/ 13924235 w 14703435"/>
                <a:gd name="connsiteY31" fmla="*/ 6466638 h 10706845"/>
                <a:gd name="connsiteX32" fmla="*/ 11909491 w 14703435"/>
                <a:gd name="connsiteY32" fmla="*/ 6206793 h 10706845"/>
                <a:gd name="connsiteX33" fmla="*/ 9824147 w 14703435"/>
                <a:gd name="connsiteY33" fmla="*/ 6838125 h 10706845"/>
                <a:gd name="connsiteX34" fmla="*/ 8482717 w 14703435"/>
                <a:gd name="connsiteY34" fmla="*/ 6994165 h 10706845"/>
                <a:gd name="connsiteX35" fmla="*/ 8328079 w 14703435"/>
                <a:gd name="connsiteY35" fmla="*/ 6569451 h 10706845"/>
                <a:gd name="connsiteX36" fmla="*/ 7632672 w 14703435"/>
                <a:gd name="connsiteY36" fmla="*/ 6387789 h 10706845"/>
                <a:gd name="connsiteX37" fmla="*/ 7081852 w 14703435"/>
                <a:gd name="connsiteY37" fmla="*/ 5966020 h 10706845"/>
                <a:gd name="connsiteX38" fmla="*/ 6336686 w 14703435"/>
                <a:gd name="connsiteY38" fmla="*/ 5128452 h 10706845"/>
                <a:gd name="connsiteX39" fmla="*/ 6319261 w 14703435"/>
                <a:gd name="connsiteY39" fmla="*/ 4326134 h 10706845"/>
                <a:gd name="connsiteX40" fmla="*/ 5596373 w 14703435"/>
                <a:gd name="connsiteY40" fmla="*/ 3939696 h 10706845"/>
                <a:gd name="connsiteX41" fmla="*/ 5365184 w 14703435"/>
                <a:gd name="connsiteY41" fmla="*/ 3367517 h 10706845"/>
                <a:gd name="connsiteX42" fmla="*/ 5153802 w 14703435"/>
                <a:gd name="connsiteY42" fmla="*/ 3038951 h 10706845"/>
                <a:gd name="connsiteX43" fmla="*/ 4898441 w 14703435"/>
                <a:gd name="connsiteY43" fmla="*/ 3089659 h 10706845"/>
                <a:gd name="connsiteX44" fmla="*/ 4600673 w 14703435"/>
                <a:gd name="connsiteY44" fmla="*/ 2821188 h 10706845"/>
                <a:gd name="connsiteX45" fmla="*/ 4416749 w 14703435"/>
                <a:gd name="connsiteY45" fmla="*/ 2398181 h 10706845"/>
                <a:gd name="connsiteX46" fmla="*/ 4653822 w 14703435"/>
                <a:gd name="connsiteY46" fmla="*/ 1848014 h 10706845"/>
                <a:gd name="connsiteX47" fmla="*/ 4432864 w 14703435"/>
                <a:gd name="connsiteY47" fmla="*/ 1294779 h 10706845"/>
                <a:gd name="connsiteX48" fmla="*/ 4437471 w 14703435"/>
                <a:gd name="connsiteY48" fmla="*/ 625991 h 10706845"/>
                <a:gd name="connsiteX49" fmla="*/ 4141784 w 14703435"/>
                <a:gd name="connsiteY49" fmla="*/ 0 h 10706845"/>
                <a:gd name="connsiteX50" fmla="*/ 2314296 w 14703435"/>
                <a:gd name="connsiteY50" fmla="*/ 189494 h 10706845"/>
                <a:gd name="connsiteX51" fmla="*/ 1334589 w 14703435"/>
                <a:gd name="connsiteY51" fmla="*/ 994366 h 10706845"/>
                <a:gd name="connsiteX52" fmla="*/ 0 w 14703435"/>
                <a:gd name="connsiteY52" fmla="*/ 2341812 h 10706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4703435" h="10706845">
                  <a:moveTo>
                    <a:pt x="0" y="2341812"/>
                  </a:moveTo>
                  <a:lnTo>
                    <a:pt x="613837" y="4720170"/>
                  </a:lnTo>
                  <a:lnTo>
                    <a:pt x="1518338" y="5588320"/>
                  </a:lnTo>
                  <a:lnTo>
                    <a:pt x="1735898" y="6420244"/>
                  </a:lnTo>
                  <a:lnTo>
                    <a:pt x="3137400" y="6944804"/>
                  </a:lnTo>
                  <a:lnTo>
                    <a:pt x="3453963" y="8301295"/>
                  </a:lnTo>
                  <a:lnTo>
                    <a:pt x="4168520" y="9675864"/>
                  </a:lnTo>
                  <a:lnTo>
                    <a:pt x="4162343" y="10706845"/>
                  </a:lnTo>
                  <a:lnTo>
                    <a:pt x="4605215" y="10622681"/>
                  </a:lnTo>
                  <a:lnTo>
                    <a:pt x="4840336" y="10333299"/>
                  </a:lnTo>
                  <a:lnTo>
                    <a:pt x="6070201" y="10351391"/>
                  </a:lnTo>
                  <a:lnTo>
                    <a:pt x="6884082" y="9754539"/>
                  </a:lnTo>
                  <a:lnTo>
                    <a:pt x="7716051" y="10080098"/>
                  </a:lnTo>
                  <a:lnTo>
                    <a:pt x="8584189" y="9881146"/>
                  </a:lnTo>
                  <a:lnTo>
                    <a:pt x="9289552" y="10080098"/>
                  </a:lnTo>
                  <a:lnTo>
                    <a:pt x="10139605" y="9682198"/>
                  </a:lnTo>
                  <a:lnTo>
                    <a:pt x="10664108" y="9899234"/>
                  </a:lnTo>
                  <a:lnTo>
                    <a:pt x="11387555" y="9808804"/>
                  </a:lnTo>
                  <a:lnTo>
                    <a:pt x="11966315" y="10532259"/>
                  </a:lnTo>
                  <a:lnTo>
                    <a:pt x="12942975" y="10297130"/>
                  </a:lnTo>
                  <a:lnTo>
                    <a:pt x="13575992" y="10695030"/>
                  </a:lnTo>
                  <a:lnTo>
                    <a:pt x="13973888" y="10604597"/>
                  </a:lnTo>
                  <a:lnTo>
                    <a:pt x="14028146" y="10062006"/>
                  </a:lnTo>
                  <a:lnTo>
                    <a:pt x="13594073" y="10007749"/>
                  </a:lnTo>
                  <a:lnTo>
                    <a:pt x="13612161" y="9320470"/>
                  </a:lnTo>
                  <a:lnTo>
                    <a:pt x="14190925" y="9175783"/>
                  </a:lnTo>
                  <a:lnTo>
                    <a:pt x="13865366" y="8705538"/>
                  </a:lnTo>
                  <a:lnTo>
                    <a:pt x="14136664" y="8307642"/>
                  </a:lnTo>
                  <a:lnTo>
                    <a:pt x="14703435" y="8334738"/>
                  </a:lnTo>
                  <a:lnTo>
                    <a:pt x="14255660" y="8007340"/>
                  </a:lnTo>
                  <a:lnTo>
                    <a:pt x="14407378" y="7451179"/>
                  </a:lnTo>
                  <a:lnTo>
                    <a:pt x="13924235" y="6466638"/>
                  </a:lnTo>
                  <a:lnTo>
                    <a:pt x="11909491" y="6206793"/>
                  </a:lnTo>
                  <a:lnTo>
                    <a:pt x="9824147" y="6838125"/>
                  </a:lnTo>
                  <a:lnTo>
                    <a:pt x="8482717" y="6994165"/>
                  </a:lnTo>
                  <a:lnTo>
                    <a:pt x="8328079" y="6569451"/>
                  </a:lnTo>
                  <a:lnTo>
                    <a:pt x="7632672" y="6387789"/>
                  </a:lnTo>
                  <a:lnTo>
                    <a:pt x="7081852" y="5966020"/>
                  </a:lnTo>
                  <a:lnTo>
                    <a:pt x="6336686" y="5128452"/>
                  </a:lnTo>
                  <a:lnTo>
                    <a:pt x="6319261" y="4326134"/>
                  </a:lnTo>
                  <a:lnTo>
                    <a:pt x="5596373" y="3939696"/>
                  </a:lnTo>
                  <a:lnTo>
                    <a:pt x="5365184" y="3367517"/>
                  </a:lnTo>
                  <a:lnTo>
                    <a:pt x="5153802" y="3038951"/>
                  </a:lnTo>
                  <a:lnTo>
                    <a:pt x="4898441" y="3089659"/>
                  </a:lnTo>
                  <a:lnTo>
                    <a:pt x="4600673" y="2821188"/>
                  </a:lnTo>
                  <a:lnTo>
                    <a:pt x="4416749" y="2398181"/>
                  </a:lnTo>
                  <a:lnTo>
                    <a:pt x="4653822" y="1848014"/>
                  </a:lnTo>
                  <a:lnTo>
                    <a:pt x="4432864" y="1294779"/>
                  </a:lnTo>
                  <a:cubicBezTo>
                    <a:pt x="4434400" y="1071850"/>
                    <a:pt x="4435935" y="848920"/>
                    <a:pt x="4437471" y="625991"/>
                  </a:cubicBezTo>
                  <a:lnTo>
                    <a:pt x="4141784" y="0"/>
                  </a:lnTo>
                  <a:lnTo>
                    <a:pt x="2314296" y="189494"/>
                  </a:lnTo>
                  <a:lnTo>
                    <a:pt x="1334589" y="994366"/>
                  </a:lnTo>
                  <a:lnTo>
                    <a:pt x="0" y="2341812"/>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grpSp>
      <p:sp>
        <p:nvSpPr>
          <p:cNvPr id="34" name="Овал 33">
            <a:extLst>
              <a:ext uri="{FF2B5EF4-FFF2-40B4-BE49-F238E27FC236}">
                <a16:creationId xmlns:a16="http://schemas.microsoft.com/office/drawing/2014/main" id="{B99901E9-F229-0119-E4F7-54FA545A1A95}"/>
              </a:ext>
            </a:extLst>
          </p:cNvPr>
          <p:cNvSpPr/>
          <p:nvPr/>
        </p:nvSpPr>
        <p:spPr>
          <a:xfrm>
            <a:off x="7097594" y="4064598"/>
            <a:ext cx="63261" cy="68461"/>
          </a:xfrm>
          <a:prstGeom prst="ellipse">
            <a:avLst/>
          </a:prstGeom>
          <a:solidFill>
            <a:srgbClr val="C00000"/>
          </a:solidFill>
          <a:ln>
            <a:solidFill>
              <a:srgbClr val="4472C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47" name="TextBox 46">
            <a:extLst>
              <a:ext uri="{FF2B5EF4-FFF2-40B4-BE49-F238E27FC236}">
                <a16:creationId xmlns:a16="http://schemas.microsoft.com/office/drawing/2014/main" id="{FA77F4EC-2545-DC3C-B8E2-36AEBC47706B}"/>
              </a:ext>
            </a:extLst>
          </p:cNvPr>
          <p:cNvSpPr txBox="1"/>
          <p:nvPr/>
        </p:nvSpPr>
        <p:spPr>
          <a:xfrm>
            <a:off x="7163557" y="3977581"/>
            <a:ext cx="80183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stana</a:t>
            </a:r>
            <a:endParaRPr kumimoji="0" lang="ru-KZ"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50" name="Прямоугольник 49">
            <a:extLst>
              <a:ext uri="{FF2B5EF4-FFF2-40B4-BE49-F238E27FC236}">
                <a16:creationId xmlns:a16="http://schemas.microsoft.com/office/drawing/2014/main" id="{54C77ADB-5B0A-BD14-AA89-934303BB4A5D}"/>
              </a:ext>
            </a:extLst>
          </p:cNvPr>
          <p:cNvSpPr/>
          <p:nvPr/>
        </p:nvSpPr>
        <p:spPr>
          <a:xfrm>
            <a:off x="7001576" y="3958531"/>
            <a:ext cx="823083" cy="277517"/>
          </a:xfrm>
          <a:prstGeom prst="rect">
            <a:avLst/>
          </a:prstGeom>
          <a:noFill/>
          <a:ln>
            <a:solidFill>
              <a:srgbClr val="4472C4"/>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51" name="Овал 50">
            <a:extLst>
              <a:ext uri="{FF2B5EF4-FFF2-40B4-BE49-F238E27FC236}">
                <a16:creationId xmlns:a16="http://schemas.microsoft.com/office/drawing/2014/main" id="{6128BB55-56D2-7471-C6DB-E4840FD98DF1}"/>
              </a:ext>
            </a:extLst>
          </p:cNvPr>
          <p:cNvSpPr/>
          <p:nvPr/>
        </p:nvSpPr>
        <p:spPr>
          <a:xfrm>
            <a:off x="9250020" y="2028287"/>
            <a:ext cx="63261" cy="68461"/>
          </a:xfrm>
          <a:prstGeom prst="ellipse">
            <a:avLst/>
          </a:prstGeom>
          <a:solidFill>
            <a:srgbClr val="C00000"/>
          </a:solidFill>
          <a:ln>
            <a:solidFill>
              <a:srgbClr val="4472C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54" name="TextBox 53">
            <a:extLst>
              <a:ext uri="{FF2B5EF4-FFF2-40B4-BE49-F238E27FC236}">
                <a16:creationId xmlns:a16="http://schemas.microsoft.com/office/drawing/2014/main" id="{6A19205E-E377-1E5D-CDEA-34EAB8B89F6F}"/>
              </a:ext>
            </a:extLst>
          </p:cNvPr>
          <p:cNvSpPr txBox="1"/>
          <p:nvPr/>
        </p:nvSpPr>
        <p:spPr>
          <a:xfrm>
            <a:off x="10400391" y="2447217"/>
            <a:ext cx="74333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5,7 </a:t>
            </a:r>
          </a:p>
        </p:txBody>
      </p:sp>
      <p:sp>
        <p:nvSpPr>
          <p:cNvPr id="55" name="TextBox 54">
            <a:extLst>
              <a:ext uri="{FF2B5EF4-FFF2-40B4-BE49-F238E27FC236}">
                <a16:creationId xmlns:a16="http://schemas.microsoft.com/office/drawing/2014/main" id="{4A7C9032-41F0-1E7D-CE03-F445037A7CF4}"/>
              </a:ext>
            </a:extLst>
          </p:cNvPr>
          <p:cNvSpPr txBox="1"/>
          <p:nvPr/>
        </p:nvSpPr>
        <p:spPr>
          <a:xfrm>
            <a:off x="9685946" y="1716178"/>
            <a:ext cx="74333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23,4 </a:t>
            </a:r>
            <a:endParaRPr kumimoji="0" lang="ru-KZ"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56" name="TextBox 55">
            <a:extLst>
              <a:ext uri="{FF2B5EF4-FFF2-40B4-BE49-F238E27FC236}">
                <a16:creationId xmlns:a16="http://schemas.microsoft.com/office/drawing/2014/main" id="{2AFA9CDC-F56B-7BC5-38CC-254E02661AF9}"/>
              </a:ext>
            </a:extLst>
          </p:cNvPr>
          <p:cNvSpPr txBox="1"/>
          <p:nvPr/>
        </p:nvSpPr>
        <p:spPr>
          <a:xfrm>
            <a:off x="10272791" y="3119507"/>
            <a:ext cx="74333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mn-cs"/>
              </a:rPr>
              <a:t>1,1</a:t>
            </a:r>
            <a:endParaRPr kumimoji="0" lang="ru-KZ" sz="1000" b="1"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57" name="TextBox 56">
            <a:extLst>
              <a:ext uri="{FF2B5EF4-FFF2-40B4-BE49-F238E27FC236}">
                <a16:creationId xmlns:a16="http://schemas.microsoft.com/office/drawing/2014/main" id="{E4329CCE-DD09-46CF-9959-71DBAD455DF6}"/>
              </a:ext>
            </a:extLst>
          </p:cNvPr>
          <p:cNvSpPr txBox="1"/>
          <p:nvPr/>
        </p:nvSpPr>
        <p:spPr>
          <a:xfrm>
            <a:off x="9804556" y="3345794"/>
            <a:ext cx="74333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1,6</a:t>
            </a:r>
            <a:endParaRPr kumimoji="0" lang="ru-KZ"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58" name="TextBox 57">
            <a:extLst>
              <a:ext uri="{FF2B5EF4-FFF2-40B4-BE49-F238E27FC236}">
                <a16:creationId xmlns:a16="http://schemas.microsoft.com/office/drawing/2014/main" id="{42D2B141-41F7-5D7B-2A0B-202BB9B3EE9B}"/>
              </a:ext>
            </a:extLst>
          </p:cNvPr>
          <p:cNvSpPr txBox="1"/>
          <p:nvPr/>
        </p:nvSpPr>
        <p:spPr>
          <a:xfrm>
            <a:off x="9511314" y="2581069"/>
            <a:ext cx="74333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19,9</a:t>
            </a:r>
          </a:p>
        </p:txBody>
      </p:sp>
      <p:sp>
        <p:nvSpPr>
          <p:cNvPr id="60" name="TextBox 59">
            <a:extLst>
              <a:ext uri="{FF2B5EF4-FFF2-40B4-BE49-F238E27FC236}">
                <a16:creationId xmlns:a16="http://schemas.microsoft.com/office/drawing/2014/main" id="{60170FFF-7C6E-016D-10BB-5FC987163776}"/>
              </a:ext>
            </a:extLst>
          </p:cNvPr>
          <p:cNvSpPr txBox="1"/>
          <p:nvPr/>
        </p:nvSpPr>
        <p:spPr>
          <a:xfrm>
            <a:off x="8615480" y="3994956"/>
            <a:ext cx="74333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0,001</a:t>
            </a:r>
            <a:endParaRPr kumimoji="0" lang="ru-KZ"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61" name="TextBox 60">
            <a:extLst>
              <a:ext uri="{FF2B5EF4-FFF2-40B4-BE49-F238E27FC236}">
                <a16:creationId xmlns:a16="http://schemas.microsoft.com/office/drawing/2014/main" id="{1724E62B-2772-763D-785E-F15869667816}"/>
              </a:ext>
            </a:extLst>
          </p:cNvPr>
          <p:cNvSpPr txBox="1"/>
          <p:nvPr/>
        </p:nvSpPr>
        <p:spPr>
          <a:xfrm>
            <a:off x="8878920" y="1626995"/>
            <a:ext cx="74333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94,2</a:t>
            </a:r>
            <a:endParaRPr kumimoji="0" lang="ru-KZ"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69" name="TextBox 68">
            <a:extLst>
              <a:ext uri="{FF2B5EF4-FFF2-40B4-BE49-F238E27FC236}">
                <a16:creationId xmlns:a16="http://schemas.microsoft.com/office/drawing/2014/main" id="{85873872-F3F5-E2F1-2A14-495E8AC52C81}"/>
              </a:ext>
            </a:extLst>
          </p:cNvPr>
          <p:cNvSpPr txBox="1"/>
          <p:nvPr/>
        </p:nvSpPr>
        <p:spPr>
          <a:xfrm>
            <a:off x="8021314" y="3398670"/>
            <a:ext cx="74333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0,006</a:t>
            </a:r>
          </a:p>
        </p:txBody>
      </p:sp>
      <p:sp>
        <p:nvSpPr>
          <p:cNvPr id="70" name="TextBox 69">
            <a:extLst>
              <a:ext uri="{FF2B5EF4-FFF2-40B4-BE49-F238E27FC236}">
                <a16:creationId xmlns:a16="http://schemas.microsoft.com/office/drawing/2014/main" id="{CA5A3B77-83AF-7216-FF37-56700FCE8753}"/>
              </a:ext>
            </a:extLst>
          </p:cNvPr>
          <p:cNvSpPr txBox="1"/>
          <p:nvPr/>
        </p:nvSpPr>
        <p:spPr>
          <a:xfrm>
            <a:off x="8550957" y="2839081"/>
            <a:ext cx="74333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0,</a:t>
            </a:r>
            <a:r>
              <a:rPr kumimoji="0" lang="ru-RU"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09</a:t>
            </a:r>
            <a:endParaRPr kumimoji="0" lang="en-US"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71" name="TextBox 70">
            <a:extLst>
              <a:ext uri="{FF2B5EF4-FFF2-40B4-BE49-F238E27FC236}">
                <a16:creationId xmlns:a16="http://schemas.microsoft.com/office/drawing/2014/main" id="{811B6B58-CC60-A469-ED76-700ED1066021}"/>
              </a:ext>
            </a:extLst>
          </p:cNvPr>
          <p:cNvSpPr txBox="1"/>
          <p:nvPr/>
        </p:nvSpPr>
        <p:spPr>
          <a:xfrm>
            <a:off x="7955499" y="1739174"/>
            <a:ext cx="74333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74,9</a:t>
            </a:r>
          </a:p>
        </p:txBody>
      </p:sp>
      <p:sp>
        <p:nvSpPr>
          <p:cNvPr id="72" name="TextBox 71">
            <a:extLst>
              <a:ext uri="{FF2B5EF4-FFF2-40B4-BE49-F238E27FC236}">
                <a16:creationId xmlns:a16="http://schemas.microsoft.com/office/drawing/2014/main" id="{C01AA191-2946-4752-B0FD-C982F4196670}"/>
              </a:ext>
            </a:extLst>
          </p:cNvPr>
          <p:cNvSpPr txBox="1"/>
          <p:nvPr/>
        </p:nvSpPr>
        <p:spPr>
          <a:xfrm>
            <a:off x="7267640" y="2501708"/>
            <a:ext cx="74333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1,4</a:t>
            </a:r>
          </a:p>
        </p:txBody>
      </p:sp>
      <p:sp>
        <p:nvSpPr>
          <p:cNvPr id="73" name="TextBox 72">
            <a:extLst>
              <a:ext uri="{FF2B5EF4-FFF2-40B4-BE49-F238E27FC236}">
                <a16:creationId xmlns:a16="http://schemas.microsoft.com/office/drawing/2014/main" id="{4B239196-E5AC-7665-AC08-5CBFF5301A24}"/>
              </a:ext>
            </a:extLst>
          </p:cNvPr>
          <p:cNvSpPr txBox="1"/>
          <p:nvPr/>
        </p:nvSpPr>
        <p:spPr>
          <a:xfrm>
            <a:off x="6149797" y="2063218"/>
            <a:ext cx="74333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1,3</a:t>
            </a:r>
          </a:p>
        </p:txBody>
      </p:sp>
      <p:sp>
        <p:nvSpPr>
          <p:cNvPr id="74" name="TextBox 73">
            <a:extLst>
              <a:ext uri="{FF2B5EF4-FFF2-40B4-BE49-F238E27FC236}">
                <a16:creationId xmlns:a16="http://schemas.microsoft.com/office/drawing/2014/main" id="{347D15B6-42D5-511F-13D7-9CBA68DB6BE6}"/>
              </a:ext>
            </a:extLst>
          </p:cNvPr>
          <p:cNvSpPr txBox="1"/>
          <p:nvPr/>
        </p:nvSpPr>
        <p:spPr>
          <a:xfrm>
            <a:off x="8531120" y="1940036"/>
            <a:ext cx="743332" cy="24622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0,5</a:t>
            </a:r>
            <a:endParaRPr kumimoji="0" lang="ru-KZ"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75" name="TextBox 74">
            <a:extLst>
              <a:ext uri="{FF2B5EF4-FFF2-40B4-BE49-F238E27FC236}">
                <a16:creationId xmlns:a16="http://schemas.microsoft.com/office/drawing/2014/main" id="{8436DE0E-EFAC-CEF4-6C55-6EE5418FE9DA}"/>
              </a:ext>
            </a:extLst>
          </p:cNvPr>
          <p:cNvSpPr txBox="1"/>
          <p:nvPr/>
        </p:nvSpPr>
        <p:spPr>
          <a:xfrm>
            <a:off x="8692251" y="1266144"/>
            <a:ext cx="74333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88,9</a:t>
            </a:r>
          </a:p>
        </p:txBody>
      </p:sp>
      <p:sp>
        <p:nvSpPr>
          <p:cNvPr id="76" name="TextBox 75">
            <a:extLst>
              <a:ext uri="{FF2B5EF4-FFF2-40B4-BE49-F238E27FC236}">
                <a16:creationId xmlns:a16="http://schemas.microsoft.com/office/drawing/2014/main" id="{3EC47DCF-E0FC-B283-2EFC-CCF8242F0CBA}"/>
              </a:ext>
            </a:extLst>
          </p:cNvPr>
          <p:cNvSpPr txBox="1"/>
          <p:nvPr/>
        </p:nvSpPr>
        <p:spPr>
          <a:xfrm>
            <a:off x="10986339" y="2182515"/>
            <a:ext cx="74333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16,7</a:t>
            </a:r>
          </a:p>
        </p:txBody>
      </p:sp>
      <p:sp>
        <p:nvSpPr>
          <p:cNvPr id="6" name="TextBox 5">
            <a:extLst>
              <a:ext uri="{FF2B5EF4-FFF2-40B4-BE49-F238E27FC236}">
                <a16:creationId xmlns:a16="http://schemas.microsoft.com/office/drawing/2014/main" id="{1F9E356A-6533-F4F8-833F-98474B5C7646}"/>
              </a:ext>
            </a:extLst>
          </p:cNvPr>
          <p:cNvSpPr txBox="1"/>
          <p:nvPr/>
        </p:nvSpPr>
        <p:spPr>
          <a:xfrm>
            <a:off x="5114925" y="4664501"/>
            <a:ext cx="6872261" cy="1815882"/>
          </a:xfrm>
          <a:prstGeom prst="rect">
            <a:avLst/>
          </a:prstGeom>
          <a:noFill/>
          <a:ln w="28575">
            <a:solidFill>
              <a:srgbClr val="4472C4"/>
            </a:solidFill>
            <a:prstDash val="sysDot"/>
          </a:ln>
        </p:spPr>
        <p:txBody>
          <a:bodyPr wrap="square" lIns="91440" tIns="45720" rIns="91440" bIns="4572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In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2024</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Kazakhstan</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produced 330 thousand ton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 of oats, lagging behind the main global producers – the EU, Canada and Russia.</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Kazakhstan’s oat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export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grew</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 significantly – from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13 thousand tons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in 2023 to nearly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19 thousand tons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in 2024.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Import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 also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increased</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 but moderately – from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7.6 thousand tons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to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7.7 thousand tons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over the same period.</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The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key oat-producing region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 in 2024 were Akmola, North Kazakhstan and </a:t>
            </a:r>
            <a:r>
              <a:rPr kumimoji="0" lang="en-US" sz="1400" b="0" i="0" u="none" strike="noStrike" kern="1200" cap="none" spc="0" normalizeH="0" baseline="0" noProof="0" dirty="0" err="1">
                <a:ln>
                  <a:noFill/>
                </a:ln>
                <a:solidFill>
                  <a:prstClr val="black">
                    <a:lumMod val="65000"/>
                    <a:lumOff val="35000"/>
                  </a:prstClr>
                </a:solidFill>
                <a:effectLst/>
                <a:uLnTx/>
                <a:uFillTx/>
                <a:latin typeface="Century Gothic"/>
                <a:ea typeface="+mn-ea"/>
                <a:cs typeface="+mn-cs"/>
              </a:rPr>
              <a:t>Kostanay</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 regions. The remaining regions accounted for an insignificant share of the harvest.</a:t>
            </a: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endParaRPr>
          </a:p>
        </p:txBody>
      </p:sp>
      <p:graphicFrame>
        <p:nvGraphicFramePr>
          <p:cNvPr id="59" name="Диаграмма 58"/>
          <p:cNvGraphicFramePr/>
          <p:nvPr/>
        </p:nvGraphicFramePr>
        <p:xfrm>
          <a:off x="351982" y="1129644"/>
          <a:ext cx="4665770" cy="2773978"/>
        </p:xfrm>
        <a:graphic>
          <a:graphicData uri="http://schemas.openxmlformats.org/drawingml/2006/chart">
            <c:chart xmlns:c="http://schemas.openxmlformats.org/drawingml/2006/chart" xmlns:r="http://schemas.openxmlformats.org/officeDocument/2006/relationships" r:id="rId2"/>
          </a:graphicData>
        </a:graphic>
      </p:graphicFrame>
      <p:sp>
        <p:nvSpPr>
          <p:cNvPr id="65" name="TextBox 64">
            <a:extLst>
              <a:ext uri="{FF2B5EF4-FFF2-40B4-BE49-F238E27FC236}">
                <a16:creationId xmlns:a16="http://schemas.microsoft.com/office/drawing/2014/main" id="{33EBDB2E-BBDA-4473-6C5F-E3B26A3FDF6D}"/>
              </a:ext>
            </a:extLst>
          </p:cNvPr>
          <p:cNvSpPr txBox="1"/>
          <p:nvPr/>
        </p:nvSpPr>
        <p:spPr>
          <a:xfrm>
            <a:off x="504938" y="871618"/>
            <a:ext cx="4162090"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Oat production worldwide in 2024, million tons</a:t>
            </a:r>
            <a:endParaRPr kumimoji="0" lang="ru-RU" sz="12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graphicFrame>
        <p:nvGraphicFramePr>
          <p:cNvPr id="68" name="Диаграмма 67"/>
          <p:cNvGraphicFramePr/>
          <p:nvPr/>
        </p:nvGraphicFramePr>
        <p:xfrm>
          <a:off x="240667" y="4372430"/>
          <a:ext cx="4690633" cy="2220257"/>
        </p:xfrm>
        <a:graphic>
          <a:graphicData uri="http://schemas.openxmlformats.org/drawingml/2006/chart">
            <c:chart xmlns:c="http://schemas.openxmlformats.org/drawingml/2006/chart" xmlns:r="http://schemas.openxmlformats.org/officeDocument/2006/relationships" r:id="rId3"/>
          </a:graphicData>
        </a:graphic>
      </p:graphicFrame>
      <p:sp>
        <p:nvSpPr>
          <p:cNvPr id="77" name="TextBox 76">
            <a:extLst>
              <a:ext uri="{FF2B5EF4-FFF2-40B4-BE49-F238E27FC236}">
                <a16:creationId xmlns:a16="http://schemas.microsoft.com/office/drawing/2014/main" id="{33EBDB2E-BBDA-4473-6C5F-E3B26A3FDF6D}"/>
              </a:ext>
            </a:extLst>
          </p:cNvPr>
          <p:cNvSpPr txBox="1"/>
          <p:nvPr/>
        </p:nvSpPr>
        <p:spPr>
          <a:xfrm>
            <a:off x="522457" y="3970906"/>
            <a:ext cx="4162090"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Export and import of oats in Kazakhstan,         thousand tons</a:t>
            </a:r>
            <a:endParaRPr kumimoji="0" lang="ru-RU" sz="12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82" name="TextBox 81">
            <a:extLst>
              <a:ext uri="{FF2B5EF4-FFF2-40B4-BE49-F238E27FC236}">
                <a16:creationId xmlns:a16="http://schemas.microsoft.com/office/drawing/2014/main" id="{ADE70573-C062-596C-E0E9-317D53E5CB66}"/>
              </a:ext>
            </a:extLst>
          </p:cNvPr>
          <p:cNvSpPr txBox="1"/>
          <p:nvPr/>
        </p:nvSpPr>
        <p:spPr>
          <a:xfrm>
            <a:off x="5516171" y="837180"/>
            <a:ext cx="633986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Gross oat harvest by region in 2024, thousand tons</a:t>
            </a:r>
            <a:endParaRPr kumimoji="0" lang="ru-KZ" sz="12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52" name="TextBox 51">
            <a:extLst>
              <a:ext uri="{FF2B5EF4-FFF2-40B4-BE49-F238E27FC236}">
                <a16:creationId xmlns:a16="http://schemas.microsoft.com/office/drawing/2014/main" id="{EF43659D-424D-0567-4DCE-F15C12E5683B}"/>
              </a:ext>
            </a:extLst>
          </p:cNvPr>
          <p:cNvSpPr txBox="1"/>
          <p:nvPr/>
        </p:nvSpPr>
        <p:spPr>
          <a:xfrm>
            <a:off x="32427" y="6626899"/>
            <a:ext cx="8913844"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Source</a:t>
            </a:r>
            <a:r>
              <a:rPr kumimoji="0" lang="ru-RU"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he Bureau of National Statistics of the Agency for Strategic Planning and Reforms of the Republic of Kazakhstan</a:t>
            </a:r>
            <a:r>
              <a:rPr kumimoji="0" lang="ru-RU"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United States Department of Agriculture</a:t>
            </a:r>
            <a:endParaRPr kumimoji="0" lang="ru-RU"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101188272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Овал 23">
            <a:extLst>
              <a:ext uri="{FF2B5EF4-FFF2-40B4-BE49-F238E27FC236}">
                <a16:creationId xmlns:a16="http://schemas.microsoft.com/office/drawing/2014/main" id="{18BCC58E-9DA9-8053-FC9B-11C2C298251E}"/>
              </a:ext>
            </a:extLst>
          </p:cNvPr>
          <p:cNvSpPr/>
          <p:nvPr/>
        </p:nvSpPr>
        <p:spPr>
          <a:xfrm>
            <a:off x="495194" y="3912571"/>
            <a:ext cx="610932" cy="558162"/>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graphicFrame>
        <p:nvGraphicFramePr>
          <p:cNvPr id="2" name="think-cell data - do not delete" hidden="1">
            <a:extLst>
              <a:ext uri="{FF2B5EF4-FFF2-40B4-BE49-F238E27FC236}">
                <a16:creationId xmlns:a16="http://schemas.microsoft.com/office/drawing/2014/main" id="{E8F864A3-590B-14ED-0129-CBFE7676492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Слайд think-cell" r:id="rId4" imgW="7772400" imgH="10058400" progId="TCLayout.ActiveDocument.1">
                  <p:embed/>
                </p:oleObj>
              </mc:Choice>
              <mc:Fallback>
                <p:oleObj name="Слайд think-cell" r:id="rId4" imgW="7772400" imgH="10058400" progId="TCLayout.ActiveDocument.1">
                  <p:embed/>
                  <p:pic>
                    <p:nvPicPr>
                      <p:cNvPr id="2" name="think-cell data - do not delete" hidden="1">
                        <a:extLst>
                          <a:ext uri="{FF2B5EF4-FFF2-40B4-BE49-F238E27FC236}">
                            <a16:creationId xmlns:a16="http://schemas.microsoft.com/office/drawing/2014/main" id="{E8F864A3-590B-14ED-0129-CBFE7676492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7" name="object 3">
            <a:extLst>
              <a:ext uri="{FF2B5EF4-FFF2-40B4-BE49-F238E27FC236}">
                <a16:creationId xmlns:a16="http://schemas.microsoft.com/office/drawing/2014/main" id="{EE223A01-1423-47A2-AD72-ABA0198958A5}"/>
              </a:ext>
            </a:extLst>
          </p:cNvPr>
          <p:cNvSpPr txBox="1">
            <a:spLocks noGrp="1"/>
          </p:cNvSpPr>
          <p:nvPr>
            <p:ph type="title"/>
          </p:nvPr>
        </p:nvSpPr>
        <p:spPr>
          <a:xfrm>
            <a:off x="396209" y="251016"/>
            <a:ext cx="11993273" cy="384721"/>
          </a:xfrm>
          <a:prstGeom prst="rect">
            <a:avLst/>
          </a:prstGeom>
        </p:spPr>
        <p:txBody>
          <a:bodyPr vert="horz" wrap="square" lIns="0" tIns="12700" rIns="0" bIns="0" rtlCol="0">
            <a:spAutoFit/>
          </a:bodyPr>
          <a:lstStyle/>
          <a:p>
            <a:pPr>
              <a:lnSpc>
                <a:spcPts val="2946"/>
              </a:lnSpc>
              <a:spcBef>
                <a:spcPts val="100"/>
              </a:spcBef>
              <a:defRPr/>
            </a:pPr>
            <a:r>
              <a:rPr lang="en-US" sz="3000" b="1" dirty="0">
                <a:solidFill>
                  <a:schemeClr val="accent4"/>
                </a:solidFill>
                <a:latin typeface="Century Gothic" panose="020B0502020202020204" pitchFamily="34" charset="0"/>
                <a:ea typeface="+mn-ea"/>
                <a:cs typeface="+mn-cs"/>
              </a:rPr>
              <a:t>CONCLUSIONS</a:t>
            </a:r>
            <a:endParaRPr lang="ru-RU" sz="3000" b="1" dirty="0">
              <a:solidFill>
                <a:schemeClr val="accent4"/>
              </a:solidFill>
              <a:latin typeface="Century Gothic" panose="020B0502020202020204" pitchFamily="34" charset="0"/>
              <a:ea typeface="+mn-ea"/>
              <a:cs typeface="+mn-cs"/>
            </a:endParaRPr>
          </a:p>
        </p:txBody>
      </p:sp>
      <p:sp>
        <p:nvSpPr>
          <p:cNvPr id="8" name="TextBox 7">
            <a:extLst>
              <a:ext uri="{FF2B5EF4-FFF2-40B4-BE49-F238E27FC236}">
                <a16:creationId xmlns:a16="http://schemas.microsoft.com/office/drawing/2014/main" id="{2A32D3D1-6310-A246-22D5-EFAC404D4B2A}"/>
              </a:ext>
            </a:extLst>
          </p:cNvPr>
          <p:cNvSpPr txBox="1"/>
          <p:nvPr/>
        </p:nvSpPr>
        <p:spPr>
          <a:xfrm>
            <a:off x="7074669" y="3859413"/>
            <a:ext cx="4649975" cy="1815882"/>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Kazakhstan’s geographical location provides a logistical advantage. Its proximity to the rapidly growing markets of China and Central Asian countries positions it to become a </a:t>
            </a:r>
            <a:r>
              <a:rPr kumimoji="0" lang="en-US" sz="16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key grain hub</a:t>
            </a:r>
            <a:r>
              <a:rPr kumimoji="0" lang="en-US" sz="1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especially with the development of transport infrastructure and multimodal logistics.</a:t>
            </a:r>
            <a:endParaRPr kumimoji="0" lang="ru-RU" sz="1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4" name="Овал 3">
            <a:extLst>
              <a:ext uri="{FF2B5EF4-FFF2-40B4-BE49-F238E27FC236}">
                <a16:creationId xmlns:a16="http://schemas.microsoft.com/office/drawing/2014/main" id="{18BCC58E-9DA9-8053-FC9B-11C2C298251E}"/>
              </a:ext>
            </a:extLst>
          </p:cNvPr>
          <p:cNvSpPr/>
          <p:nvPr/>
        </p:nvSpPr>
        <p:spPr>
          <a:xfrm>
            <a:off x="496534" y="1234021"/>
            <a:ext cx="610932" cy="558162"/>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5" name="Овал 4">
            <a:extLst>
              <a:ext uri="{FF2B5EF4-FFF2-40B4-BE49-F238E27FC236}">
                <a16:creationId xmlns:a16="http://schemas.microsoft.com/office/drawing/2014/main" id="{C461805B-CAA7-76CB-3E07-7C6B5236F18C}"/>
              </a:ext>
            </a:extLst>
          </p:cNvPr>
          <p:cNvSpPr/>
          <p:nvPr/>
        </p:nvSpPr>
        <p:spPr>
          <a:xfrm>
            <a:off x="560880" y="1284812"/>
            <a:ext cx="482240" cy="45657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6" name="TextBox 5">
            <a:extLst>
              <a:ext uri="{FF2B5EF4-FFF2-40B4-BE49-F238E27FC236}">
                <a16:creationId xmlns:a16="http://schemas.microsoft.com/office/drawing/2014/main" id="{0DB46011-5D20-4DE4-EE36-277A191E731C}"/>
              </a:ext>
            </a:extLst>
          </p:cNvPr>
          <p:cNvSpPr txBox="1"/>
          <p:nvPr/>
        </p:nvSpPr>
        <p:spPr>
          <a:xfrm>
            <a:off x="1268007" y="1197154"/>
            <a:ext cx="4651692" cy="2062103"/>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Kazakhstan has underutilized export potential in cereal crops. Despite favorable climatic conditions and substantial areas under grain cultivation, Kazakhstan accounts for only </a:t>
            </a:r>
            <a:r>
              <a:rPr kumimoji="0" lang="en-US" sz="16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3.07% of global barley exports</a:t>
            </a:r>
            <a:r>
              <a:rPr kumimoji="0" lang="en-US" sz="1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nd </a:t>
            </a:r>
            <a:r>
              <a:rPr kumimoji="0" lang="en-US" sz="16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0.2% of oat exports</a:t>
            </a:r>
            <a:r>
              <a:rPr kumimoji="0" lang="en-US" sz="1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This indicates significant room for growth with the support of logistics and agricultural technologies.</a:t>
            </a:r>
            <a:endParaRPr kumimoji="0" lang="en-US" sz="1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9" name="Овал 8">
            <a:extLst>
              <a:ext uri="{FF2B5EF4-FFF2-40B4-BE49-F238E27FC236}">
                <a16:creationId xmlns:a16="http://schemas.microsoft.com/office/drawing/2014/main" id="{DFE3DB7D-F8BA-C586-340E-47BDECB2CAA0}"/>
              </a:ext>
            </a:extLst>
          </p:cNvPr>
          <p:cNvSpPr/>
          <p:nvPr/>
        </p:nvSpPr>
        <p:spPr>
          <a:xfrm>
            <a:off x="6399391" y="1231134"/>
            <a:ext cx="610932" cy="558162"/>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10" name="TextBox 9">
            <a:extLst>
              <a:ext uri="{FF2B5EF4-FFF2-40B4-BE49-F238E27FC236}">
                <a16:creationId xmlns:a16="http://schemas.microsoft.com/office/drawing/2014/main" id="{6933433F-2166-8E68-BE48-EA1246B4C1A7}"/>
              </a:ext>
            </a:extLst>
          </p:cNvPr>
          <p:cNvSpPr txBox="1"/>
          <p:nvPr/>
        </p:nvSpPr>
        <p:spPr>
          <a:xfrm>
            <a:off x="7074669" y="1233543"/>
            <a:ext cx="4585628" cy="2062103"/>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Investment in crop production aligns with global trends. Considering climate change and population growth, the OECD and FAO forecast that </a:t>
            </a:r>
            <a:r>
              <a:rPr kumimoji="0" lang="en-US" sz="16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global food demand will increase by 15% by 2032</a:t>
            </a:r>
            <a:r>
              <a:rPr kumimoji="0" lang="en-US" sz="1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Kazakhstan has the capacity to contribute to regional food security through the sustainable development of its agro-industrial complex.</a:t>
            </a:r>
            <a:endParaRPr kumimoji="0" lang="en-US" sz="1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1" name="Овал 10">
            <a:extLst>
              <a:ext uri="{FF2B5EF4-FFF2-40B4-BE49-F238E27FC236}">
                <a16:creationId xmlns:a16="http://schemas.microsoft.com/office/drawing/2014/main" id="{649A1675-3802-2589-23E3-37B200E5DD96}"/>
              </a:ext>
            </a:extLst>
          </p:cNvPr>
          <p:cNvSpPr/>
          <p:nvPr/>
        </p:nvSpPr>
        <p:spPr>
          <a:xfrm>
            <a:off x="6463737" y="1281925"/>
            <a:ext cx="482240" cy="45657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12" name="TextBox 11">
            <a:extLst>
              <a:ext uri="{FF2B5EF4-FFF2-40B4-BE49-F238E27FC236}">
                <a16:creationId xmlns:a16="http://schemas.microsoft.com/office/drawing/2014/main" id="{8F542C49-6479-4BE2-7967-C6DE5D0B39C5}"/>
              </a:ext>
            </a:extLst>
          </p:cNvPr>
          <p:cNvSpPr txBox="1"/>
          <p:nvPr/>
        </p:nvSpPr>
        <p:spPr>
          <a:xfrm>
            <a:off x="1268007" y="3833440"/>
            <a:ext cx="4650352" cy="1815882"/>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he growing global demand for cereals is opening new markets. According to the FAO, in 2024 </a:t>
            </a:r>
            <a:r>
              <a:rPr kumimoji="0" lang="en-US" sz="16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global cereal production reached a record 2.85 billion tons</a:t>
            </a:r>
            <a:r>
              <a:rPr kumimoji="0" lang="en-US" sz="1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nd the forecast for 2025 points to </a:t>
            </a:r>
            <a:r>
              <a:rPr kumimoji="0" lang="en-US" sz="16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further demand growth</a:t>
            </a:r>
            <a:r>
              <a:rPr kumimoji="0" lang="en-US" sz="1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particularly in Asian and African countries.</a:t>
            </a:r>
          </a:p>
        </p:txBody>
      </p:sp>
      <p:sp>
        <p:nvSpPr>
          <p:cNvPr id="14" name="Овал 13">
            <a:extLst>
              <a:ext uri="{FF2B5EF4-FFF2-40B4-BE49-F238E27FC236}">
                <a16:creationId xmlns:a16="http://schemas.microsoft.com/office/drawing/2014/main" id="{570EDF77-7A7D-980E-D450-5095DDE0BD07}"/>
              </a:ext>
            </a:extLst>
          </p:cNvPr>
          <p:cNvSpPr/>
          <p:nvPr/>
        </p:nvSpPr>
        <p:spPr>
          <a:xfrm>
            <a:off x="6399391" y="3911168"/>
            <a:ext cx="610932" cy="558162"/>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15" name="Овал 14">
            <a:extLst>
              <a:ext uri="{FF2B5EF4-FFF2-40B4-BE49-F238E27FC236}">
                <a16:creationId xmlns:a16="http://schemas.microsoft.com/office/drawing/2014/main" id="{FA559D3C-F16E-B1C8-7F66-0F5F672DE2B7}"/>
              </a:ext>
            </a:extLst>
          </p:cNvPr>
          <p:cNvSpPr/>
          <p:nvPr/>
        </p:nvSpPr>
        <p:spPr>
          <a:xfrm>
            <a:off x="560880" y="3961959"/>
            <a:ext cx="482240" cy="45657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16" name="Овал 15">
            <a:extLst>
              <a:ext uri="{FF2B5EF4-FFF2-40B4-BE49-F238E27FC236}">
                <a16:creationId xmlns:a16="http://schemas.microsoft.com/office/drawing/2014/main" id="{56220809-AEC1-886F-C156-398478554848}"/>
              </a:ext>
            </a:extLst>
          </p:cNvPr>
          <p:cNvSpPr/>
          <p:nvPr/>
        </p:nvSpPr>
        <p:spPr>
          <a:xfrm>
            <a:off x="6463737" y="3961959"/>
            <a:ext cx="482240" cy="45657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cxnSp>
        <p:nvCxnSpPr>
          <p:cNvPr id="17" name="Прямая соединительная линия 16">
            <a:extLst>
              <a:ext uri="{FF2B5EF4-FFF2-40B4-BE49-F238E27FC236}">
                <a16:creationId xmlns:a16="http://schemas.microsoft.com/office/drawing/2014/main" id="{D06D2203-D8C3-D088-A40A-5D792EC650BF}"/>
              </a:ext>
            </a:extLst>
          </p:cNvPr>
          <p:cNvCxnSpPr>
            <a:cxnSpLocks/>
          </p:cNvCxnSpPr>
          <p:nvPr/>
        </p:nvCxnSpPr>
        <p:spPr>
          <a:xfrm>
            <a:off x="6069624" y="1373723"/>
            <a:ext cx="0" cy="4546225"/>
          </a:xfrm>
          <a:prstGeom prst="line">
            <a:avLst/>
          </a:prstGeom>
          <a:ln w="12700">
            <a:solidFill>
              <a:srgbClr val="FBDD76"/>
            </a:solidFill>
          </a:ln>
        </p:spPr>
        <p:style>
          <a:lnRef idx="1">
            <a:schemeClr val="accent1"/>
          </a:lnRef>
          <a:fillRef idx="0">
            <a:schemeClr val="accent1"/>
          </a:fillRef>
          <a:effectRef idx="0">
            <a:schemeClr val="accent1"/>
          </a:effectRef>
          <a:fontRef idx="minor">
            <a:schemeClr val="tx1"/>
          </a:fontRef>
        </p:style>
      </p:cxnSp>
      <p:cxnSp>
        <p:nvCxnSpPr>
          <p:cNvPr id="19" name="Прямая соединительная линия 18">
            <a:extLst>
              <a:ext uri="{FF2B5EF4-FFF2-40B4-BE49-F238E27FC236}">
                <a16:creationId xmlns:a16="http://schemas.microsoft.com/office/drawing/2014/main" id="{E090ED62-4AE7-0DDC-973A-596D72361605}"/>
              </a:ext>
            </a:extLst>
          </p:cNvPr>
          <p:cNvCxnSpPr>
            <a:cxnSpLocks/>
          </p:cNvCxnSpPr>
          <p:nvPr/>
        </p:nvCxnSpPr>
        <p:spPr>
          <a:xfrm flipH="1">
            <a:off x="1257391" y="3653931"/>
            <a:ext cx="10262767" cy="0"/>
          </a:xfrm>
          <a:prstGeom prst="line">
            <a:avLst/>
          </a:prstGeom>
          <a:ln w="12700">
            <a:solidFill>
              <a:srgbClr val="FBDD76"/>
            </a:solidFill>
          </a:ln>
        </p:spPr>
        <p:style>
          <a:lnRef idx="1">
            <a:schemeClr val="accent1"/>
          </a:lnRef>
          <a:fillRef idx="0">
            <a:schemeClr val="accent1"/>
          </a:fillRef>
          <a:effectRef idx="0">
            <a:schemeClr val="accent1"/>
          </a:effectRef>
          <a:fontRef idx="minor">
            <a:schemeClr val="tx1"/>
          </a:fontRef>
        </p:style>
      </p:cxnSp>
      <p:pic>
        <p:nvPicPr>
          <p:cNvPr id="25" name="Рисунок 24" descr="Диаграмма с подъемом со сплошной заливкой">
            <a:extLst>
              <a:ext uri="{FF2B5EF4-FFF2-40B4-BE49-F238E27FC236}">
                <a16:creationId xmlns:a16="http://schemas.microsoft.com/office/drawing/2014/main" id="{233671B8-F7EF-610D-50CB-198BC7453B1E}"/>
              </a:ext>
            </a:extLst>
          </p:cNvPr>
          <p:cNvPicPr>
            <a:picLocks noChangeAspect="1"/>
          </p:cNvPicPr>
          <p:nvPr/>
        </p:nvPicPr>
        <p:blipFill>
          <a:blip r:embed="rId6">
            <a:duotone>
              <a:schemeClr val="bg2">
                <a:shade val="45000"/>
                <a:satMod val="135000"/>
              </a:schemeClr>
              <a:prstClr val="white"/>
            </a:duotone>
          </a:blip>
          <a:stretch>
            <a:fillRect/>
          </a:stretch>
        </p:blipFill>
        <p:spPr>
          <a:xfrm>
            <a:off x="6510804" y="1326518"/>
            <a:ext cx="374933" cy="374933"/>
          </a:xfrm>
          <a:prstGeom prst="rect">
            <a:avLst/>
          </a:prstGeom>
        </p:spPr>
      </p:pic>
      <p:sp>
        <p:nvSpPr>
          <p:cNvPr id="26" name="TextBox 25">
            <a:extLst>
              <a:ext uri="{FF2B5EF4-FFF2-40B4-BE49-F238E27FC236}">
                <a16:creationId xmlns:a16="http://schemas.microsoft.com/office/drawing/2014/main" id="{7CD4ADEB-FF27-B4A0-07CC-9381D09304D0}"/>
              </a:ext>
            </a:extLst>
          </p:cNvPr>
          <p:cNvSpPr txBox="1"/>
          <p:nvPr/>
        </p:nvSpPr>
        <p:spPr>
          <a:xfrm>
            <a:off x="71719" y="6638674"/>
            <a:ext cx="7599405"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Source</a:t>
            </a:r>
            <a:r>
              <a:rPr kumimoji="0" lang="ru-RU"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r>
              <a:rPr kumimoji="0" lang="kk-KZ" sz="800" b="0" i="0" u="none" strike="noStrike" kern="100" cap="none" spc="0" normalizeH="0" baseline="0" noProof="0" dirty="0">
                <a:ln>
                  <a:noFill/>
                </a:ln>
                <a:solidFill>
                  <a:prstClr val="black">
                    <a:lumMod val="65000"/>
                    <a:lumOff val="35000"/>
                  </a:prstClr>
                </a:solidFill>
                <a:effectLst/>
                <a:uLnTx/>
                <a:uFillTx/>
                <a:latin typeface="Century Gothic" panose="020B0502020202020204" pitchFamily="34" charset="0"/>
                <a:ea typeface="Aptos" panose="020B0004020202020204" pitchFamily="34" charset="0"/>
                <a:cs typeface="Times New Roman" panose="02020603050405020304" pitchFamily="18" charset="0"/>
              </a:rPr>
              <a:t>International Trade Centre, </a:t>
            </a:r>
            <a:r>
              <a:rPr kumimoji="0" lang="en-US" sz="800" b="0" i="0" u="none" strike="noStrike" kern="100" cap="none" spc="0" normalizeH="0" baseline="0" noProof="0" dirty="0">
                <a:ln>
                  <a:noFill/>
                </a:ln>
                <a:solidFill>
                  <a:prstClr val="black">
                    <a:lumMod val="65000"/>
                    <a:lumOff val="35000"/>
                  </a:prstClr>
                </a:solidFill>
                <a:effectLst/>
                <a:uLnTx/>
                <a:uFillTx/>
                <a:latin typeface="Century Gothic" panose="020B0502020202020204" pitchFamily="34" charset="0"/>
                <a:ea typeface="Aptos" panose="020B0004020202020204" pitchFamily="34" charset="0"/>
                <a:cs typeface="Times New Roman" panose="02020603050405020304" pitchFamily="18" charset="0"/>
              </a:rPr>
              <a:t>FAO, OECD</a:t>
            </a:r>
            <a:endParaRPr kumimoji="0" lang="ru-RU"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pic>
        <p:nvPicPr>
          <p:cNvPr id="29" name="Рисунок 28"/>
          <p:cNvPicPr>
            <a:picLocks noChangeAspect="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641046" y="1344103"/>
            <a:ext cx="312121" cy="312121"/>
          </a:xfrm>
          <a:prstGeom prst="rect">
            <a:avLst/>
          </a:prstGeom>
        </p:spPr>
      </p:pic>
      <p:pic>
        <p:nvPicPr>
          <p:cNvPr id="31" name="Рисунок 30"/>
          <p:cNvPicPr>
            <a:picLocks noChangeAspect="1"/>
          </p:cNvPicPr>
          <p:nvPr/>
        </p:nvPicPr>
        <p:blipFill>
          <a:blip r:embed="rId8">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6541824" y="4036296"/>
            <a:ext cx="317537" cy="317537"/>
          </a:xfrm>
          <a:prstGeom prst="rect">
            <a:avLst/>
          </a:prstGeom>
        </p:spPr>
      </p:pic>
      <p:pic>
        <p:nvPicPr>
          <p:cNvPr id="32" name="Рисунок 31" descr="Посевы со сплошной заливкой">
            <a:extLst>
              <a:ext uri="{FF2B5EF4-FFF2-40B4-BE49-F238E27FC236}">
                <a16:creationId xmlns:a16="http://schemas.microsoft.com/office/drawing/2014/main" id="{2E499364-EDD7-5D8B-06D1-BDEAB3DA8FF2}"/>
              </a:ext>
            </a:extLst>
          </p:cNvPr>
          <p:cNvPicPr>
            <a:picLocks noChangeAspect="1"/>
          </p:cNvPicPr>
          <p:nvPr/>
        </p:nvPicPr>
        <p:blipFill>
          <a:blip r:embed="rId9">
            <a:duotone>
              <a:schemeClr val="bg2">
                <a:shade val="45000"/>
                <a:satMod val="135000"/>
              </a:schemeClr>
              <a:prstClr val="white"/>
            </a:duotone>
          </a:blip>
          <a:stretch>
            <a:fillRect/>
          </a:stretch>
        </p:blipFill>
        <p:spPr>
          <a:xfrm>
            <a:off x="630305" y="4015617"/>
            <a:ext cx="338216" cy="338216"/>
          </a:xfrm>
          <a:prstGeom prst="rect">
            <a:avLst/>
          </a:prstGeom>
        </p:spPr>
      </p:pic>
    </p:spTree>
    <p:extLst>
      <p:ext uri="{BB962C8B-B14F-4D97-AF65-F5344CB8AC3E}">
        <p14:creationId xmlns:p14="http://schemas.microsoft.com/office/powerpoint/2010/main" val="135186244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83B17C-B526-5446-B04B-7CC3A404A7C2}"/>
            </a:ext>
          </a:extLst>
        </p:cNvPr>
        <p:cNvGrpSpPr/>
        <p:nvPr/>
      </p:nvGrpSpPr>
      <p:grpSpPr>
        <a:xfrm>
          <a:off x="0" y="0"/>
          <a:ext cx="0" cy="0"/>
          <a:chOff x="0" y="0"/>
          <a:chExt cx="0" cy="0"/>
        </a:xfrm>
      </p:grpSpPr>
      <p:sp>
        <p:nvSpPr>
          <p:cNvPr id="59" name="Прямоугольник: скругленные углы 3">
            <a:extLst>
              <a:ext uri="{FF2B5EF4-FFF2-40B4-BE49-F238E27FC236}">
                <a16:creationId xmlns:a16="http://schemas.microsoft.com/office/drawing/2014/main" id="{DE08868B-A3F6-4A38-946F-59F44F53E005}"/>
              </a:ext>
            </a:extLst>
          </p:cNvPr>
          <p:cNvSpPr/>
          <p:nvPr/>
        </p:nvSpPr>
        <p:spPr>
          <a:xfrm>
            <a:off x="267776" y="624646"/>
            <a:ext cx="3672039" cy="2872698"/>
          </a:xfrm>
          <a:prstGeom prst="roundRect">
            <a:avLst/>
          </a:prstGeom>
          <a:noFill/>
          <a:ln w="1905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60" name="Прямоугольник с двумя скругленными соседними углами 59">
            <a:extLst>
              <a:ext uri="{FF2B5EF4-FFF2-40B4-BE49-F238E27FC236}">
                <a16:creationId xmlns:a16="http://schemas.microsoft.com/office/drawing/2014/main" id="{EB023612-B434-4E9C-375F-A4380A009083}"/>
              </a:ext>
            </a:extLst>
          </p:cNvPr>
          <p:cNvSpPr/>
          <p:nvPr/>
        </p:nvSpPr>
        <p:spPr>
          <a:xfrm rot="10800000">
            <a:off x="632593" y="637067"/>
            <a:ext cx="2931207" cy="312753"/>
          </a:xfrm>
          <a:prstGeom prst="round2SameRect">
            <a:avLst>
              <a:gd name="adj1" fmla="val 50000"/>
              <a:gd name="adj2" fmla="val 0"/>
            </a:avLst>
          </a:prstGeom>
          <a:solidFill>
            <a:schemeClr val="tx2">
              <a:lumMod val="10000"/>
              <a:lumOff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61" name="Прямоугольник 3">
            <a:extLst>
              <a:ext uri="{FF2B5EF4-FFF2-40B4-BE49-F238E27FC236}">
                <a16:creationId xmlns:a16="http://schemas.microsoft.com/office/drawing/2014/main" id="{3E37B891-76E0-F179-931F-F08050174530}"/>
              </a:ext>
            </a:extLst>
          </p:cNvPr>
          <p:cNvSpPr>
            <a:spLocks noChangeArrowheads="1"/>
          </p:cNvSpPr>
          <p:nvPr/>
        </p:nvSpPr>
        <p:spPr bwMode="auto">
          <a:xfrm>
            <a:off x="517342" y="621636"/>
            <a:ext cx="3082722" cy="311591"/>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123" tIns="44561" rIns="89123" bIns="44561">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Olam </a:t>
            </a:r>
            <a:r>
              <a:rPr kumimoji="0" lang="en-US" sz="1600" b="1"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Agri</a:t>
            </a:r>
            <a:endPar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5" name="TextBox 4">
            <a:extLst>
              <a:ext uri="{FF2B5EF4-FFF2-40B4-BE49-F238E27FC236}">
                <a16:creationId xmlns:a16="http://schemas.microsoft.com/office/drawing/2014/main" id="{A306CA96-21DE-C704-99EC-22497F039704}"/>
              </a:ext>
            </a:extLst>
          </p:cNvPr>
          <p:cNvSpPr txBox="1"/>
          <p:nvPr/>
        </p:nvSpPr>
        <p:spPr>
          <a:xfrm>
            <a:off x="1045204" y="955477"/>
            <a:ext cx="217165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eadquarter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Singapore</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63" name="Прямоугольник: скругленные углы 3">
            <a:extLst>
              <a:ext uri="{FF2B5EF4-FFF2-40B4-BE49-F238E27FC236}">
                <a16:creationId xmlns:a16="http://schemas.microsoft.com/office/drawing/2014/main" id="{6D1CDC4D-5852-505E-FB09-194E9B05B513}"/>
              </a:ext>
            </a:extLst>
          </p:cNvPr>
          <p:cNvSpPr/>
          <p:nvPr/>
        </p:nvSpPr>
        <p:spPr>
          <a:xfrm>
            <a:off x="4304632" y="645298"/>
            <a:ext cx="3672039" cy="2833193"/>
          </a:xfrm>
          <a:prstGeom prst="roundRect">
            <a:avLst/>
          </a:prstGeom>
          <a:noFill/>
          <a:ln w="1905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64" name="Прямоугольник с двумя скругленными соседними углами 63">
            <a:extLst>
              <a:ext uri="{FF2B5EF4-FFF2-40B4-BE49-F238E27FC236}">
                <a16:creationId xmlns:a16="http://schemas.microsoft.com/office/drawing/2014/main" id="{65241A0F-DD16-6E91-6D2C-3D93E6F8435E}"/>
              </a:ext>
            </a:extLst>
          </p:cNvPr>
          <p:cNvSpPr/>
          <p:nvPr/>
        </p:nvSpPr>
        <p:spPr>
          <a:xfrm rot="10800000">
            <a:off x="4707724" y="655114"/>
            <a:ext cx="2931207" cy="275660"/>
          </a:xfrm>
          <a:prstGeom prst="round2SameRect">
            <a:avLst>
              <a:gd name="adj1" fmla="val 50000"/>
              <a:gd name="adj2" fmla="val 0"/>
            </a:avLst>
          </a:prstGeom>
          <a:solidFill>
            <a:schemeClr val="tx2">
              <a:lumMod val="10000"/>
              <a:lumOff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65" name="Прямоугольник 3">
            <a:extLst>
              <a:ext uri="{FF2B5EF4-FFF2-40B4-BE49-F238E27FC236}">
                <a16:creationId xmlns:a16="http://schemas.microsoft.com/office/drawing/2014/main" id="{5482FF6E-0F8B-C1C7-4236-0B7B543B9382}"/>
              </a:ext>
            </a:extLst>
          </p:cNvPr>
          <p:cNvSpPr>
            <a:spLocks noChangeArrowheads="1"/>
          </p:cNvSpPr>
          <p:nvPr/>
        </p:nvSpPr>
        <p:spPr bwMode="auto">
          <a:xfrm>
            <a:off x="4669449" y="624646"/>
            <a:ext cx="3082722" cy="311591"/>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123" tIns="44561" rIns="89123" bIns="44561">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Godrej </a:t>
            </a:r>
            <a:r>
              <a:rPr kumimoji="0" lang="en-US" sz="1600" b="1"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Agrovet</a:t>
            </a:r>
            <a:endPar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69" name="Прямоугольник: скругленные углы 3">
            <a:extLst>
              <a:ext uri="{FF2B5EF4-FFF2-40B4-BE49-F238E27FC236}">
                <a16:creationId xmlns:a16="http://schemas.microsoft.com/office/drawing/2014/main" id="{2EB2A5D5-D22E-0A8A-BA1D-73C9E1372061}"/>
              </a:ext>
            </a:extLst>
          </p:cNvPr>
          <p:cNvSpPr/>
          <p:nvPr/>
        </p:nvSpPr>
        <p:spPr>
          <a:xfrm>
            <a:off x="8249795" y="645298"/>
            <a:ext cx="3672039" cy="2861473"/>
          </a:xfrm>
          <a:prstGeom prst="roundRect">
            <a:avLst/>
          </a:prstGeom>
          <a:noFill/>
          <a:ln w="1905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70" name="Прямоугольник с двумя скругленными соседними углами 69">
            <a:extLst>
              <a:ext uri="{FF2B5EF4-FFF2-40B4-BE49-F238E27FC236}">
                <a16:creationId xmlns:a16="http://schemas.microsoft.com/office/drawing/2014/main" id="{119723F0-0AAA-F99E-37CC-CC1C7527544C}"/>
              </a:ext>
            </a:extLst>
          </p:cNvPr>
          <p:cNvSpPr/>
          <p:nvPr/>
        </p:nvSpPr>
        <p:spPr>
          <a:xfrm rot="10800000">
            <a:off x="8628199" y="666307"/>
            <a:ext cx="2931207" cy="257520"/>
          </a:xfrm>
          <a:prstGeom prst="round2SameRect">
            <a:avLst>
              <a:gd name="adj1" fmla="val 50000"/>
              <a:gd name="adj2" fmla="val 0"/>
            </a:avLst>
          </a:prstGeom>
          <a:solidFill>
            <a:schemeClr val="tx2">
              <a:lumMod val="10000"/>
              <a:lumOff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72" name="Прямоугольник 3">
            <a:extLst>
              <a:ext uri="{FF2B5EF4-FFF2-40B4-BE49-F238E27FC236}">
                <a16:creationId xmlns:a16="http://schemas.microsoft.com/office/drawing/2014/main" id="{ED5A56CA-E41E-1F46-C71D-54FD942C8C45}"/>
              </a:ext>
            </a:extLst>
          </p:cNvPr>
          <p:cNvSpPr>
            <a:spLocks noChangeArrowheads="1"/>
          </p:cNvSpPr>
          <p:nvPr/>
        </p:nvSpPr>
        <p:spPr bwMode="auto">
          <a:xfrm>
            <a:off x="8494650" y="617925"/>
            <a:ext cx="3348757" cy="311591"/>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123" tIns="44561" rIns="89123" bIns="44561">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Savola</a:t>
            </a:r>
            <a:r>
              <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Group</a:t>
            </a:r>
            <a:endParaRPr kumimoji="0" lang="en-US" sz="1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77" name="TextBox 76">
            <a:extLst>
              <a:ext uri="{FF2B5EF4-FFF2-40B4-BE49-F238E27FC236}">
                <a16:creationId xmlns:a16="http://schemas.microsoft.com/office/drawing/2014/main" id="{3DEA5B45-91D5-3C66-F972-85A9308FDA4F}"/>
              </a:ext>
            </a:extLst>
          </p:cNvPr>
          <p:cNvSpPr txBox="1"/>
          <p:nvPr/>
        </p:nvSpPr>
        <p:spPr>
          <a:xfrm>
            <a:off x="9229261" y="970086"/>
            <a:ext cx="194253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eadquarter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Jeddah,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Saudi Arabia</a:t>
            </a:r>
          </a:p>
        </p:txBody>
      </p:sp>
      <p:sp>
        <p:nvSpPr>
          <p:cNvPr id="126" name="TextBox 125">
            <a:extLst>
              <a:ext uri="{FF2B5EF4-FFF2-40B4-BE49-F238E27FC236}">
                <a16:creationId xmlns:a16="http://schemas.microsoft.com/office/drawing/2014/main" id="{8D7E7FFC-F832-75A6-19AA-986178EE6A9C}"/>
              </a:ext>
            </a:extLst>
          </p:cNvPr>
          <p:cNvSpPr txBox="1"/>
          <p:nvPr/>
        </p:nvSpPr>
        <p:spPr>
          <a:xfrm>
            <a:off x="343280" y="1471102"/>
            <a:ext cx="3524049" cy="1538883"/>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duction of grain, legumes and oilseed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 subsidiary of Olam Group, engaged in contract farming, logistics and agricultural product processing. Operates in more than 60 countries, with experience in developing agro-clusters, intermodal logistics chains and sustainable export systems.</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31" name="TextBox 130">
            <a:extLst>
              <a:ext uri="{FF2B5EF4-FFF2-40B4-BE49-F238E27FC236}">
                <a16:creationId xmlns:a16="http://schemas.microsoft.com/office/drawing/2014/main" id="{0358B745-AF6F-1900-9A69-8392D7A7E6FF}"/>
              </a:ext>
            </a:extLst>
          </p:cNvPr>
          <p:cNvSpPr txBox="1"/>
          <p:nvPr/>
        </p:nvSpPr>
        <p:spPr>
          <a:xfrm>
            <a:off x="8327863" y="1707278"/>
            <a:ext cx="3534594" cy="1169551"/>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duction of flour, vegetable oils, sugar, pasta and more</a:t>
            </a: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he largest </a:t>
            </a:r>
            <a:r>
              <a:rPr kumimoji="0" lang="en-US" sz="12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agri</a:t>
            </a: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food holding in Saudi Arabia, operating in more than 20 countries across the Middle East and North Africa.</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31" name="TextBox 30">
            <a:extLst>
              <a:ext uri="{FF2B5EF4-FFF2-40B4-BE49-F238E27FC236}">
                <a16:creationId xmlns:a16="http://schemas.microsoft.com/office/drawing/2014/main" id="{4362852D-BA5C-C86A-E3D2-211610E14695}"/>
              </a:ext>
            </a:extLst>
          </p:cNvPr>
          <p:cNvSpPr txBox="1"/>
          <p:nvPr/>
        </p:nvSpPr>
        <p:spPr>
          <a:xfrm>
            <a:off x="131886" y="109572"/>
            <a:ext cx="11939952" cy="432747"/>
          </a:xfrm>
          <a:prstGeom prst="rect">
            <a:avLst/>
          </a:prstGeom>
          <a:noFill/>
        </p:spPr>
        <p:txBody>
          <a:bodyPr wrap="square">
            <a:spAutoFit/>
          </a:bodyPr>
          <a:lstStyle/>
          <a:p>
            <a:pPr marL="0" marR="0" lvl="0" indent="0" algn="l" defTabSz="914400" rtl="0" eaLnBrk="1" fontAlgn="auto" latinLnBrk="0" hangingPunct="1">
              <a:lnSpc>
                <a:spcPts val="2946"/>
              </a:lnSpc>
              <a:spcBef>
                <a:spcPts val="100"/>
              </a:spcBef>
              <a:spcAft>
                <a:spcPts val="0"/>
              </a:spcAft>
              <a:buClrTx/>
              <a:buSzTx/>
              <a:buFontTx/>
              <a:buNone/>
              <a:tabLst/>
              <a:defRPr/>
            </a:pPr>
            <a:r>
              <a:rPr kumimoji="0" lang="en-US" sz="23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mn-cs"/>
              </a:rPr>
              <a:t>TARGET LIST OF COMPANIES PRODUCING CROP PRODUCTS</a:t>
            </a:r>
          </a:p>
        </p:txBody>
      </p:sp>
      <p:sp>
        <p:nvSpPr>
          <p:cNvPr id="14" name="TextBox 13">
            <a:extLst>
              <a:ext uri="{FF2B5EF4-FFF2-40B4-BE49-F238E27FC236}">
                <a16:creationId xmlns:a16="http://schemas.microsoft.com/office/drawing/2014/main" id="{D47CD8FD-3E8B-FDC2-3B18-089239FDEF40}"/>
              </a:ext>
            </a:extLst>
          </p:cNvPr>
          <p:cNvSpPr txBox="1"/>
          <p:nvPr/>
        </p:nvSpPr>
        <p:spPr>
          <a:xfrm>
            <a:off x="5156401" y="946052"/>
            <a:ext cx="217165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eadquarter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Mumbai, India</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6" name="TextBox 15">
            <a:extLst>
              <a:ext uri="{FF2B5EF4-FFF2-40B4-BE49-F238E27FC236}">
                <a16:creationId xmlns:a16="http://schemas.microsoft.com/office/drawing/2014/main" id="{7501FEFD-6F3D-FE15-0BD3-4B0258B97E64}"/>
              </a:ext>
            </a:extLst>
          </p:cNvPr>
          <p:cNvSpPr txBox="1"/>
          <p:nvPr/>
        </p:nvSpPr>
        <p:spPr>
          <a:xfrm>
            <a:off x="4385781" y="1467031"/>
            <a:ext cx="3533739" cy="1723549"/>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duction of oilseed crops, compound feed and more</a:t>
            </a: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One of the largest </a:t>
            </a:r>
            <a:r>
              <a:rPr kumimoji="0" lang="en-US" sz="12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agroholdings</a:t>
            </a: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in India, operating under a vertical integration model – from crop production to food processing. Actively developing sunflower and soybean oil production, </a:t>
            </a:r>
            <a:r>
              <a:rPr kumimoji="0" lang="en-US" sz="12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bioagrochemicals</a:t>
            </a: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nd expanding into emerging markets.</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21" name="Прямоугольник: скругленные углы 3">
            <a:extLst>
              <a:ext uri="{FF2B5EF4-FFF2-40B4-BE49-F238E27FC236}">
                <a16:creationId xmlns:a16="http://schemas.microsoft.com/office/drawing/2014/main" id="{6D4D1563-6E1A-EE29-A7DD-08CC289DB406}"/>
              </a:ext>
            </a:extLst>
          </p:cNvPr>
          <p:cNvSpPr/>
          <p:nvPr/>
        </p:nvSpPr>
        <p:spPr>
          <a:xfrm>
            <a:off x="267776" y="3830160"/>
            <a:ext cx="3672039" cy="2764153"/>
          </a:xfrm>
          <a:prstGeom prst="roundRect">
            <a:avLst/>
          </a:prstGeom>
          <a:noFill/>
          <a:ln w="1905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22" name="Прямоугольник с двумя скругленными соседними углами 59">
            <a:extLst>
              <a:ext uri="{FF2B5EF4-FFF2-40B4-BE49-F238E27FC236}">
                <a16:creationId xmlns:a16="http://schemas.microsoft.com/office/drawing/2014/main" id="{CDB15894-13AB-F217-3A7E-C69D411EDF07}"/>
              </a:ext>
            </a:extLst>
          </p:cNvPr>
          <p:cNvSpPr/>
          <p:nvPr/>
        </p:nvSpPr>
        <p:spPr>
          <a:xfrm rot="10800000">
            <a:off x="624488" y="3841818"/>
            <a:ext cx="2931207" cy="312753"/>
          </a:xfrm>
          <a:prstGeom prst="round2SameRect">
            <a:avLst>
              <a:gd name="adj1" fmla="val 50000"/>
              <a:gd name="adj2" fmla="val 0"/>
            </a:avLst>
          </a:prstGeom>
          <a:solidFill>
            <a:schemeClr val="tx2">
              <a:lumMod val="10000"/>
              <a:lumOff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23" name="Прямоугольник 3">
            <a:extLst>
              <a:ext uri="{FF2B5EF4-FFF2-40B4-BE49-F238E27FC236}">
                <a16:creationId xmlns:a16="http://schemas.microsoft.com/office/drawing/2014/main" id="{BA2DF968-34A4-034D-12BF-CA9B73C3FD3F}"/>
              </a:ext>
            </a:extLst>
          </p:cNvPr>
          <p:cNvSpPr>
            <a:spLocks noChangeArrowheads="1"/>
          </p:cNvSpPr>
          <p:nvPr/>
        </p:nvSpPr>
        <p:spPr bwMode="auto">
          <a:xfrm>
            <a:off x="563943" y="3819191"/>
            <a:ext cx="3082722" cy="336214"/>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123" tIns="44561" rIns="89123" bIns="44561">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Nadec</a:t>
            </a:r>
            <a:r>
              <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Foods</a:t>
            </a:r>
            <a:endParaRPr kumimoji="0" lang="de-DE" alt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28" name="TextBox 27">
            <a:extLst>
              <a:ext uri="{FF2B5EF4-FFF2-40B4-BE49-F238E27FC236}">
                <a16:creationId xmlns:a16="http://schemas.microsoft.com/office/drawing/2014/main" id="{1542C0F3-D9FD-A51D-EF6C-DD9A8C8A43B7}"/>
              </a:ext>
            </a:extLst>
          </p:cNvPr>
          <p:cNvSpPr txBox="1"/>
          <p:nvPr/>
        </p:nvSpPr>
        <p:spPr>
          <a:xfrm>
            <a:off x="999554" y="4197824"/>
            <a:ext cx="217165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eadquarter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Riyadh,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Saudi Arabia</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35" name="TextBox 34">
            <a:extLst>
              <a:ext uri="{FF2B5EF4-FFF2-40B4-BE49-F238E27FC236}">
                <a16:creationId xmlns:a16="http://schemas.microsoft.com/office/drawing/2014/main" id="{898A91D1-DC74-983B-DD6A-6C268AFB13E6}"/>
              </a:ext>
            </a:extLst>
          </p:cNvPr>
          <p:cNvSpPr txBox="1"/>
          <p:nvPr/>
        </p:nvSpPr>
        <p:spPr>
          <a:xfrm>
            <a:off x="331480" y="4935714"/>
            <a:ext cx="3547651" cy="1169551"/>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duction of dairy products, flour, feed and more</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One of the largest agricultural producers in the Middle East, owning its own agricultural fund and production facilities.</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37" name="Прямоугольник: скругленные углы 3">
            <a:extLst>
              <a:ext uri="{FF2B5EF4-FFF2-40B4-BE49-F238E27FC236}">
                <a16:creationId xmlns:a16="http://schemas.microsoft.com/office/drawing/2014/main" id="{377CC2F9-B3CB-E780-5EE9-1B92C1868AD3}"/>
              </a:ext>
            </a:extLst>
          </p:cNvPr>
          <p:cNvSpPr/>
          <p:nvPr/>
        </p:nvSpPr>
        <p:spPr>
          <a:xfrm>
            <a:off x="4337307" y="3838166"/>
            <a:ext cx="3672039" cy="2721027"/>
          </a:xfrm>
          <a:prstGeom prst="roundRect">
            <a:avLst/>
          </a:prstGeom>
          <a:noFill/>
          <a:ln w="1905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39" name="Прямоугольник с двумя скругленными соседними углами 63">
            <a:extLst>
              <a:ext uri="{FF2B5EF4-FFF2-40B4-BE49-F238E27FC236}">
                <a16:creationId xmlns:a16="http://schemas.microsoft.com/office/drawing/2014/main" id="{267F3B57-69D1-3A94-627A-133F443D7508}"/>
              </a:ext>
            </a:extLst>
          </p:cNvPr>
          <p:cNvSpPr/>
          <p:nvPr/>
        </p:nvSpPr>
        <p:spPr>
          <a:xfrm rot="10800000">
            <a:off x="4699083" y="3848635"/>
            <a:ext cx="2931207" cy="275660"/>
          </a:xfrm>
          <a:prstGeom prst="round2SameRect">
            <a:avLst>
              <a:gd name="adj1" fmla="val 50000"/>
              <a:gd name="adj2" fmla="val 0"/>
            </a:avLst>
          </a:prstGeom>
          <a:solidFill>
            <a:schemeClr val="tx2">
              <a:lumMod val="10000"/>
              <a:lumOff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41" name="TextBox 40">
            <a:extLst>
              <a:ext uri="{FF2B5EF4-FFF2-40B4-BE49-F238E27FC236}">
                <a16:creationId xmlns:a16="http://schemas.microsoft.com/office/drawing/2014/main" id="{A719E799-FD7E-5396-3B79-A938C2522E4D}"/>
              </a:ext>
            </a:extLst>
          </p:cNvPr>
          <p:cNvSpPr txBox="1"/>
          <p:nvPr/>
        </p:nvSpPr>
        <p:spPr>
          <a:xfrm>
            <a:off x="5096978" y="4199257"/>
            <a:ext cx="217165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eadquarter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Singapore</a:t>
            </a:r>
          </a:p>
        </p:txBody>
      </p:sp>
      <p:sp>
        <p:nvSpPr>
          <p:cNvPr id="43" name="Прямоугольник 3">
            <a:extLst>
              <a:ext uri="{FF2B5EF4-FFF2-40B4-BE49-F238E27FC236}">
                <a16:creationId xmlns:a16="http://schemas.microsoft.com/office/drawing/2014/main" id="{EE974196-0816-2FF1-066D-948C37CCB14E}"/>
              </a:ext>
            </a:extLst>
          </p:cNvPr>
          <p:cNvSpPr>
            <a:spLocks noChangeArrowheads="1"/>
          </p:cNvSpPr>
          <p:nvPr/>
        </p:nvSpPr>
        <p:spPr bwMode="auto">
          <a:xfrm>
            <a:off x="4631965" y="3837115"/>
            <a:ext cx="3082722" cy="311591"/>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123" tIns="44561" rIns="89123" bIns="44561">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fi-FI"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Wilmar International</a:t>
            </a:r>
            <a:endPar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55" name="TextBox 54">
            <a:extLst>
              <a:ext uri="{FF2B5EF4-FFF2-40B4-BE49-F238E27FC236}">
                <a16:creationId xmlns:a16="http://schemas.microsoft.com/office/drawing/2014/main" id="{4F0A0400-9CF1-0803-B33D-EDB8FB90C2B2}"/>
              </a:ext>
            </a:extLst>
          </p:cNvPr>
          <p:cNvSpPr txBox="1"/>
          <p:nvPr/>
        </p:nvSpPr>
        <p:spPr>
          <a:xfrm>
            <a:off x="4414357" y="4716388"/>
            <a:ext cx="3533739" cy="1354217"/>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duction of oilseed crops, edible oils and more</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 global leader in the processing of palm, soybean and sunflower oils. Operates more than 500 production facilities in over 40 countries.</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76" name="Прямоугольник: скругленные углы 3">
            <a:extLst>
              <a:ext uri="{FF2B5EF4-FFF2-40B4-BE49-F238E27FC236}">
                <a16:creationId xmlns:a16="http://schemas.microsoft.com/office/drawing/2014/main" id="{143B99EB-5D44-A719-57CD-B070B86F5F9E}"/>
              </a:ext>
            </a:extLst>
          </p:cNvPr>
          <p:cNvSpPr/>
          <p:nvPr/>
        </p:nvSpPr>
        <p:spPr>
          <a:xfrm>
            <a:off x="8306410" y="3851722"/>
            <a:ext cx="3672039" cy="2721027"/>
          </a:xfrm>
          <a:prstGeom prst="roundRect">
            <a:avLst/>
          </a:prstGeom>
          <a:noFill/>
          <a:ln w="1905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79" name="TextBox 78">
            <a:extLst>
              <a:ext uri="{FF2B5EF4-FFF2-40B4-BE49-F238E27FC236}">
                <a16:creationId xmlns:a16="http://schemas.microsoft.com/office/drawing/2014/main" id="{D5E5D38E-DCDA-3AB0-464B-7A383A8C9744}"/>
              </a:ext>
            </a:extLst>
          </p:cNvPr>
          <p:cNvSpPr txBox="1"/>
          <p:nvPr/>
        </p:nvSpPr>
        <p:spPr>
          <a:xfrm>
            <a:off x="9112823" y="4184549"/>
            <a:ext cx="217541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eadquarter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Lestrem</a:t>
            </a: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France</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81" name="Прямоугольник с двумя скругленными соседними углами 69">
            <a:extLst>
              <a:ext uri="{FF2B5EF4-FFF2-40B4-BE49-F238E27FC236}">
                <a16:creationId xmlns:a16="http://schemas.microsoft.com/office/drawing/2014/main" id="{B7B58B78-3302-735E-99CD-1CFE4C57C642}"/>
              </a:ext>
            </a:extLst>
          </p:cNvPr>
          <p:cNvSpPr/>
          <p:nvPr/>
        </p:nvSpPr>
        <p:spPr>
          <a:xfrm rot="10800000">
            <a:off x="8637971" y="3877591"/>
            <a:ext cx="2931207" cy="253201"/>
          </a:xfrm>
          <a:prstGeom prst="round2SameRect">
            <a:avLst>
              <a:gd name="adj1" fmla="val 50000"/>
              <a:gd name="adj2" fmla="val 0"/>
            </a:avLst>
          </a:prstGeom>
          <a:solidFill>
            <a:schemeClr val="tx2">
              <a:lumMod val="10000"/>
              <a:lumOff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82" name="Прямоугольник 3">
            <a:extLst>
              <a:ext uri="{FF2B5EF4-FFF2-40B4-BE49-F238E27FC236}">
                <a16:creationId xmlns:a16="http://schemas.microsoft.com/office/drawing/2014/main" id="{E96CBEC1-47CD-C7E8-3540-40CC43C6204A}"/>
              </a:ext>
            </a:extLst>
          </p:cNvPr>
          <p:cNvSpPr>
            <a:spLocks noChangeArrowheads="1"/>
          </p:cNvSpPr>
          <p:nvPr/>
        </p:nvSpPr>
        <p:spPr bwMode="auto">
          <a:xfrm>
            <a:off x="8496933" y="3838166"/>
            <a:ext cx="3424901" cy="311591"/>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123" tIns="44561" rIns="89123" bIns="44561">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Roquette</a:t>
            </a:r>
            <a:r>
              <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Frères</a:t>
            </a:r>
          </a:p>
        </p:txBody>
      </p:sp>
      <p:sp>
        <p:nvSpPr>
          <p:cNvPr id="89" name="TextBox 88">
            <a:extLst>
              <a:ext uri="{FF2B5EF4-FFF2-40B4-BE49-F238E27FC236}">
                <a16:creationId xmlns:a16="http://schemas.microsoft.com/office/drawing/2014/main" id="{8BFDAC3C-DAB4-FB4E-6404-8CC40B1F84DC}"/>
              </a:ext>
            </a:extLst>
          </p:cNvPr>
          <p:cNvSpPr txBox="1"/>
          <p:nvPr/>
        </p:nvSpPr>
        <p:spPr>
          <a:xfrm>
            <a:off x="8375488" y="4679985"/>
            <a:ext cx="3561548" cy="1569660"/>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duction of starch and more</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One of the largest producers of starch-based products in Europe. Actively invests in sustainable solutions, including plant-based meat and dairy alternatives. Implements international projects in Canada, India and China.</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5" name="TextBox 14">
            <a:extLst>
              <a:ext uri="{FF2B5EF4-FFF2-40B4-BE49-F238E27FC236}">
                <a16:creationId xmlns:a16="http://schemas.microsoft.com/office/drawing/2014/main" id="{946B2B07-A807-B123-44BC-14DBD4942990}"/>
              </a:ext>
            </a:extLst>
          </p:cNvPr>
          <p:cNvSpPr txBox="1"/>
          <p:nvPr/>
        </p:nvSpPr>
        <p:spPr>
          <a:xfrm>
            <a:off x="4604051" y="6637313"/>
            <a:ext cx="7577884" cy="21544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Savola</a:t>
            </a: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Group previously owned an oil extraction plant in </a:t>
            </a:r>
            <a:r>
              <a:rPr kumimoji="0" lang="en-US" sz="8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Aktobe</a:t>
            </a: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but the asset was sold to the Russian company </a:t>
            </a:r>
            <a:r>
              <a:rPr kumimoji="0" lang="ru-RU"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Юг Руси»</a:t>
            </a: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in 2014</a:t>
            </a:r>
          </a:p>
        </p:txBody>
      </p:sp>
      <p:pic>
        <p:nvPicPr>
          <p:cNvPr id="24" name="Рисунок 23"/>
          <p:cNvPicPr>
            <a:picLocks noChangeAspect="1"/>
          </p:cNvPicPr>
          <p:nvPr/>
        </p:nvPicPr>
        <p:blipFill>
          <a:blip r:embed="rId3"/>
          <a:stretch>
            <a:fillRect/>
          </a:stretch>
        </p:blipFill>
        <p:spPr>
          <a:xfrm>
            <a:off x="11250499" y="4231500"/>
            <a:ext cx="530663" cy="350029"/>
          </a:xfrm>
          <a:prstGeom prst="rect">
            <a:avLst/>
          </a:prstGeom>
        </p:spPr>
      </p:pic>
      <p:pic>
        <p:nvPicPr>
          <p:cNvPr id="7" name="Рисунок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98443" y="1029211"/>
            <a:ext cx="545182" cy="363909"/>
          </a:xfrm>
          <a:prstGeom prst="rect">
            <a:avLst/>
          </a:prstGeom>
          <a:ln>
            <a:solidFill>
              <a:schemeClr val="bg2">
                <a:lumMod val="75000"/>
              </a:schemeClr>
            </a:solidFill>
          </a:ln>
        </p:spPr>
      </p:pic>
      <p:pic>
        <p:nvPicPr>
          <p:cNvPr id="12" name="Рисунок 11"/>
          <p:cNvPicPr>
            <a:picLocks noChangeAspect="1"/>
          </p:cNvPicPr>
          <p:nvPr/>
        </p:nvPicPr>
        <p:blipFill rotWithShape="1">
          <a:blip r:embed="rId5">
            <a:extLst>
              <a:ext uri="{28A0092B-C50C-407E-A947-70E740481C1C}">
                <a14:useLocalDpi xmlns:a14="http://schemas.microsoft.com/office/drawing/2010/main" val="0"/>
              </a:ext>
            </a:extLst>
          </a:blip>
          <a:srcRect l="13765" t="34861" r="12782" b="35694"/>
          <a:stretch/>
        </p:blipFill>
        <p:spPr>
          <a:xfrm>
            <a:off x="441609" y="1124284"/>
            <a:ext cx="1054464" cy="298859"/>
          </a:xfrm>
          <a:prstGeom prst="rect">
            <a:avLst/>
          </a:prstGeom>
        </p:spPr>
      </p:pic>
      <p:pic>
        <p:nvPicPr>
          <p:cNvPr id="19" name="Рисунок 18"/>
          <p:cNvPicPr>
            <a:picLocks noChangeAspect="1"/>
          </p:cNvPicPr>
          <p:nvPr/>
        </p:nvPicPr>
        <p:blipFill>
          <a:blip r:embed="rId6"/>
          <a:stretch>
            <a:fillRect/>
          </a:stretch>
        </p:blipFill>
        <p:spPr>
          <a:xfrm>
            <a:off x="7209760" y="1024120"/>
            <a:ext cx="542411" cy="360770"/>
          </a:xfrm>
          <a:prstGeom prst="rect">
            <a:avLst/>
          </a:prstGeom>
        </p:spPr>
      </p:pic>
      <p:pic>
        <p:nvPicPr>
          <p:cNvPr id="25" name="Рисунок 2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538287" y="1081033"/>
            <a:ext cx="963105" cy="250407"/>
          </a:xfrm>
          <a:prstGeom prst="rect">
            <a:avLst/>
          </a:prstGeom>
        </p:spPr>
      </p:pic>
      <p:pic>
        <p:nvPicPr>
          <p:cNvPr id="27" name="Рисунок 26"/>
          <p:cNvPicPr>
            <a:picLocks noChangeAspect="1"/>
          </p:cNvPicPr>
          <p:nvPr/>
        </p:nvPicPr>
        <p:blipFill>
          <a:blip r:embed="rId8"/>
          <a:stretch>
            <a:fillRect/>
          </a:stretch>
        </p:blipFill>
        <p:spPr>
          <a:xfrm>
            <a:off x="11171798" y="1026999"/>
            <a:ext cx="575566" cy="382524"/>
          </a:xfrm>
          <a:prstGeom prst="rect">
            <a:avLst/>
          </a:prstGeom>
        </p:spPr>
      </p:pic>
      <p:pic>
        <p:nvPicPr>
          <p:cNvPr id="29" name="Рисунок 2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456564" y="1103972"/>
            <a:ext cx="857250" cy="374333"/>
          </a:xfrm>
          <a:prstGeom prst="rect">
            <a:avLst/>
          </a:prstGeom>
        </p:spPr>
      </p:pic>
      <p:pic>
        <p:nvPicPr>
          <p:cNvPr id="54" name="Рисунок 53"/>
          <p:cNvPicPr>
            <a:picLocks noChangeAspect="1"/>
          </p:cNvPicPr>
          <p:nvPr/>
        </p:nvPicPr>
        <p:blipFill>
          <a:blip r:embed="rId8"/>
          <a:stretch>
            <a:fillRect/>
          </a:stretch>
        </p:blipFill>
        <p:spPr>
          <a:xfrm>
            <a:off x="3180485" y="4228722"/>
            <a:ext cx="575566" cy="382524"/>
          </a:xfrm>
          <a:prstGeom prst="rect">
            <a:avLst/>
          </a:prstGeom>
        </p:spPr>
      </p:pic>
      <p:pic>
        <p:nvPicPr>
          <p:cNvPr id="30" name="Рисунок 29"/>
          <p:cNvPicPr>
            <a:picLocks noChangeAspect="1"/>
          </p:cNvPicPr>
          <p:nvPr/>
        </p:nvPicPr>
        <p:blipFill rotWithShape="1">
          <a:blip r:embed="rId10">
            <a:extLst>
              <a:ext uri="{28A0092B-C50C-407E-A947-70E740481C1C}">
                <a14:useLocalDpi xmlns:a14="http://schemas.microsoft.com/office/drawing/2010/main" val="0"/>
              </a:ext>
            </a:extLst>
          </a:blip>
          <a:srcRect l="9557" t="8222" r="9111" b="9556"/>
          <a:stretch/>
        </p:blipFill>
        <p:spPr>
          <a:xfrm>
            <a:off x="622387" y="4307222"/>
            <a:ext cx="409303" cy="413776"/>
          </a:xfrm>
          <a:prstGeom prst="rect">
            <a:avLst/>
          </a:prstGeom>
        </p:spPr>
      </p:pic>
      <p:pic>
        <p:nvPicPr>
          <p:cNvPr id="56" name="Рисунок 5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69505" y="4250592"/>
            <a:ext cx="545182" cy="363909"/>
          </a:xfrm>
          <a:prstGeom prst="rect">
            <a:avLst/>
          </a:prstGeom>
          <a:ln>
            <a:solidFill>
              <a:schemeClr val="bg2">
                <a:lumMod val="75000"/>
              </a:schemeClr>
            </a:solidFill>
          </a:ln>
        </p:spPr>
      </p:pic>
      <p:pic>
        <p:nvPicPr>
          <p:cNvPr id="32" name="Рисунок 31"/>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604051" y="4307518"/>
            <a:ext cx="845713" cy="274011"/>
          </a:xfrm>
          <a:prstGeom prst="rect">
            <a:avLst/>
          </a:prstGeom>
        </p:spPr>
      </p:pic>
      <p:pic>
        <p:nvPicPr>
          <p:cNvPr id="33" name="Рисунок 32"/>
          <p:cNvPicPr>
            <a:picLocks noChangeAspect="1"/>
          </p:cNvPicPr>
          <p:nvPr/>
        </p:nvPicPr>
        <p:blipFill rotWithShape="1">
          <a:blip r:embed="rId12">
            <a:extLst>
              <a:ext uri="{28A0092B-C50C-407E-A947-70E740481C1C}">
                <a14:useLocalDpi xmlns:a14="http://schemas.microsoft.com/office/drawing/2010/main" val="0"/>
              </a:ext>
            </a:extLst>
          </a:blip>
          <a:srcRect b="21085"/>
          <a:stretch/>
        </p:blipFill>
        <p:spPr>
          <a:xfrm>
            <a:off x="8537976" y="4245785"/>
            <a:ext cx="714375" cy="307839"/>
          </a:xfrm>
          <a:prstGeom prst="rect">
            <a:avLst/>
          </a:prstGeom>
        </p:spPr>
      </p:pic>
      <p:sp>
        <p:nvSpPr>
          <p:cNvPr id="47" name="TextBox 46">
            <a:extLst>
              <a:ext uri="{FF2B5EF4-FFF2-40B4-BE49-F238E27FC236}">
                <a16:creationId xmlns:a16="http://schemas.microsoft.com/office/drawing/2014/main" id="{B8BD3A92-0FC7-BC1F-EDE4-5774A2EF773F}"/>
              </a:ext>
            </a:extLst>
          </p:cNvPr>
          <p:cNvSpPr txBox="1"/>
          <p:nvPr/>
        </p:nvSpPr>
        <p:spPr>
          <a:xfrm>
            <a:off x="0" y="6642556"/>
            <a:ext cx="4103803"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Source: IQ Capital Pro data and analysis of KAZAKH INVEST data</a:t>
            </a:r>
          </a:p>
        </p:txBody>
      </p:sp>
    </p:spTree>
    <p:extLst>
      <p:ext uri="{BB962C8B-B14F-4D97-AF65-F5344CB8AC3E}">
        <p14:creationId xmlns:p14="http://schemas.microsoft.com/office/powerpoint/2010/main" val="35750734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Прямоугольник: скругленные углы 3">
            <a:extLst>
              <a:ext uri="{FF2B5EF4-FFF2-40B4-BE49-F238E27FC236}">
                <a16:creationId xmlns:a16="http://schemas.microsoft.com/office/drawing/2014/main" id="{6597C0E6-0BF2-4DA5-AC2F-A571AB92A879}"/>
              </a:ext>
            </a:extLst>
          </p:cNvPr>
          <p:cNvSpPr/>
          <p:nvPr/>
        </p:nvSpPr>
        <p:spPr>
          <a:xfrm>
            <a:off x="267776" y="624646"/>
            <a:ext cx="3672039" cy="2872698"/>
          </a:xfrm>
          <a:prstGeom prst="roundRect">
            <a:avLst/>
          </a:prstGeom>
          <a:noFill/>
          <a:ln w="1905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60" name="Прямоугольник с двумя скругленными соседними углами 59"/>
          <p:cNvSpPr/>
          <p:nvPr/>
        </p:nvSpPr>
        <p:spPr>
          <a:xfrm rot="10800000">
            <a:off x="632593" y="637067"/>
            <a:ext cx="2931207" cy="312753"/>
          </a:xfrm>
          <a:prstGeom prst="round2SameRect">
            <a:avLst>
              <a:gd name="adj1" fmla="val 50000"/>
              <a:gd name="adj2" fmla="val 0"/>
            </a:avLst>
          </a:prstGeom>
          <a:solidFill>
            <a:schemeClr val="tx2">
              <a:lumMod val="10000"/>
              <a:lumOff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61" name="Прямоугольник 3">
            <a:extLst>
              <a:ext uri="{FF2B5EF4-FFF2-40B4-BE49-F238E27FC236}">
                <a16:creationId xmlns:a16="http://schemas.microsoft.com/office/drawing/2014/main" id="{BBEEE44D-B7AB-4D17-8E75-2FB59E935EAF}"/>
              </a:ext>
            </a:extLst>
          </p:cNvPr>
          <p:cNvSpPr>
            <a:spLocks noChangeArrowheads="1"/>
          </p:cNvSpPr>
          <p:nvPr/>
        </p:nvSpPr>
        <p:spPr bwMode="auto">
          <a:xfrm>
            <a:off x="491920" y="630791"/>
            <a:ext cx="3230555" cy="320825"/>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123" tIns="44561" rIns="89123" bIns="44561">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sz="15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Ingredion Incorporated</a:t>
            </a:r>
            <a:endParaRPr kumimoji="0" lang="de-DE" altLang="en-US" sz="15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5" name="TextBox 4"/>
          <p:cNvSpPr txBox="1"/>
          <p:nvPr/>
        </p:nvSpPr>
        <p:spPr>
          <a:xfrm>
            <a:off x="956649" y="993155"/>
            <a:ext cx="217165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eadquarters: Westchester, USA</a:t>
            </a:r>
          </a:p>
        </p:txBody>
      </p:sp>
      <p:sp>
        <p:nvSpPr>
          <p:cNvPr id="63" name="Прямоугольник: скругленные углы 3">
            <a:extLst>
              <a:ext uri="{FF2B5EF4-FFF2-40B4-BE49-F238E27FC236}">
                <a16:creationId xmlns:a16="http://schemas.microsoft.com/office/drawing/2014/main" id="{6597C0E6-0BF2-4DA5-AC2F-A571AB92A879}"/>
              </a:ext>
            </a:extLst>
          </p:cNvPr>
          <p:cNvSpPr/>
          <p:nvPr/>
        </p:nvSpPr>
        <p:spPr>
          <a:xfrm>
            <a:off x="4304632" y="645298"/>
            <a:ext cx="3672039" cy="2833193"/>
          </a:xfrm>
          <a:prstGeom prst="roundRect">
            <a:avLst/>
          </a:prstGeom>
          <a:noFill/>
          <a:ln w="1905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64" name="Прямоугольник с двумя скругленными соседними углами 63"/>
          <p:cNvSpPr/>
          <p:nvPr/>
        </p:nvSpPr>
        <p:spPr>
          <a:xfrm rot="10800000">
            <a:off x="4707724" y="655114"/>
            <a:ext cx="2931207" cy="275660"/>
          </a:xfrm>
          <a:prstGeom prst="round2SameRect">
            <a:avLst>
              <a:gd name="adj1" fmla="val 50000"/>
              <a:gd name="adj2" fmla="val 0"/>
            </a:avLst>
          </a:prstGeom>
          <a:solidFill>
            <a:schemeClr val="tx2">
              <a:lumMod val="10000"/>
              <a:lumOff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65" name="Прямоугольник 3">
            <a:extLst>
              <a:ext uri="{FF2B5EF4-FFF2-40B4-BE49-F238E27FC236}">
                <a16:creationId xmlns:a16="http://schemas.microsoft.com/office/drawing/2014/main" id="{BBEEE44D-B7AB-4D17-8E75-2FB59E935EAF}"/>
              </a:ext>
            </a:extLst>
          </p:cNvPr>
          <p:cNvSpPr>
            <a:spLocks noChangeArrowheads="1"/>
          </p:cNvSpPr>
          <p:nvPr/>
        </p:nvSpPr>
        <p:spPr bwMode="auto">
          <a:xfrm>
            <a:off x="4681629" y="631956"/>
            <a:ext cx="3082722" cy="311591"/>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123" tIns="44561" rIns="89123" bIns="44561">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General Mills</a:t>
            </a:r>
            <a:endPar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69" name="Прямоугольник: скругленные углы 3">
            <a:extLst>
              <a:ext uri="{FF2B5EF4-FFF2-40B4-BE49-F238E27FC236}">
                <a16:creationId xmlns:a16="http://schemas.microsoft.com/office/drawing/2014/main" id="{6597C0E6-0BF2-4DA5-AC2F-A571AB92A879}"/>
              </a:ext>
            </a:extLst>
          </p:cNvPr>
          <p:cNvSpPr/>
          <p:nvPr/>
        </p:nvSpPr>
        <p:spPr>
          <a:xfrm>
            <a:off x="8249795" y="645298"/>
            <a:ext cx="3672039" cy="2861473"/>
          </a:xfrm>
          <a:prstGeom prst="roundRect">
            <a:avLst/>
          </a:prstGeom>
          <a:noFill/>
          <a:ln w="1905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70" name="Прямоугольник с двумя скругленными соседними углами 69"/>
          <p:cNvSpPr/>
          <p:nvPr/>
        </p:nvSpPr>
        <p:spPr>
          <a:xfrm rot="10800000">
            <a:off x="8628199" y="666307"/>
            <a:ext cx="2931207" cy="257520"/>
          </a:xfrm>
          <a:prstGeom prst="round2SameRect">
            <a:avLst>
              <a:gd name="adj1" fmla="val 50000"/>
              <a:gd name="adj2" fmla="val 0"/>
            </a:avLst>
          </a:prstGeom>
          <a:solidFill>
            <a:schemeClr val="tx2">
              <a:lumMod val="10000"/>
              <a:lumOff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72" name="Прямоугольник 3">
            <a:extLst>
              <a:ext uri="{FF2B5EF4-FFF2-40B4-BE49-F238E27FC236}">
                <a16:creationId xmlns:a16="http://schemas.microsoft.com/office/drawing/2014/main" id="{BBEEE44D-B7AB-4D17-8E75-2FB59E935EAF}"/>
              </a:ext>
            </a:extLst>
          </p:cNvPr>
          <p:cNvSpPr>
            <a:spLocks noChangeArrowheads="1"/>
          </p:cNvSpPr>
          <p:nvPr/>
        </p:nvSpPr>
        <p:spPr bwMode="auto">
          <a:xfrm>
            <a:off x="8578510" y="625266"/>
            <a:ext cx="3082722" cy="311591"/>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123" tIns="44561" rIns="89123" bIns="44561">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Daesang</a:t>
            </a:r>
            <a:r>
              <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Corporation</a:t>
            </a:r>
          </a:p>
        </p:txBody>
      </p:sp>
      <p:sp>
        <p:nvSpPr>
          <p:cNvPr id="77" name="TextBox 76"/>
          <p:cNvSpPr txBox="1"/>
          <p:nvPr/>
        </p:nvSpPr>
        <p:spPr>
          <a:xfrm>
            <a:off x="9239022" y="978320"/>
            <a:ext cx="1942536"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eadquarter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Seoul, South Korea</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26" name="TextBox 125"/>
          <p:cNvSpPr txBox="1"/>
          <p:nvPr/>
        </p:nvSpPr>
        <p:spPr>
          <a:xfrm>
            <a:off x="358475" y="1504187"/>
            <a:ext cx="3524049" cy="1538883"/>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duction of starch, syrups and more</a:t>
            </a: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 global producer of starch-based solutions for the food, pharmaceutical and technical industries. Processes corn, potatoes, and tapioca, while expanding the production of plant-based proteins and functional ingredients.</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31" name="TextBox 130"/>
          <p:cNvSpPr txBox="1"/>
          <p:nvPr/>
        </p:nvSpPr>
        <p:spPr>
          <a:xfrm>
            <a:off x="8312913" y="1495322"/>
            <a:ext cx="3576505" cy="1569660"/>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duction of starch, amino acids and more</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kumimoji="0" lang="ru-RU" sz="1200" b="0" i="0" u="none" strike="noStrike" kern="1200" cap="none" spc="0" normalizeH="0" baseline="0" noProof="0" dirty="0">
              <a:ln>
                <a:noFill/>
              </a:ln>
              <a:solidFill>
                <a:srgbClr val="000000"/>
              </a:solidFill>
              <a:effectLst/>
              <a:uLnTx/>
              <a:uFillTx/>
              <a:latin typeface="-webkit-standard"/>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 leading player in the production of high value-added products. Develops the processing of corn and vegetables into functional ingredients and exports products to more than 50 countries.</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4" name="TextBox 13">
            <a:extLst>
              <a:ext uri="{FF2B5EF4-FFF2-40B4-BE49-F238E27FC236}">
                <a16:creationId xmlns:a16="http://schemas.microsoft.com/office/drawing/2014/main" id="{9A608F09-CF16-F4D5-E44C-10EB6FBA6F0B}"/>
              </a:ext>
            </a:extLst>
          </p:cNvPr>
          <p:cNvSpPr txBox="1"/>
          <p:nvPr/>
        </p:nvSpPr>
        <p:spPr>
          <a:xfrm>
            <a:off x="5108178" y="971609"/>
            <a:ext cx="217165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eadquarters: Minneapolis, USA</a:t>
            </a:r>
          </a:p>
        </p:txBody>
      </p:sp>
      <p:sp>
        <p:nvSpPr>
          <p:cNvPr id="16" name="TextBox 15">
            <a:extLst>
              <a:ext uri="{FF2B5EF4-FFF2-40B4-BE49-F238E27FC236}">
                <a16:creationId xmlns:a16="http://schemas.microsoft.com/office/drawing/2014/main" id="{1515CBBD-6B2B-0F99-4D4A-DBF88A80455B}"/>
              </a:ext>
            </a:extLst>
          </p:cNvPr>
          <p:cNvSpPr txBox="1"/>
          <p:nvPr/>
        </p:nvSpPr>
        <p:spPr>
          <a:xfrm>
            <a:off x="4352413" y="1499469"/>
            <a:ext cx="3643112" cy="1723549"/>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duction of </a:t>
            </a:r>
            <a:r>
              <a:rPr kumimoji="0" lang="en-US" sz="12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biostimulants</a:t>
            </a: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crop protection products and fertilizers</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One of the world’s largest FMCG brands. Actively promotes sustainable production and organic products, including contract farming of oats, chickpeas and flax seeds. Operates farmer support and supply chain traceability programs.</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21" name="Прямоугольник: скругленные углы 3">
            <a:extLst>
              <a:ext uri="{FF2B5EF4-FFF2-40B4-BE49-F238E27FC236}">
                <a16:creationId xmlns:a16="http://schemas.microsoft.com/office/drawing/2014/main" id="{0FCBF128-AA27-4E7F-53CC-80A65364C1CE}"/>
              </a:ext>
            </a:extLst>
          </p:cNvPr>
          <p:cNvSpPr/>
          <p:nvPr/>
        </p:nvSpPr>
        <p:spPr>
          <a:xfrm>
            <a:off x="267776" y="3830160"/>
            <a:ext cx="3672039" cy="2764153"/>
          </a:xfrm>
          <a:prstGeom prst="roundRect">
            <a:avLst/>
          </a:prstGeom>
          <a:noFill/>
          <a:ln w="1905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22" name="Прямоугольник с двумя скругленными соседними углами 59">
            <a:extLst>
              <a:ext uri="{FF2B5EF4-FFF2-40B4-BE49-F238E27FC236}">
                <a16:creationId xmlns:a16="http://schemas.microsoft.com/office/drawing/2014/main" id="{4A8020D5-B724-51CF-BDAC-FD387E73D9F8}"/>
              </a:ext>
            </a:extLst>
          </p:cNvPr>
          <p:cNvSpPr/>
          <p:nvPr/>
        </p:nvSpPr>
        <p:spPr>
          <a:xfrm rot="10800000">
            <a:off x="509454" y="3859226"/>
            <a:ext cx="3130212" cy="312753"/>
          </a:xfrm>
          <a:prstGeom prst="round2SameRect">
            <a:avLst>
              <a:gd name="adj1" fmla="val 50000"/>
              <a:gd name="adj2" fmla="val 0"/>
            </a:avLst>
          </a:prstGeom>
          <a:solidFill>
            <a:schemeClr val="tx2">
              <a:lumMod val="10000"/>
              <a:lumOff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23" name="Прямоугольник 3">
            <a:extLst>
              <a:ext uri="{FF2B5EF4-FFF2-40B4-BE49-F238E27FC236}">
                <a16:creationId xmlns:a16="http://schemas.microsoft.com/office/drawing/2014/main" id="{A99D9D06-1B9F-266D-723B-23071E255134}"/>
              </a:ext>
            </a:extLst>
          </p:cNvPr>
          <p:cNvSpPr>
            <a:spLocks noChangeArrowheads="1"/>
          </p:cNvSpPr>
          <p:nvPr/>
        </p:nvSpPr>
        <p:spPr bwMode="auto">
          <a:xfrm>
            <a:off x="465848" y="3848634"/>
            <a:ext cx="3217423" cy="336214"/>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123" tIns="44561" rIns="89123" bIns="44561">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Beidahuang</a:t>
            </a:r>
            <a:r>
              <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Group</a:t>
            </a:r>
            <a:endParaRPr kumimoji="0" lang="de-DE" alt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28" name="TextBox 27">
            <a:extLst>
              <a:ext uri="{FF2B5EF4-FFF2-40B4-BE49-F238E27FC236}">
                <a16:creationId xmlns:a16="http://schemas.microsoft.com/office/drawing/2014/main" id="{5D095DBB-AE99-6A50-8D1A-3007EBFD90BE}"/>
              </a:ext>
            </a:extLst>
          </p:cNvPr>
          <p:cNvSpPr txBox="1"/>
          <p:nvPr/>
        </p:nvSpPr>
        <p:spPr>
          <a:xfrm>
            <a:off x="1012370" y="4214306"/>
            <a:ext cx="217165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eadquarter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arbin, China</a:t>
            </a:r>
          </a:p>
        </p:txBody>
      </p:sp>
      <p:sp>
        <p:nvSpPr>
          <p:cNvPr id="35" name="TextBox 34">
            <a:extLst>
              <a:ext uri="{FF2B5EF4-FFF2-40B4-BE49-F238E27FC236}">
                <a16:creationId xmlns:a16="http://schemas.microsoft.com/office/drawing/2014/main" id="{0AB286EC-14B2-3E72-BE28-D1981AEDBAAF}"/>
              </a:ext>
            </a:extLst>
          </p:cNvPr>
          <p:cNvSpPr txBox="1"/>
          <p:nvPr/>
        </p:nvSpPr>
        <p:spPr>
          <a:xfrm>
            <a:off x="339719" y="4753431"/>
            <a:ext cx="3547651" cy="1538883"/>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duction and processing of grain and oilseed crops</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kumimoji="0" lang="ru-RU"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One of the largest agro-industrial holdings in China, managing over 8 million hectares of agricultural land. Operates projects abroad (in Argentina and Southeast Asia), including the construction of processing plants.</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37" name="Прямоугольник: скругленные углы 3">
            <a:extLst>
              <a:ext uri="{FF2B5EF4-FFF2-40B4-BE49-F238E27FC236}">
                <a16:creationId xmlns:a16="http://schemas.microsoft.com/office/drawing/2014/main" id="{619825D6-3E57-C635-CAD5-00E8A955397F}"/>
              </a:ext>
            </a:extLst>
          </p:cNvPr>
          <p:cNvSpPr/>
          <p:nvPr/>
        </p:nvSpPr>
        <p:spPr>
          <a:xfrm>
            <a:off x="4337307" y="3838166"/>
            <a:ext cx="3672039" cy="2721027"/>
          </a:xfrm>
          <a:prstGeom prst="roundRect">
            <a:avLst/>
          </a:prstGeom>
          <a:noFill/>
          <a:ln w="1905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39" name="Прямоугольник с двумя скругленными соседними углами 63">
            <a:extLst>
              <a:ext uri="{FF2B5EF4-FFF2-40B4-BE49-F238E27FC236}">
                <a16:creationId xmlns:a16="http://schemas.microsoft.com/office/drawing/2014/main" id="{20DF9529-3C01-F33D-0646-ED4EE51A916E}"/>
              </a:ext>
            </a:extLst>
          </p:cNvPr>
          <p:cNvSpPr/>
          <p:nvPr/>
        </p:nvSpPr>
        <p:spPr>
          <a:xfrm rot="10800000">
            <a:off x="4699083" y="3848635"/>
            <a:ext cx="2931207" cy="275660"/>
          </a:xfrm>
          <a:prstGeom prst="round2SameRect">
            <a:avLst>
              <a:gd name="adj1" fmla="val 50000"/>
              <a:gd name="adj2" fmla="val 0"/>
            </a:avLst>
          </a:prstGeom>
          <a:solidFill>
            <a:schemeClr val="tx2">
              <a:lumMod val="10000"/>
              <a:lumOff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41" name="TextBox 40">
            <a:extLst>
              <a:ext uri="{FF2B5EF4-FFF2-40B4-BE49-F238E27FC236}">
                <a16:creationId xmlns:a16="http://schemas.microsoft.com/office/drawing/2014/main" id="{8B31FB0E-F2F0-A3BA-969F-30F252E1C082}"/>
              </a:ext>
            </a:extLst>
          </p:cNvPr>
          <p:cNvSpPr txBox="1"/>
          <p:nvPr/>
        </p:nvSpPr>
        <p:spPr>
          <a:xfrm>
            <a:off x="5139352" y="4185903"/>
            <a:ext cx="217165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eadquarter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okyo, Japan</a:t>
            </a:r>
          </a:p>
        </p:txBody>
      </p:sp>
      <p:sp>
        <p:nvSpPr>
          <p:cNvPr id="43" name="Прямоугольник 3">
            <a:extLst>
              <a:ext uri="{FF2B5EF4-FFF2-40B4-BE49-F238E27FC236}">
                <a16:creationId xmlns:a16="http://schemas.microsoft.com/office/drawing/2014/main" id="{BF72B3E9-E489-1327-36A7-96B3023D02F7}"/>
              </a:ext>
            </a:extLst>
          </p:cNvPr>
          <p:cNvSpPr>
            <a:spLocks noChangeArrowheads="1"/>
          </p:cNvSpPr>
          <p:nvPr/>
        </p:nvSpPr>
        <p:spPr bwMode="auto">
          <a:xfrm>
            <a:off x="4643696" y="3833781"/>
            <a:ext cx="3082722" cy="311591"/>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123" tIns="44561" rIns="89123" bIns="44561">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Meiji Co., Ltd.</a:t>
            </a:r>
            <a:endPar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55" name="TextBox 54">
            <a:extLst>
              <a:ext uri="{FF2B5EF4-FFF2-40B4-BE49-F238E27FC236}">
                <a16:creationId xmlns:a16="http://schemas.microsoft.com/office/drawing/2014/main" id="{C174BA4C-91BA-DD36-2F9B-FE94A2943544}"/>
              </a:ext>
            </a:extLst>
          </p:cNvPr>
          <p:cNvSpPr txBox="1"/>
          <p:nvPr/>
        </p:nvSpPr>
        <p:spPr>
          <a:xfrm>
            <a:off x="4398701" y="4753431"/>
            <a:ext cx="3572712" cy="1169551"/>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duction of grain-based food products</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One of the largest Japanese producers of high value-added products. Actively promotes plant-based products, including oat-based beverages and grain snacks.</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76" name="Прямоугольник: скругленные углы 3">
            <a:extLst>
              <a:ext uri="{FF2B5EF4-FFF2-40B4-BE49-F238E27FC236}">
                <a16:creationId xmlns:a16="http://schemas.microsoft.com/office/drawing/2014/main" id="{090F7383-98B5-88A8-B2AC-1EA33EDC2356}"/>
              </a:ext>
            </a:extLst>
          </p:cNvPr>
          <p:cNvSpPr/>
          <p:nvPr/>
        </p:nvSpPr>
        <p:spPr>
          <a:xfrm>
            <a:off x="8306410" y="3851722"/>
            <a:ext cx="3672039" cy="2721027"/>
          </a:xfrm>
          <a:prstGeom prst="roundRect">
            <a:avLst/>
          </a:prstGeom>
          <a:noFill/>
          <a:ln w="1905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79" name="TextBox 78">
            <a:extLst>
              <a:ext uri="{FF2B5EF4-FFF2-40B4-BE49-F238E27FC236}">
                <a16:creationId xmlns:a16="http://schemas.microsoft.com/office/drawing/2014/main" id="{EF5296C0-060B-C3C3-D7C3-BC021EEA9C8D}"/>
              </a:ext>
            </a:extLst>
          </p:cNvPr>
          <p:cNvSpPr txBox="1"/>
          <p:nvPr/>
        </p:nvSpPr>
        <p:spPr>
          <a:xfrm>
            <a:off x="9052082" y="4171980"/>
            <a:ext cx="2208837"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eadquarter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Mannheim, Germany</a:t>
            </a:r>
          </a:p>
        </p:txBody>
      </p:sp>
      <p:sp>
        <p:nvSpPr>
          <p:cNvPr id="81" name="Прямоугольник с двумя скругленными соседними углами 69">
            <a:extLst>
              <a:ext uri="{FF2B5EF4-FFF2-40B4-BE49-F238E27FC236}">
                <a16:creationId xmlns:a16="http://schemas.microsoft.com/office/drawing/2014/main" id="{84B968D9-0494-C1D4-0D58-9DCC274A6875}"/>
              </a:ext>
            </a:extLst>
          </p:cNvPr>
          <p:cNvSpPr/>
          <p:nvPr/>
        </p:nvSpPr>
        <p:spPr>
          <a:xfrm rot="10800000">
            <a:off x="8637971" y="3877591"/>
            <a:ext cx="2931207" cy="253201"/>
          </a:xfrm>
          <a:prstGeom prst="round2SameRect">
            <a:avLst>
              <a:gd name="adj1" fmla="val 50000"/>
              <a:gd name="adj2" fmla="val 0"/>
            </a:avLst>
          </a:prstGeom>
          <a:solidFill>
            <a:schemeClr val="tx2">
              <a:lumMod val="10000"/>
              <a:lumOff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82" name="Прямоугольник 3">
            <a:extLst>
              <a:ext uri="{FF2B5EF4-FFF2-40B4-BE49-F238E27FC236}">
                <a16:creationId xmlns:a16="http://schemas.microsoft.com/office/drawing/2014/main" id="{4B67C1C7-B513-0954-F48C-735E9B34BD0B}"/>
              </a:ext>
            </a:extLst>
          </p:cNvPr>
          <p:cNvSpPr>
            <a:spLocks noChangeArrowheads="1"/>
          </p:cNvSpPr>
          <p:nvPr/>
        </p:nvSpPr>
        <p:spPr bwMode="auto">
          <a:xfrm>
            <a:off x="8295996" y="3825356"/>
            <a:ext cx="3692866" cy="336214"/>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123" tIns="44561" rIns="89123" bIns="44561">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Südzucker</a:t>
            </a:r>
            <a:r>
              <a:rPr kumimoji="0" lang="kk-KZ"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r>
              <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Group / BENEO</a:t>
            </a:r>
            <a:endParaRPr kumimoji="0" lang="de-DE" alt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89" name="TextBox 88">
            <a:extLst>
              <a:ext uri="{FF2B5EF4-FFF2-40B4-BE49-F238E27FC236}">
                <a16:creationId xmlns:a16="http://schemas.microsoft.com/office/drawing/2014/main" id="{E395E0EF-0173-3171-18DB-F3EC8A2AA396}"/>
              </a:ext>
            </a:extLst>
          </p:cNvPr>
          <p:cNvSpPr txBox="1"/>
          <p:nvPr/>
        </p:nvSpPr>
        <p:spPr>
          <a:xfrm>
            <a:off x="8395009" y="4754927"/>
            <a:ext cx="3522984" cy="1754326"/>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duction of food ingredients</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Südzucker</a:t>
            </a:r>
            <a:r>
              <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is the largest sugar company in the EU. Its subsidiary BENEO produces functional ingredients based on rice, beet and corn. The group is developing the processing of industrial crops in the healthy nutrition and sustainable production segment.</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pic>
        <p:nvPicPr>
          <p:cNvPr id="3" name="Рисунок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81793" y="1035362"/>
            <a:ext cx="647738" cy="341535"/>
          </a:xfrm>
          <a:prstGeom prst="rect">
            <a:avLst/>
          </a:prstGeom>
        </p:spPr>
      </p:pic>
      <p:pic>
        <p:nvPicPr>
          <p:cNvPr id="15" name="Рисунок 14"/>
          <p:cNvPicPr>
            <a:picLocks noChangeAspect="1"/>
          </p:cNvPicPr>
          <p:nvPr/>
        </p:nvPicPr>
        <p:blipFill rotWithShape="1">
          <a:blip r:embed="rId4">
            <a:extLst>
              <a:ext uri="{28A0092B-C50C-407E-A947-70E740481C1C}">
                <a14:useLocalDpi xmlns:a14="http://schemas.microsoft.com/office/drawing/2010/main" val="0"/>
              </a:ext>
            </a:extLst>
          </a:blip>
          <a:srcRect t="11436" b="14308"/>
          <a:stretch/>
        </p:blipFill>
        <p:spPr>
          <a:xfrm>
            <a:off x="11151520" y="1017620"/>
            <a:ext cx="641491" cy="476349"/>
          </a:xfrm>
          <a:prstGeom prst="rect">
            <a:avLst/>
          </a:prstGeom>
        </p:spPr>
      </p:pic>
      <p:pic>
        <p:nvPicPr>
          <p:cNvPr id="56" name="Рисунок 5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149665" y="4274876"/>
            <a:ext cx="602734" cy="401901"/>
          </a:xfrm>
          <a:prstGeom prst="rect">
            <a:avLst/>
          </a:prstGeom>
        </p:spPr>
      </p:pic>
      <p:sp>
        <p:nvSpPr>
          <p:cNvPr id="47" name="TextBox 46">
            <a:extLst>
              <a:ext uri="{FF2B5EF4-FFF2-40B4-BE49-F238E27FC236}">
                <a16:creationId xmlns:a16="http://schemas.microsoft.com/office/drawing/2014/main" id="{4362852D-BA5C-C86A-E3D2-211610E14695}"/>
              </a:ext>
            </a:extLst>
          </p:cNvPr>
          <p:cNvSpPr txBox="1"/>
          <p:nvPr/>
        </p:nvSpPr>
        <p:spPr>
          <a:xfrm>
            <a:off x="131886" y="109572"/>
            <a:ext cx="11939952" cy="432747"/>
          </a:xfrm>
          <a:prstGeom prst="rect">
            <a:avLst/>
          </a:prstGeom>
          <a:noFill/>
        </p:spPr>
        <p:txBody>
          <a:bodyPr wrap="square">
            <a:spAutoFit/>
          </a:bodyPr>
          <a:lstStyle/>
          <a:p>
            <a:pPr marL="0" marR="0" lvl="0" indent="0" algn="l" defTabSz="914400" rtl="0" eaLnBrk="1" fontAlgn="auto" latinLnBrk="0" hangingPunct="1">
              <a:lnSpc>
                <a:spcPts val="2946"/>
              </a:lnSpc>
              <a:spcBef>
                <a:spcPts val="100"/>
              </a:spcBef>
              <a:spcAft>
                <a:spcPts val="0"/>
              </a:spcAft>
              <a:buClrTx/>
              <a:buSzTx/>
              <a:buFontTx/>
              <a:buNone/>
              <a:tabLst/>
              <a:defRPr/>
            </a:pPr>
            <a:r>
              <a:rPr kumimoji="0" lang="en-US" sz="23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mn-cs"/>
              </a:rPr>
              <a:t>TARGET LIST OF COMPANIES PRODUCING CROP PRODUCTS</a:t>
            </a:r>
          </a:p>
        </p:txBody>
      </p:sp>
      <p:pic>
        <p:nvPicPr>
          <p:cNvPr id="49" name="Рисунок 4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16534" y="1014674"/>
            <a:ext cx="647738" cy="341535"/>
          </a:xfrm>
          <a:prstGeom prst="rect">
            <a:avLst/>
          </a:prstGeom>
        </p:spPr>
      </p:pic>
      <p:pic>
        <p:nvPicPr>
          <p:cNvPr id="7" name="Рисунок 6"/>
          <p:cNvPicPr>
            <a:picLocks noChangeAspect="1"/>
          </p:cNvPicPr>
          <p:nvPr/>
        </p:nvPicPr>
        <p:blipFill rotWithShape="1">
          <a:blip r:embed="rId6">
            <a:extLst>
              <a:ext uri="{28A0092B-C50C-407E-A947-70E740481C1C}">
                <a14:useLocalDpi xmlns:a14="http://schemas.microsoft.com/office/drawing/2010/main" val="0"/>
              </a:ext>
            </a:extLst>
          </a:blip>
          <a:srcRect r="55303"/>
          <a:stretch/>
        </p:blipFill>
        <p:spPr>
          <a:xfrm>
            <a:off x="4699082" y="1035448"/>
            <a:ext cx="305400" cy="399142"/>
          </a:xfrm>
          <a:prstGeom prst="rect">
            <a:avLst/>
          </a:prstGeom>
        </p:spPr>
      </p:pic>
      <p:pic>
        <p:nvPicPr>
          <p:cNvPr id="9" name="Рисунок 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10851" y="993155"/>
            <a:ext cx="818473" cy="525460"/>
          </a:xfrm>
          <a:prstGeom prst="rect">
            <a:avLst/>
          </a:prstGeom>
        </p:spPr>
      </p:pic>
      <p:pic>
        <p:nvPicPr>
          <p:cNvPr id="11" name="Рисунок 10"/>
          <p:cNvPicPr>
            <a:picLocks noChangeAspect="1"/>
          </p:cNvPicPr>
          <p:nvPr/>
        </p:nvPicPr>
        <p:blipFill rotWithShape="1">
          <a:blip r:embed="rId8">
            <a:extLst>
              <a:ext uri="{28A0092B-C50C-407E-A947-70E740481C1C}">
                <a14:useLocalDpi xmlns:a14="http://schemas.microsoft.com/office/drawing/2010/main" val="0"/>
              </a:ext>
            </a:extLst>
          </a:blip>
          <a:srcRect l="15001" t="1976" r="16333" b="10474"/>
          <a:stretch/>
        </p:blipFill>
        <p:spPr>
          <a:xfrm>
            <a:off x="709727" y="4284324"/>
            <a:ext cx="364990" cy="392453"/>
          </a:xfrm>
          <a:prstGeom prst="rect">
            <a:avLst/>
          </a:prstGeom>
        </p:spPr>
      </p:pic>
      <p:pic>
        <p:nvPicPr>
          <p:cNvPr id="13" name="Рисунок 12"/>
          <p:cNvPicPr>
            <a:picLocks noChangeAspect="1"/>
          </p:cNvPicPr>
          <p:nvPr/>
        </p:nvPicPr>
        <p:blipFill rotWithShape="1">
          <a:blip r:embed="rId9">
            <a:extLst>
              <a:ext uri="{28A0092B-C50C-407E-A947-70E740481C1C}">
                <a14:useLocalDpi xmlns:a14="http://schemas.microsoft.com/office/drawing/2010/main" val="0"/>
              </a:ext>
            </a:extLst>
          </a:blip>
          <a:srcRect l="10000" r="11499" b="21000"/>
          <a:stretch/>
        </p:blipFill>
        <p:spPr>
          <a:xfrm>
            <a:off x="8611732" y="979186"/>
            <a:ext cx="559733" cy="563298"/>
          </a:xfrm>
          <a:prstGeom prst="rect">
            <a:avLst/>
          </a:prstGeom>
        </p:spPr>
      </p:pic>
      <p:pic>
        <p:nvPicPr>
          <p:cNvPr id="57" name="Рисунок 56"/>
          <p:cNvPicPr>
            <a:picLocks noChangeAspect="1"/>
          </p:cNvPicPr>
          <p:nvPr/>
        </p:nvPicPr>
        <p:blipFill>
          <a:blip r:embed="rId10"/>
          <a:stretch>
            <a:fillRect/>
          </a:stretch>
        </p:blipFill>
        <p:spPr>
          <a:xfrm>
            <a:off x="11154054" y="4279227"/>
            <a:ext cx="636422" cy="364778"/>
          </a:xfrm>
          <a:prstGeom prst="rect">
            <a:avLst/>
          </a:prstGeom>
        </p:spPr>
      </p:pic>
      <p:pic>
        <p:nvPicPr>
          <p:cNvPr id="19" name="Рисунок 18"/>
          <p:cNvPicPr>
            <a:picLocks noChangeAspect="1"/>
          </p:cNvPicPr>
          <p:nvPr/>
        </p:nvPicPr>
        <p:blipFill>
          <a:blip r:embed="rId11"/>
          <a:stretch>
            <a:fillRect/>
          </a:stretch>
        </p:blipFill>
        <p:spPr>
          <a:xfrm>
            <a:off x="8554288" y="4309165"/>
            <a:ext cx="664802" cy="304367"/>
          </a:xfrm>
          <a:prstGeom prst="rect">
            <a:avLst/>
          </a:prstGeom>
        </p:spPr>
      </p:pic>
      <p:pic>
        <p:nvPicPr>
          <p:cNvPr id="20" name="Рисунок 19"/>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587275" y="4305015"/>
            <a:ext cx="734040" cy="293616"/>
          </a:xfrm>
          <a:prstGeom prst="rect">
            <a:avLst/>
          </a:prstGeom>
        </p:spPr>
      </p:pic>
      <p:pic>
        <p:nvPicPr>
          <p:cNvPr id="24" name="Рисунок 23"/>
          <p:cNvPicPr>
            <a:picLocks noChangeAspect="1"/>
          </p:cNvPicPr>
          <p:nvPr/>
        </p:nvPicPr>
        <p:blipFill>
          <a:blip r:embed="rId13"/>
          <a:stretch>
            <a:fillRect/>
          </a:stretch>
        </p:blipFill>
        <p:spPr>
          <a:xfrm>
            <a:off x="7216534" y="4227226"/>
            <a:ext cx="603193" cy="400275"/>
          </a:xfrm>
          <a:prstGeom prst="rect">
            <a:avLst/>
          </a:prstGeom>
          <a:ln>
            <a:solidFill>
              <a:schemeClr val="bg2">
                <a:lumMod val="75000"/>
              </a:schemeClr>
            </a:solidFill>
          </a:ln>
        </p:spPr>
      </p:pic>
      <p:sp>
        <p:nvSpPr>
          <p:cNvPr id="48" name="TextBox 47">
            <a:extLst>
              <a:ext uri="{FF2B5EF4-FFF2-40B4-BE49-F238E27FC236}">
                <a16:creationId xmlns:a16="http://schemas.microsoft.com/office/drawing/2014/main" id="{B8BD3A92-0FC7-BC1F-EDE4-5774A2EF773F}"/>
              </a:ext>
            </a:extLst>
          </p:cNvPr>
          <p:cNvSpPr txBox="1"/>
          <p:nvPr/>
        </p:nvSpPr>
        <p:spPr>
          <a:xfrm>
            <a:off x="0" y="6642556"/>
            <a:ext cx="4103803"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Source: IQ Capital Pro data and analysis of KAZAKH INVEST data</a:t>
            </a:r>
          </a:p>
        </p:txBody>
      </p:sp>
      <p:sp>
        <p:nvSpPr>
          <p:cNvPr id="50" name="TextBox 49">
            <a:extLst>
              <a:ext uri="{FF2B5EF4-FFF2-40B4-BE49-F238E27FC236}">
                <a16:creationId xmlns:a16="http://schemas.microsoft.com/office/drawing/2014/main" id="{946B2B07-A807-B123-44BC-14DBD4942990}"/>
              </a:ext>
            </a:extLst>
          </p:cNvPr>
          <p:cNvSpPr txBox="1"/>
          <p:nvPr/>
        </p:nvSpPr>
        <p:spPr>
          <a:xfrm>
            <a:off x="5086913" y="6637313"/>
            <a:ext cx="7095022" cy="21544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There are no foreign representative offices/branches of the specified companies in the countries of Central Asia and the CIS</a:t>
            </a:r>
          </a:p>
        </p:txBody>
      </p:sp>
    </p:spTree>
    <p:extLst>
      <p:ext uri="{BB962C8B-B14F-4D97-AF65-F5344CB8AC3E}">
        <p14:creationId xmlns:p14="http://schemas.microsoft.com/office/powerpoint/2010/main" val="41643894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5E6E48-62EF-5C36-1A32-B53F89F842FD}"/>
            </a:ext>
          </a:extLst>
        </p:cNvPr>
        <p:cNvGrpSpPr/>
        <p:nvPr/>
      </p:nvGrpSpPr>
      <p:grpSpPr>
        <a:xfrm>
          <a:off x="0" y="0"/>
          <a:ext cx="0" cy="0"/>
          <a:chOff x="0" y="0"/>
          <a:chExt cx="0" cy="0"/>
        </a:xfrm>
      </p:grpSpPr>
      <p:grpSp>
        <p:nvGrpSpPr>
          <p:cNvPr id="8" name="Группа 7">
            <a:extLst>
              <a:ext uri="{FF2B5EF4-FFF2-40B4-BE49-F238E27FC236}">
                <a16:creationId xmlns:a16="http://schemas.microsoft.com/office/drawing/2014/main" id="{AC93AA9D-9A81-C19E-D936-7EFFBCF4E6F1}"/>
              </a:ext>
            </a:extLst>
          </p:cNvPr>
          <p:cNvGrpSpPr/>
          <p:nvPr/>
        </p:nvGrpSpPr>
        <p:grpSpPr>
          <a:xfrm>
            <a:off x="403322" y="1900040"/>
            <a:ext cx="7900831" cy="4602285"/>
            <a:chOff x="135165" y="90519"/>
            <a:chExt cx="11892752" cy="6652893"/>
          </a:xfrm>
          <a:solidFill>
            <a:schemeClr val="bg2">
              <a:alpha val="83000"/>
            </a:schemeClr>
          </a:solidFill>
        </p:grpSpPr>
        <p:grpSp>
          <p:nvGrpSpPr>
            <p:cNvPr id="9" name="组合 99">
              <a:extLst>
                <a:ext uri="{FF2B5EF4-FFF2-40B4-BE49-F238E27FC236}">
                  <a16:creationId xmlns:a16="http://schemas.microsoft.com/office/drawing/2014/main" id="{6423A1D6-9B1A-3FFD-19DB-FD2F5294768B}"/>
                </a:ext>
              </a:extLst>
            </p:cNvPr>
            <p:cNvGrpSpPr/>
            <p:nvPr/>
          </p:nvGrpSpPr>
          <p:grpSpPr>
            <a:xfrm>
              <a:off x="135165" y="90519"/>
              <a:ext cx="11892752" cy="6652893"/>
              <a:chOff x="719138" y="2320925"/>
              <a:chExt cx="5994400" cy="3346451"/>
            </a:xfrm>
            <a:grpFill/>
          </p:grpSpPr>
          <p:sp>
            <p:nvSpPr>
              <p:cNvPr id="14" name="任意多边形 93">
                <a:extLst>
                  <a:ext uri="{FF2B5EF4-FFF2-40B4-BE49-F238E27FC236}">
                    <a16:creationId xmlns:a16="http://schemas.microsoft.com/office/drawing/2014/main" id="{51260313-D88E-EA19-B9F1-4F5DDE19C191}"/>
                  </a:ext>
                </a:extLst>
              </p:cNvPr>
              <p:cNvSpPr>
                <a:spLocks/>
              </p:cNvSpPr>
              <p:nvPr/>
            </p:nvSpPr>
            <p:spPr bwMode="auto">
              <a:xfrm>
                <a:off x="3622214" y="2320925"/>
                <a:ext cx="1061551" cy="680403"/>
              </a:xfrm>
              <a:custGeom>
                <a:avLst/>
                <a:gdLst/>
                <a:ahLst/>
                <a:cxnLst/>
                <a:rect l="0" t="0" r="r" b="b"/>
                <a:pathLst>
                  <a:path w="12998892" h="8330529">
                    <a:moveTo>
                      <a:pt x="56654" y="7407720"/>
                    </a:moveTo>
                    <a:lnTo>
                      <a:pt x="0" y="6577494"/>
                    </a:lnTo>
                    <a:lnTo>
                      <a:pt x="534863" y="6069743"/>
                    </a:lnTo>
                    <a:lnTo>
                      <a:pt x="401029" y="5783984"/>
                    </a:lnTo>
                    <a:lnTo>
                      <a:pt x="534867" y="5505456"/>
                    </a:lnTo>
                    <a:lnTo>
                      <a:pt x="390176" y="4955630"/>
                    </a:lnTo>
                    <a:lnTo>
                      <a:pt x="708496" y="4716894"/>
                    </a:lnTo>
                    <a:lnTo>
                      <a:pt x="136963" y="4120046"/>
                    </a:lnTo>
                    <a:lnTo>
                      <a:pt x="777226" y="3678742"/>
                    </a:lnTo>
                    <a:lnTo>
                      <a:pt x="263569" y="3411068"/>
                    </a:lnTo>
                    <a:lnTo>
                      <a:pt x="223777" y="3092748"/>
                    </a:lnTo>
                    <a:lnTo>
                      <a:pt x="650619" y="3027641"/>
                    </a:lnTo>
                    <a:lnTo>
                      <a:pt x="321446" y="2535692"/>
                    </a:lnTo>
                    <a:lnTo>
                      <a:pt x="419114" y="2268018"/>
                    </a:lnTo>
                    <a:lnTo>
                      <a:pt x="1099154" y="1909906"/>
                    </a:lnTo>
                    <a:lnTo>
                      <a:pt x="2083052" y="1555417"/>
                    </a:lnTo>
                    <a:lnTo>
                      <a:pt x="2958428" y="1229866"/>
                    </a:lnTo>
                    <a:lnTo>
                      <a:pt x="3435901" y="1327534"/>
                    </a:lnTo>
                    <a:lnTo>
                      <a:pt x="3511862" y="864523"/>
                    </a:lnTo>
                    <a:lnTo>
                      <a:pt x="4097856" y="314697"/>
                    </a:lnTo>
                    <a:lnTo>
                      <a:pt x="4752581" y="0"/>
                    </a:lnTo>
                    <a:lnTo>
                      <a:pt x="5728272" y="81578"/>
                    </a:lnTo>
                    <a:lnTo>
                      <a:pt x="6463541" y="694516"/>
                    </a:lnTo>
                    <a:lnTo>
                      <a:pt x="6987061" y="262437"/>
                    </a:lnTo>
                    <a:lnTo>
                      <a:pt x="7422109" y="231505"/>
                    </a:lnTo>
                    <a:lnTo>
                      <a:pt x="7816390" y="549826"/>
                    </a:lnTo>
                    <a:lnTo>
                      <a:pt x="7921289" y="1464994"/>
                    </a:lnTo>
                    <a:lnTo>
                      <a:pt x="8246840" y="1884590"/>
                    </a:lnTo>
                    <a:lnTo>
                      <a:pt x="8275778" y="2684005"/>
                    </a:lnTo>
                    <a:lnTo>
                      <a:pt x="7888728" y="3085517"/>
                    </a:lnTo>
                    <a:lnTo>
                      <a:pt x="8333655" y="3530443"/>
                    </a:lnTo>
                    <a:lnTo>
                      <a:pt x="8756874" y="3114455"/>
                    </a:lnTo>
                    <a:lnTo>
                      <a:pt x="8908795" y="3327876"/>
                    </a:lnTo>
                    <a:lnTo>
                      <a:pt x="9899924" y="2698467"/>
                    </a:lnTo>
                    <a:lnTo>
                      <a:pt x="10301436" y="3114455"/>
                    </a:lnTo>
                    <a:cubicBezTo>
                      <a:pt x="10303846" y="3332697"/>
                      <a:pt x="10306257" y="3550938"/>
                      <a:pt x="10308667" y="3769180"/>
                    </a:cubicBezTo>
                    <a:lnTo>
                      <a:pt x="10731886" y="3700450"/>
                    </a:lnTo>
                    <a:lnTo>
                      <a:pt x="10876577" y="3150624"/>
                    </a:lnTo>
                    <a:lnTo>
                      <a:pt x="11173189" y="3063810"/>
                    </a:lnTo>
                    <a:lnTo>
                      <a:pt x="11607262" y="3508736"/>
                    </a:lnTo>
                    <a:lnTo>
                      <a:pt x="12081127" y="3664281"/>
                    </a:lnTo>
                    <a:lnTo>
                      <a:pt x="12475408" y="3237439"/>
                    </a:lnTo>
                    <a:lnTo>
                      <a:pt x="12714144" y="3682365"/>
                    </a:lnTo>
                    <a:lnTo>
                      <a:pt x="12583930" y="3874079"/>
                    </a:lnTo>
                    <a:lnTo>
                      <a:pt x="12160711" y="4036854"/>
                    </a:lnTo>
                    <a:lnTo>
                      <a:pt x="11864098" y="4402197"/>
                    </a:lnTo>
                    <a:lnTo>
                      <a:pt x="11889413" y="4915838"/>
                    </a:lnTo>
                    <a:lnTo>
                      <a:pt x="11940051" y="5440349"/>
                    </a:lnTo>
                    <a:lnTo>
                      <a:pt x="12374124" y="5132875"/>
                    </a:lnTo>
                    <a:lnTo>
                      <a:pt x="12536899" y="5548867"/>
                    </a:lnTo>
                    <a:lnTo>
                      <a:pt x="12066654" y="5783984"/>
                    </a:lnTo>
                    <a:lnTo>
                      <a:pt x="12482642" y="6037197"/>
                    </a:lnTo>
                    <a:lnTo>
                      <a:pt x="12998892" y="6082556"/>
                    </a:lnTo>
                    <a:lnTo>
                      <a:pt x="12934799" y="6507438"/>
                    </a:lnTo>
                    <a:lnTo>
                      <a:pt x="12573072" y="6579784"/>
                    </a:lnTo>
                    <a:lnTo>
                      <a:pt x="12756883" y="7003998"/>
                    </a:lnTo>
                    <a:lnTo>
                      <a:pt x="12012393" y="6822136"/>
                    </a:lnTo>
                    <a:lnTo>
                      <a:pt x="11270854" y="6775113"/>
                    </a:lnTo>
                    <a:lnTo>
                      <a:pt x="10934449" y="6185496"/>
                    </a:lnTo>
                    <a:lnTo>
                      <a:pt x="9697353" y="6496585"/>
                    </a:lnTo>
                    <a:lnTo>
                      <a:pt x="9284988" y="6026343"/>
                    </a:lnTo>
                    <a:lnTo>
                      <a:pt x="8872623" y="5476518"/>
                    </a:lnTo>
                    <a:lnTo>
                      <a:pt x="8304713" y="5534394"/>
                    </a:lnTo>
                    <a:lnTo>
                      <a:pt x="7527005" y="5349911"/>
                    </a:lnTo>
                    <a:lnTo>
                      <a:pt x="7114639" y="5718877"/>
                    </a:lnTo>
                    <a:lnTo>
                      <a:pt x="6393600" y="5132882"/>
                    </a:lnTo>
                    <a:lnTo>
                      <a:pt x="6122302" y="4698810"/>
                    </a:lnTo>
                    <a:lnTo>
                      <a:pt x="5808813" y="4602349"/>
                    </a:lnTo>
                    <a:lnTo>
                      <a:pt x="5374740" y="4861585"/>
                    </a:lnTo>
                    <a:lnTo>
                      <a:pt x="4904499" y="4765124"/>
                    </a:lnTo>
                    <a:lnTo>
                      <a:pt x="4241336" y="4849523"/>
                    </a:lnTo>
                    <a:lnTo>
                      <a:pt x="3885624" y="5458414"/>
                    </a:lnTo>
                    <a:lnTo>
                      <a:pt x="4408942" y="6438708"/>
                    </a:lnTo>
                    <a:lnTo>
                      <a:pt x="4246166" y="6919804"/>
                    </a:lnTo>
                    <a:lnTo>
                      <a:pt x="3573357" y="7429837"/>
                    </a:lnTo>
                    <a:lnTo>
                      <a:pt x="2658189" y="8211168"/>
                    </a:lnTo>
                    <a:lnTo>
                      <a:pt x="2114648" y="7963508"/>
                    </a:lnTo>
                    <a:lnTo>
                      <a:pt x="1891335" y="8330529"/>
                    </a:lnTo>
                    <a:lnTo>
                      <a:pt x="1294486" y="8330529"/>
                    </a:lnTo>
                    <a:lnTo>
                      <a:pt x="668700" y="8185838"/>
                    </a:lnTo>
                    <a:lnTo>
                      <a:pt x="130594" y="8324958"/>
                    </a:lnTo>
                    <a:cubicBezTo>
                      <a:pt x="133152" y="8054892"/>
                      <a:pt x="54096" y="7677786"/>
                      <a:pt x="56654" y="7407720"/>
                    </a:cubicBezTo>
                    <a:close/>
                  </a:path>
                </a:pathLst>
              </a:custGeom>
              <a:solidFill>
                <a:schemeClr val="tx2">
                  <a:lumMod val="10000"/>
                  <a:lumOff val="90000"/>
                </a:schemeClr>
              </a:solid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13" name="任意多边形 92">
                <a:extLst>
                  <a:ext uri="{FF2B5EF4-FFF2-40B4-BE49-F238E27FC236}">
                    <a16:creationId xmlns:a16="http://schemas.microsoft.com/office/drawing/2014/main" id="{895AEC71-DAEC-3015-7246-479EDCC07A32}"/>
                  </a:ext>
                </a:extLst>
              </p:cNvPr>
              <p:cNvSpPr>
                <a:spLocks/>
              </p:cNvSpPr>
              <p:nvPr/>
            </p:nvSpPr>
            <p:spPr bwMode="auto">
              <a:xfrm>
                <a:off x="3513012" y="2697163"/>
                <a:ext cx="1196785" cy="801688"/>
              </a:xfrm>
              <a:custGeom>
                <a:avLst/>
                <a:gdLst/>
                <a:ahLst/>
                <a:cxnLst/>
                <a:rect l="0" t="0" r="r" b="b"/>
                <a:pathLst>
                  <a:path w="14655896" h="9814804">
                    <a:moveTo>
                      <a:pt x="405571" y="5899247"/>
                    </a:moveTo>
                    <a:lnTo>
                      <a:pt x="458180" y="7258616"/>
                    </a:lnTo>
                    <a:lnTo>
                      <a:pt x="1272065" y="7252586"/>
                    </a:lnTo>
                    <a:lnTo>
                      <a:pt x="1645846" y="7927810"/>
                    </a:lnTo>
                    <a:lnTo>
                      <a:pt x="2586337" y="7921779"/>
                    </a:lnTo>
                    <a:lnTo>
                      <a:pt x="2773228" y="8259392"/>
                    </a:lnTo>
                    <a:lnTo>
                      <a:pt x="3159070" y="8518628"/>
                    </a:lnTo>
                    <a:lnTo>
                      <a:pt x="3629312" y="8789925"/>
                    </a:lnTo>
                    <a:lnTo>
                      <a:pt x="4618282" y="8729735"/>
                    </a:lnTo>
                    <a:lnTo>
                      <a:pt x="5401768" y="8042348"/>
                    </a:lnTo>
                    <a:lnTo>
                      <a:pt x="5884064" y="7957948"/>
                    </a:lnTo>
                    <a:lnTo>
                      <a:pt x="6119185" y="8416136"/>
                    </a:lnTo>
                    <a:lnTo>
                      <a:pt x="6450766" y="8795948"/>
                    </a:lnTo>
                    <a:lnTo>
                      <a:pt x="7059919" y="8883564"/>
                    </a:lnTo>
                    <a:lnTo>
                      <a:pt x="7373165" y="9543518"/>
                    </a:lnTo>
                    <a:lnTo>
                      <a:pt x="7825322" y="9356616"/>
                    </a:lnTo>
                    <a:lnTo>
                      <a:pt x="8301595" y="9603798"/>
                    </a:lnTo>
                    <a:lnTo>
                      <a:pt x="8747721" y="9814804"/>
                    </a:lnTo>
                    <a:lnTo>
                      <a:pt x="9175763" y="9519391"/>
                    </a:lnTo>
                    <a:lnTo>
                      <a:pt x="9314424" y="8946658"/>
                    </a:lnTo>
                    <a:lnTo>
                      <a:pt x="9947441" y="8301587"/>
                    </a:lnTo>
                    <a:lnTo>
                      <a:pt x="10839702" y="7740908"/>
                    </a:lnTo>
                    <a:lnTo>
                      <a:pt x="11086876" y="8235273"/>
                    </a:lnTo>
                    <a:lnTo>
                      <a:pt x="11075024" y="8696571"/>
                    </a:lnTo>
                    <a:lnTo>
                      <a:pt x="11611379" y="8801975"/>
                    </a:lnTo>
                    <a:lnTo>
                      <a:pt x="11912815" y="8295557"/>
                    </a:lnTo>
                    <a:lnTo>
                      <a:pt x="12461432" y="7957945"/>
                    </a:lnTo>
                    <a:lnTo>
                      <a:pt x="12690522" y="7409327"/>
                    </a:lnTo>
                    <a:lnTo>
                      <a:pt x="13184879" y="7373158"/>
                    </a:lnTo>
                    <a:lnTo>
                      <a:pt x="13263248" y="7089807"/>
                    </a:lnTo>
                    <a:lnTo>
                      <a:pt x="13817896" y="6655734"/>
                    </a:lnTo>
                    <a:lnTo>
                      <a:pt x="14523274" y="6535166"/>
                    </a:lnTo>
                    <a:lnTo>
                      <a:pt x="14149478" y="6101093"/>
                    </a:lnTo>
                    <a:lnTo>
                      <a:pt x="14276084" y="5558506"/>
                    </a:lnTo>
                    <a:lnTo>
                      <a:pt x="14655896" y="5383676"/>
                    </a:lnTo>
                    <a:lnTo>
                      <a:pt x="14270054" y="4714483"/>
                    </a:lnTo>
                    <a:lnTo>
                      <a:pt x="14541351" y="4171895"/>
                    </a:lnTo>
                    <a:lnTo>
                      <a:pt x="14462975" y="3116859"/>
                    </a:lnTo>
                    <a:lnTo>
                      <a:pt x="14092141" y="2401649"/>
                    </a:lnTo>
                    <a:lnTo>
                      <a:pt x="13347651" y="2219787"/>
                    </a:lnTo>
                    <a:lnTo>
                      <a:pt x="12606112" y="2172764"/>
                    </a:lnTo>
                    <a:lnTo>
                      <a:pt x="12269707" y="1583147"/>
                    </a:lnTo>
                    <a:lnTo>
                      <a:pt x="11032611" y="1894236"/>
                    </a:lnTo>
                    <a:lnTo>
                      <a:pt x="10620246" y="1423994"/>
                    </a:lnTo>
                    <a:lnTo>
                      <a:pt x="10207881" y="874169"/>
                    </a:lnTo>
                    <a:lnTo>
                      <a:pt x="9639971" y="932045"/>
                    </a:lnTo>
                    <a:lnTo>
                      <a:pt x="8862263" y="747562"/>
                    </a:lnTo>
                    <a:lnTo>
                      <a:pt x="8449897" y="1116528"/>
                    </a:lnTo>
                    <a:lnTo>
                      <a:pt x="7728858" y="530533"/>
                    </a:lnTo>
                    <a:lnTo>
                      <a:pt x="7457560" y="96461"/>
                    </a:lnTo>
                    <a:lnTo>
                      <a:pt x="7144071" y="0"/>
                    </a:lnTo>
                    <a:lnTo>
                      <a:pt x="6709998" y="259236"/>
                    </a:lnTo>
                    <a:lnTo>
                      <a:pt x="6239757" y="162775"/>
                    </a:lnTo>
                    <a:lnTo>
                      <a:pt x="5576594" y="247174"/>
                    </a:lnTo>
                    <a:lnTo>
                      <a:pt x="5220882" y="856065"/>
                    </a:lnTo>
                    <a:lnTo>
                      <a:pt x="5744200" y="1836359"/>
                    </a:lnTo>
                    <a:lnTo>
                      <a:pt x="5581424" y="2317455"/>
                    </a:lnTo>
                    <a:lnTo>
                      <a:pt x="4908615" y="2827488"/>
                    </a:lnTo>
                    <a:lnTo>
                      <a:pt x="3993447" y="3608819"/>
                    </a:lnTo>
                    <a:lnTo>
                      <a:pt x="3449906" y="3361159"/>
                    </a:lnTo>
                    <a:lnTo>
                      <a:pt x="3226593" y="3728180"/>
                    </a:lnTo>
                    <a:lnTo>
                      <a:pt x="2629744" y="3728180"/>
                    </a:lnTo>
                    <a:lnTo>
                      <a:pt x="2003958" y="3583489"/>
                    </a:lnTo>
                    <a:lnTo>
                      <a:pt x="1465852" y="3722609"/>
                    </a:lnTo>
                    <a:lnTo>
                      <a:pt x="753604" y="4804916"/>
                    </a:lnTo>
                    <a:lnTo>
                      <a:pt x="0" y="5443964"/>
                    </a:lnTo>
                    <a:lnTo>
                      <a:pt x="405571" y="5899247"/>
                    </a:lnTo>
                    <a:close/>
                  </a:path>
                </a:pathLst>
              </a:custGeom>
              <a:solidFill>
                <a:schemeClr val="tx2">
                  <a:lumMod val="10000"/>
                  <a:lumOff val="90000"/>
                </a:schemeClr>
              </a:solid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15" name="任意多边形 94">
                <a:extLst>
                  <a:ext uri="{FF2B5EF4-FFF2-40B4-BE49-F238E27FC236}">
                    <a16:creationId xmlns:a16="http://schemas.microsoft.com/office/drawing/2014/main" id="{8596B492-1B3C-1ACE-B20E-93894165D8F8}"/>
                  </a:ext>
                </a:extLst>
              </p:cNvPr>
              <p:cNvSpPr>
                <a:spLocks/>
              </p:cNvSpPr>
              <p:nvPr/>
            </p:nvSpPr>
            <p:spPr bwMode="auto">
              <a:xfrm>
                <a:off x="771835" y="3539490"/>
                <a:ext cx="1323130" cy="793750"/>
              </a:xfrm>
              <a:custGeom>
                <a:avLst/>
                <a:gdLst/>
                <a:ahLst/>
                <a:cxnLst/>
                <a:rect l="0" t="0" r="r" b="b"/>
                <a:pathLst>
                  <a:path w="16203348" h="9718224">
                    <a:moveTo>
                      <a:pt x="375091" y="608910"/>
                    </a:moveTo>
                    <a:lnTo>
                      <a:pt x="39792" y="995215"/>
                    </a:lnTo>
                    <a:lnTo>
                      <a:pt x="0" y="1552271"/>
                    </a:lnTo>
                    <a:lnTo>
                      <a:pt x="202567" y="1743985"/>
                    </a:lnTo>
                    <a:lnTo>
                      <a:pt x="694516" y="1396727"/>
                    </a:lnTo>
                    <a:lnTo>
                      <a:pt x="962191" y="1830800"/>
                    </a:lnTo>
                    <a:lnTo>
                      <a:pt x="1569893" y="1762069"/>
                    </a:lnTo>
                    <a:lnTo>
                      <a:pt x="1975027" y="2282957"/>
                    </a:lnTo>
                    <a:lnTo>
                      <a:pt x="2040134" y="2789367"/>
                    </a:lnTo>
                    <a:lnTo>
                      <a:pt x="2387392" y="3223440"/>
                    </a:lnTo>
                    <a:lnTo>
                      <a:pt x="2329516" y="3646659"/>
                    </a:lnTo>
                    <a:lnTo>
                      <a:pt x="2376539" y="4243507"/>
                    </a:lnTo>
                    <a:lnTo>
                      <a:pt x="2890195" y="5100799"/>
                    </a:lnTo>
                    <a:lnTo>
                      <a:pt x="2405477" y="5270805"/>
                    </a:lnTo>
                    <a:lnTo>
                      <a:pt x="2003965" y="4869294"/>
                    </a:lnTo>
                    <a:lnTo>
                      <a:pt x="1598831" y="4887378"/>
                    </a:lnTo>
                    <a:lnTo>
                      <a:pt x="1663938" y="5252721"/>
                    </a:lnTo>
                    <a:lnTo>
                      <a:pt x="2603631" y="6079544"/>
                    </a:lnTo>
                    <a:lnTo>
                      <a:pt x="3248292" y="5853177"/>
                    </a:lnTo>
                    <a:lnTo>
                      <a:pt x="4047708" y="5921907"/>
                    </a:lnTo>
                    <a:lnTo>
                      <a:pt x="5161820" y="5419104"/>
                    </a:lnTo>
                    <a:lnTo>
                      <a:pt x="6362747" y="5006739"/>
                    </a:lnTo>
                    <a:lnTo>
                      <a:pt x="7006618" y="4970570"/>
                    </a:lnTo>
                    <a:lnTo>
                      <a:pt x="7513029" y="5346766"/>
                    </a:lnTo>
                    <a:lnTo>
                      <a:pt x="8406489" y="6019575"/>
                    </a:lnTo>
                    <a:lnTo>
                      <a:pt x="8974399" y="5939991"/>
                    </a:lnTo>
                    <a:lnTo>
                      <a:pt x="9364309" y="5717573"/>
                    </a:lnTo>
                    <a:lnTo>
                      <a:pt x="10280226" y="6171497"/>
                    </a:lnTo>
                    <a:lnTo>
                      <a:pt x="10229580" y="6941974"/>
                    </a:lnTo>
                    <a:lnTo>
                      <a:pt x="10421293" y="7922249"/>
                    </a:lnTo>
                    <a:lnTo>
                      <a:pt x="10102973" y="8468451"/>
                    </a:lnTo>
                    <a:lnTo>
                      <a:pt x="10808344" y="8573351"/>
                    </a:lnTo>
                    <a:lnTo>
                      <a:pt x="11423276" y="8244177"/>
                    </a:lnTo>
                    <a:lnTo>
                      <a:pt x="11958625" y="8475682"/>
                    </a:lnTo>
                    <a:lnTo>
                      <a:pt x="12237153" y="8215239"/>
                    </a:lnTo>
                    <a:lnTo>
                      <a:pt x="13054653" y="8226092"/>
                    </a:lnTo>
                    <a:lnTo>
                      <a:pt x="13564687" y="8631227"/>
                    </a:lnTo>
                    <a:lnTo>
                      <a:pt x="13973429" y="8135655"/>
                    </a:lnTo>
                    <a:lnTo>
                      <a:pt x="15282878" y="9275098"/>
                    </a:lnTo>
                    <a:lnTo>
                      <a:pt x="16203348" y="9718224"/>
                    </a:lnTo>
                    <a:lnTo>
                      <a:pt x="16024417" y="8265884"/>
                    </a:lnTo>
                    <a:lnTo>
                      <a:pt x="15677159" y="7893311"/>
                    </a:lnTo>
                    <a:lnTo>
                      <a:pt x="15206917" y="7770327"/>
                    </a:lnTo>
                    <a:lnTo>
                      <a:pt x="14320687" y="7249440"/>
                    </a:lnTo>
                    <a:lnTo>
                      <a:pt x="14353249" y="6547693"/>
                    </a:lnTo>
                    <a:lnTo>
                      <a:pt x="14005990" y="5856800"/>
                    </a:lnTo>
                    <a:lnTo>
                      <a:pt x="14277288" y="5183991"/>
                    </a:lnTo>
                    <a:lnTo>
                      <a:pt x="14758383" y="4326699"/>
                    </a:lnTo>
                    <a:lnTo>
                      <a:pt x="14429209" y="3889018"/>
                    </a:lnTo>
                    <a:lnTo>
                      <a:pt x="14382187" y="2395087"/>
                    </a:lnTo>
                    <a:lnTo>
                      <a:pt x="14584754" y="1877822"/>
                    </a:lnTo>
                    <a:lnTo>
                      <a:pt x="14139828" y="1570356"/>
                    </a:lnTo>
                    <a:lnTo>
                      <a:pt x="13467019" y="1754839"/>
                    </a:lnTo>
                    <a:lnTo>
                      <a:pt x="13177637" y="1425665"/>
                    </a:lnTo>
                    <a:lnTo>
                      <a:pt x="13004008" y="948193"/>
                    </a:lnTo>
                    <a:lnTo>
                      <a:pt x="13344035" y="398367"/>
                    </a:lnTo>
                    <a:lnTo>
                      <a:pt x="12534905" y="0"/>
                    </a:lnTo>
                    <a:lnTo>
                      <a:pt x="12027355" y="479159"/>
                    </a:lnTo>
                    <a:lnTo>
                      <a:pt x="11141125" y="177715"/>
                    </a:lnTo>
                    <a:lnTo>
                      <a:pt x="10652799" y="1082030"/>
                    </a:lnTo>
                    <a:lnTo>
                      <a:pt x="10146388" y="1654770"/>
                    </a:lnTo>
                    <a:lnTo>
                      <a:pt x="9019466" y="675175"/>
                    </a:lnTo>
                    <a:lnTo>
                      <a:pt x="7994124" y="340491"/>
                    </a:lnTo>
                    <a:lnTo>
                      <a:pt x="7608756" y="988664"/>
                    </a:lnTo>
                    <a:lnTo>
                      <a:pt x="6306078" y="907193"/>
                    </a:lnTo>
                    <a:lnTo>
                      <a:pt x="5226927" y="1437726"/>
                    </a:lnTo>
                    <a:lnTo>
                      <a:pt x="4618018" y="1389496"/>
                    </a:lnTo>
                    <a:lnTo>
                      <a:pt x="4214091" y="1624625"/>
                    </a:lnTo>
                    <a:lnTo>
                      <a:pt x="2984241" y="744418"/>
                    </a:lnTo>
                    <a:lnTo>
                      <a:pt x="375091" y="608910"/>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16" name="任意多边形 98">
                <a:extLst>
                  <a:ext uri="{FF2B5EF4-FFF2-40B4-BE49-F238E27FC236}">
                    <a16:creationId xmlns:a16="http://schemas.microsoft.com/office/drawing/2014/main" id="{E146A752-8843-B6CF-83DE-955C55ECBB02}"/>
                  </a:ext>
                </a:extLst>
              </p:cNvPr>
              <p:cNvSpPr>
                <a:spLocks/>
              </p:cNvSpPr>
              <p:nvPr/>
            </p:nvSpPr>
            <p:spPr bwMode="auto">
              <a:xfrm>
                <a:off x="719138" y="2930525"/>
                <a:ext cx="1264719" cy="744538"/>
              </a:xfrm>
              <a:custGeom>
                <a:avLst/>
                <a:gdLst>
                  <a:gd name="T0" fmla="*/ 268633 w 2569"/>
                  <a:gd name="T1" fmla="*/ 2124829 h 1512"/>
                  <a:gd name="T2" fmla="*/ 228602 w 2569"/>
                  <a:gd name="T3" fmla="*/ 1992205 h 1512"/>
                  <a:gd name="T4" fmla="*/ 0 w 2569"/>
                  <a:gd name="T5" fmla="*/ 1788951 h 1512"/>
                  <a:gd name="T6" fmla="*/ 186057 w 2569"/>
                  <a:gd name="T7" fmla="*/ 1506302 h 1512"/>
                  <a:gd name="T8" fmla="*/ 376558 w 2569"/>
                  <a:gd name="T9" fmla="*/ 1437704 h 1512"/>
                  <a:gd name="T10" fmla="*/ 406085 w 2569"/>
                  <a:gd name="T11" fmla="*/ 1350051 h 1512"/>
                  <a:gd name="T12" fmla="*/ 307024 w 2569"/>
                  <a:gd name="T13" fmla="*/ 1246201 h 1512"/>
                  <a:gd name="T14" fmla="*/ 430849 w 2569"/>
                  <a:gd name="T15" fmla="*/ 883201 h 1512"/>
                  <a:gd name="T16" fmla="*/ 572771 w 2569"/>
                  <a:gd name="T17" fmla="*/ 868912 h 1512"/>
                  <a:gd name="T18" fmla="*/ 699454 w 2569"/>
                  <a:gd name="T19" fmla="*/ 780305 h 1512"/>
                  <a:gd name="T20" fmla="*/ 681356 w 2569"/>
                  <a:gd name="T21" fmla="*/ 676455 h 1512"/>
                  <a:gd name="T22" fmla="*/ 819392 w 2569"/>
                  <a:gd name="T23" fmla="*/ 496787 h 1512"/>
                  <a:gd name="T24" fmla="*/ 947104 w 2569"/>
                  <a:gd name="T25" fmla="*/ 583086 h 1512"/>
                  <a:gd name="T26" fmla="*/ 1032828 w 2569"/>
                  <a:gd name="T27" fmla="*/ 717424 h 1512"/>
                  <a:gd name="T28" fmla="*/ 1063309 w 2569"/>
                  <a:gd name="T29" fmla="*/ 826038 h 1512"/>
                  <a:gd name="T30" fmla="*/ 1029970 w 2569"/>
                  <a:gd name="T31" fmla="*/ 990864 h 1512"/>
                  <a:gd name="T32" fmla="*/ 1106171 w 2569"/>
                  <a:gd name="T33" fmla="*/ 1091856 h 1512"/>
                  <a:gd name="T34" fmla="*/ 1263334 w 2569"/>
                  <a:gd name="T35" fmla="*/ 1028020 h 1512"/>
                  <a:gd name="T36" fmla="*/ 1405257 w 2569"/>
                  <a:gd name="T37" fmla="*/ 1043264 h 1512"/>
                  <a:gd name="T38" fmla="*/ 1427163 w 2569"/>
                  <a:gd name="T39" fmla="*/ 913690 h 1512"/>
                  <a:gd name="T40" fmla="*/ 1338391 w 2569"/>
                  <a:gd name="T41" fmla="*/ 826543 h 1512"/>
                  <a:gd name="T42" fmla="*/ 1369061 w 2569"/>
                  <a:gd name="T43" fmla="*/ 533541 h 1512"/>
                  <a:gd name="T44" fmla="*/ 1457643 w 2569"/>
                  <a:gd name="T45" fmla="*/ 567842 h 1512"/>
                  <a:gd name="T46" fmla="*/ 1599566 w 2569"/>
                  <a:gd name="T47" fmla="*/ 496385 h 1512"/>
                  <a:gd name="T48" fmla="*/ 1728152 w 2569"/>
                  <a:gd name="T49" fmla="*/ 453511 h 1512"/>
                  <a:gd name="T50" fmla="*/ 1748155 w 2569"/>
                  <a:gd name="T51" fmla="*/ 258196 h 1512"/>
                  <a:gd name="T52" fmla="*/ 1996758 w 2569"/>
                  <a:gd name="T53" fmla="*/ 309646 h 1512"/>
                  <a:gd name="T54" fmla="*/ 2018664 w 2569"/>
                  <a:gd name="T55" fmla="*/ 248670 h 1512"/>
                  <a:gd name="T56" fmla="*/ 2209165 w 2569"/>
                  <a:gd name="T57" fmla="*/ 233425 h 1512"/>
                  <a:gd name="T58" fmla="*/ 2458718 w 2569"/>
                  <a:gd name="T59" fmla="*/ 0 h 1512"/>
                  <a:gd name="T60" fmla="*/ 2649220 w 2569"/>
                  <a:gd name="T61" fmla="*/ 20962 h 1512"/>
                  <a:gd name="T62" fmla="*/ 2726371 w 2569"/>
                  <a:gd name="T63" fmla="*/ 208655 h 1512"/>
                  <a:gd name="T64" fmla="*/ 2861428 w 2569"/>
                  <a:gd name="T65" fmla="*/ 217740 h 1512"/>
                  <a:gd name="T66" fmla="*/ 3020695 w 2569"/>
                  <a:gd name="T67" fmla="*/ 68599 h 1512"/>
                  <a:gd name="T68" fmla="*/ 3157538 w 2569"/>
                  <a:gd name="T69" fmla="*/ 107341 h 1512"/>
                  <a:gd name="T70" fmla="*/ 3279772 w 2569"/>
                  <a:gd name="T71" fmla="*/ 262959 h 1512"/>
                  <a:gd name="T72" fmla="*/ 3495674 w 2569"/>
                  <a:gd name="T73" fmla="*/ 305833 h 1512"/>
                  <a:gd name="T74" fmla="*/ 3678236 w 2569"/>
                  <a:gd name="T75" fmla="*/ 420164 h 1512"/>
                  <a:gd name="T76" fmla="*/ 3708398 w 2569"/>
                  <a:gd name="T77" fmla="*/ 595471 h 1512"/>
                  <a:gd name="T78" fmla="*/ 3835399 w 2569"/>
                  <a:gd name="T79" fmla="*/ 663116 h 1512"/>
                  <a:gd name="T80" fmla="*/ 3913618 w 2569"/>
                  <a:gd name="T81" fmla="*/ 717293 h 1512"/>
                  <a:gd name="T82" fmla="*/ 3920806 w 2569"/>
                  <a:gd name="T83" fmla="*/ 843186 h 1512"/>
                  <a:gd name="T84" fmla="*/ 4030664 w 2569"/>
                  <a:gd name="T85" fmla="*/ 890187 h 1512"/>
                  <a:gd name="T86" fmla="*/ 4076701 w 2569"/>
                  <a:gd name="T87" fmla="*/ 1123613 h 1512"/>
                  <a:gd name="T88" fmla="*/ 3982318 w 2569"/>
                  <a:gd name="T89" fmla="*/ 1208414 h 1512"/>
                  <a:gd name="T90" fmla="*/ 4078287 w 2569"/>
                  <a:gd name="T91" fmla="*/ 1514242 h 1512"/>
                  <a:gd name="T92" fmla="*/ 3890962 w 2569"/>
                  <a:gd name="T93" fmla="*/ 1714320 h 1512"/>
                  <a:gd name="T94" fmla="*/ 3551235 w 2569"/>
                  <a:gd name="T95" fmla="*/ 1787364 h 1512"/>
                  <a:gd name="T96" fmla="*/ 3470575 w 2569"/>
                  <a:gd name="T97" fmla="*/ 1964448 h 1512"/>
                  <a:gd name="T98" fmla="*/ 3336925 w 2569"/>
                  <a:gd name="T99" fmla="*/ 2090655 h 1512"/>
                  <a:gd name="T100" fmla="*/ 3103561 w 2569"/>
                  <a:gd name="T101" fmla="*/ 2011257 h 1512"/>
                  <a:gd name="T102" fmla="*/ 2974974 w 2569"/>
                  <a:gd name="T103" fmla="*/ 2249444 h 1512"/>
                  <a:gd name="T104" fmla="*/ 2841626 w 2569"/>
                  <a:gd name="T105" fmla="*/ 2400300 h 1512"/>
                  <a:gd name="T106" fmla="*/ 2544884 w 2569"/>
                  <a:gd name="T107" fmla="*/ 2142284 h 1512"/>
                  <a:gd name="T108" fmla="*/ 2274888 w 2569"/>
                  <a:gd name="T109" fmla="*/ 2054131 h 1512"/>
                  <a:gd name="T110" fmla="*/ 2173412 w 2569"/>
                  <a:gd name="T111" fmla="*/ 2224854 h 1512"/>
                  <a:gd name="T112" fmla="*/ 1830390 w 2569"/>
                  <a:gd name="T113" fmla="*/ 2203395 h 1512"/>
                  <a:gd name="T114" fmla="*/ 1546226 w 2569"/>
                  <a:gd name="T115" fmla="*/ 2343131 h 1512"/>
                  <a:gd name="T116" fmla="*/ 1385887 w 2569"/>
                  <a:gd name="T117" fmla="*/ 2330430 h 1512"/>
                  <a:gd name="T118" fmla="*/ 1279524 w 2569"/>
                  <a:gd name="T119" fmla="*/ 2392360 h 1512"/>
                  <a:gd name="T120" fmla="*/ 955678 w 2569"/>
                  <a:gd name="T121" fmla="*/ 2160521 h 1512"/>
                  <a:gd name="T122" fmla="*/ 268633 w 2569"/>
                  <a:gd name="T123" fmla="*/ 2124829 h 151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569" h="1512">
                    <a:moveTo>
                      <a:pt x="169" y="1338"/>
                    </a:moveTo>
                    <a:lnTo>
                      <a:pt x="144" y="1255"/>
                    </a:lnTo>
                    <a:lnTo>
                      <a:pt x="0" y="1127"/>
                    </a:lnTo>
                    <a:lnTo>
                      <a:pt x="117" y="949"/>
                    </a:lnTo>
                    <a:lnTo>
                      <a:pt x="237" y="906"/>
                    </a:lnTo>
                    <a:lnTo>
                      <a:pt x="256" y="850"/>
                    </a:lnTo>
                    <a:lnTo>
                      <a:pt x="193" y="785"/>
                    </a:lnTo>
                    <a:lnTo>
                      <a:pt x="271" y="556"/>
                    </a:lnTo>
                    <a:lnTo>
                      <a:pt x="361" y="547"/>
                    </a:lnTo>
                    <a:lnTo>
                      <a:pt x="441" y="492"/>
                    </a:lnTo>
                    <a:lnTo>
                      <a:pt x="429" y="426"/>
                    </a:lnTo>
                    <a:lnTo>
                      <a:pt x="516" y="313"/>
                    </a:lnTo>
                    <a:lnTo>
                      <a:pt x="597" y="367"/>
                    </a:lnTo>
                    <a:lnTo>
                      <a:pt x="651" y="452"/>
                    </a:lnTo>
                    <a:lnTo>
                      <a:pt x="670" y="520"/>
                    </a:lnTo>
                    <a:lnTo>
                      <a:pt x="649" y="624"/>
                    </a:lnTo>
                    <a:lnTo>
                      <a:pt x="697" y="688"/>
                    </a:lnTo>
                    <a:lnTo>
                      <a:pt x="796" y="648"/>
                    </a:lnTo>
                    <a:lnTo>
                      <a:pt x="885" y="657"/>
                    </a:lnTo>
                    <a:lnTo>
                      <a:pt x="899" y="576"/>
                    </a:lnTo>
                    <a:lnTo>
                      <a:pt x="843" y="521"/>
                    </a:lnTo>
                    <a:lnTo>
                      <a:pt x="862" y="336"/>
                    </a:lnTo>
                    <a:lnTo>
                      <a:pt x="918" y="358"/>
                    </a:lnTo>
                    <a:lnTo>
                      <a:pt x="1008" y="313"/>
                    </a:lnTo>
                    <a:lnTo>
                      <a:pt x="1089" y="286"/>
                    </a:lnTo>
                    <a:lnTo>
                      <a:pt x="1101" y="163"/>
                    </a:lnTo>
                    <a:lnTo>
                      <a:pt x="1258" y="195"/>
                    </a:lnTo>
                    <a:lnTo>
                      <a:pt x="1272" y="157"/>
                    </a:lnTo>
                    <a:lnTo>
                      <a:pt x="1392" y="147"/>
                    </a:lnTo>
                    <a:lnTo>
                      <a:pt x="1549" y="0"/>
                    </a:lnTo>
                    <a:lnTo>
                      <a:pt x="1669" y="13"/>
                    </a:lnTo>
                    <a:lnTo>
                      <a:pt x="1717" y="131"/>
                    </a:lnTo>
                    <a:lnTo>
                      <a:pt x="1802" y="137"/>
                    </a:lnTo>
                    <a:lnTo>
                      <a:pt x="1903" y="43"/>
                    </a:lnTo>
                    <a:lnTo>
                      <a:pt x="1989" y="68"/>
                    </a:lnTo>
                    <a:lnTo>
                      <a:pt x="2066" y="166"/>
                    </a:lnTo>
                    <a:lnTo>
                      <a:pt x="2202" y="193"/>
                    </a:lnTo>
                    <a:lnTo>
                      <a:pt x="2317" y="265"/>
                    </a:lnTo>
                    <a:lnTo>
                      <a:pt x="2336" y="375"/>
                    </a:lnTo>
                    <a:lnTo>
                      <a:pt x="2416" y="418"/>
                    </a:lnTo>
                    <a:lnTo>
                      <a:pt x="2465" y="452"/>
                    </a:lnTo>
                    <a:lnTo>
                      <a:pt x="2470" y="531"/>
                    </a:lnTo>
                    <a:lnTo>
                      <a:pt x="2539" y="561"/>
                    </a:lnTo>
                    <a:lnTo>
                      <a:pt x="2568" y="708"/>
                    </a:lnTo>
                    <a:lnTo>
                      <a:pt x="2509" y="761"/>
                    </a:lnTo>
                    <a:lnTo>
                      <a:pt x="2569" y="954"/>
                    </a:lnTo>
                    <a:lnTo>
                      <a:pt x="2451" y="1080"/>
                    </a:lnTo>
                    <a:lnTo>
                      <a:pt x="2237" y="1126"/>
                    </a:lnTo>
                    <a:lnTo>
                      <a:pt x="2186" y="1237"/>
                    </a:lnTo>
                    <a:lnTo>
                      <a:pt x="2102" y="1317"/>
                    </a:lnTo>
                    <a:lnTo>
                      <a:pt x="1955" y="1267"/>
                    </a:lnTo>
                    <a:lnTo>
                      <a:pt x="1874" y="1417"/>
                    </a:lnTo>
                    <a:lnTo>
                      <a:pt x="1790" y="1512"/>
                    </a:lnTo>
                    <a:lnTo>
                      <a:pt x="1603" y="1349"/>
                    </a:lnTo>
                    <a:lnTo>
                      <a:pt x="1433" y="1294"/>
                    </a:lnTo>
                    <a:lnTo>
                      <a:pt x="1369" y="1401"/>
                    </a:lnTo>
                    <a:lnTo>
                      <a:pt x="1153" y="1388"/>
                    </a:lnTo>
                    <a:lnTo>
                      <a:pt x="974" y="1476"/>
                    </a:lnTo>
                    <a:lnTo>
                      <a:pt x="873" y="1468"/>
                    </a:lnTo>
                    <a:lnTo>
                      <a:pt x="806" y="1507"/>
                    </a:lnTo>
                    <a:lnTo>
                      <a:pt x="602" y="1361"/>
                    </a:lnTo>
                    <a:lnTo>
                      <a:pt x="169" y="1338"/>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17" name="任意多边形 100">
                <a:extLst>
                  <a:ext uri="{FF2B5EF4-FFF2-40B4-BE49-F238E27FC236}">
                    <a16:creationId xmlns:a16="http://schemas.microsoft.com/office/drawing/2014/main" id="{0E29460C-C2E5-677A-2C07-BEF1373C621D}"/>
                  </a:ext>
                </a:extLst>
              </p:cNvPr>
              <p:cNvSpPr>
                <a:spLocks/>
              </p:cNvSpPr>
              <p:nvPr/>
            </p:nvSpPr>
            <p:spPr bwMode="auto">
              <a:xfrm>
                <a:off x="5207240" y="2977198"/>
                <a:ext cx="1506298" cy="1302385"/>
              </a:xfrm>
              <a:custGeom>
                <a:avLst/>
                <a:gdLst/>
                <a:ahLst/>
                <a:cxnLst/>
                <a:rect l="0" t="0" r="r" b="b"/>
                <a:pathLst>
                  <a:path w="18447968" h="15946069">
                    <a:moveTo>
                      <a:pt x="477776" y="7436569"/>
                    </a:moveTo>
                    <a:lnTo>
                      <a:pt x="271294" y="8060457"/>
                    </a:lnTo>
                    <a:lnTo>
                      <a:pt x="379812" y="8675382"/>
                    </a:lnTo>
                    <a:lnTo>
                      <a:pt x="759624" y="9217969"/>
                    </a:lnTo>
                    <a:lnTo>
                      <a:pt x="687278" y="9670126"/>
                    </a:lnTo>
                    <a:lnTo>
                      <a:pt x="144687" y="9941420"/>
                    </a:lnTo>
                    <a:lnTo>
                      <a:pt x="343643" y="10592536"/>
                    </a:lnTo>
                    <a:lnTo>
                      <a:pt x="940487" y="10954252"/>
                    </a:lnTo>
                    <a:lnTo>
                      <a:pt x="596844" y="11786221"/>
                    </a:lnTo>
                    <a:lnTo>
                      <a:pt x="633017" y="12780969"/>
                    </a:lnTo>
                    <a:lnTo>
                      <a:pt x="198944" y="13341645"/>
                    </a:lnTo>
                    <a:lnTo>
                      <a:pt x="723451" y="13757629"/>
                    </a:lnTo>
                    <a:lnTo>
                      <a:pt x="1640036" y="13197151"/>
                    </a:lnTo>
                    <a:lnTo>
                      <a:pt x="1880971" y="13395906"/>
                    </a:lnTo>
                    <a:lnTo>
                      <a:pt x="2930086" y="12952832"/>
                    </a:lnTo>
                    <a:lnTo>
                      <a:pt x="3828256" y="13245188"/>
                    </a:lnTo>
                    <a:lnTo>
                      <a:pt x="4768739" y="13040205"/>
                    </a:lnTo>
                    <a:lnTo>
                      <a:pt x="5190751" y="13649115"/>
                    </a:lnTo>
                    <a:lnTo>
                      <a:pt x="5932290" y="13444132"/>
                    </a:lnTo>
                    <a:lnTo>
                      <a:pt x="6498992" y="12991975"/>
                    </a:lnTo>
                    <a:lnTo>
                      <a:pt x="7373161" y="13582800"/>
                    </a:lnTo>
                    <a:lnTo>
                      <a:pt x="8512588" y="13570738"/>
                    </a:lnTo>
                    <a:lnTo>
                      <a:pt x="9416903" y="13281357"/>
                    </a:lnTo>
                    <a:lnTo>
                      <a:pt x="9742454" y="14004811"/>
                    </a:lnTo>
                    <a:lnTo>
                      <a:pt x="10080066" y="14716204"/>
                    </a:lnTo>
                    <a:lnTo>
                      <a:pt x="10616683" y="15358294"/>
                    </a:lnTo>
                    <a:lnTo>
                      <a:pt x="11117010" y="15946069"/>
                    </a:lnTo>
                    <a:lnTo>
                      <a:pt x="11593335" y="15822497"/>
                    </a:lnTo>
                    <a:lnTo>
                      <a:pt x="11780218" y="13579811"/>
                    </a:lnTo>
                    <a:lnTo>
                      <a:pt x="11954994" y="12135890"/>
                    </a:lnTo>
                    <a:lnTo>
                      <a:pt x="12196146" y="11388328"/>
                    </a:lnTo>
                    <a:lnTo>
                      <a:pt x="13166775" y="11707856"/>
                    </a:lnTo>
                    <a:lnTo>
                      <a:pt x="14004775" y="11611395"/>
                    </a:lnTo>
                    <a:lnTo>
                      <a:pt x="14939235" y="11322014"/>
                    </a:lnTo>
                    <a:lnTo>
                      <a:pt x="15409477" y="11882693"/>
                    </a:lnTo>
                    <a:lnTo>
                      <a:pt x="15861634" y="11273783"/>
                    </a:lnTo>
                    <a:lnTo>
                      <a:pt x="16413199" y="10920339"/>
                    </a:lnTo>
                    <a:lnTo>
                      <a:pt x="16765948" y="10200671"/>
                    </a:lnTo>
                    <a:lnTo>
                      <a:pt x="16428336" y="9374732"/>
                    </a:lnTo>
                    <a:lnTo>
                      <a:pt x="15946033" y="8440272"/>
                    </a:lnTo>
                    <a:lnTo>
                      <a:pt x="16024409" y="7433474"/>
                    </a:lnTo>
                    <a:lnTo>
                      <a:pt x="16958870" y="6776350"/>
                    </a:lnTo>
                    <a:lnTo>
                      <a:pt x="17911414" y="6083041"/>
                    </a:lnTo>
                    <a:lnTo>
                      <a:pt x="17694370" y="5570592"/>
                    </a:lnTo>
                    <a:lnTo>
                      <a:pt x="17385711" y="5219213"/>
                    </a:lnTo>
                    <a:lnTo>
                      <a:pt x="17637701" y="4819407"/>
                    </a:lnTo>
                    <a:lnTo>
                      <a:pt x="18171858" y="4701949"/>
                    </a:lnTo>
                    <a:lnTo>
                      <a:pt x="18447970" y="4316604"/>
                    </a:lnTo>
                    <a:lnTo>
                      <a:pt x="17814953" y="4117660"/>
                    </a:lnTo>
                    <a:lnTo>
                      <a:pt x="17067422" y="3472551"/>
                    </a:lnTo>
                    <a:lnTo>
                      <a:pt x="16852763" y="3282076"/>
                    </a:lnTo>
                    <a:lnTo>
                      <a:pt x="16161870" y="4063407"/>
                    </a:lnTo>
                    <a:lnTo>
                      <a:pt x="14429201" y="4027238"/>
                    </a:lnTo>
                    <a:lnTo>
                      <a:pt x="13854061" y="3658272"/>
                    </a:lnTo>
                    <a:lnTo>
                      <a:pt x="13383819" y="2963756"/>
                    </a:lnTo>
                    <a:lnTo>
                      <a:pt x="12493981" y="2927587"/>
                    </a:lnTo>
                    <a:lnTo>
                      <a:pt x="11976717" y="2139025"/>
                    </a:lnTo>
                    <a:lnTo>
                      <a:pt x="11484768" y="1495155"/>
                    </a:lnTo>
                    <a:lnTo>
                      <a:pt x="10830043" y="1256418"/>
                    </a:lnTo>
                    <a:lnTo>
                      <a:pt x="10323633" y="1220249"/>
                    </a:lnTo>
                    <a:lnTo>
                      <a:pt x="9802745" y="1603676"/>
                    </a:lnTo>
                    <a:lnTo>
                      <a:pt x="9223982" y="1621761"/>
                    </a:lnTo>
                    <a:lnTo>
                      <a:pt x="8782678" y="2171586"/>
                    </a:lnTo>
                    <a:lnTo>
                      <a:pt x="8272645" y="2102856"/>
                    </a:lnTo>
                    <a:lnTo>
                      <a:pt x="7853048" y="2526075"/>
                    </a:lnTo>
                    <a:lnTo>
                      <a:pt x="7323799" y="2632907"/>
                    </a:lnTo>
                    <a:lnTo>
                      <a:pt x="6977672" y="2178817"/>
                    </a:lnTo>
                    <a:lnTo>
                      <a:pt x="6594245" y="2055834"/>
                    </a:lnTo>
                    <a:lnTo>
                      <a:pt x="6431470" y="1314295"/>
                    </a:lnTo>
                    <a:lnTo>
                      <a:pt x="5642908" y="1343233"/>
                    </a:lnTo>
                    <a:lnTo>
                      <a:pt x="5150959" y="1610907"/>
                    </a:lnTo>
                    <a:lnTo>
                      <a:pt x="5480133" y="2167963"/>
                    </a:lnTo>
                    <a:lnTo>
                      <a:pt x="4742216" y="2862495"/>
                    </a:lnTo>
                    <a:lnTo>
                      <a:pt x="2658667" y="0"/>
                    </a:lnTo>
                    <a:lnTo>
                      <a:pt x="2658682" y="1018890"/>
                    </a:lnTo>
                    <a:lnTo>
                      <a:pt x="1850829" y="1730283"/>
                    </a:lnTo>
                    <a:lnTo>
                      <a:pt x="1404694" y="2272862"/>
                    </a:lnTo>
                    <a:lnTo>
                      <a:pt x="2351216" y="3388182"/>
                    </a:lnTo>
                    <a:lnTo>
                      <a:pt x="2658682" y="4286458"/>
                    </a:lnTo>
                    <a:lnTo>
                      <a:pt x="1935228" y="5220918"/>
                    </a:lnTo>
                    <a:lnTo>
                      <a:pt x="875281" y="5166646"/>
                    </a:lnTo>
                    <a:lnTo>
                      <a:pt x="0" y="5890112"/>
                    </a:lnTo>
                    <a:lnTo>
                      <a:pt x="72345" y="6921032"/>
                    </a:lnTo>
                    <a:lnTo>
                      <a:pt x="477776" y="7436569"/>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18" name="任意多边形 101">
                <a:extLst>
                  <a:ext uri="{FF2B5EF4-FFF2-40B4-BE49-F238E27FC236}">
                    <a16:creationId xmlns:a16="http://schemas.microsoft.com/office/drawing/2014/main" id="{FCC6F9BF-DAD3-E9B2-E509-B8A6508D9F61}"/>
                  </a:ext>
                </a:extLst>
              </p:cNvPr>
              <p:cNvSpPr>
                <a:spLocks/>
              </p:cNvSpPr>
              <p:nvPr/>
            </p:nvSpPr>
            <p:spPr bwMode="auto">
              <a:xfrm>
                <a:off x="1796244" y="3167380"/>
                <a:ext cx="1550424" cy="1358583"/>
              </a:xfrm>
              <a:custGeom>
                <a:avLst/>
                <a:gdLst/>
                <a:ahLst/>
                <a:cxnLst/>
                <a:rect l="0" t="0" r="r" b="b"/>
                <a:pathLst>
                  <a:path w="4884" h="4279">
                    <a:moveTo>
                      <a:pt x="544" y="127"/>
                    </a:moveTo>
                    <a:lnTo>
                      <a:pt x="590" y="351"/>
                    </a:lnTo>
                    <a:lnTo>
                      <a:pt x="499" y="437"/>
                    </a:lnTo>
                    <a:lnTo>
                      <a:pt x="590" y="732"/>
                    </a:lnTo>
                    <a:lnTo>
                      <a:pt x="403" y="934"/>
                    </a:lnTo>
                    <a:lnTo>
                      <a:pt x="79" y="1000"/>
                    </a:lnTo>
                    <a:lnTo>
                      <a:pt x="0" y="1172"/>
                    </a:lnTo>
                    <a:lnTo>
                      <a:pt x="204" y="1276"/>
                    </a:lnTo>
                    <a:lnTo>
                      <a:pt x="120" y="1417"/>
                    </a:lnTo>
                    <a:lnTo>
                      <a:pt x="161" y="1538"/>
                    </a:lnTo>
                    <a:lnTo>
                      <a:pt x="239" y="1624"/>
                    </a:lnTo>
                    <a:lnTo>
                      <a:pt x="410" y="1577"/>
                    </a:lnTo>
                    <a:lnTo>
                      <a:pt x="523" y="1653"/>
                    </a:lnTo>
                    <a:lnTo>
                      <a:pt x="476" y="1787"/>
                    </a:lnTo>
                    <a:lnTo>
                      <a:pt x="486" y="2172"/>
                    </a:lnTo>
                    <a:lnTo>
                      <a:pt x="568" y="2287"/>
                    </a:lnTo>
                    <a:lnTo>
                      <a:pt x="448" y="2508"/>
                    </a:lnTo>
                    <a:lnTo>
                      <a:pt x="377" y="2683"/>
                    </a:lnTo>
                    <a:lnTo>
                      <a:pt x="464" y="2859"/>
                    </a:lnTo>
                    <a:lnTo>
                      <a:pt x="457" y="3038"/>
                    </a:lnTo>
                    <a:lnTo>
                      <a:pt x="685" y="3172"/>
                    </a:lnTo>
                    <a:lnTo>
                      <a:pt x="811" y="3206"/>
                    </a:lnTo>
                    <a:lnTo>
                      <a:pt x="898" y="3302"/>
                    </a:lnTo>
                    <a:lnTo>
                      <a:pt x="943" y="3673"/>
                    </a:lnTo>
                    <a:lnTo>
                      <a:pt x="1043" y="4279"/>
                    </a:lnTo>
                    <a:lnTo>
                      <a:pt x="1904" y="4098"/>
                    </a:lnTo>
                    <a:lnTo>
                      <a:pt x="2021" y="4051"/>
                    </a:lnTo>
                    <a:lnTo>
                      <a:pt x="1989" y="3979"/>
                    </a:lnTo>
                    <a:lnTo>
                      <a:pt x="2056" y="3893"/>
                    </a:lnTo>
                    <a:lnTo>
                      <a:pt x="2060" y="3814"/>
                    </a:lnTo>
                    <a:lnTo>
                      <a:pt x="2224" y="3774"/>
                    </a:lnTo>
                    <a:lnTo>
                      <a:pt x="2369" y="3651"/>
                    </a:lnTo>
                    <a:lnTo>
                      <a:pt x="2705" y="3438"/>
                    </a:lnTo>
                    <a:lnTo>
                      <a:pt x="2798" y="3396"/>
                    </a:lnTo>
                    <a:lnTo>
                      <a:pt x="2854" y="3305"/>
                    </a:lnTo>
                    <a:lnTo>
                      <a:pt x="2914" y="3215"/>
                    </a:lnTo>
                    <a:lnTo>
                      <a:pt x="3007" y="3248"/>
                    </a:lnTo>
                    <a:lnTo>
                      <a:pt x="3139" y="3230"/>
                    </a:lnTo>
                    <a:lnTo>
                      <a:pt x="3218" y="3147"/>
                    </a:lnTo>
                    <a:lnTo>
                      <a:pt x="3406" y="2847"/>
                    </a:lnTo>
                    <a:lnTo>
                      <a:pt x="3620" y="2846"/>
                    </a:lnTo>
                    <a:lnTo>
                      <a:pt x="3751" y="2933"/>
                    </a:lnTo>
                    <a:lnTo>
                      <a:pt x="3818" y="3038"/>
                    </a:lnTo>
                    <a:lnTo>
                      <a:pt x="3991" y="3096"/>
                    </a:lnTo>
                    <a:lnTo>
                      <a:pt x="4140" y="3230"/>
                    </a:lnTo>
                    <a:lnTo>
                      <a:pt x="4400" y="3032"/>
                    </a:lnTo>
                    <a:lnTo>
                      <a:pt x="4884" y="2731"/>
                    </a:lnTo>
                    <a:lnTo>
                      <a:pt x="4794" y="2593"/>
                    </a:lnTo>
                    <a:lnTo>
                      <a:pt x="4755" y="2422"/>
                    </a:lnTo>
                    <a:lnTo>
                      <a:pt x="4673" y="2234"/>
                    </a:lnTo>
                    <a:lnTo>
                      <a:pt x="4452" y="2187"/>
                    </a:lnTo>
                    <a:lnTo>
                      <a:pt x="4314" y="2026"/>
                    </a:lnTo>
                    <a:lnTo>
                      <a:pt x="4318" y="1915"/>
                    </a:lnTo>
                    <a:lnTo>
                      <a:pt x="4274" y="1878"/>
                    </a:lnTo>
                    <a:lnTo>
                      <a:pt x="4179" y="2007"/>
                    </a:lnTo>
                    <a:lnTo>
                      <a:pt x="4021" y="1780"/>
                    </a:lnTo>
                    <a:lnTo>
                      <a:pt x="4065" y="1572"/>
                    </a:lnTo>
                    <a:lnTo>
                      <a:pt x="3994" y="1448"/>
                    </a:lnTo>
                    <a:lnTo>
                      <a:pt x="4140" y="1294"/>
                    </a:lnTo>
                    <a:lnTo>
                      <a:pt x="4322" y="1231"/>
                    </a:lnTo>
                    <a:lnTo>
                      <a:pt x="4284" y="1073"/>
                    </a:lnTo>
                    <a:lnTo>
                      <a:pt x="4242" y="877"/>
                    </a:lnTo>
                    <a:lnTo>
                      <a:pt x="4159" y="719"/>
                    </a:lnTo>
                    <a:lnTo>
                      <a:pt x="4032" y="548"/>
                    </a:lnTo>
                    <a:lnTo>
                      <a:pt x="4153" y="494"/>
                    </a:lnTo>
                    <a:lnTo>
                      <a:pt x="4003" y="289"/>
                    </a:lnTo>
                    <a:lnTo>
                      <a:pt x="3896" y="364"/>
                    </a:lnTo>
                    <a:lnTo>
                      <a:pt x="3946" y="187"/>
                    </a:lnTo>
                    <a:lnTo>
                      <a:pt x="3763" y="204"/>
                    </a:lnTo>
                    <a:lnTo>
                      <a:pt x="3711" y="337"/>
                    </a:lnTo>
                    <a:lnTo>
                      <a:pt x="3647" y="498"/>
                    </a:lnTo>
                    <a:lnTo>
                      <a:pt x="3455" y="547"/>
                    </a:lnTo>
                    <a:lnTo>
                      <a:pt x="3142" y="565"/>
                    </a:lnTo>
                    <a:lnTo>
                      <a:pt x="3095" y="451"/>
                    </a:lnTo>
                    <a:lnTo>
                      <a:pt x="2977" y="482"/>
                    </a:lnTo>
                    <a:lnTo>
                      <a:pt x="2950" y="569"/>
                    </a:lnTo>
                    <a:lnTo>
                      <a:pt x="2906" y="668"/>
                    </a:lnTo>
                    <a:lnTo>
                      <a:pt x="2733" y="567"/>
                    </a:lnTo>
                    <a:lnTo>
                      <a:pt x="2545" y="570"/>
                    </a:lnTo>
                    <a:lnTo>
                      <a:pt x="2411" y="407"/>
                    </a:lnTo>
                    <a:lnTo>
                      <a:pt x="2357" y="213"/>
                    </a:lnTo>
                    <a:lnTo>
                      <a:pt x="2071" y="181"/>
                    </a:lnTo>
                    <a:lnTo>
                      <a:pt x="1947" y="285"/>
                    </a:lnTo>
                    <a:lnTo>
                      <a:pt x="1819" y="280"/>
                    </a:lnTo>
                    <a:lnTo>
                      <a:pt x="1769" y="164"/>
                    </a:lnTo>
                    <a:lnTo>
                      <a:pt x="1490" y="146"/>
                    </a:lnTo>
                    <a:lnTo>
                      <a:pt x="1403" y="221"/>
                    </a:lnTo>
                    <a:lnTo>
                      <a:pt x="1275" y="237"/>
                    </a:lnTo>
                    <a:lnTo>
                      <a:pt x="1211" y="354"/>
                    </a:lnTo>
                    <a:lnTo>
                      <a:pt x="1021" y="417"/>
                    </a:lnTo>
                    <a:lnTo>
                      <a:pt x="796" y="140"/>
                    </a:lnTo>
                    <a:lnTo>
                      <a:pt x="615" y="0"/>
                    </a:lnTo>
                    <a:lnTo>
                      <a:pt x="544" y="127"/>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19" name="任意多边形 109">
                <a:extLst>
                  <a:ext uri="{FF2B5EF4-FFF2-40B4-BE49-F238E27FC236}">
                    <a16:creationId xmlns:a16="http://schemas.microsoft.com/office/drawing/2014/main" id="{90135311-AA72-4856-EFC0-9A103F04113D}"/>
                  </a:ext>
                </a:extLst>
              </p:cNvPr>
              <p:cNvSpPr>
                <a:spLocks/>
              </p:cNvSpPr>
              <p:nvPr/>
            </p:nvSpPr>
            <p:spPr bwMode="auto">
              <a:xfrm>
                <a:off x="2788274" y="2490788"/>
                <a:ext cx="1112343" cy="1445260"/>
              </a:xfrm>
              <a:custGeom>
                <a:avLst/>
                <a:gdLst/>
                <a:ahLst/>
                <a:cxnLst/>
                <a:rect l="0" t="0" r="r" b="b"/>
                <a:pathLst>
                  <a:path w="13622565" h="17699749">
                    <a:moveTo>
                      <a:pt x="10642295" y="190148"/>
                    </a:moveTo>
                    <a:lnTo>
                      <a:pt x="10541327" y="440405"/>
                    </a:lnTo>
                    <a:lnTo>
                      <a:pt x="10876011" y="946970"/>
                    </a:lnTo>
                    <a:lnTo>
                      <a:pt x="10454429" y="1010619"/>
                    </a:lnTo>
                    <a:lnTo>
                      <a:pt x="10487052" y="1326891"/>
                    </a:lnTo>
                    <a:lnTo>
                      <a:pt x="11002646" y="1598265"/>
                    </a:lnTo>
                    <a:lnTo>
                      <a:pt x="10369457" y="2041512"/>
                    </a:lnTo>
                    <a:lnTo>
                      <a:pt x="10948375" y="2647578"/>
                    </a:lnTo>
                    <a:lnTo>
                      <a:pt x="10622736" y="2882765"/>
                    </a:lnTo>
                    <a:lnTo>
                      <a:pt x="10752935" y="3452960"/>
                    </a:lnTo>
                    <a:lnTo>
                      <a:pt x="10626295" y="3697184"/>
                    </a:lnTo>
                    <a:lnTo>
                      <a:pt x="10758424" y="4004449"/>
                    </a:lnTo>
                    <a:lnTo>
                      <a:pt x="10215688" y="4529111"/>
                    </a:lnTo>
                    <a:lnTo>
                      <a:pt x="10282575" y="5542511"/>
                    </a:lnTo>
                    <a:lnTo>
                      <a:pt x="10362483" y="6248949"/>
                    </a:lnTo>
                    <a:lnTo>
                      <a:pt x="9654875" y="7324261"/>
                    </a:lnTo>
                    <a:lnTo>
                      <a:pt x="8885999" y="7975560"/>
                    </a:lnTo>
                    <a:lnTo>
                      <a:pt x="9293054" y="8427848"/>
                    </a:lnTo>
                    <a:lnTo>
                      <a:pt x="9342463" y="9786535"/>
                    </a:lnTo>
                    <a:lnTo>
                      <a:pt x="10161417" y="9793764"/>
                    </a:lnTo>
                    <a:lnTo>
                      <a:pt x="10532279" y="10454115"/>
                    </a:lnTo>
                    <a:lnTo>
                      <a:pt x="11482058" y="10463152"/>
                    </a:lnTo>
                    <a:lnTo>
                      <a:pt x="11653917" y="10779759"/>
                    </a:lnTo>
                    <a:lnTo>
                      <a:pt x="12033827" y="11051133"/>
                    </a:lnTo>
                    <a:lnTo>
                      <a:pt x="12531328" y="11331556"/>
                    </a:lnTo>
                    <a:lnTo>
                      <a:pt x="13525033" y="11264884"/>
                    </a:lnTo>
                    <a:lnTo>
                      <a:pt x="13622565" y="11784996"/>
                    </a:lnTo>
                    <a:lnTo>
                      <a:pt x="13072739" y="12075586"/>
                    </a:lnTo>
                    <a:lnTo>
                      <a:pt x="12397515" y="12497597"/>
                    </a:lnTo>
                    <a:lnTo>
                      <a:pt x="12090048" y="13287367"/>
                    </a:lnTo>
                    <a:lnTo>
                      <a:pt x="11571576" y="13691294"/>
                    </a:lnTo>
                    <a:lnTo>
                      <a:pt x="10824014" y="14318273"/>
                    </a:lnTo>
                    <a:lnTo>
                      <a:pt x="10691385" y="15186418"/>
                    </a:lnTo>
                    <a:lnTo>
                      <a:pt x="10076452" y="15753121"/>
                    </a:lnTo>
                    <a:lnTo>
                      <a:pt x="9690609" y="15897811"/>
                    </a:lnTo>
                    <a:lnTo>
                      <a:pt x="9316828" y="16253508"/>
                    </a:lnTo>
                    <a:lnTo>
                      <a:pt x="8762187" y="16349969"/>
                    </a:lnTo>
                    <a:lnTo>
                      <a:pt x="8117109" y="15867666"/>
                    </a:lnTo>
                    <a:lnTo>
                      <a:pt x="7616721" y="15873689"/>
                    </a:lnTo>
                    <a:lnTo>
                      <a:pt x="7435861" y="16741834"/>
                    </a:lnTo>
                    <a:lnTo>
                      <a:pt x="6887243" y="17181930"/>
                    </a:lnTo>
                    <a:lnTo>
                      <a:pt x="6676238" y="17664233"/>
                    </a:lnTo>
                    <a:lnTo>
                      <a:pt x="6335576" y="17699749"/>
                    </a:lnTo>
                    <a:lnTo>
                      <a:pt x="6015490" y="16968505"/>
                    </a:lnTo>
                    <a:lnTo>
                      <a:pt x="5158198" y="16787645"/>
                    </a:lnTo>
                    <a:lnTo>
                      <a:pt x="4619226" y="16161859"/>
                    </a:lnTo>
                    <a:lnTo>
                      <a:pt x="4637311" y="15727786"/>
                    </a:lnTo>
                    <a:lnTo>
                      <a:pt x="4467305" y="15583095"/>
                    </a:lnTo>
                    <a:lnTo>
                      <a:pt x="4097454" y="16087770"/>
                    </a:lnTo>
                    <a:lnTo>
                      <a:pt x="3482522" y="15203956"/>
                    </a:lnTo>
                    <a:lnTo>
                      <a:pt x="3653428" y="14396645"/>
                    </a:lnTo>
                    <a:lnTo>
                      <a:pt x="3378507" y="13914342"/>
                    </a:lnTo>
                    <a:lnTo>
                      <a:pt x="3945210" y="13317494"/>
                    </a:lnTo>
                    <a:lnTo>
                      <a:pt x="4650580" y="13070319"/>
                    </a:lnTo>
                    <a:lnTo>
                      <a:pt x="4505889" y="12455386"/>
                    </a:lnTo>
                    <a:lnTo>
                      <a:pt x="4343114" y="11695763"/>
                    </a:lnTo>
                    <a:lnTo>
                      <a:pt x="4017563" y="11080830"/>
                    </a:lnTo>
                    <a:lnTo>
                      <a:pt x="3523198" y="10417667"/>
                    </a:lnTo>
                    <a:lnTo>
                      <a:pt x="3996178" y="10206164"/>
                    </a:lnTo>
                    <a:lnTo>
                      <a:pt x="3411391" y="9409164"/>
                    </a:lnTo>
                    <a:lnTo>
                      <a:pt x="2997818" y="9699753"/>
                    </a:lnTo>
                    <a:lnTo>
                      <a:pt x="3191625" y="9012965"/>
                    </a:lnTo>
                    <a:lnTo>
                      <a:pt x="2481120" y="9079257"/>
                    </a:lnTo>
                    <a:lnTo>
                      <a:pt x="2307810" y="8862270"/>
                    </a:lnTo>
                    <a:lnTo>
                      <a:pt x="1902675" y="8435428"/>
                    </a:lnTo>
                    <a:lnTo>
                      <a:pt x="1461371" y="8522243"/>
                    </a:lnTo>
                    <a:lnTo>
                      <a:pt x="1211781" y="8156900"/>
                    </a:lnTo>
                    <a:lnTo>
                      <a:pt x="528118" y="8099024"/>
                    </a:lnTo>
                    <a:lnTo>
                      <a:pt x="549825" y="7444299"/>
                    </a:lnTo>
                    <a:lnTo>
                      <a:pt x="0" y="7252585"/>
                    </a:lnTo>
                    <a:lnTo>
                      <a:pt x="79584" y="6858305"/>
                    </a:lnTo>
                    <a:lnTo>
                      <a:pt x="745162" y="6648506"/>
                    </a:lnTo>
                    <a:lnTo>
                      <a:pt x="1291365" y="6409770"/>
                    </a:lnTo>
                    <a:lnTo>
                      <a:pt x="1645854" y="6207203"/>
                    </a:lnTo>
                    <a:lnTo>
                      <a:pt x="1663938" y="5650147"/>
                    </a:lnTo>
                    <a:lnTo>
                      <a:pt x="1171989" y="5140113"/>
                    </a:lnTo>
                    <a:lnTo>
                      <a:pt x="1848421" y="4217714"/>
                    </a:lnTo>
                    <a:lnTo>
                      <a:pt x="2492292" y="4441989"/>
                    </a:lnTo>
                    <a:lnTo>
                      <a:pt x="3280854" y="4470927"/>
                    </a:lnTo>
                    <a:lnTo>
                      <a:pt x="3761949" y="4152607"/>
                    </a:lnTo>
                    <a:lnTo>
                      <a:pt x="3114455" y="3606404"/>
                    </a:lnTo>
                    <a:lnTo>
                      <a:pt x="2673152" y="3541297"/>
                    </a:lnTo>
                    <a:lnTo>
                      <a:pt x="1989489" y="3570235"/>
                    </a:lnTo>
                    <a:lnTo>
                      <a:pt x="2018427" y="3063810"/>
                    </a:lnTo>
                    <a:lnTo>
                      <a:pt x="2831435" y="3080250"/>
                    </a:lnTo>
                    <a:lnTo>
                      <a:pt x="2904657" y="2857635"/>
                    </a:lnTo>
                    <a:lnTo>
                      <a:pt x="2307809" y="2694859"/>
                    </a:lnTo>
                    <a:lnTo>
                      <a:pt x="1757984" y="2579106"/>
                    </a:lnTo>
                    <a:lnTo>
                      <a:pt x="2376539" y="2040135"/>
                    </a:lnTo>
                    <a:lnTo>
                      <a:pt x="1786922" y="1692876"/>
                    </a:lnTo>
                    <a:lnTo>
                      <a:pt x="2353928" y="1376505"/>
                    </a:lnTo>
                    <a:lnTo>
                      <a:pt x="3392984" y="1616916"/>
                    </a:lnTo>
                    <a:lnTo>
                      <a:pt x="4807332" y="1461371"/>
                    </a:lnTo>
                    <a:lnTo>
                      <a:pt x="5613078" y="1412704"/>
                    </a:lnTo>
                    <a:lnTo>
                      <a:pt x="6427855" y="1211781"/>
                    </a:lnTo>
                    <a:lnTo>
                      <a:pt x="7110603" y="895439"/>
                    </a:lnTo>
                    <a:lnTo>
                      <a:pt x="8674165" y="1059859"/>
                    </a:lnTo>
                    <a:lnTo>
                      <a:pt x="8850487" y="790540"/>
                    </a:lnTo>
                    <a:lnTo>
                      <a:pt x="8804379" y="405135"/>
                    </a:lnTo>
                    <a:lnTo>
                      <a:pt x="9412081" y="144691"/>
                    </a:lnTo>
                    <a:lnTo>
                      <a:pt x="10153621" y="0"/>
                    </a:lnTo>
                    <a:lnTo>
                      <a:pt x="10642295" y="190148"/>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0" name="任意多边形 110">
                <a:extLst>
                  <a:ext uri="{FF2B5EF4-FFF2-40B4-BE49-F238E27FC236}">
                    <a16:creationId xmlns:a16="http://schemas.microsoft.com/office/drawing/2014/main" id="{FE263F98-CB3B-8CA8-A619-8FDAA391B377}"/>
                  </a:ext>
                </a:extLst>
              </p:cNvPr>
              <p:cNvSpPr>
                <a:spLocks/>
              </p:cNvSpPr>
              <p:nvPr/>
            </p:nvSpPr>
            <p:spPr bwMode="auto">
              <a:xfrm>
                <a:off x="3109851" y="3231198"/>
                <a:ext cx="2250717" cy="1237933"/>
              </a:xfrm>
              <a:custGeom>
                <a:avLst/>
                <a:gdLst/>
                <a:ahLst/>
                <a:cxnLst/>
                <a:rect l="0" t="0" r="r" b="b"/>
                <a:pathLst>
                  <a:path w="27560432" h="15152939">
                    <a:moveTo>
                      <a:pt x="26157237" y="4322377"/>
                    </a:moveTo>
                    <a:lnTo>
                      <a:pt x="25950755" y="4946265"/>
                    </a:lnTo>
                    <a:lnTo>
                      <a:pt x="26059273" y="5561190"/>
                    </a:lnTo>
                    <a:lnTo>
                      <a:pt x="26439085" y="6103777"/>
                    </a:lnTo>
                    <a:lnTo>
                      <a:pt x="26366739" y="6555934"/>
                    </a:lnTo>
                    <a:lnTo>
                      <a:pt x="25824148" y="6827228"/>
                    </a:lnTo>
                    <a:lnTo>
                      <a:pt x="26023104" y="7478344"/>
                    </a:lnTo>
                    <a:lnTo>
                      <a:pt x="26619948" y="7840060"/>
                    </a:lnTo>
                    <a:lnTo>
                      <a:pt x="26276305" y="8672029"/>
                    </a:lnTo>
                    <a:lnTo>
                      <a:pt x="26312478" y="9666777"/>
                    </a:lnTo>
                    <a:lnTo>
                      <a:pt x="25878405" y="10227453"/>
                    </a:lnTo>
                    <a:lnTo>
                      <a:pt x="26402912" y="10643437"/>
                    </a:lnTo>
                    <a:lnTo>
                      <a:pt x="27319497" y="10082959"/>
                    </a:lnTo>
                    <a:lnTo>
                      <a:pt x="27560432" y="10281714"/>
                    </a:lnTo>
                    <a:lnTo>
                      <a:pt x="27325315" y="10860465"/>
                    </a:lnTo>
                    <a:lnTo>
                      <a:pt x="27542355" y="12005935"/>
                    </a:lnTo>
                    <a:lnTo>
                      <a:pt x="26089423" y="11975789"/>
                    </a:lnTo>
                    <a:lnTo>
                      <a:pt x="24473715" y="12090334"/>
                    </a:lnTo>
                    <a:lnTo>
                      <a:pt x="23135328" y="12222964"/>
                    </a:lnTo>
                    <a:lnTo>
                      <a:pt x="22261159" y="12934357"/>
                    </a:lnTo>
                    <a:lnTo>
                      <a:pt x="20826342" y="14369204"/>
                    </a:lnTo>
                    <a:lnTo>
                      <a:pt x="12952786" y="14960014"/>
                    </a:lnTo>
                    <a:lnTo>
                      <a:pt x="11934663" y="15008264"/>
                    </a:lnTo>
                    <a:lnTo>
                      <a:pt x="8506848" y="15152939"/>
                    </a:lnTo>
                    <a:lnTo>
                      <a:pt x="7985095" y="14507857"/>
                    </a:lnTo>
                    <a:lnTo>
                      <a:pt x="7400308" y="14477712"/>
                    </a:lnTo>
                    <a:lnTo>
                      <a:pt x="6972273" y="14749009"/>
                    </a:lnTo>
                    <a:lnTo>
                      <a:pt x="5181729" y="14664610"/>
                    </a:lnTo>
                    <a:lnTo>
                      <a:pt x="4397998" y="14031593"/>
                    </a:lnTo>
                    <a:lnTo>
                      <a:pt x="2908896" y="13223739"/>
                    </a:lnTo>
                    <a:lnTo>
                      <a:pt x="1263043" y="12512346"/>
                    </a:lnTo>
                    <a:lnTo>
                      <a:pt x="485320" y="12060189"/>
                    </a:lnTo>
                    <a:lnTo>
                      <a:pt x="0" y="11767077"/>
                    </a:lnTo>
                    <a:lnTo>
                      <a:pt x="1003686" y="11021112"/>
                    </a:lnTo>
                    <a:lnTo>
                      <a:pt x="2902551" y="9836713"/>
                    </a:lnTo>
                    <a:lnTo>
                      <a:pt x="2558940" y="9303282"/>
                    </a:lnTo>
                    <a:lnTo>
                      <a:pt x="2402508" y="8616199"/>
                    </a:lnTo>
                    <a:lnTo>
                      <a:pt x="2730740" y="8589028"/>
                    </a:lnTo>
                    <a:lnTo>
                      <a:pt x="2947754" y="8118883"/>
                    </a:lnTo>
                    <a:lnTo>
                      <a:pt x="3499325" y="7675866"/>
                    </a:lnTo>
                    <a:lnTo>
                      <a:pt x="3680166" y="6798868"/>
                    </a:lnTo>
                    <a:lnTo>
                      <a:pt x="4186528" y="6807904"/>
                    </a:lnTo>
                    <a:lnTo>
                      <a:pt x="4837569" y="7278054"/>
                    </a:lnTo>
                    <a:lnTo>
                      <a:pt x="5352976" y="7196687"/>
                    </a:lnTo>
                    <a:lnTo>
                      <a:pt x="5741786" y="6825992"/>
                    </a:lnTo>
                    <a:lnTo>
                      <a:pt x="6157723" y="6663251"/>
                    </a:lnTo>
                    <a:lnTo>
                      <a:pt x="6745471" y="6093658"/>
                    </a:lnTo>
                    <a:lnTo>
                      <a:pt x="6890140" y="5243782"/>
                    </a:lnTo>
                    <a:lnTo>
                      <a:pt x="7568305" y="4674188"/>
                    </a:lnTo>
                    <a:lnTo>
                      <a:pt x="8137967" y="4231167"/>
                    </a:lnTo>
                    <a:lnTo>
                      <a:pt x="8463480" y="3426500"/>
                    </a:lnTo>
                    <a:lnTo>
                      <a:pt x="9024093" y="3073893"/>
                    </a:lnTo>
                    <a:lnTo>
                      <a:pt x="9675138" y="2721291"/>
                    </a:lnTo>
                    <a:lnTo>
                      <a:pt x="9558580" y="2173007"/>
                    </a:lnTo>
                    <a:lnTo>
                      <a:pt x="10353296" y="1500723"/>
                    </a:lnTo>
                    <a:lnTo>
                      <a:pt x="10832530" y="1428389"/>
                    </a:lnTo>
                    <a:lnTo>
                      <a:pt x="11058585" y="1880458"/>
                    </a:lnTo>
                    <a:lnTo>
                      <a:pt x="11411229" y="2260189"/>
                    </a:lnTo>
                    <a:lnTo>
                      <a:pt x="11998974" y="2341559"/>
                    </a:lnTo>
                    <a:lnTo>
                      <a:pt x="12315449" y="3001571"/>
                    </a:lnTo>
                    <a:lnTo>
                      <a:pt x="12785642" y="2820742"/>
                    </a:lnTo>
                    <a:lnTo>
                      <a:pt x="13671776" y="3272803"/>
                    </a:lnTo>
                    <a:lnTo>
                      <a:pt x="14123886" y="2974450"/>
                    </a:lnTo>
                    <a:lnTo>
                      <a:pt x="14259509" y="2404849"/>
                    </a:lnTo>
                    <a:lnTo>
                      <a:pt x="14892468" y="1762918"/>
                    </a:lnTo>
                    <a:lnTo>
                      <a:pt x="15778605" y="1211398"/>
                    </a:lnTo>
                    <a:lnTo>
                      <a:pt x="16022739" y="1681548"/>
                    </a:lnTo>
                    <a:lnTo>
                      <a:pt x="16013694" y="2169778"/>
                    </a:lnTo>
                    <a:lnTo>
                      <a:pt x="16556232" y="2260200"/>
                    </a:lnTo>
                    <a:lnTo>
                      <a:pt x="16863663" y="1744834"/>
                    </a:lnTo>
                    <a:lnTo>
                      <a:pt x="17406193" y="1410312"/>
                    </a:lnTo>
                    <a:lnTo>
                      <a:pt x="17623203" y="867840"/>
                    </a:lnTo>
                    <a:lnTo>
                      <a:pt x="18120524" y="831675"/>
                    </a:lnTo>
                    <a:lnTo>
                      <a:pt x="18201903" y="542358"/>
                    </a:lnTo>
                    <a:lnTo>
                      <a:pt x="18744437" y="117414"/>
                    </a:lnTo>
                    <a:lnTo>
                      <a:pt x="19443290" y="0"/>
                    </a:lnTo>
                    <a:lnTo>
                      <a:pt x="19982300" y="460880"/>
                    </a:lnTo>
                    <a:lnTo>
                      <a:pt x="19530143" y="913038"/>
                    </a:lnTo>
                    <a:lnTo>
                      <a:pt x="19837609" y="1238588"/>
                    </a:lnTo>
                    <a:lnTo>
                      <a:pt x="20886614" y="1546055"/>
                    </a:lnTo>
                    <a:lnTo>
                      <a:pt x="21881359" y="1889694"/>
                    </a:lnTo>
                    <a:lnTo>
                      <a:pt x="21772837" y="2269505"/>
                    </a:lnTo>
                    <a:lnTo>
                      <a:pt x="21537712" y="2884438"/>
                    </a:lnTo>
                    <a:lnTo>
                      <a:pt x="21996067" y="2911656"/>
                    </a:lnTo>
                    <a:lnTo>
                      <a:pt x="22478203" y="2414189"/>
                    </a:lnTo>
                    <a:lnTo>
                      <a:pt x="23292084" y="2016293"/>
                    </a:lnTo>
                    <a:lnTo>
                      <a:pt x="23888932" y="1998212"/>
                    </a:lnTo>
                    <a:lnTo>
                      <a:pt x="24612383" y="1582227"/>
                    </a:lnTo>
                    <a:lnTo>
                      <a:pt x="25010275" y="695990"/>
                    </a:lnTo>
                    <a:lnTo>
                      <a:pt x="25769899" y="840685"/>
                    </a:lnTo>
                    <a:lnTo>
                      <a:pt x="26402920" y="876857"/>
                    </a:lnTo>
                    <a:lnTo>
                      <a:pt x="26240141" y="1491794"/>
                    </a:lnTo>
                    <a:lnTo>
                      <a:pt x="26554742" y="2052454"/>
                    </a:lnTo>
                    <a:lnTo>
                      <a:pt x="25679461" y="2775920"/>
                    </a:lnTo>
                    <a:lnTo>
                      <a:pt x="25751806" y="3806840"/>
                    </a:lnTo>
                    <a:lnTo>
                      <a:pt x="26157237" y="4322377"/>
                    </a:lnTo>
                    <a:close/>
                  </a:path>
                </a:pathLst>
              </a:custGeom>
              <a:solidFill>
                <a:schemeClr val="tx2">
                  <a:lumMod val="10000"/>
                  <a:lumOff val="90000"/>
                </a:schemeClr>
              </a:solidFill>
              <a:ln w="12700" cap="flat">
                <a:solidFill>
                  <a:schemeClr val="bg1"/>
                </a:solidFill>
                <a:prstDash val="solid"/>
                <a:miter/>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1" name="任意多边形 111">
                <a:extLst>
                  <a:ext uri="{FF2B5EF4-FFF2-40B4-BE49-F238E27FC236}">
                    <a16:creationId xmlns:a16="http://schemas.microsoft.com/office/drawing/2014/main" id="{22788162-0B7B-89BA-1A59-1167EE61430C}"/>
                  </a:ext>
                </a:extLst>
              </p:cNvPr>
              <p:cNvSpPr>
                <a:spLocks/>
              </p:cNvSpPr>
              <p:nvPr/>
            </p:nvSpPr>
            <p:spPr bwMode="auto">
              <a:xfrm>
                <a:off x="4595197" y="2461260"/>
                <a:ext cx="830131" cy="1007110"/>
              </a:xfrm>
              <a:custGeom>
                <a:avLst/>
                <a:gdLst>
                  <a:gd name="T0" fmla="*/ 0 w 2615"/>
                  <a:gd name="T1" fmla="*/ 877971 h 3172"/>
                  <a:gd name="T2" fmla="*/ 9526 w 2615"/>
                  <a:gd name="T3" fmla="*/ 982701 h 3172"/>
                  <a:gd name="T4" fmla="*/ 123826 w 2615"/>
                  <a:gd name="T5" fmla="*/ 901738 h 3172"/>
                  <a:gd name="T6" fmla="*/ 164307 w 2615"/>
                  <a:gd name="T7" fmla="*/ 1013658 h 3172"/>
                  <a:gd name="T8" fmla="*/ 45243 w 2615"/>
                  <a:gd name="T9" fmla="*/ 1070806 h 3172"/>
                  <a:gd name="T10" fmla="*/ 150019 w 2615"/>
                  <a:gd name="T11" fmla="*/ 1139863 h 3172"/>
                  <a:gd name="T12" fmla="*/ 288132 w 2615"/>
                  <a:gd name="T13" fmla="*/ 1149388 h 3172"/>
                  <a:gd name="T14" fmla="*/ 269080 w 2615"/>
                  <a:gd name="T15" fmla="*/ 1258924 h 3172"/>
                  <a:gd name="T16" fmla="*/ 178593 w 2615"/>
                  <a:gd name="T17" fmla="*/ 1282737 h 3172"/>
                  <a:gd name="T18" fmla="*/ 228600 w 2615"/>
                  <a:gd name="T19" fmla="*/ 1401799 h 3172"/>
                  <a:gd name="T20" fmla="*/ 319086 w 2615"/>
                  <a:gd name="T21" fmla="*/ 1589915 h 3172"/>
                  <a:gd name="T22" fmla="*/ 340517 w 2615"/>
                  <a:gd name="T23" fmla="*/ 1861376 h 3172"/>
                  <a:gd name="T24" fmla="*/ 269079 w 2615"/>
                  <a:gd name="T25" fmla="*/ 2001869 h 3172"/>
                  <a:gd name="T26" fmla="*/ 371473 w 2615"/>
                  <a:gd name="T27" fmla="*/ 2180463 h 3172"/>
                  <a:gd name="T28" fmla="*/ 271460 w 2615"/>
                  <a:gd name="T29" fmla="*/ 2225705 h 3172"/>
                  <a:gd name="T30" fmla="*/ 238123 w 2615"/>
                  <a:gd name="T31" fmla="*/ 2368579 h 3172"/>
                  <a:gd name="T32" fmla="*/ 334487 w 2615"/>
                  <a:gd name="T33" fmla="*/ 2484765 h 3172"/>
                  <a:gd name="T34" fmla="*/ 471485 w 2615"/>
                  <a:gd name="T35" fmla="*/ 2606703 h 3172"/>
                  <a:gd name="T36" fmla="*/ 357185 w 2615"/>
                  <a:gd name="T37" fmla="*/ 2723382 h 3172"/>
                  <a:gd name="T38" fmla="*/ 440527 w 2615"/>
                  <a:gd name="T39" fmla="*/ 2811489 h 3172"/>
                  <a:gd name="T40" fmla="*/ 769139 w 2615"/>
                  <a:gd name="T41" fmla="*/ 2906739 h 3172"/>
                  <a:gd name="T42" fmla="*/ 973926 w 2615"/>
                  <a:gd name="T43" fmla="*/ 2985319 h 3172"/>
                  <a:gd name="T44" fmla="*/ 950112 w 2615"/>
                  <a:gd name="T45" fmla="*/ 3075806 h 3172"/>
                  <a:gd name="T46" fmla="*/ 885818 w 2615"/>
                  <a:gd name="T47" fmla="*/ 3242493 h 3172"/>
                  <a:gd name="T48" fmla="*/ 1007259 w 2615"/>
                  <a:gd name="T49" fmla="*/ 3249638 h 3172"/>
                  <a:gd name="T50" fmla="*/ 1131085 w 2615"/>
                  <a:gd name="T51" fmla="*/ 3121049 h 3172"/>
                  <a:gd name="T52" fmla="*/ 1345398 w 2615"/>
                  <a:gd name="T53" fmla="*/ 3013894 h 3172"/>
                  <a:gd name="T54" fmla="*/ 1502558 w 2615"/>
                  <a:gd name="T55" fmla="*/ 3009131 h 3172"/>
                  <a:gd name="T56" fmla="*/ 1697821 w 2615"/>
                  <a:gd name="T57" fmla="*/ 2899594 h 3172"/>
                  <a:gd name="T58" fmla="*/ 1800212 w 2615"/>
                  <a:gd name="T59" fmla="*/ 2668613 h 3172"/>
                  <a:gd name="T60" fmla="*/ 2016905 w 2615"/>
                  <a:gd name="T61" fmla="*/ 2709095 h 3172"/>
                  <a:gd name="T62" fmla="*/ 2164543 w 2615"/>
                  <a:gd name="T63" fmla="*/ 2713858 h 3172"/>
                  <a:gd name="T64" fmla="*/ 2121679 w 2615"/>
                  <a:gd name="T65" fmla="*/ 2871020 h 3172"/>
                  <a:gd name="T66" fmla="*/ 2207907 w 2615"/>
                  <a:gd name="T67" fmla="*/ 3025008 h 3172"/>
                  <a:gd name="T68" fmla="*/ 2488389 w 2615"/>
                  <a:gd name="T69" fmla="*/ 3037709 h 3172"/>
                  <a:gd name="T70" fmla="*/ 2676509 w 2615"/>
                  <a:gd name="T71" fmla="*/ 2792441 h 3172"/>
                  <a:gd name="T72" fmla="*/ 2595546 w 2615"/>
                  <a:gd name="T73" fmla="*/ 2559078 h 3172"/>
                  <a:gd name="T74" fmla="*/ 2347133 w 2615"/>
                  <a:gd name="T75" fmla="*/ 2261454 h 3172"/>
                  <a:gd name="T76" fmla="*/ 2464577 w 2615"/>
                  <a:gd name="T77" fmla="*/ 2116168 h 3172"/>
                  <a:gd name="T78" fmla="*/ 2678889 w 2615"/>
                  <a:gd name="T79" fmla="*/ 1930432 h 3172"/>
                  <a:gd name="T80" fmla="*/ 2678093 w 2615"/>
                  <a:gd name="T81" fmla="*/ 1666453 h 3172"/>
                  <a:gd name="T82" fmla="*/ 2048418 w 2615"/>
                  <a:gd name="T83" fmla="*/ 889742 h 3172"/>
                  <a:gd name="T84" fmla="*/ 1796250 w 2615"/>
                  <a:gd name="T85" fmla="*/ 626836 h 3172"/>
                  <a:gd name="T86" fmla="*/ 1502649 w 2615"/>
                  <a:gd name="T87" fmla="*/ 460378 h 3172"/>
                  <a:gd name="T88" fmla="*/ 1364578 w 2615"/>
                  <a:gd name="T89" fmla="*/ 395289 h 3172"/>
                  <a:gd name="T90" fmla="*/ 1264594 w 2615"/>
                  <a:gd name="T91" fmla="*/ 266701 h 3172"/>
                  <a:gd name="T92" fmla="*/ 1435995 w 2615"/>
                  <a:gd name="T93" fmla="*/ 190501 h 3172"/>
                  <a:gd name="T94" fmla="*/ 1469322 w 2615"/>
                  <a:gd name="T95" fmla="*/ 0 h 3172"/>
                  <a:gd name="T96" fmla="*/ 1231267 w 2615"/>
                  <a:gd name="T97" fmla="*/ 104775 h 3172"/>
                  <a:gd name="T98" fmla="*/ 1144255 w 2615"/>
                  <a:gd name="T99" fmla="*/ 92908 h 3172"/>
                  <a:gd name="T100" fmla="*/ 1102720 w 2615"/>
                  <a:gd name="T101" fmla="*/ 257179 h 3172"/>
                  <a:gd name="T102" fmla="*/ 888470 w 2615"/>
                  <a:gd name="T103" fmla="*/ 357191 h 3172"/>
                  <a:gd name="T104" fmla="*/ 755159 w 2615"/>
                  <a:gd name="T105" fmla="*/ 528641 h 3172"/>
                  <a:gd name="T106" fmla="*/ 531389 w 2615"/>
                  <a:gd name="T107" fmla="*/ 623889 h 3172"/>
                  <a:gd name="T108" fmla="*/ 459972 w 2615"/>
                  <a:gd name="T109" fmla="*/ 766766 h 3172"/>
                  <a:gd name="T110" fmla="*/ 264769 w 2615"/>
                  <a:gd name="T111" fmla="*/ 728663 h 3172"/>
                  <a:gd name="T112" fmla="*/ 0 w 2615"/>
                  <a:gd name="T113" fmla="*/ 877971 h 31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615" h="3172">
                    <a:moveTo>
                      <a:pt x="0" y="858"/>
                    </a:moveTo>
                    <a:lnTo>
                      <a:pt x="7" y="955"/>
                    </a:lnTo>
                    <a:lnTo>
                      <a:pt x="119" y="880"/>
                    </a:lnTo>
                    <a:lnTo>
                      <a:pt x="160" y="990"/>
                    </a:lnTo>
                    <a:lnTo>
                      <a:pt x="44" y="1046"/>
                    </a:lnTo>
                    <a:lnTo>
                      <a:pt x="146" y="1114"/>
                    </a:lnTo>
                    <a:lnTo>
                      <a:pt x="281" y="1123"/>
                    </a:lnTo>
                    <a:lnTo>
                      <a:pt x="263" y="1230"/>
                    </a:lnTo>
                    <a:lnTo>
                      <a:pt x="174" y="1253"/>
                    </a:lnTo>
                    <a:lnTo>
                      <a:pt x="223" y="1370"/>
                    </a:lnTo>
                    <a:lnTo>
                      <a:pt x="312" y="1553"/>
                    </a:lnTo>
                    <a:lnTo>
                      <a:pt x="333" y="1819"/>
                    </a:lnTo>
                    <a:lnTo>
                      <a:pt x="263" y="1956"/>
                    </a:lnTo>
                    <a:lnTo>
                      <a:pt x="363" y="2130"/>
                    </a:lnTo>
                    <a:lnTo>
                      <a:pt x="265" y="2175"/>
                    </a:lnTo>
                    <a:lnTo>
                      <a:pt x="233" y="2314"/>
                    </a:lnTo>
                    <a:lnTo>
                      <a:pt x="327" y="2428"/>
                    </a:lnTo>
                    <a:lnTo>
                      <a:pt x="460" y="2547"/>
                    </a:lnTo>
                    <a:lnTo>
                      <a:pt x="349" y="2661"/>
                    </a:lnTo>
                    <a:lnTo>
                      <a:pt x="430" y="2747"/>
                    </a:lnTo>
                    <a:lnTo>
                      <a:pt x="751" y="2840"/>
                    </a:lnTo>
                    <a:lnTo>
                      <a:pt x="952" y="2913"/>
                    </a:lnTo>
                    <a:lnTo>
                      <a:pt x="922" y="3013"/>
                    </a:lnTo>
                    <a:lnTo>
                      <a:pt x="863" y="3165"/>
                    </a:lnTo>
                    <a:lnTo>
                      <a:pt x="977" y="3172"/>
                    </a:lnTo>
                    <a:lnTo>
                      <a:pt x="1105" y="3049"/>
                    </a:lnTo>
                    <a:lnTo>
                      <a:pt x="1314" y="2945"/>
                    </a:lnTo>
                    <a:lnTo>
                      <a:pt x="1467" y="2940"/>
                    </a:lnTo>
                    <a:lnTo>
                      <a:pt x="1651" y="2835"/>
                    </a:lnTo>
                    <a:lnTo>
                      <a:pt x="1756" y="2602"/>
                    </a:lnTo>
                    <a:lnTo>
                      <a:pt x="1948" y="2641"/>
                    </a:lnTo>
                    <a:lnTo>
                      <a:pt x="2114" y="2652"/>
                    </a:lnTo>
                    <a:lnTo>
                      <a:pt x="2072" y="2805"/>
                    </a:lnTo>
                    <a:lnTo>
                      <a:pt x="2156" y="2956"/>
                    </a:lnTo>
                    <a:lnTo>
                      <a:pt x="2430" y="2968"/>
                    </a:lnTo>
                    <a:lnTo>
                      <a:pt x="2614" y="2728"/>
                    </a:lnTo>
                    <a:lnTo>
                      <a:pt x="2535" y="2500"/>
                    </a:lnTo>
                    <a:lnTo>
                      <a:pt x="2292" y="2210"/>
                    </a:lnTo>
                    <a:lnTo>
                      <a:pt x="2407" y="2068"/>
                    </a:lnTo>
                    <a:lnTo>
                      <a:pt x="2609" y="1891"/>
                    </a:lnTo>
                    <a:lnTo>
                      <a:pt x="2615" y="1628"/>
                    </a:lnTo>
                    <a:lnTo>
                      <a:pt x="2000" y="869"/>
                    </a:lnTo>
                    <a:lnTo>
                      <a:pt x="1754" y="612"/>
                    </a:lnTo>
                    <a:lnTo>
                      <a:pt x="1467" y="450"/>
                    </a:lnTo>
                    <a:lnTo>
                      <a:pt x="1333" y="386"/>
                    </a:lnTo>
                    <a:lnTo>
                      <a:pt x="1235" y="261"/>
                    </a:lnTo>
                    <a:lnTo>
                      <a:pt x="1402" y="186"/>
                    </a:lnTo>
                    <a:lnTo>
                      <a:pt x="1435" y="0"/>
                    </a:lnTo>
                    <a:lnTo>
                      <a:pt x="1207" y="97"/>
                    </a:lnTo>
                    <a:lnTo>
                      <a:pt x="1123" y="94"/>
                    </a:lnTo>
                    <a:lnTo>
                      <a:pt x="1077" y="251"/>
                    </a:lnTo>
                    <a:lnTo>
                      <a:pt x="868" y="349"/>
                    </a:lnTo>
                    <a:lnTo>
                      <a:pt x="737" y="516"/>
                    </a:lnTo>
                    <a:lnTo>
                      <a:pt x="519" y="610"/>
                    </a:lnTo>
                    <a:lnTo>
                      <a:pt x="449" y="749"/>
                    </a:lnTo>
                    <a:lnTo>
                      <a:pt x="259" y="712"/>
                    </a:lnTo>
                    <a:lnTo>
                      <a:pt x="0" y="858"/>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2" name="任意多边形 112">
                <a:extLst>
                  <a:ext uri="{FF2B5EF4-FFF2-40B4-BE49-F238E27FC236}">
                    <a16:creationId xmlns:a16="http://schemas.microsoft.com/office/drawing/2014/main" id="{42B32FFC-957B-EB8E-0142-5ED1469CD26C}"/>
                  </a:ext>
                </a:extLst>
              </p:cNvPr>
              <p:cNvSpPr>
                <a:spLocks/>
              </p:cNvSpPr>
              <p:nvPr/>
            </p:nvSpPr>
            <p:spPr bwMode="auto">
              <a:xfrm>
                <a:off x="4082516" y="4405630"/>
                <a:ext cx="1070440" cy="855980"/>
              </a:xfrm>
              <a:custGeom>
                <a:avLst/>
                <a:gdLst>
                  <a:gd name="T0" fmla="*/ 215558 w 13103724"/>
                  <a:gd name="T1" fmla="*/ 1849899 h 10479261"/>
                  <a:gd name="T2" fmla="*/ 264663 w 13103724"/>
                  <a:gd name="T3" fmla="*/ 2011576 h 10479261"/>
                  <a:gd name="T4" fmla="*/ 339518 w 13103724"/>
                  <a:gd name="T5" fmla="*/ 2103213 h 10479261"/>
                  <a:gd name="T6" fmla="*/ 499210 w 13103724"/>
                  <a:gd name="T7" fmla="*/ 2104344 h 10479261"/>
                  <a:gd name="T8" fmla="*/ 617617 w 13103724"/>
                  <a:gd name="T9" fmla="*/ 2307580 h 10479261"/>
                  <a:gd name="T10" fmla="*/ 633269 w 13103724"/>
                  <a:gd name="T11" fmla="*/ 2513082 h 10479261"/>
                  <a:gd name="T12" fmla="*/ 773543 w 13103724"/>
                  <a:gd name="T13" fmla="*/ 2644339 h 10479261"/>
                  <a:gd name="T14" fmla="*/ 1027507 w 13103724"/>
                  <a:gd name="T15" fmla="*/ 2759865 h 10479261"/>
                  <a:gd name="T16" fmla="*/ 1051685 w 13103724"/>
                  <a:gd name="T17" fmla="*/ 2610750 h 10479261"/>
                  <a:gd name="T18" fmla="*/ 1166964 w 13103724"/>
                  <a:gd name="T19" fmla="*/ 2547876 h 10479261"/>
                  <a:gd name="T20" fmla="*/ 1146003 w 13103724"/>
                  <a:gd name="T21" fmla="*/ 2436415 h 10479261"/>
                  <a:gd name="T22" fmla="*/ 1506126 w 13103724"/>
                  <a:gd name="T23" fmla="*/ 2365920 h 10479261"/>
                  <a:gd name="T24" fmla="*/ 1740489 w 13103724"/>
                  <a:gd name="T25" fmla="*/ 2396405 h 10479261"/>
                  <a:gd name="T26" fmla="*/ 1973903 w 13103724"/>
                  <a:gd name="T27" fmla="*/ 2426890 h 10479261"/>
                  <a:gd name="T28" fmla="*/ 2112996 w 13103724"/>
                  <a:gd name="T29" fmla="*/ 2515488 h 10479261"/>
                  <a:gd name="T30" fmla="*/ 2225144 w 13103724"/>
                  <a:gd name="T31" fmla="*/ 2500704 h 10479261"/>
                  <a:gd name="T32" fmla="*/ 2314968 w 13103724"/>
                  <a:gd name="T33" fmla="*/ 2588842 h 10479261"/>
                  <a:gd name="T34" fmla="*/ 2423577 w 13103724"/>
                  <a:gd name="T35" fmla="*/ 2555498 h 10479261"/>
                  <a:gd name="T36" fmla="*/ 2370225 w 13103724"/>
                  <a:gd name="T37" fmla="*/ 2466900 h 10479261"/>
                  <a:gd name="T38" fmla="*/ 2377846 w 13103724"/>
                  <a:gd name="T39" fmla="*/ 2324955 h 10479261"/>
                  <a:gd name="T40" fmla="*/ 2454063 w 13103724"/>
                  <a:gd name="T41" fmla="*/ 2147761 h 10479261"/>
                  <a:gd name="T42" fmla="*/ 2550287 w 13103724"/>
                  <a:gd name="T43" fmla="*/ 2046780 h 10479261"/>
                  <a:gd name="T44" fmla="*/ 2727489 w 13103724"/>
                  <a:gd name="T45" fmla="*/ 1942940 h 10479261"/>
                  <a:gd name="T46" fmla="*/ 2885636 w 13103724"/>
                  <a:gd name="T47" fmla="*/ 2026775 h 10479261"/>
                  <a:gd name="T48" fmla="*/ 3164778 w 13103724"/>
                  <a:gd name="T49" fmla="*/ 2145856 h 10479261"/>
                  <a:gd name="T50" fmla="*/ 3450477 w 13103724"/>
                  <a:gd name="T51" fmla="*/ 2203796 h 10479261"/>
                  <a:gd name="T52" fmla="*/ 3451225 w 13103724"/>
                  <a:gd name="T53" fmla="*/ 1928333 h 10479261"/>
                  <a:gd name="T54" fmla="*/ 3260683 w 13103724"/>
                  <a:gd name="T55" fmla="*/ 1567910 h 10479261"/>
                  <a:gd name="T56" fmla="*/ 3182087 w 13103724"/>
                  <a:gd name="T57" fmla="*/ 1211289 h 10479261"/>
                  <a:gd name="T58" fmla="*/ 2804975 w 13103724"/>
                  <a:gd name="T59" fmla="*/ 1066182 h 10479261"/>
                  <a:gd name="T60" fmla="*/ 2749400 w 13103724"/>
                  <a:gd name="T61" fmla="*/ 853422 h 10479261"/>
                  <a:gd name="T62" fmla="*/ 2511225 w 13103724"/>
                  <a:gd name="T63" fmla="*/ 615257 h 10479261"/>
                  <a:gd name="T64" fmla="*/ 2442947 w 13103724"/>
                  <a:gd name="T65" fmla="*/ 336606 h 10479261"/>
                  <a:gd name="T66" fmla="*/ 2352490 w 13103724"/>
                  <a:gd name="T67" fmla="*/ 0 h 10479261"/>
                  <a:gd name="T68" fmla="*/ 420012 w 13103724"/>
                  <a:gd name="T69" fmla="*/ 146051 h 10479261"/>
                  <a:gd name="T70" fmla="*/ 0 w 13103724"/>
                  <a:gd name="T71" fmla="*/ 165957 h 10479261"/>
                  <a:gd name="T72" fmla="*/ 420954 w 13103724"/>
                  <a:gd name="T73" fmla="*/ 1212935 h 10479261"/>
                  <a:gd name="T74" fmla="*/ 391919 w 13103724"/>
                  <a:gd name="T75" fmla="*/ 1419571 h 10479261"/>
                  <a:gd name="T76" fmla="*/ 331583 w 13103724"/>
                  <a:gd name="T77" fmla="*/ 1649571 h 10479261"/>
                  <a:gd name="T78" fmla="*/ 215558 w 13103724"/>
                  <a:gd name="T79" fmla="*/ 1849899 h 1047926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3103724" h="10479261">
                    <a:moveTo>
                      <a:pt x="818438" y="7024103"/>
                    </a:moveTo>
                    <a:lnTo>
                      <a:pt x="1004880" y="7637995"/>
                    </a:lnTo>
                    <a:lnTo>
                      <a:pt x="1289094" y="7985936"/>
                    </a:lnTo>
                    <a:lnTo>
                      <a:pt x="1895417" y="7990235"/>
                    </a:lnTo>
                    <a:lnTo>
                      <a:pt x="2344988" y="8761920"/>
                    </a:lnTo>
                    <a:lnTo>
                      <a:pt x="2404414" y="9542218"/>
                    </a:lnTo>
                    <a:lnTo>
                      <a:pt x="2937013" y="10040601"/>
                    </a:lnTo>
                    <a:lnTo>
                      <a:pt x="3901270" y="10479261"/>
                    </a:lnTo>
                    <a:lnTo>
                      <a:pt x="3993071" y="9913071"/>
                    </a:lnTo>
                    <a:lnTo>
                      <a:pt x="4430767" y="9674335"/>
                    </a:lnTo>
                    <a:lnTo>
                      <a:pt x="4351183" y="9251116"/>
                    </a:lnTo>
                    <a:lnTo>
                      <a:pt x="5718509" y="8983442"/>
                    </a:lnTo>
                    <a:lnTo>
                      <a:pt x="6608347" y="9099194"/>
                    </a:lnTo>
                    <a:lnTo>
                      <a:pt x="7494577" y="9214947"/>
                    </a:lnTo>
                    <a:lnTo>
                      <a:pt x="8022695" y="9551352"/>
                    </a:lnTo>
                    <a:lnTo>
                      <a:pt x="8448500" y="9495222"/>
                    </a:lnTo>
                    <a:lnTo>
                      <a:pt x="8789549" y="9829880"/>
                    </a:lnTo>
                    <a:lnTo>
                      <a:pt x="9201915" y="9703273"/>
                    </a:lnTo>
                    <a:lnTo>
                      <a:pt x="8999347" y="9366869"/>
                    </a:lnTo>
                    <a:lnTo>
                      <a:pt x="9028285" y="8827897"/>
                    </a:lnTo>
                    <a:lnTo>
                      <a:pt x="9317667" y="8155088"/>
                    </a:lnTo>
                    <a:lnTo>
                      <a:pt x="9683010" y="7771661"/>
                    </a:lnTo>
                    <a:lnTo>
                      <a:pt x="10355819" y="7377380"/>
                    </a:lnTo>
                    <a:lnTo>
                      <a:pt x="10956275" y="7695700"/>
                    </a:lnTo>
                    <a:lnTo>
                      <a:pt x="12016134" y="8147857"/>
                    </a:lnTo>
                    <a:lnTo>
                      <a:pt x="13100884" y="8367852"/>
                    </a:lnTo>
                    <a:cubicBezTo>
                      <a:pt x="13101831" y="8019208"/>
                      <a:pt x="13102777" y="7670563"/>
                      <a:pt x="13103724" y="7321919"/>
                    </a:cubicBezTo>
                    <a:lnTo>
                      <a:pt x="12380269" y="5953386"/>
                    </a:lnTo>
                    <a:lnTo>
                      <a:pt x="12081849" y="4599284"/>
                    </a:lnTo>
                    <a:lnTo>
                      <a:pt x="10650016" y="4048312"/>
                    </a:lnTo>
                    <a:lnTo>
                      <a:pt x="10439011" y="3240458"/>
                    </a:lnTo>
                    <a:lnTo>
                      <a:pt x="9534696" y="2336143"/>
                    </a:lnTo>
                    <a:lnTo>
                      <a:pt x="9275460" y="1278099"/>
                    </a:lnTo>
                    <a:lnTo>
                      <a:pt x="8932015" y="0"/>
                    </a:lnTo>
                    <a:lnTo>
                      <a:pt x="1594715" y="554558"/>
                    </a:lnTo>
                    <a:lnTo>
                      <a:pt x="0" y="630142"/>
                    </a:lnTo>
                    <a:lnTo>
                      <a:pt x="1598292" y="4605539"/>
                    </a:lnTo>
                    <a:lnTo>
                      <a:pt x="1488049" y="5390136"/>
                    </a:lnTo>
                    <a:lnTo>
                      <a:pt x="1258963" y="6263454"/>
                    </a:lnTo>
                    <a:lnTo>
                      <a:pt x="818438" y="7024103"/>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3" name="任意多边形 113">
                <a:extLst>
                  <a:ext uri="{FF2B5EF4-FFF2-40B4-BE49-F238E27FC236}">
                    <a16:creationId xmlns:a16="http://schemas.microsoft.com/office/drawing/2014/main" id="{56D0F0CA-2EFC-BB34-C11F-6AA777733070}"/>
                  </a:ext>
                </a:extLst>
              </p:cNvPr>
              <p:cNvSpPr>
                <a:spLocks/>
              </p:cNvSpPr>
              <p:nvPr/>
            </p:nvSpPr>
            <p:spPr bwMode="auto">
              <a:xfrm>
                <a:off x="3578406" y="4457383"/>
                <a:ext cx="830765" cy="1209993"/>
              </a:xfrm>
              <a:custGeom>
                <a:avLst/>
                <a:gdLst>
                  <a:gd name="T0" fmla="*/ 1841986 w 10172266"/>
                  <a:gd name="T1" fmla="*/ 1683352 h 14815417"/>
                  <a:gd name="T2" fmla="*/ 1891073 w 10172266"/>
                  <a:gd name="T3" fmla="*/ 1844973 h 14815417"/>
                  <a:gd name="T4" fmla="*/ 1965899 w 10172266"/>
                  <a:gd name="T5" fmla="*/ 1936575 h 14815417"/>
                  <a:gd name="T6" fmla="*/ 2125529 w 10172266"/>
                  <a:gd name="T7" fmla="*/ 1937708 h 14815417"/>
                  <a:gd name="T8" fmla="*/ 2243890 w 10172266"/>
                  <a:gd name="T9" fmla="*/ 2140870 h 14815417"/>
                  <a:gd name="T10" fmla="*/ 2259535 w 10172266"/>
                  <a:gd name="T11" fmla="*/ 2346301 h 14815417"/>
                  <a:gd name="T12" fmla="*/ 2399756 w 10172266"/>
                  <a:gd name="T13" fmla="*/ 2477512 h 14815417"/>
                  <a:gd name="T14" fmla="*/ 2653621 w 10172266"/>
                  <a:gd name="T15" fmla="*/ 2592998 h 14815417"/>
                  <a:gd name="T16" fmla="*/ 2678112 w 10172266"/>
                  <a:gd name="T17" fmla="*/ 2693443 h 14815417"/>
                  <a:gd name="T18" fmla="*/ 2565419 w 10172266"/>
                  <a:gd name="T19" fmla="*/ 2728360 h 14815417"/>
                  <a:gd name="T20" fmla="*/ 2479707 w 10172266"/>
                  <a:gd name="T21" fmla="*/ 2874385 h 14815417"/>
                  <a:gd name="T22" fmla="*/ 2355905 w 10172266"/>
                  <a:gd name="T23" fmla="*/ 2798198 h 14815417"/>
                  <a:gd name="T24" fmla="*/ 2194007 w 10172266"/>
                  <a:gd name="T25" fmla="*/ 3021994 h 14815417"/>
                  <a:gd name="T26" fmla="*/ 1917831 w 10172266"/>
                  <a:gd name="T27" fmla="*/ 3136271 h 14815417"/>
                  <a:gd name="T28" fmla="*/ 1746412 w 10172266"/>
                  <a:gd name="T29" fmla="*/ 3312451 h 14815417"/>
                  <a:gd name="T30" fmla="*/ 1427378 w 10172266"/>
                  <a:gd name="T31" fmla="*/ 3664810 h 14815417"/>
                  <a:gd name="T32" fmla="*/ 1451188 w 10172266"/>
                  <a:gd name="T33" fmla="*/ 3850512 h 14815417"/>
                  <a:gd name="T34" fmla="*/ 1243325 w 10172266"/>
                  <a:gd name="T35" fmla="*/ 3900487 h 14815417"/>
                  <a:gd name="T36" fmla="*/ 1103584 w 10172266"/>
                  <a:gd name="T37" fmla="*/ 3764805 h 14815417"/>
                  <a:gd name="T38" fmla="*/ 1203582 w 10172266"/>
                  <a:gd name="T39" fmla="*/ 3588625 h 14815417"/>
                  <a:gd name="T40" fmla="*/ 998830 w 10172266"/>
                  <a:gd name="T41" fmla="*/ 3464824 h 14815417"/>
                  <a:gd name="T42" fmla="*/ 379810 w 10172266"/>
                  <a:gd name="T43" fmla="*/ 3493399 h 14815417"/>
                  <a:gd name="T44" fmla="*/ 256009 w 10172266"/>
                  <a:gd name="T45" fmla="*/ 2874383 h 14815417"/>
                  <a:gd name="T46" fmla="*/ 0 w 10172266"/>
                  <a:gd name="T47" fmla="*/ 2870986 h 14815417"/>
                  <a:gd name="T48" fmla="*/ 21025 w 10172266"/>
                  <a:gd name="T49" fmla="*/ 2662512 h 14815417"/>
                  <a:gd name="T50" fmla="*/ 189345 w 10172266"/>
                  <a:gd name="T51" fmla="*/ 2512504 h 14815417"/>
                  <a:gd name="T52" fmla="*/ 379813 w 10172266"/>
                  <a:gd name="T53" fmla="*/ 2369657 h 14815417"/>
                  <a:gd name="T54" fmla="*/ 598850 w 10172266"/>
                  <a:gd name="T55" fmla="*/ 2217285 h 14815417"/>
                  <a:gd name="T56" fmla="*/ 770270 w 10172266"/>
                  <a:gd name="T57" fmla="*/ 2164907 h 14815417"/>
                  <a:gd name="T58" fmla="*/ 967152 w 10172266"/>
                  <a:gd name="T59" fmla="*/ 2010141 h 14815417"/>
                  <a:gd name="T60" fmla="*/ 865501 w 10172266"/>
                  <a:gd name="T61" fmla="*/ 1864925 h 14815417"/>
                  <a:gd name="T62" fmla="*/ 1046447 w 10172266"/>
                  <a:gd name="T63" fmla="*/ 1669700 h 14815417"/>
                  <a:gd name="T64" fmla="*/ 1003590 w 10172266"/>
                  <a:gd name="T65" fmla="*/ 1550660 h 14815417"/>
                  <a:gd name="T66" fmla="*/ 1070254 w 10172266"/>
                  <a:gd name="T67" fmla="*/ 1379243 h 14815417"/>
                  <a:gd name="T68" fmla="*/ 832169 w 10172266"/>
                  <a:gd name="T69" fmla="*/ 1160207 h 14815417"/>
                  <a:gd name="T70" fmla="*/ 813123 w 10172266"/>
                  <a:gd name="T71" fmla="*/ 712616 h 14815417"/>
                  <a:gd name="T72" fmla="*/ 675034 w 10172266"/>
                  <a:gd name="T73" fmla="*/ 455490 h 14815417"/>
                  <a:gd name="T74" fmla="*/ 703605 w 10172266"/>
                  <a:gd name="T75" fmla="*/ 322166 h 14815417"/>
                  <a:gd name="T76" fmla="*/ 732174 w 10172266"/>
                  <a:gd name="T77" fmla="*/ 40437 h 14815417"/>
                  <a:gd name="T78" fmla="*/ 1626512 w 10172266"/>
                  <a:gd name="T79" fmla="*/ 0 h 14815417"/>
                  <a:gd name="T80" fmla="*/ 2047304 w 10172266"/>
                  <a:gd name="T81" fmla="*/ 1046611 h 14815417"/>
                  <a:gd name="T82" fmla="*/ 2018279 w 10172266"/>
                  <a:gd name="T83" fmla="*/ 1253174 h 14815417"/>
                  <a:gd name="T84" fmla="*/ 1957966 w 10172266"/>
                  <a:gd name="T85" fmla="*/ 1483095 h 14815417"/>
                  <a:gd name="T86" fmla="*/ 1841986 w 10172266"/>
                  <a:gd name="T87" fmla="*/ 1683352 h 1481541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0172266" h="14815417">
                    <a:moveTo>
                      <a:pt x="6996414" y="6393961"/>
                    </a:moveTo>
                    <a:lnTo>
                      <a:pt x="7182856" y="7007853"/>
                    </a:lnTo>
                    <a:lnTo>
                      <a:pt x="7467070" y="7355794"/>
                    </a:lnTo>
                    <a:lnTo>
                      <a:pt x="8073393" y="7360093"/>
                    </a:lnTo>
                    <a:lnTo>
                      <a:pt x="8522964" y="8131778"/>
                    </a:lnTo>
                    <a:lnTo>
                      <a:pt x="8582390" y="8912076"/>
                    </a:lnTo>
                    <a:lnTo>
                      <a:pt x="9114989" y="9410459"/>
                    </a:lnTo>
                    <a:lnTo>
                      <a:pt x="10079246" y="9849119"/>
                    </a:lnTo>
                    <a:lnTo>
                      <a:pt x="10172266" y="10230640"/>
                    </a:lnTo>
                    <a:lnTo>
                      <a:pt x="9744224" y="10363269"/>
                    </a:lnTo>
                    <a:lnTo>
                      <a:pt x="9418669" y="10917922"/>
                    </a:lnTo>
                    <a:lnTo>
                      <a:pt x="8948428" y="10628536"/>
                    </a:lnTo>
                    <a:lnTo>
                      <a:pt x="8333495" y="11478594"/>
                    </a:lnTo>
                    <a:lnTo>
                      <a:pt x="7284493" y="11912659"/>
                    </a:lnTo>
                    <a:lnTo>
                      <a:pt x="6633392" y="12581849"/>
                    </a:lnTo>
                    <a:lnTo>
                      <a:pt x="5421607" y="13920232"/>
                    </a:lnTo>
                    <a:lnTo>
                      <a:pt x="5512045" y="14625598"/>
                    </a:lnTo>
                    <a:lnTo>
                      <a:pt x="4722518" y="14815417"/>
                    </a:lnTo>
                    <a:lnTo>
                      <a:pt x="4191742" y="14300055"/>
                    </a:lnTo>
                    <a:lnTo>
                      <a:pt x="4571561" y="13630861"/>
                    </a:lnTo>
                    <a:lnTo>
                      <a:pt x="3793853" y="13160620"/>
                    </a:lnTo>
                    <a:lnTo>
                      <a:pt x="1442633" y="13269153"/>
                    </a:lnTo>
                    <a:lnTo>
                      <a:pt x="972399" y="10917914"/>
                    </a:lnTo>
                    <a:lnTo>
                      <a:pt x="0" y="10905013"/>
                    </a:lnTo>
                    <a:lnTo>
                      <a:pt x="79861" y="10113155"/>
                    </a:lnTo>
                    <a:lnTo>
                      <a:pt x="719190" y="9543373"/>
                    </a:lnTo>
                    <a:lnTo>
                      <a:pt x="1442641" y="9000786"/>
                    </a:lnTo>
                    <a:lnTo>
                      <a:pt x="2274610" y="8422026"/>
                    </a:lnTo>
                    <a:lnTo>
                      <a:pt x="2925715" y="8223078"/>
                    </a:lnTo>
                    <a:lnTo>
                      <a:pt x="3673532" y="7635222"/>
                    </a:lnTo>
                    <a:lnTo>
                      <a:pt x="3287431" y="7083642"/>
                    </a:lnTo>
                    <a:lnTo>
                      <a:pt x="3974717" y="6342107"/>
                    </a:lnTo>
                    <a:lnTo>
                      <a:pt x="3811934" y="5889950"/>
                    </a:lnTo>
                    <a:lnTo>
                      <a:pt x="4065143" y="5238848"/>
                    </a:lnTo>
                    <a:lnTo>
                      <a:pt x="3160825" y="4406875"/>
                    </a:lnTo>
                    <a:lnTo>
                      <a:pt x="3088483" y="2706765"/>
                    </a:lnTo>
                    <a:lnTo>
                      <a:pt x="2563980" y="1730112"/>
                    </a:lnTo>
                    <a:lnTo>
                      <a:pt x="2672502" y="1223698"/>
                    </a:lnTo>
                    <a:lnTo>
                      <a:pt x="2781017" y="153593"/>
                    </a:lnTo>
                    <a:lnTo>
                      <a:pt x="6177976" y="0"/>
                    </a:lnTo>
                    <a:lnTo>
                      <a:pt x="7776268" y="3975397"/>
                    </a:lnTo>
                    <a:lnTo>
                      <a:pt x="7666025" y="4759994"/>
                    </a:lnTo>
                    <a:lnTo>
                      <a:pt x="7436939" y="5633312"/>
                    </a:lnTo>
                    <a:lnTo>
                      <a:pt x="6996414" y="6393961"/>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4" name="任意多边形 114">
                <a:extLst>
                  <a:ext uri="{FF2B5EF4-FFF2-40B4-BE49-F238E27FC236}">
                    <a16:creationId xmlns:a16="http://schemas.microsoft.com/office/drawing/2014/main" id="{E7D35882-D881-99BD-BF8F-A520A332374F}"/>
                  </a:ext>
                </a:extLst>
              </p:cNvPr>
              <p:cNvSpPr>
                <a:spLocks/>
              </p:cNvSpPr>
              <p:nvPr/>
            </p:nvSpPr>
            <p:spPr bwMode="auto">
              <a:xfrm>
                <a:off x="4812333" y="4036060"/>
                <a:ext cx="1400587" cy="1052195"/>
              </a:xfrm>
              <a:custGeom>
                <a:avLst/>
                <a:gdLst/>
                <a:ahLst/>
                <a:cxnLst/>
                <a:rect l="0" t="0" r="r" b="b"/>
                <a:pathLst>
                  <a:path w="17157070" h="12886678">
                    <a:moveTo>
                      <a:pt x="0" y="4521645"/>
                    </a:moveTo>
                    <a:lnTo>
                      <a:pt x="613837" y="6900003"/>
                    </a:lnTo>
                    <a:lnTo>
                      <a:pt x="1518338" y="7768153"/>
                    </a:lnTo>
                    <a:lnTo>
                      <a:pt x="1735898" y="8600077"/>
                    </a:lnTo>
                    <a:lnTo>
                      <a:pt x="3137400" y="9124637"/>
                    </a:lnTo>
                    <a:lnTo>
                      <a:pt x="3453963" y="10481128"/>
                    </a:lnTo>
                    <a:lnTo>
                      <a:pt x="4168520" y="11855697"/>
                    </a:lnTo>
                    <a:lnTo>
                      <a:pt x="4162343" y="12886678"/>
                    </a:lnTo>
                    <a:lnTo>
                      <a:pt x="4605215" y="12802514"/>
                    </a:lnTo>
                    <a:lnTo>
                      <a:pt x="4840336" y="12513132"/>
                    </a:lnTo>
                    <a:lnTo>
                      <a:pt x="6070201" y="12531224"/>
                    </a:lnTo>
                    <a:lnTo>
                      <a:pt x="6884082" y="11934372"/>
                    </a:lnTo>
                    <a:lnTo>
                      <a:pt x="7716051" y="12259931"/>
                    </a:lnTo>
                    <a:lnTo>
                      <a:pt x="8584189" y="12060979"/>
                    </a:lnTo>
                    <a:lnTo>
                      <a:pt x="9289552" y="12259931"/>
                    </a:lnTo>
                    <a:lnTo>
                      <a:pt x="10139605" y="11862031"/>
                    </a:lnTo>
                    <a:lnTo>
                      <a:pt x="10664108" y="12079067"/>
                    </a:lnTo>
                    <a:lnTo>
                      <a:pt x="11387555" y="11988637"/>
                    </a:lnTo>
                    <a:lnTo>
                      <a:pt x="11966315" y="12712092"/>
                    </a:lnTo>
                    <a:lnTo>
                      <a:pt x="12942975" y="12476963"/>
                    </a:lnTo>
                    <a:lnTo>
                      <a:pt x="13575992" y="12874863"/>
                    </a:lnTo>
                    <a:lnTo>
                      <a:pt x="13973888" y="12784430"/>
                    </a:lnTo>
                    <a:lnTo>
                      <a:pt x="14028146" y="12241839"/>
                    </a:lnTo>
                    <a:lnTo>
                      <a:pt x="13594073" y="12187582"/>
                    </a:lnTo>
                    <a:lnTo>
                      <a:pt x="13612161" y="11500303"/>
                    </a:lnTo>
                    <a:lnTo>
                      <a:pt x="14190925" y="11355616"/>
                    </a:lnTo>
                    <a:lnTo>
                      <a:pt x="13865366" y="10885371"/>
                    </a:lnTo>
                    <a:lnTo>
                      <a:pt x="14136664" y="10487475"/>
                    </a:lnTo>
                    <a:lnTo>
                      <a:pt x="14703435" y="10514571"/>
                    </a:lnTo>
                    <a:lnTo>
                      <a:pt x="14661163" y="10342787"/>
                    </a:lnTo>
                    <a:lnTo>
                      <a:pt x="14335608" y="10180012"/>
                    </a:lnTo>
                    <a:lnTo>
                      <a:pt x="14498387" y="9601248"/>
                    </a:lnTo>
                    <a:lnTo>
                      <a:pt x="13847278" y="8696934"/>
                    </a:lnTo>
                    <a:lnTo>
                      <a:pt x="13340864" y="7991571"/>
                    </a:lnTo>
                    <a:lnTo>
                      <a:pt x="13123831" y="6906393"/>
                    </a:lnTo>
                    <a:lnTo>
                      <a:pt x="13232349" y="6219119"/>
                    </a:lnTo>
                    <a:lnTo>
                      <a:pt x="12273778" y="6252280"/>
                    </a:lnTo>
                    <a:lnTo>
                      <a:pt x="12201432" y="5854380"/>
                    </a:lnTo>
                    <a:lnTo>
                      <a:pt x="12508887" y="5350985"/>
                    </a:lnTo>
                    <a:lnTo>
                      <a:pt x="13774933" y="4573269"/>
                    </a:lnTo>
                    <a:lnTo>
                      <a:pt x="15294184" y="4066854"/>
                    </a:lnTo>
                    <a:lnTo>
                      <a:pt x="15746333" y="4392409"/>
                    </a:lnTo>
                    <a:lnTo>
                      <a:pt x="16578306" y="4103027"/>
                    </a:lnTo>
                    <a:lnTo>
                      <a:pt x="17084732" y="4500935"/>
                    </a:lnTo>
                    <a:lnTo>
                      <a:pt x="17157070" y="3560444"/>
                    </a:lnTo>
                    <a:lnTo>
                      <a:pt x="16433615" y="3470014"/>
                    </a:lnTo>
                    <a:lnTo>
                      <a:pt x="16415865" y="2853862"/>
                    </a:lnTo>
                    <a:lnTo>
                      <a:pt x="15963191" y="2993318"/>
                    </a:lnTo>
                    <a:lnTo>
                      <a:pt x="14923009" y="1763435"/>
                    </a:lnTo>
                    <a:lnTo>
                      <a:pt x="14244644" y="325540"/>
                    </a:lnTo>
                    <a:lnTo>
                      <a:pt x="13367278" y="614945"/>
                    </a:lnTo>
                    <a:lnTo>
                      <a:pt x="12218563" y="623988"/>
                    </a:lnTo>
                    <a:lnTo>
                      <a:pt x="11323109" y="36169"/>
                    </a:lnTo>
                    <a:lnTo>
                      <a:pt x="10780410" y="488337"/>
                    </a:lnTo>
                    <a:lnTo>
                      <a:pt x="10038717" y="687288"/>
                    </a:lnTo>
                    <a:lnTo>
                      <a:pt x="9622651" y="81389"/>
                    </a:lnTo>
                    <a:lnTo>
                      <a:pt x="8672925" y="280344"/>
                    </a:lnTo>
                    <a:lnTo>
                      <a:pt x="7759379" y="0"/>
                    </a:lnTo>
                    <a:lnTo>
                      <a:pt x="6729494" y="443189"/>
                    </a:lnTo>
                    <a:lnTo>
                      <a:pt x="6493079" y="1012843"/>
                    </a:lnTo>
                    <a:lnTo>
                      <a:pt x="6710175" y="2161345"/>
                    </a:lnTo>
                    <a:lnTo>
                      <a:pt x="5290099" y="2134207"/>
                    </a:lnTo>
                    <a:lnTo>
                      <a:pt x="2314296" y="2369327"/>
                    </a:lnTo>
                    <a:lnTo>
                      <a:pt x="1334589" y="3174199"/>
                    </a:lnTo>
                    <a:lnTo>
                      <a:pt x="0" y="4521645"/>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5" name="任意多边形 115">
                <a:extLst>
                  <a:ext uri="{FF2B5EF4-FFF2-40B4-BE49-F238E27FC236}">
                    <a16:creationId xmlns:a16="http://schemas.microsoft.com/office/drawing/2014/main" id="{E0296CFA-EFF0-F8B5-9177-912B7080DA3D}"/>
                  </a:ext>
                </a:extLst>
              </p:cNvPr>
              <p:cNvSpPr>
                <a:spLocks/>
              </p:cNvSpPr>
              <p:nvPr/>
            </p:nvSpPr>
            <p:spPr bwMode="auto">
              <a:xfrm>
                <a:off x="1061349" y="4204335"/>
                <a:ext cx="1065678" cy="1160145"/>
              </a:xfrm>
              <a:custGeom>
                <a:avLst/>
                <a:gdLst>
                  <a:gd name="T0" fmla="*/ 610215 w 2165"/>
                  <a:gd name="T1" fmla="*/ 867849 h 2356"/>
                  <a:gd name="T2" fmla="*/ 666918 w 2165"/>
                  <a:gd name="T3" fmla="*/ 1036045 h 2356"/>
                  <a:gd name="T4" fmla="*/ 466843 w 2165"/>
                  <a:gd name="T5" fmla="*/ 978906 h 2356"/>
                  <a:gd name="T6" fmla="*/ 414444 w 2165"/>
                  <a:gd name="T7" fmla="*/ 874947 h 2356"/>
                  <a:gd name="T8" fmla="*/ 85749 w 2165"/>
                  <a:gd name="T9" fmla="*/ 789239 h 2356"/>
                  <a:gd name="T10" fmla="*/ 4766 w 2165"/>
                  <a:gd name="T11" fmla="*/ 826537 h 2356"/>
                  <a:gd name="T12" fmla="*/ 0 w 2165"/>
                  <a:gd name="T13" fmla="*/ 1017789 h 2356"/>
                  <a:gd name="T14" fmla="*/ 238190 w 2165"/>
                  <a:gd name="T15" fmla="*/ 1117782 h 2356"/>
                  <a:gd name="T16" fmla="*/ 257243 w 2165"/>
                  <a:gd name="T17" fmla="*/ 1370144 h 2356"/>
                  <a:gd name="T18" fmla="*/ 357280 w 2165"/>
                  <a:gd name="T19" fmla="*/ 1670119 h 2356"/>
                  <a:gd name="T20" fmla="*/ 400154 w 2165"/>
                  <a:gd name="T21" fmla="*/ 1812965 h 2356"/>
                  <a:gd name="T22" fmla="*/ 292304 w 2165"/>
                  <a:gd name="T23" fmla="*/ 1996277 h 2356"/>
                  <a:gd name="T24" fmla="*/ 540015 w 2165"/>
                  <a:gd name="T25" fmla="*/ 1981991 h 2356"/>
                  <a:gd name="T26" fmla="*/ 614518 w 2165"/>
                  <a:gd name="T27" fmla="*/ 2265306 h 2356"/>
                  <a:gd name="T28" fmla="*/ 766956 w 2165"/>
                  <a:gd name="T29" fmla="*/ 2274830 h 2356"/>
                  <a:gd name="T30" fmla="*/ 952739 w 2165"/>
                  <a:gd name="T31" fmla="*/ 2365299 h 2356"/>
                  <a:gd name="T32" fmla="*/ 1009903 w 2165"/>
                  <a:gd name="T33" fmla="*/ 2503384 h 2356"/>
                  <a:gd name="T34" fmla="*/ 771718 w 2165"/>
                  <a:gd name="T35" fmla="*/ 2831929 h 2356"/>
                  <a:gd name="T36" fmla="*/ 770098 w 2165"/>
                  <a:gd name="T37" fmla="*/ 3077228 h 2356"/>
                  <a:gd name="T38" fmla="*/ 1194094 w 2165"/>
                  <a:gd name="T39" fmla="*/ 2879544 h 2356"/>
                  <a:gd name="T40" fmla="*/ 1513260 w 2165"/>
                  <a:gd name="T41" fmla="*/ 2849389 h 2356"/>
                  <a:gd name="T42" fmla="*/ 1757794 w 2165"/>
                  <a:gd name="T43" fmla="*/ 2855736 h 2356"/>
                  <a:gd name="T44" fmla="*/ 2142066 w 2165"/>
                  <a:gd name="T45" fmla="*/ 3169997 h 2356"/>
                  <a:gd name="T46" fmla="*/ 2100779 w 2165"/>
                  <a:gd name="T47" fmla="*/ 3354108 h 2356"/>
                  <a:gd name="T48" fmla="*/ 2370719 w 2165"/>
                  <a:gd name="T49" fmla="*/ 3739792 h 2356"/>
                  <a:gd name="T50" fmla="*/ 2608902 w 2165"/>
                  <a:gd name="T51" fmla="*/ 3731869 h 2356"/>
                  <a:gd name="T52" fmla="*/ 2959820 w 2165"/>
                  <a:gd name="T53" fmla="*/ 1113016 h 2356"/>
                  <a:gd name="T54" fmla="*/ 3436938 w 2165"/>
                  <a:gd name="T55" fmla="*/ 1033503 h 2356"/>
                  <a:gd name="T56" fmla="*/ 3340126 w 2165"/>
                  <a:gd name="T57" fmla="*/ 413238 h 2356"/>
                  <a:gd name="T58" fmla="*/ 3090563 w 2165"/>
                  <a:gd name="T59" fmla="*/ 300724 h 2356"/>
                  <a:gd name="T60" fmla="*/ 2745757 w 2165"/>
                  <a:gd name="T61" fmla="*/ 0 h 2356"/>
                  <a:gd name="T62" fmla="*/ 2639556 w 2165"/>
                  <a:gd name="T63" fmla="*/ 131187 h 2356"/>
                  <a:gd name="T64" fmla="*/ 2503712 w 2165"/>
                  <a:gd name="T65" fmla="*/ 20629 h 2356"/>
                  <a:gd name="T66" fmla="*/ 2292074 w 2165"/>
                  <a:gd name="T67" fmla="*/ 23075 h 2356"/>
                  <a:gd name="T68" fmla="*/ 2214906 w 2165"/>
                  <a:gd name="T69" fmla="*/ 89622 h 2356"/>
                  <a:gd name="T70" fmla="*/ 2071192 w 2165"/>
                  <a:gd name="T71" fmla="*/ 30409 h 2356"/>
                  <a:gd name="T72" fmla="*/ 1918768 w 2165"/>
                  <a:gd name="T73" fmla="*/ 113536 h 2356"/>
                  <a:gd name="T74" fmla="*/ 1729255 w 2165"/>
                  <a:gd name="T75" fmla="*/ 88595 h 2356"/>
                  <a:gd name="T76" fmla="*/ 1648230 w 2165"/>
                  <a:gd name="T77" fmla="*/ 246426 h 2356"/>
                  <a:gd name="T78" fmla="*/ 1572011 w 2165"/>
                  <a:gd name="T79" fmla="*/ 351179 h 2356"/>
                  <a:gd name="T80" fmla="*/ 1643466 w 2165"/>
                  <a:gd name="T81" fmla="*/ 551163 h 2356"/>
                  <a:gd name="T82" fmla="*/ 1786377 w 2165"/>
                  <a:gd name="T83" fmla="*/ 617826 h 2356"/>
                  <a:gd name="T84" fmla="*/ 1938814 w 2165"/>
                  <a:gd name="T85" fmla="*/ 646395 h 2356"/>
                  <a:gd name="T86" fmla="*/ 2053143 w 2165"/>
                  <a:gd name="T87" fmla="*/ 551163 h 2356"/>
                  <a:gd name="T88" fmla="*/ 2157943 w 2165"/>
                  <a:gd name="T89" fmla="*/ 598778 h 2356"/>
                  <a:gd name="T90" fmla="*/ 2096015 w 2165"/>
                  <a:gd name="T91" fmla="*/ 722579 h 2356"/>
                  <a:gd name="T92" fmla="*/ 2191292 w 2165"/>
                  <a:gd name="T93" fmla="*/ 913044 h 2356"/>
                  <a:gd name="T94" fmla="*/ 1914995 w 2165"/>
                  <a:gd name="T95" fmla="*/ 979701 h 2356"/>
                  <a:gd name="T96" fmla="*/ 1891177 w 2165"/>
                  <a:gd name="T97" fmla="*/ 889232 h 2356"/>
                  <a:gd name="T98" fmla="*/ 2091252 w 2165"/>
                  <a:gd name="T99" fmla="*/ 803524 h 2356"/>
                  <a:gd name="T100" fmla="*/ 2015033 w 2165"/>
                  <a:gd name="T101" fmla="*/ 722578 h 2356"/>
                  <a:gd name="T102" fmla="*/ 1867359 w 2165"/>
                  <a:gd name="T103" fmla="*/ 736863 h 2356"/>
                  <a:gd name="T104" fmla="*/ 1714924 w 2165"/>
                  <a:gd name="T105" fmla="*/ 703536 h 2356"/>
                  <a:gd name="T106" fmla="*/ 1471977 w 2165"/>
                  <a:gd name="T107" fmla="*/ 608304 h 2356"/>
                  <a:gd name="T108" fmla="*/ 981317 w 2165"/>
                  <a:gd name="T109" fmla="*/ 398796 h 2356"/>
                  <a:gd name="T110" fmla="*/ 833647 w 2165"/>
                  <a:gd name="T111" fmla="*/ 422604 h 2356"/>
                  <a:gd name="T112" fmla="*/ 666918 w 2165"/>
                  <a:gd name="T113" fmla="*/ 408318 h 2356"/>
                  <a:gd name="T114" fmla="*/ 590700 w 2165"/>
                  <a:gd name="T115" fmla="*/ 608302 h 2356"/>
                  <a:gd name="T116" fmla="*/ 409678 w 2165"/>
                  <a:gd name="T117" fmla="*/ 679724 h 2356"/>
                  <a:gd name="T118" fmla="*/ 610215 w 2165"/>
                  <a:gd name="T119" fmla="*/ 867849 h 23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165" h="2356">
                    <a:moveTo>
                      <a:pt x="384" y="547"/>
                    </a:moveTo>
                    <a:lnTo>
                      <a:pt x="420" y="653"/>
                    </a:lnTo>
                    <a:lnTo>
                      <a:pt x="294" y="617"/>
                    </a:lnTo>
                    <a:lnTo>
                      <a:pt x="261" y="551"/>
                    </a:lnTo>
                    <a:lnTo>
                      <a:pt x="54" y="497"/>
                    </a:lnTo>
                    <a:lnTo>
                      <a:pt x="3" y="521"/>
                    </a:lnTo>
                    <a:lnTo>
                      <a:pt x="0" y="641"/>
                    </a:lnTo>
                    <a:lnTo>
                      <a:pt x="150" y="704"/>
                    </a:lnTo>
                    <a:lnTo>
                      <a:pt x="162" y="863"/>
                    </a:lnTo>
                    <a:lnTo>
                      <a:pt x="225" y="1052"/>
                    </a:lnTo>
                    <a:lnTo>
                      <a:pt x="252" y="1142"/>
                    </a:lnTo>
                    <a:lnTo>
                      <a:pt x="184" y="1258"/>
                    </a:lnTo>
                    <a:lnTo>
                      <a:pt x="340" y="1249"/>
                    </a:lnTo>
                    <a:lnTo>
                      <a:pt x="387" y="1427"/>
                    </a:lnTo>
                    <a:lnTo>
                      <a:pt x="483" y="1433"/>
                    </a:lnTo>
                    <a:lnTo>
                      <a:pt x="600" y="1490"/>
                    </a:lnTo>
                    <a:lnTo>
                      <a:pt x="636" y="1577"/>
                    </a:lnTo>
                    <a:lnTo>
                      <a:pt x="486" y="1784"/>
                    </a:lnTo>
                    <a:cubicBezTo>
                      <a:pt x="486" y="1836"/>
                      <a:pt x="485" y="1887"/>
                      <a:pt x="485" y="1939"/>
                    </a:cubicBezTo>
                    <a:lnTo>
                      <a:pt x="752" y="1814"/>
                    </a:lnTo>
                    <a:lnTo>
                      <a:pt x="953" y="1795"/>
                    </a:lnTo>
                    <a:lnTo>
                      <a:pt x="1107" y="1799"/>
                    </a:lnTo>
                    <a:lnTo>
                      <a:pt x="1349" y="1997"/>
                    </a:lnTo>
                    <a:lnTo>
                      <a:pt x="1323" y="2113"/>
                    </a:lnTo>
                    <a:lnTo>
                      <a:pt x="1493" y="2356"/>
                    </a:lnTo>
                    <a:lnTo>
                      <a:pt x="1643" y="2351"/>
                    </a:lnTo>
                    <a:lnTo>
                      <a:pt x="1864" y="701"/>
                    </a:lnTo>
                    <a:lnTo>
                      <a:pt x="2165" y="651"/>
                    </a:lnTo>
                    <a:lnTo>
                      <a:pt x="2104" y="260"/>
                    </a:lnTo>
                    <a:lnTo>
                      <a:pt x="1947" y="189"/>
                    </a:lnTo>
                    <a:lnTo>
                      <a:pt x="1730" y="0"/>
                    </a:lnTo>
                    <a:lnTo>
                      <a:pt x="1663" y="83"/>
                    </a:lnTo>
                    <a:lnTo>
                      <a:pt x="1577" y="13"/>
                    </a:lnTo>
                    <a:lnTo>
                      <a:pt x="1444" y="15"/>
                    </a:lnTo>
                    <a:lnTo>
                      <a:pt x="1395" y="56"/>
                    </a:lnTo>
                    <a:lnTo>
                      <a:pt x="1305" y="19"/>
                    </a:lnTo>
                    <a:lnTo>
                      <a:pt x="1209" y="72"/>
                    </a:lnTo>
                    <a:lnTo>
                      <a:pt x="1089" y="56"/>
                    </a:lnTo>
                    <a:lnTo>
                      <a:pt x="1038" y="155"/>
                    </a:lnTo>
                    <a:lnTo>
                      <a:pt x="990" y="221"/>
                    </a:lnTo>
                    <a:lnTo>
                      <a:pt x="1035" y="347"/>
                    </a:lnTo>
                    <a:lnTo>
                      <a:pt x="1125" y="389"/>
                    </a:lnTo>
                    <a:lnTo>
                      <a:pt x="1221" y="407"/>
                    </a:lnTo>
                    <a:lnTo>
                      <a:pt x="1293" y="347"/>
                    </a:lnTo>
                    <a:lnTo>
                      <a:pt x="1359" y="377"/>
                    </a:lnTo>
                    <a:lnTo>
                      <a:pt x="1320" y="455"/>
                    </a:lnTo>
                    <a:lnTo>
                      <a:pt x="1380" y="575"/>
                    </a:lnTo>
                    <a:lnTo>
                      <a:pt x="1206" y="617"/>
                    </a:lnTo>
                    <a:lnTo>
                      <a:pt x="1191" y="560"/>
                    </a:lnTo>
                    <a:lnTo>
                      <a:pt x="1317" y="506"/>
                    </a:lnTo>
                    <a:lnTo>
                      <a:pt x="1269" y="455"/>
                    </a:lnTo>
                    <a:lnTo>
                      <a:pt x="1176" y="464"/>
                    </a:lnTo>
                    <a:lnTo>
                      <a:pt x="1080" y="443"/>
                    </a:lnTo>
                    <a:lnTo>
                      <a:pt x="927" y="383"/>
                    </a:lnTo>
                    <a:lnTo>
                      <a:pt x="618" y="251"/>
                    </a:lnTo>
                    <a:lnTo>
                      <a:pt x="525" y="266"/>
                    </a:lnTo>
                    <a:lnTo>
                      <a:pt x="420" y="257"/>
                    </a:lnTo>
                    <a:lnTo>
                      <a:pt x="372" y="383"/>
                    </a:lnTo>
                    <a:lnTo>
                      <a:pt x="258" y="428"/>
                    </a:lnTo>
                    <a:lnTo>
                      <a:pt x="384" y="547"/>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6" name="任意多边形 116">
                <a:extLst>
                  <a:ext uri="{FF2B5EF4-FFF2-40B4-BE49-F238E27FC236}">
                    <a16:creationId xmlns:a16="http://schemas.microsoft.com/office/drawing/2014/main" id="{7C6779A7-4321-86EC-BA37-306BDCEAFE06}"/>
                  </a:ext>
                </a:extLst>
              </p:cNvPr>
              <p:cNvSpPr>
                <a:spLocks/>
              </p:cNvSpPr>
              <p:nvPr/>
            </p:nvSpPr>
            <p:spPr bwMode="auto">
              <a:xfrm>
                <a:off x="2488602" y="4070985"/>
                <a:ext cx="1421222" cy="1212215"/>
              </a:xfrm>
              <a:custGeom>
                <a:avLst/>
                <a:gdLst>
                  <a:gd name="T0" fmla="*/ 1155932 w 4477"/>
                  <a:gd name="T1" fmla="*/ 0 h 3818"/>
                  <a:gd name="T2" fmla="*/ 0 w 4477"/>
                  <a:gd name="T3" fmla="*/ 497666 h 3818"/>
                  <a:gd name="T4" fmla="*/ 1209770 w 4477"/>
                  <a:gd name="T5" fmla="*/ 1447800 h 3818"/>
                  <a:gd name="T6" fmla="*/ 1235166 w 4477"/>
                  <a:gd name="T7" fmla="*/ 1633535 h 3818"/>
                  <a:gd name="T8" fmla="*/ 1676486 w 4477"/>
                  <a:gd name="T9" fmla="*/ 2171696 h 3818"/>
                  <a:gd name="T10" fmla="*/ 2024148 w 4477"/>
                  <a:gd name="T11" fmla="*/ 2098668 h 3818"/>
                  <a:gd name="T12" fmla="*/ 2286081 w 4477"/>
                  <a:gd name="T13" fmla="*/ 2044692 h 3818"/>
                  <a:gd name="T14" fmla="*/ 2448006 w 4477"/>
                  <a:gd name="T15" fmla="*/ 2141530 h 3818"/>
                  <a:gd name="T16" fmla="*/ 2670254 w 4477"/>
                  <a:gd name="T17" fmla="*/ 2130416 h 3818"/>
                  <a:gd name="T18" fmla="*/ 2929015 w 4477"/>
                  <a:gd name="T19" fmla="*/ 2197092 h 3818"/>
                  <a:gd name="T20" fmla="*/ 3175077 w 4477"/>
                  <a:gd name="T21" fmla="*/ 2024055 h 3818"/>
                  <a:gd name="T22" fmla="*/ 3352877 w 4477"/>
                  <a:gd name="T23" fmla="*/ 2262181 h 3818"/>
                  <a:gd name="T24" fmla="*/ 3532265 w 4477"/>
                  <a:gd name="T25" fmla="*/ 2341555 h 3818"/>
                  <a:gd name="T26" fmla="*/ 3630687 w 4477"/>
                  <a:gd name="T27" fmla="*/ 2687631 h 3818"/>
                  <a:gd name="T28" fmla="*/ 3833889 w 4477"/>
                  <a:gd name="T29" fmla="*/ 2617778 h 3818"/>
                  <a:gd name="T30" fmla="*/ 3797351 w 4477"/>
                  <a:gd name="T31" fmla="*/ 3075550 h 3818"/>
                  <a:gd name="T32" fmla="*/ 4318074 w 4477"/>
                  <a:gd name="T33" fmla="*/ 2492368 h 3818"/>
                  <a:gd name="T34" fmla="*/ 3921210 w 4477"/>
                  <a:gd name="T35" fmla="*/ 695326 h 3818"/>
                  <a:gd name="T36" fmla="*/ 1186022 w 4477"/>
                  <a:gd name="T37" fmla="*/ 0 h 3818"/>
                  <a:gd name="T38" fmla="*/ 1155932 w 4477"/>
                  <a:gd name="T39" fmla="*/ 0 h 38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477" h="3818">
                    <a:moveTo>
                      <a:pt x="680" y="448"/>
                    </a:moveTo>
                    <a:lnTo>
                      <a:pt x="616" y="552"/>
                    </a:lnTo>
                    <a:lnTo>
                      <a:pt x="528" y="592"/>
                    </a:lnTo>
                    <a:lnTo>
                      <a:pt x="197" y="797"/>
                    </a:lnTo>
                    <a:lnTo>
                      <a:pt x="41" y="928"/>
                    </a:lnTo>
                    <a:lnTo>
                      <a:pt x="0" y="1032"/>
                    </a:lnTo>
                    <a:lnTo>
                      <a:pt x="120" y="1024"/>
                    </a:lnTo>
                    <a:lnTo>
                      <a:pt x="176" y="1056"/>
                    </a:lnTo>
                    <a:lnTo>
                      <a:pt x="152" y="1112"/>
                    </a:lnTo>
                    <a:lnTo>
                      <a:pt x="120" y="1184"/>
                    </a:lnTo>
                    <a:lnTo>
                      <a:pt x="240" y="1128"/>
                    </a:lnTo>
                    <a:lnTo>
                      <a:pt x="224" y="1008"/>
                    </a:lnTo>
                    <a:lnTo>
                      <a:pt x="272" y="920"/>
                    </a:lnTo>
                    <a:lnTo>
                      <a:pt x="232" y="800"/>
                    </a:lnTo>
                    <a:lnTo>
                      <a:pt x="336" y="824"/>
                    </a:lnTo>
                    <a:lnTo>
                      <a:pt x="392" y="864"/>
                    </a:lnTo>
                    <a:lnTo>
                      <a:pt x="400" y="984"/>
                    </a:lnTo>
                    <a:lnTo>
                      <a:pt x="488" y="936"/>
                    </a:lnTo>
                    <a:lnTo>
                      <a:pt x="560" y="936"/>
                    </a:lnTo>
                    <a:lnTo>
                      <a:pt x="632" y="968"/>
                    </a:lnTo>
                    <a:lnTo>
                      <a:pt x="696" y="960"/>
                    </a:lnTo>
                    <a:lnTo>
                      <a:pt x="776" y="984"/>
                    </a:lnTo>
                    <a:lnTo>
                      <a:pt x="832" y="984"/>
                    </a:lnTo>
                    <a:lnTo>
                      <a:pt x="816" y="912"/>
                    </a:lnTo>
                    <a:lnTo>
                      <a:pt x="656" y="904"/>
                    </a:lnTo>
                    <a:lnTo>
                      <a:pt x="552" y="888"/>
                    </a:lnTo>
                    <a:lnTo>
                      <a:pt x="512" y="800"/>
                    </a:lnTo>
                    <a:lnTo>
                      <a:pt x="480" y="760"/>
                    </a:lnTo>
                    <a:lnTo>
                      <a:pt x="456" y="704"/>
                    </a:lnTo>
                    <a:lnTo>
                      <a:pt x="520" y="640"/>
                    </a:lnTo>
                    <a:lnTo>
                      <a:pt x="648" y="600"/>
                    </a:lnTo>
                    <a:lnTo>
                      <a:pt x="768" y="648"/>
                    </a:lnTo>
                    <a:lnTo>
                      <a:pt x="832" y="680"/>
                    </a:lnTo>
                    <a:lnTo>
                      <a:pt x="816" y="616"/>
                    </a:lnTo>
                    <a:lnTo>
                      <a:pt x="760" y="552"/>
                    </a:lnTo>
                    <a:lnTo>
                      <a:pt x="864" y="552"/>
                    </a:lnTo>
                    <a:lnTo>
                      <a:pt x="920" y="608"/>
                    </a:lnTo>
                    <a:lnTo>
                      <a:pt x="912" y="680"/>
                    </a:lnTo>
                    <a:lnTo>
                      <a:pt x="952" y="720"/>
                    </a:lnTo>
                    <a:lnTo>
                      <a:pt x="1024" y="752"/>
                    </a:lnTo>
                    <a:lnTo>
                      <a:pt x="1080" y="720"/>
                    </a:lnTo>
                    <a:lnTo>
                      <a:pt x="1096" y="640"/>
                    </a:lnTo>
                    <a:lnTo>
                      <a:pt x="1184" y="584"/>
                    </a:lnTo>
                    <a:lnTo>
                      <a:pt x="1256" y="560"/>
                    </a:lnTo>
                    <a:lnTo>
                      <a:pt x="1360" y="616"/>
                    </a:lnTo>
                    <a:lnTo>
                      <a:pt x="1288" y="704"/>
                    </a:lnTo>
                    <a:lnTo>
                      <a:pt x="1200" y="784"/>
                    </a:lnTo>
                    <a:lnTo>
                      <a:pt x="1120" y="888"/>
                    </a:lnTo>
                    <a:lnTo>
                      <a:pt x="1048" y="1016"/>
                    </a:lnTo>
                    <a:lnTo>
                      <a:pt x="960" y="1000"/>
                    </a:lnTo>
                    <a:lnTo>
                      <a:pt x="920" y="1056"/>
                    </a:lnTo>
                    <a:lnTo>
                      <a:pt x="984" y="1128"/>
                    </a:lnTo>
                    <a:lnTo>
                      <a:pt x="992" y="1192"/>
                    </a:lnTo>
                    <a:lnTo>
                      <a:pt x="928" y="1264"/>
                    </a:lnTo>
                    <a:lnTo>
                      <a:pt x="896" y="1368"/>
                    </a:lnTo>
                    <a:lnTo>
                      <a:pt x="1008" y="1312"/>
                    </a:lnTo>
                    <a:lnTo>
                      <a:pt x="1080" y="1384"/>
                    </a:lnTo>
                    <a:lnTo>
                      <a:pt x="1040" y="1472"/>
                    </a:lnTo>
                    <a:lnTo>
                      <a:pt x="1144" y="1568"/>
                    </a:lnTo>
                    <a:lnTo>
                      <a:pt x="1176" y="1648"/>
                    </a:lnTo>
                    <a:lnTo>
                      <a:pt x="1208" y="1696"/>
                    </a:lnTo>
                    <a:lnTo>
                      <a:pt x="1296" y="1728"/>
                    </a:lnTo>
                    <a:lnTo>
                      <a:pt x="1280" y="1792"/>
                    </a:lnTo>
                    <a:lnTo>
                      <a:pt x="1384" y="1816"/>
                    </a:lnTo>
                    <a:lnTo>
                      <a:pt x="1312" y="1912"/>
                    </a:lnTo>
                    <a:lnTo>
                      <a:pt x="1128" y="2024"/>
                    </a:lnTo>
                    <a:lnTo>
                      <a:pt x="984" y="2072"/>
                    </a:lnTo>
                    <a:lnTo>
                      <a:pt x="946" y="2186"/>
                    </a:lnTo>
                    <a:lnTo>
                      <a:pt x="970" y="2368"/>
                    </a:lnTo>
                    <a:lnTo>
                      <a:pt x="1402" y="2894"/>
                    </a:lnTo>
                    <a:lnTo>
                      <a:pt x="1741" y="2822"/>
                    </a:lnTo>
                    <a:lnTo>
                      <a:pt x="1997" y="2769"/>
                    </a:lnTo>
                    <a:lnTo>
                      <a:pt x="2155" y="2864"/>
                    </a:lnTo>
                    <a:lnTo>
                      <a:pt x="2372" y="2853"/>
                    </a:lnTo>
                    <a:lnTo>
                      <a:pt x="2625" y="2918"/>
                    </a:lnTo>
                    <a:lnTo>
                      <a:pt x="2866" y="2749"/>
                    </a:lnTo>
                    <a:lnTo>
                      <a:pt x="3039" y="2982"/>
                    </a:lnTo>
                    <a:lnTo>
                      <a:pt x="3215" y="3060"/>
                    </a:lnTo>
                    <a:lnTo>
                      <a:pt x="3311" y="3399"/>
                    </a:lnTo>
                    <a:lnTo>
                      <a:pt x="3509" y="3331"/>
                    </a:lnTo>
                    <a:lnTo>
                      <a:pt x="3453" y="3818"/>
                    </a:lnTo>
                    <a:lnTo>
                      <a:pt x="3621" y="3669"/>
                    </a:lnTo>
                    <a:lnTo>
                      <a:pt x="3801" y="3534"/>
                    </a:lnTo>
                    <a:lnTo>
                      <a:pt x="4015" y="3385"/>
                    </a:lnTo>
                    <a:lnTo>
                      <a:pt x="4184" y="3329"/>
                    </a:lnTo>
                    <a:lnTo>
                      <a:pt x="4379" y="3184"/>
                    </a:lnTo>
                    <a:lnTo>
                      <a:pt x="4280" y="3041"/>
                    </a:lnTo>
                    <a:lnTo>
                      <a:pt x="4454" y="2849"/>
                    </a:lnTo>
                    <a:lnTo>
                      <a:pt x="4415" y="2734"/>
                    </a:lnTo>
                    <a:lnTo>
                      <a:pt x="4477" y="2566"/>
                    </a:lnTo>
                    <a:lnTo>
                      <a:pt x="4244" y="2348"/>
                    </a:lnTo>
                    <a:lnTo>
                      <a:pt x="4230" y="1913"/>
                    </a:lnTo>
                    <a:lnTo>
                      <a:pt x="4091" y="1662"/>
                    </a:lnTo>
                    <a:lnTo>
                      <a:pt x="4122" y="1533"/>
                    </a:lnTo>
                    <a:lnTo>
                      <a:pt x="4150" y="1254"/>
                    </a:lnTo>
                    <a:lnTo>
                      <a:pt x="4012" y="1090"/>
                    </a:lnTo>
                    <a:lnTo>
                      <a:pt x="3861" y="1082"/>
                    </a:lnTo>
                    <a:lnTo>
                      <a:pt x="3747" y="1152"/>
                    </a:lnTo>
                    <a:lnTo>
                      <a:pt x="3294" y="1127"/>
                    </a:lnTo>
                    <a:lnTo>
                      <a:pt x="3090" y="966"/>
                    </a:lnTo>
                    <a:lnTo>
                      <a:pt x="2717" y="761"/>
                    </a:lnTo>
                    <a:lnTo>
                      <a:pt x="2284" y="575"/>
                    </a:lnTo>
                    <a:lnTo>
                      <a:pt x="1960" y="382"/>
                    </a:lnTo>
                    <a:lnTo>
                      <a:pt x="1809" y="249"/>
                    </a:lnTo>
                    <a:lnTo>
                      <a:pt x="1640" y="192"/>
                    </a:lnTo>
                    <a:lnTo>
                      <a:pt x="1568" y="88"/>
                    </a:lnTo>
                    <a:lnTo>
                      <a:pt x="1440" y="0"/>
                    </a:lnTo>
                    <a:lnTo>
                      <a:pt x="1224" y="0"/>
                    </a:lnTo>
                    <a:lnTo>
                      <a:pt x="1040" y="296"/>
                    </a:lnTo>
                    <a:lnTo>
                      <a:pt x="960" y="384"/>
                    </a:lnTo>
                    <a:lnTo>
                      <a:pt x="824" y="400"/>
                    </a:lnTo>
                    <a:lnTo>
                      <a:pt x="736" y="368"/>
                    </a:lnTo>
                    <a:lnTo>
                      <a:pt x="680" y="448"/>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7" name="任意多边形 117">
                <a:extLst>
                  <a:ext uri="{FF2B5EF4-FFF2-40B4-BE49-F238E27FC236}">
                    <a16:creationId xmlns:a16="http://schemas.microsoft.com/office/drawing/2014/main" id="{FDFC11ED-BB75-0440-0543-5D7A1E6E026F}"/>
                  </a:ext>
                </a:extLst>
              </p:cNvPr>
              <p:cNvSpPr>
                <a:spLocks/>
              </p:cNvSpPr>
              <p:nvPr/>
            </p:nvSpPr>
            <p:spPr bwMode="auto">
              <a:xfrm>
                <a:off x="2591455" y="4479925"/>
                <a:ext cx="59681" cy="27940"/>
              </a:xfrm>
              <a:custGeom>
                <a:avLst/>
                <a:gdLst>
                  <a:gd name="T0" fmla="*/ 195587 w 188"/>
                  <a:gd name="T1" fmla="*/ 0 h 88"/>
                  <a:gd name="T2" fmla="*/ 0 w 188"/>
                  <a:gd name="T3" fmla="*/ 2919412 h 88"/>
                  <a:gd name="T4" fmla="*/ 3309938 w 188"/>
                  <a:gd name="T5" fmla="*/ 827669 h 88"/>
                  <a:gd name="T6" fmla="*/ 225678 w 188"/>
                  <a:gd name="T7" fmla="*/ 0 h 88"/>
                  <a:gd name="T8" fmla="*/ 195587 w 188"/>
                  <a:gd name="T9" fmla="*/ 0 h 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8" h="88">
                    <a:moveTo>
                      <a:pt x="32" y="32"/>
                    </a:moveTo>
                    <a:lnTo>
                      <a:pt x="0" y="60"/>
                    </a:lnTo>
                    <a:lnTo>
                      <a:pt x="64" y="88"/>
                    </a:lnTo>
                    <a:lnTo>
                      <a:pt x="108" y="60"/>
                    </a:lnTo>
                    <a:lnTo>
                      <a:pt x="188" y="12"/>
                    </a:lnTo>
                    <a:lnTo>
                      <a:pt x="152" y="12"/>
                    </a:lnTo>
                    <a:lnTo>
                      <a:pt x="76" y="0"/>
                    </a:lnTo>
                    <a:lnTo>
                      <a:pt x="48" y="0"/>
                    </a:lnTo>
                    <a:lnTo>
                      <a:pt x="32" y="32"/>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8" name="任意多边形 10">
                <a:extLst>
                  <a:ext uri="{FF2B5EF4-FFF2-40B4-BE49-F238E27FC236}">
                    <a16:creationId xmlns:a16="http://schemas.microsoft.com/office/drawing/2014/main" id="{A83A67AC-C088-F6E3-AC31-E39AFC39D57D}"/>
                  </a:ext>
                </a:extLst>
              </p:cNvPr>
              <p:cNvSpPr>
                <a:spLocks/>
              </p:cNvSpPr>
              <p:nvPr/>
            </p:nvSpPr>
            <p:spPr bwMode="auto">
              <a:xfrm>
                <a:off x="2454317" y="4485005"/>
                <a:ext cx="71109" cy="97790"/>
              </a:xfrm>
              <a:custGeom>
                <a:avLst/>
                <a:gdLst>
                  <a:gd name="T0" fmla="*/ 195587 w 224"/>
                  <a:gd name="T1" fmla="*/ 0 h 308"/>
                  <a:gd name="T2" fmla="*/ 0 w 224"/>
                  <a:gd name="T3" fmla="*/ 2919412 h 308"/>
                  <a:gd name="T4" fmla="*/ 3309938 w 224"/>
                  <a:gd name="T5" fmla="*/ 827669 h 308"/>
                  <a:gd name="T6" fmla="*/ 225678 w 224"/>
                  <a:gd name="T7" fmla="*/ 0 h 308"/>
                  <a:gd name="T8" fmla="*/ 195587 w 224"/>
                  <a:gd name="T9" fmla="*/ 0 h 30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4" h="308">
                    <a:moveTo>
                      <a:pt x="28" y="72"/>
                    </a:moveTo>
                    <a:lnTo>
                      <a:pt x="0" y="108"/>
                    </a:lnTo>
                    <a:lnTo>
                      <a:pt x="140" y="226"/>
                    </a:lnTo>
                    <a:lnTo>
                      <a:pt x="180" y="216"/>
                    </a:lnTo>
                    <a:lnTo>
                      <a:pt x="224" y="200"/>
                    </a:lnTo>
                    <a:lnTo>
                      <a:pt x="224" y="308"/>
                    </a:lnTo>
                    <a:lnTo>
                      <a:pt x="140" y="224"/>
                    </a:lnTo>
                    <a:lnTo>
                      <a:pt x="140" y="132"/>
                    </a:lnTo>
                    <a:lnTo>
                      <a:pt x="164" y="80"/>
                    </a:lnTo>
                    <a:lnTo>
                      <a:pt x="200" y="36"/>
                    </a:lnTo>
                    <a:lnTo>
                      <a:pt x="180" y="4"/>
                    </a:lnTo>
                    <a:lnTo>
                      <a:pt x="132" y="0"/>
                    </a:lnTo>
                    <a:lnTo>
                      <a:pt x="108" y="36"/>
                    </a:lnTo>
                    <a:lnTo>
                      <a:pt x="80" y="52"/>
                    </a:lnTo>
                    <a:lnTo>
                      <a:pt x="28" y="72"/>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grpSp>
        <p:sp>
          <p:nvSpPr>
            <p:cNvPr id="10" name="任意多边形 110">
              <a:extLst>
                <a:ext uri="{FF2B5EF4-FFF2-40B4-BE49-F238E27FC236}">
                  <a16:creationId xmlns:a16="http://schemas.microsoft.com/office/drawing/2014/main" id="{428F5AE2-E488-13B1-0374-4E7021210A6F}"/>
                </a:ext>
              </a:extLst>
            </p:cNvPr>
            <p:cNvSpPr>
              <a:spLocks/>
            </p:cNvSpPr>
            <p:nvPr/>
          </p:nvSpPr>
          <p:spPr bwMode="auto">
            <a:xfrm>
              <a:off x="4878284" y="2556792"/>
              <a:ext cx="2702928" cy="1810252"/>
            </a:xfrm>
            <a:custGeom>
              <a:avLst/>
              <a:gdLst>
                <a:gd name="connsiteX0" fmla="*/ 26157237 w 27560432"/>
                <a:gd name="connsiteY0" fmla="*/ 4322377 h 15152939"/>
                <a:gd name="connsiteX1" fmla="*/ 25950755 w 27560432"/>
                <a:gd name="connsiteY1" fmla="*/ 4946265 h 15152939"/>
                <a:gd name="connsiteX2" fmla="*/ 26059273 w 27560432"/>
                <a:gd name="connsiteY2" fmla="*/ 5561190 h 15152939"/>
                <a:gd name="connsiteX3" fmla="*/ 26439085 w 27560432"/>
                <a:gd name="connsiteY3" fmla="*/ 6103777 h 15152939"/>
                <a:gd name="connsiteX4" fmla="*/ 26366739 w 27560432"/>
                <a:gd name="connsiteY4" fmla="*/ 6555934 h 15152939"/>
                <a:gd name="connsiteX5" fmla="*/ 25824148 w 27560432"/>
                <a:gd name="connsiteY5" fmla="*/ 6827228 h 15152939"/>
                <a:gd name="connsiteX6" fmla="*/ 26023104 w 27560432"/>
                <a:gd name="connsiteY6" fmla="*/ 7478344 h 15152939"/>
                <a:gd name="connsiteX7" fmla="*/ 26619948 w 27560432"/>
                <a:gd name="connsiteY7" fmla="*/ 7840060 h 15152939"/>
                <a:gd name="connsiteX8" fmla="*/ 26276305 w 27560432"/>
                <a:gd name="connsiteY8" fmla="*/ 8672029 h 15152939"/>
                <a:gd name="connsiteX9" fmla="*/ 26312478 w 27560432"/>
                <a:gd name="connsiteY9" fmla="*/ 9666777 h 15152939"/>
                <a:gd name="connsiteX10" fmla="*/ 25878405 w 27560432"/>
                <a:gd name="connsiteY10" fmla="*/ 10227453 h 15152939"/>
                <a:gd name="connsiteX11" fmla="*/ 26402912 w 27560432"/>
                <a:gd name="connsiteY11" fmla="*/ 10643437 h 15152939"/>
                <a:gd name="connsiteX12" fmla="*/ 27319497 w 27560432"/>
                <a:gd name="connsiteY12" fmla="*/ 10082959 h 15152939"/>
                <a:gd name="connsiteX13" fmla="*/ 27560432 w 27560432"/>
                <a:gd name="connsiteY13" fmla="*/ 10281714 h 15152939"/>
                <a:gd name="connsiteX14" fmla="*/ 27542355 w 27560432"/>
                <a:gd name="connsiteY14" fmla="*/ 12005935 h 15152939"/>
                <a:gd name="connsiteX15" fmla="*/ 26089423 w 27560432"/>
                <a:gd name="connsiteY15" fmla="*/ 11975789 h 15152939"/>
                <a:gd name="connsiteX16" fmla="*/ 24473715 w 27560432"/>
                <a:gd name="connsiteY16" fmla="*/ 12090334 h 15152939"/>
                <a:gd name="connsiteX17" fmla="*/ 23135328 w 27560432"/>
                <a:gd name="connsiteY17" fmla="*/ 12222964 h 15152939"/>
                <a:gd name="connsiteX18" fmla="*/ 22261159 w 27560432"/>
                <a:gd name="connsiteY18" fmla="*/ 12934357 h 15152939"/>
                <a:gd name="connsiteX19" fmla="*/ 20826342 w 27560432"/>
                <a:gd name="connsiteY19" fmla="*/ 14369204 h 15152939"/>
                <a:gd name="connsiteX20" fmla="*/ 12952786 w 27560432"/>
                <a:gd name="connsiteY20" fmla="*/ 14960014 h 15152939"/>
                <a:gd name="connsiteX21" fmla="*/ 11934663 w 27560432"/>
                <a:gd name="connsiteY21" fmla="*/ 15008264 h 15152939"/>
                <a:gd name="connsiteX22" fmla="*/ 8506848 w 27560432"/>
                <a:gd name="connsiteY22" fmla="*/ 15152939 h 15152939"/>
                <a:gd name="connsiteX23" fmla="*/ 7985095 w 27560432"/>
                <a:gd name="connsiteY23" fmla="*/ 14507857 h 15152939"/>
                <a:gd name="connsiteX24" fmla="*/ 7400308 w 27560432"/>
                <a:gd name="connsiteY24" fmla="*/ 14477712 h 15152939"/>
                <a:gd name="connsiteX25" fmla="*/ 6972273 w 27560432"/>
                <a:gd name="connsiteY25" fmla="*/ 14749009 h 15152939"/>
                <a:gd name="connsiteX26" fmla="*/ 5181729 w 27560432"/>
                <a:gd name="connsiteY26" fmla="*/ 14664610 h 15152939"/>
                <a:gd name="connsiteX27" fmla="*/ 4397998 w 27560432"/>
                <a:gd name="connsiteY27" fmla="*/ 14031593 h 15152939"/>
                <a:gd name="connsiteX28" fmla="*/ 2908896 w 27560432"/>
                <a:gd name="connsiteY28" fmla="*/ 13223739 h 15152939"/>
                <a:gd name="connsiteX29" fmla="*/ 1263043 w 27560432"/>
                <a:gd name="connsiteY29" fmla="*/ 12512346 h 15152939"/>
                <a:gd name="connsiteX30" fmla="*/ 485320 w 27560432"/>
                <a:gd name="connsiteY30" fmla="*/ 12060189 h 15152939"/>
                <a:gd name="connsiteX31" fmla="*/ 0 w 27560432"/>
                <a:gd name="connsiteY31" fmla="*/ 11767077 h 15152939"/>
                <a:gd name="connsiteX32" fmla="*/ 1003686 w 27560432"/>
                <a:gd name="connsiteY32" fmla="*/ 11021112 h 15152939"/>
                <a:gd name="connsiteX33" fmla="*/ 2902551 w 27560432"/>
                <a:gd name="connsiteY33" fmla="*/ 9836713 h 15152939"/>
                <a:gd name="connsiteX34" fmla="*/ 2558940 w 27560432"/>
                <a:gd name="connsiteY34" fmla="*/ 9303282 h 15152939"/>
                <a:gd name="connsiteX35" fmla="*/ 2402508 w 27560432"/>
                <a:gd name="connsiteY35" fmla="*/ 8616199 h 15152939"/>
                <a:gd name="connsiteX36" fmla="*/ 2730740 w 27560432"/>
                <a:gd name="connsiteY36" fmla="*/ 8589028 h 15152939"/>
                <a:gd name="connsiteX37" fmla="*/ 2947754 w 27560432"/>
                <a:gd name="connsiteY37" fmla="*/ 8118883 h 15152939"/>
                <a:gd name="connsiteX38" fmla="*/ 3499325 w 27560432"/>
                <a:gd name="connsiteY38" fmla="*/ 7675866 h 15152939"/>
                <a:gd name="connsiteX39" fmla="*/ 3680166 w 27560432"/>
                <a:gd name="connsiteY39" fmla="*/ 6798868 h 15152939"/>
                <a:gd name="connsiteX40" fmla="*/ 4186528 w 27560432"/>
                <a:gd name="connsiteY40" fmla="*/ 6807904 h 15152939"/>
                <a:gd name="connsiteX41" fmla="*/ 4837569 w 27560432"/>
                <a:gd name="connsiteY41" fmla="*/ 7278054 h 15152939"/>
                <a:gd name="connsiteX42" fmla="*/ 5352976 w 27560432"/>
                <a:gd name="connsiteY42" fmla="*/ 7196687 h 15152939"/>
                <a:gd name="connsiteX43" fmla="*/ 5741786 w 27560432"/>
                <a:gd name="connsiteY43" fmla="*/ 6825992 h 15152939"/>
                <a:gd name="connsiteX44" fmla="*/ 6157723 w 27560432"/>
                <a:gd name="connsiteY44" fmla="*/ 6663251 h 15152939"/>
                <a:gd name="connsiteX45" fmla="*/ 6745471 w 27560432"/>
                <a:gd name="connsiteY45" fmla="*/ 6093658 h 15152939"/>
                <a:gd name="connsiteX46" fmla="*/ 6890140 w 27560432"/>
                <a:gd name="connsiteY46" fmla="*/ 5243782 h 15152939"/>
                <a:gd name="connsiteX47" fmla="*/ 7568305 w 27560432"/>
                <a:gd name="connsiteY47" fmla="*/ 4674188 h 15152939"/>
                <a:gd name="connsiteX48" fmla="*/ 8137967 w 27560432"/>
                <a:gd name="connsiteY48" fmla="*/ 4231167 h 15152939"/>
                <a:gd name="connsiteX49" fmla="*/ 8463480 w 27560432"/>
                <a:gd name="connsiteY49" fmla="*/ 3426500 h 15152939"/>
                <a:gd name="connsiteX50" fmla="*/ 9024093 w 27560432"/>
                <a:gd name="connsiteY50" fmla="*/ 3073893 h 15152939"/>
                <a:gd name="connsiteX51" fmla="*/ 9675138 w 27560432"/>
                <a:gd name="connsiteY51" fmla="*/ 2721291 h 15152939"/>
                <a:gd name="connsiteX52" fmla="*/ 9558580 w 27560432"/>
                <a:gd name="connsiteY52" fmla="*/ 2173007 h 15152939"/>
                <a:gd name="connsiteX53" fmla="*/ 10353296 w 27560432"/>
                <a:gd name="connsiteY53" fmla="*/ 1500723 h 15152939"/>
                <a:gd name="connsiteX54" fmla="*/ 10832530 w 27560432"/>
                <a:gd name="connsiteY54" fmla="*/ 1428389 h 15152939"/>
                <a:gd name="connsiteX55" fmla="*/ 11058585 w 27560432"/>
                <a:gd name="connsiteY55" fmla="*/ 1880458 h 15152939"/>
                <a:gd name="connsiteX56" fmla="*/ 11411229 w 27560432"/>
                <a:gd name="connsiteY56" fmla="*/ 2260189 h 15152939"/>
                <a:gd name="connsiteX57" fmla="*/ 11998974 w 27560432"/>
                <a:gd name="connsiteY57" fmla="*/ 2341559 h 15152939"/>
                <a:gd name="connsiteX58" fmla="*/ 12315449 w 27560432"/>
                <a:gd name="connsiteY58" fmla="*/ 3001571 h 15152939"/>
                <a:gd name="connsiteX59" fmla="*/ 12785642 w 27560432"/>
                <a:gd name="connsiteY59" fmla="*/ 2820742 h 15152939"/>
                <a:gd name="connsiteX60" fmla="*/ 13671776 w 27560432"/>
                <a:gd name="connsiteY60" fmla="*/ 3272803 h 15152939"/>
                <a:gd name="connsiteX61" fmla="*/ 14123886 w 27560432"/>
                <a:gd name="connsiteY61" fmla="*/ 2974450 h 15152939"/>
                <a:gd name="connsiteX62" fmla="*/ 14259509 w 27560432"/>
                <a:gd name="connsiteY62" fmla="*/ 2404849 h 15152939"/>
                <a:gd name="connsiteX63" fmla="*/ 14892468 w 27560432"/>
                <a:gd name="connsiteY63" fmla="*/ 1762918 h 15152939"/>
                <a:gd name="connsiteX64" fmla="*/ 15778605 w 27560432"/>
                <a:gd name="connsiteY64" fmla="*/ 1211398 h 15152939"/>
                <a:gd name="connsiteX65" fmla="*/ 16022739 w 27560432"/>
                <a:gd name="connsiteY65" fmla="*/ 1681548 h 15152939"/>
                <a:gd name="connsiteX66" fmla="*/ 16013694 w 27560432"/>
                <a:gd name="connsiteY66" fmla="*/ 2169778 h 15152939"/>
                <a:gd name="connsiteX67" fmla="*/ 16556232 w 27560432"/>
                <a:gd name="connsiteY67" fmla="*/ 2260200 h 15152939"/>
                <a:gd name="connsiteX68" fmla="*/ 16863663 w 27560432"/>
                <a:gd name="connsiteY68" fmla="*/ 1744834 h 15152939"/>
                <a:gd name="connsiteX69" fmla="*/ 17406193 w 27560432"/>
                <a:gd name="connsiteY69" fmla="*/ 1410312 h 15152939"/>
                <a:gd name="connsiteX70" fmla="*/ 17623203 w 27560432"/>
                <a:gd name="connsiteY70" fmla="*/ 867840 h 15152939"/>
                <a:gd name="connsiteX71" fmla="*/ 18120524 w 27560432"/>
                <a:gd name="connsiteY71" fmla="*/ 831675 h 15152939"/>
                <a:gd name="connsiteX72" fmla="*/ 18201903 w 27560432"/>
                <a:gd name="connsiteY72" fmla="*/ 542358 h 15152939"/>
                <a:gd name="connsiteX73" fmla="*/ 18744437 w 27560432"/>
                <a:gd name="connsiteY73" fmla="*/ 117414 h 15152939"/>
                <a:gd name="connsiteX74" fmla="*/ 19443290 w 27560432"/>
                <a:gd name="connsiteY74" fmla="*/ 0 h 15152939"/>
                <a:gd name="connsiteX75" fmla="*/ 19982300 w 27560432"/>
                <a:gd name="connsiteY75" fmla="*/ 460880 h 15152939"/>
                <a:gd name="connsiteX76" fmla="*/ 19530143 w 27560432"/>
                <a:gd name="connsiteY76" fmla="*/ 913038 h 15152939"/>
                <a:gd name="connsiteX77" fmla="*/ 19837609 w 27560432"/>
                <a:gd name="connsiteY77" fmla="*/ 1238588 h 15152939"/>
                <a:gd name="connsiteX78" fmla="*/ 20886614 w 27560432"/>
                <a:gd name="connsiteY78" fmla="*/ 1546055 h 15152939"/>
                <a:gd name="connsiteX79" fmla="*/ 21881359 w 27560432"/>
                <a:gd name="connsiteY79" fmla="*/ 1889694 h 15152939"/>
                <a:gd name="connsiteX80" fmla="*/ 21772837 w 27560432"/>
                <a:gd name="connsiteY80" fmla="*/ 2269505 h 15152939"/>
                <a:gd name="connsiteX81" fmla="*/ 21537712 w 27560432"/>
                <a:gd name="connsiteY81" fmla="*/ 2884438 h 15152939"/>
                <a:gd name="connsiteX82" fmla="*/ 21996067 w 27560432"/>
                <a:gd name="connsiteY82" fmla="*/ 2911656 h 15152939"/>
                <a:gd name="connsiteX83" fmla="*/ 22478203 w 27560432"/>
                <a:gd name="connsiteY83" fmla="*/ 2414189 h 15152939"/>
                <a:gd name="connsiteX84" fmla="*/ 23292084 w 27560432"/>
                <a:gd name="connsiteY84" fmla="*/ 2016293 h 15152939"/>
                <a:gd name="connsiteX85" fmla="*/ 23888932 w 27560432"/>
                <a:gd name="connsiteY85" fmla="*/ 1998212 h 15152939"/>
                <a:gd name="connsiteX86" fmla="*/ 24612383 w 27560432"/>
                <a:gd name="connsiteY86" fmla="*/ 1582227 h 15152939"/>
                <a:gd name="connsiteX87" fmla="*/ 25010275 w 27560432"/>
                <a:gd name="connsiteY87" fmla="*/ 695990 h 15152939"/>
                <a:gd name="connsiteX88" fmla="*/ 25769899 w 27560432"/>
                <a:gd name="connsiteY88" fmla="*/ 840685 h 15152939"/>
                <a:gd name="connsiteX89" fmla="*/ 26402920 w 27560432"/>
                <a:gd name="connsiteY89" fmla="*/ 876857 h 15152939"/>
                <a:gd name="connsiteX90" fmla="*/ 26240141 w 27560432"/>
                <a:gd name="connsiteY90" fmla="*/ 1491794 h 15152939"/>
                <a:gd name="connsiteX91" fmla="*/ 26554742 w 27560432"/>
                <a:gd name="connsiteY91" fmla="*/ 2052454 h 15152939"/>
                <a:gd name="connsiteX92" fmla="*/ 25679461 w 27560432"/>
                <a:gd name="connsiteY92" fmla="*/ 2775920 h 15152939"/>
                <a:gd name="connsiteX93" fmla="*/ 25751806 w 27560432"/>
                <a:gd name="connsiteY93" fmla="*/ 3806840 h 15152939"/>
                <a:gd name="connsiteX94" fmla="*/ 26157237 w 27560432"/>
                <a:gd name="connsiteY94"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023104 w 27542354"/>
                <a:gd name="connsiteY6" fmla="*/ 7478344 h 15152939"/>
                <a:gd name="connsiteX7" fmla="*/ 26619948 w 27542354"/>
                <a:gd name="connsiteY7" fmla="*/ 7840060 h 15152939"/>
                <a:gd name="connsiteX8" fmla="*/ 26276305 w 27542354"/>
                <a:gd name="connsiteY8" fmla="*/ 8672029 h 15152939"/>
                <a:gd name="connsiteX9" fmla="*/ 26312478 w 27542354"/>
                <a:gd name="connsiteY9" fmla="*/ 9666777 h 15152939"/>
                <a:gd name="connsiteX10" fmla="*/ 25878405 w 27542354"/>
                <a:gd name="connsiteY10" fmla="*/ 10227453 h 15152939"/>
                <a:gd name="connsiteX11" fmla="*/ 26402912 w 27542354"/>
                <a:gd name="connsiteY11" fmla="*/ 10643437 h 15152939"/>
                <a:gd name="connsiteX12" fmla="*/ 27319497 w 27542354"/>
                <a:gd name="connsiteY12" fmla="*/ 10082959 h 15152939"/>
                <a:gd name="connsiteX13" fmla="*/ 27542355 w 27542354"/>
                <a:gd name="connsiteY13" fmla="*/ 12005935 h 15152939"/>
                <a:gd name="connsiteX14" fmla="*/ 26089423 w 27542354"/>
                <a:gd name="connsiteY14" fmla="*/ 11975789 h 15152939"/>
                <a:gd name="connsiteX15" fmla="*/ 24473715 w 27542354"/>
                <a:gd name="connsiteY15" fmla="*/ 12090334 h 15152939"/>
                <a:gd name="connsiteX16" fmla="*/ 23135328 w 27542354"/>
                <a:gd name="connsiteY16" fmla="*/ 12222964 h 15152939"/>
                <a:gd name="connsiteX17" fmla="*/ 22261159 w 27542354"/>
                <a:gd name="connsiteY17" fmla="*/ 12934357 h 15152939"/>
                <a:gd name="connsiteX18" fmla="*/ 20826342 w 27542354"/>
                <a:gd name="connsiteY18" fmla="*/ 14369204 h 15152939"/>
                <a:gd name="connsiteX19" fmla="*/ 12952786 w 27542354"/>
                <a:gd name="connsiteY19" fmla="*/ 14960014 h 15152939"/>
                <a:gd name="connsiteX20" fmla="*/ 11934663 w 27542354"/>
                <a:gd name="connsiteY20" fmla="*/ 15008264 h 15152939"/>
                <a:gd name="connsiteX21" fmla="*/ 8506848 w 27542354"/>
                <a:gd name="connsiteY21" fmla="*/ 15152939 h 15152939"/>
                <a:gd name="connsiteX22" fmla="*/ 7985095 w 27542354"/>
                <a:gd name="connsiteY22" fmla="*/ 14507857 h 15152939"/>
                <a:gd name="connsiteX23" fmla="*/ 7400308 w 27542354"/>
                <a:gd name="connsiteY23" fmla="*/ 14477712 h 15152939"/>
                <a:gd name="connsiteX24" fmla="*/ 6972273 w 27542354"/>
                <a:gd name="connsiteY24" fmla="*/ 14749009 h 15152939"/>
                <a:gd name="connsiteX25" fmla="*/ 5181729 w 27542354"/>
                <a:gd name="connsiteY25" fmla="*/ 14664610 h 15152939"/>
                <a:gd name="connsiteX26" fmla="*/ 4397998 w 27542354"/>
                <a:gd name="connsiteY26" fmla="*/ 14031593 h 15152939"/>
                <a:gd name="connsiteX27" fmla="*/ 2908896 w 27542354"/>
                <a:gd name="connsiteY27" fmla="*/ 13223739 h 15152939"/>
                <a:gd name="connsiteX28" fmla="*/ 1263043 w 27542354"/>
                <a:gd name="connsiteY28" fmla="*/ 12512346 h 15152939"/>
                <a:gd name="connsiteX29" fmla="*/ 485320 w 27542354"/>
                <a:gd name="connsiteY29" fmla="*/ 12060189 h 15152939"/>
                <a:gd name="connsiteX30" fmla="*/ 0 w 27542354"/>
                <a:gd name="connsiteY30" fmla="*/ 11767077 h 15152939"/>
                <a:gd name="connsiteX31" fmla="*/ 1003686 w 27542354"/>
                <a:gd name="connsiteY31" fmla="*/ 11021112 h 15152939"/>
                <a:gd name="connsiteX32" fmla="*/ 2902551 w 27542354"/>
                <a:gd name="connsiteY32" fmla="*/ 9836713 h 15152939"/>
                <a:gd name="connsiteX33" fmla="*/ 2558940 w 27542354"/>
                <a:gd name="connsiteY33" fmla="*/ 9303282 h 15152939"/>
                <a:gd name="connsiteX34" fmla="*/ 2402508 w 27542354"/>
                <a:gd name="connsiteY34" fmla="*/ 8616199 h 15152939"/>
                <a:gd name="connsiteX35" fmla="*/ 2730740 w 27542354"/>
                <a:gd name="connsiteY35" fmla="*/ 8589028 h 15152939"/>
                <a:gd name="connsiteX36" fmla="*/ 2947754 w 27542354"/>
                <a:gd name="connsiteY36" fmla="*/ 8118883 h 15152939"/>
                <a:gd name="connsiteX37" fmla="*/ 3499325 w 27542354"/>
                <a:gd name="connsiteY37" fmla="*/ 7675866 h 15152939"/>
                <a:gd name="connsiteX38" fmla="*/ 3680166 w 27542354"/>
                <a:gd name="connsiteY38" fmla="*/ 6798868 h 15152939"/>
                <a:gd name="connsiteX39" fmla="*/ 4186528 w 27542354"/>
                <a:gd name="connsiteY39" fmla="*/ 6807904 h 15152939"/>
                <a:gd name="connsiteX40" fmla="*/ 4837569 w 27542354"/>
                <a:gd name="connsiteY40" fmla="*/ 7278054 h 15152939"/>
                <a:gd name="connsiteX41" fmla="*/ 5352976 w 27542354"/>
                <a:gd name="connsiteY41" fmla="*/ 7196687 h 15152939"/>
                <a:gd name="connsiteX42" fmla="*/ 5741786 w 27542354"/>
                <a:gd name="connsiteY42" fmla="*/ 6825992 h 15152939"/>
                <a:gd name="connsiteX43" fmla="*/ 6157723 w 27542354"/>
                <a:gd name="connsiteY43" fmla="*/ 6663251 h 15152939"/>
                <a:gd name="connsiteX44" fmla="*/ 6745471 w 27542354"/>
                <a:gd name="connsiteY44" fmla="*/ 6093658 h 15152939"/>
                <a:gd name="connsiteX45" fmla="*/ 6890140 w 27542354"/>
                <a:gd name="connsiteY45" fmla="*/ 5243782 h 15152939"/>
                <a:gd name="connsiteX46" fmla="*/ 7568305 w 27542354"/>
                <a:gd name="connsiteY46" fmla="*/ 4674188 h 15152939"/>
                <a:gd name="connsiteX47" fmla="*/ 8137967 w 27542354"/>
                <a:gd name="connsiteY47" fmla="*/ 4231167 h 15152939"/>
                <a:gd name="connsiteX48" fmla="*/ 8463480 w 27542354"/>
                <a:gd name="connsiteY48" fmla="*/ 3426500 h 15152939"/>
                <a:gd name="connsiteX49" fmla="*/ 9024093 w 27542354"/>
                <a:gd name="connsiteY49" fmla="*/ 3073893 h 15152939"/>
                <a:gd name="connsiteX50" fmla="*/ 9675138 w 27542354"/>
                <a:gd name="connsiteY50" fmla="*/ 2721291 h 15152939"/>
                <a:gd name="connsiteX51" fmla="*/ 9558580 w 27542354"/>
                <a:gd name="connsiteY51" fmla="*/ 2173007 h 15152939"/>
                <a:gd name="connsiteX52" fmla="*/ 10353296 w 27542354"/>
                <a:gd name="connsiteY52" fmla="*/ 1500723 h 15152939"/>
                <a:gd name="connsiteX53" fmla="*/ 10832530 w 27542354"/>
                <a:gd name="connsiteY53" fmla="*/ 1428389 h 15152939"/>
                <a:gd name="connsiteX54" fmla="*/ 11058585 w 27542354"/>
                <a:gd name="connsiteY54" fmla="*/ 1880458 h 15152939"/>
                <a:gd name="connsiteX55" fmla="*/ 11411229 w 27542354"/>
                <a:gd name="connsiteY55" fmla="*/ 2260189 h 15152939"/>
                <a:gd name="connsiteX56" fmla="*/ 11998974 w 27542354"/>
                <a:gd name="connsiteY56" fmla="*/ 2341559 h 15152939"/>
                <a:gd name="connsiteX57" fmla="*/ 12315449 w 27542354"/>
                <a:gd name="connsiteY57" fmla="*/ 3001571 h 15152939"/>
                <a:gd name="connsiteX58" fmla="*/ 12785642 w 27542354"/>
                <a:gd name="connsiteY58" fmla="*/ 2820742 h 15152939"/>
                <a:gd name="connsiteX59" fmla="*/ 13671776 w 27542354"/>
                <a:gd name="connsiteY59" fmla="*/ 3272803 h 15152939"/>
                <a:gd name="connsiteX60" fmla="*/ 14123886 w 27542354"/>
                <a:gd name="connsiteY60" fmla="*/ 2974450 h 15152939"/>
                <a:gd name="connsiteX61" fmla="*/ 14259509 w 27542354"/>
                <a:gd name="connsiteY61" fmla="*/ 2404849 h 15152939"/>
                <a:gd name="connsiteX62" fmla="*/ 14892468 w 27542354"/>
                <a:gd name="connsiteY62" fmla="*/ 1762918 h 15152939"/>
                <a:gd name="connsiteX63" fmla="*/ 15778605 w 27542354"/>
                <a:gd name="connsiteY63" fmla="*/ 1211398 h 15152939"/>
                <a:gd name="connsiteX64" fmla="*/ 16022739 w 27542354"/>
                <a:gd name="connsiteY64" fmla="*/ 1681548 h 15152939"/>
                <a:gd name="connsiteX65" fmla="*/ 16013694 w 27542354"/>
                <a:gd name="connsiteY65" fmla="*/ 2169778 h 15152939"/>
                <a:gd name="connsiteX66" fmla="*/ 16556232 w 27542354"/>
                <a:gd name="connsiteY66" fmla="*/ 2260200 h 15152939"/>
                <a:gd name="connsiteX67" fmla="*/ 16863663 w 27542354"/>
                <a:gd name="connsiteY67" fmla="*/ 1744834 h 15152939"/>
                <a:gd name="connsiteX68" fmla="*/ 17406193 w 27542354"/>
                <a:gd name="connsiteY68" fmla="*/ 1410312 h 15152939"/>
                <a:gd name="connsiteX69" fmla="*/ 17623203 w 27542354"/>
                <a:gd name="connsiteY69" fmla="*/ 867840 h 15152939"/>
                <a:gd name="connsiteX70" fmla="*/ 18120524 w 27542354"/>
                <a:gd name="connsiteY70" fmla="*/ 831675 h 15152939"/>
                <a:gd name="connsiteX71" fmla="*/ 18201903 w 27542354"/>
                <a:gd name="connsiteY71" fmla="*/ 542358 h 15152939"/>
                <a:gd name="connsiteX72" fmla="*/ 18744437 w 27542354"/>
                <a:gd name="connsiteY72" fmla="*/ 117414 h 15152939"/>
                <a:gd name="connsiteX73" fmla="*/ 19443290 w 27542354"/>
                <a:gd name="connsiteY73" fmla="*/ 0 h 15152939"/>
                <a:gd name="connsiteX74" fmla="*/ 19982300 w 27542354"/>
                <a:gd name="connsiteY74" fmla="*/ 460880 h 15152939"/>
                <a:gd name="connsiteX75" fmla="*/ 19530143 w 27542354"/>
                <a:gd name="connsiteY75" fmla="*/ 913038 h 15152939"/>
                <a:gd name="connsiteX76" fmla="*/ 19837609 w 27542354"/>
                <a:gd name="connsiteY76" fmla="*/ 1238588 h 15152939"/>
                <a:gd name="connsiteX77" fmla="*/ 20886614 w 27542354"/>
                <a:gd name="connsiteY77" fmla="*/ 1546055 h 15152939"/>
                <a:gd name="connsiteX78" fmla="*/ 21881359 w 27542354"/>
                <a:gd name="connsiteY78" fmla="*/ 1889694 h 15152939"/>
                <a:gd name="connsiteX79" fmla="*/ 21772837 w 27542354"/>
                <a:gd name="connsiteY79" fmla="*/ 2269505 h 15152939"/>
                <a:gd name="connsiteX80" fmla="*/ 21537712 w 27542354"/>
                <a:gd name="connsiteY80" fmla="*/ 2884438 h 15152939"/>
                <a:gd name="connsiteX81" fmla="*/ 21996067 w 27542354"/>
                <a:gd name="connsiteY81" fmla="*/ 2911656 h 15152939"/>
                <a:gd name="connsiteX82" fmla="*/ 22478203 w 27542354"/>
                <a:gd name="connsiteY82" fmla="*/ 2414189 h 15152939"/>
                <a:gd name="connsiteX83" fmla="*/ 23292084 w 27542354"/>
                <a:gd name="connsiteY83" fmla="*/ 2016293 h 15152939"/>
                <a:gd name="connsiteX84" fmla="*/ 23888932 w 27542354"/>
                <a:gd name="connsiteY84" fmla="*/ 1998212 h 15152939"/>
                <a:gd name="connsiteX85" fmla="*/ 24612383 w 27542354"/>
                <a:gd name="connsiteY85" fmla="*/ 1582227 h 15152939"/>
                <a:gd name="connsiteX86" fmla="*/ 25010275 w 27542354"/>
                <a:gd name="connsiteY86" fmla="*/ 695990 h 15152939"/>
                <a:gd name="connsiteX87" fmla="*/ 25769899 w 27542354"/>
                <a:gd name="connsiteY87" fmla="*/ 840685 h 15152939"/>
                <a:gd name="connsiteX88" fmla="*/ 26402920 w 27542354"/>
                <a:gd name="connsiteY88" fmla="*/ 876857 h 15152939"/>
                <a:gd name="connsiteX89" fmla="*/ 26240141 w 27542354"/>
                <a:gd name="connsiteY89" fmla="*/ 1491794 h 15152939"/>
                <a:gd name="connsiteX90" fmla="*/ 26554742 w 27542354"/>
                <a:gd name="connsiteY90" fmla="*/ 2052454 h 15152939"/>
                <a:gd name="connsiteX91" fmla="*/ 25679461 w 27542354"/>
                <a:gd name="connsiteY91" fmla="*/ 2775920 h 15152939"/>
                <a:gd name="connsiteX92" fmla="*/ 25751806 w 27542354"/>
                <a:gd name="connsiteY92" fmla="*/ 3806840 h 15152939"/>
                <a:gd name="connsiteX93" fmla="*/ 26157237 w 27542354"/>
                <a:gd name="connsiteY93"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023104 w 27542354"/>
                <a:gd name="connsiteY6" fmla="*/ 7478344 h 15152939"/>
                <a:gd name="connsiteX7" fmla="*/ 26619948 w 27542354"/>
                <a:gd name="connsiteY7" fmla="*/ 7840060 h 15152939"/>
                <a:gd name="connsiteX8" fmla="*/ 26276305 w 27542354"/>
                <a:gd name="connsiteY8" fmla="*/ 8672029 h 15152939"/>
                <a:gd name="connsiteX9" fmla="*/ 26312478 w 27542354"/>
                <a:gd name="connsiteY9" fmla="*/ 9666777 h 15152939"/>
                <a:gd name="connsiteX10" fmla="*/ 25878405 w 27542354"/>
                <a:gd name="connsiteY10" fmla="*/ 10227453 h 15152939"/>
                <a:gd name="connsiteX11" fmla="*/ 26402912 w 27542354"/>
                <a:gd name="connsiteY11" fmla="*/ 10643437 h 15152939"/>
                <a:gd name="connsiteX12" fmla="*/ 27542355 w 27542354"/>
                <a:gd name="connsiteY12" fmla="*/ 12005935 h 15152939"/>
                <a:gd name="connsiteX13" fmla="*/ 26089423 w 27542354"/>
                <a:gd name="connsiteY13" fmla="*/ 11975789 h 15152939"/>
                <a:gd name="connsiteX14" fmla="*/ 24473715 w 27542354"/>
                <a:gd name="connsiteY14" fmla="*/ 12090334 h 15152939"/>
                <a:gd name="connsiteX15" fmla="*/ 23135328 w 27542354"/>
                <a:gd name="connsiteY15" fmla="*/ 12222964 h 15152939"/>
                <a:gd name="connsiteX16" fmla="*/ 22261159 w 27542354"/>
                <a:gd name="connsiteY16" fmla="*/ 12934357 h 15152939"/>
                <a:gd name="connsiteX17" fmla="*/ 20826342 w 27542354"/>
                <a:gd name="connsiteY17" fmla="*/ 14369204 h 15152939"/>
                <a:gd name="connsiteX18" fmla="*/ 12952786 w 27542354"/>
                <a:gd name="connsiteY18" fmla="*/ 14960014 h 15152939"/>
                <a:gd name="connsiteX19" fmla="*/ 11934663 w 27542354"/>
                <a:gd name="connsiteY19" fmla="*/ 15008264 h 15152939"/>
                <a:gd name="connsiteX20" fmla="*/ 8506848 w 27542354"/>
                <a:gd name="connsiteY20" fmla="*/ 15152939 h 15152939"/>
                <a:gd name="connsiteX21" fmla="*/ 7985095 w 27542354"/>
                <a:gd name="connsiteY21" fmla="*/ 14507857 h 15152939"/>
                <a:gd name="connsiteX22" fmla="*/ 7400308 w 27542354"/>
                <a:gd name="connsiteY22" fmla="*/ 14477712 h 15152939"/>
                <a:gd name="connsiteX23" fmla="*/ 6972273 w 27542354"/>
                <a:gd name="connsiteY23" fmla="*/ 14749009 h 15152939"/>
                <a:gd name="connsiteX24" fmla="*/ 5181729 w 27542354"/>
                <a:gd name="connsiteY24" fmla="*/ 14664610 h 15152939"/>
                <a:gd name="connsiteX25" fmla="*/ 4397998 w 27542354"/>
                <a:gd name="connsiteY25" fmla="*/ 14031593 h 15152939"/>
                <a:gd name="connsiteX26" fmla="*/ 2908896 w 27542354"/>
                <a:gd name="connsiteY26" fmla="*/ 13223739 h 15152939"/>
                <a:gd name="connsiteX27" fmla="*/ 1263043 w 27542354"/>
                <a:gd name="connsiteY27" fmla="*/ 12512346 h 15152939"/>
                <a:gd name="connsiteX28" fmla="*/ 485320 w 27542354"/>
                <a:gd name="connsiteY28" fmla="*/ 12060189 h 15152939"/>
                <a:gd name="connsiteX29" fmla="*/ 0 w 27542354"/>
                <a:gd name="connsiteY29" fmla="*/ 11767077 h 15152939"/>
                <a:gd name="connsiteX30" fmla="*/ 1003686 w 27542354"/>
                <a:gd name="connsiteY30" fmla="*/ 11021112 h 15152939"/>
                <a:gd name="connsiteX31" fmla="*/ 2902551 w 27542354"/>
                <a:gd name="connsiteY31" fmla="*/ 9836713 h 15152939"/>
                <a:gd name="connsiteX32" fmla="*/ 2558940 w 27542354"/>
                <a:gd name="connsiteY32" fmla="*/ 9303282 h 15152939"/>
                <a:gd name="connsiteX33" fmla="*/ 2402508 w 27542354"/>
                <a:gd name="connsiteY33" fmla="*/ 8616199 h 15152939"/>
                <a:gd name="connsiteX34" fmla="*/ 2730740 w 27542354"/>
                <a:gd name="connsiteY34" fmla="*/ 8589028 h 15152939"/>
                <a:gd name="connsiteX35" fmla="*/ 2947754 w 27542354"/>
                <a:gd name="connsiteY35" fmla="*/ 8118883 h 15152939"/>
                <a:gd name="connsiteX36" fmla="*/ 3499325 w 27542354"/>
                <a:gd name="connsiteY36" fmla="*/ 7675866 h 15152939"/>
                <a:gd name="connsiteX37" fmla="*/ 3680166 w 27542354"/>
                <a:gd name="connsiteY37" fmla="*/ 6798868 h 15152939"/>
                <a:gd name="connsiteX38" fmla="*/ 4186528 w 27542354"/>
                <a:gd name="connsiteY38" fmla="*/ 6807904 h 15152939"/>
                <a:gd name="connsiteX39" fmla="*/ 4837569 w 27542354"/>
                <a:gd name="connsiteY39" fmla="*/ 7278054 h 15152939"/>
                <a:gd name="connsiteX40" fmla="*/ 5352976 w 27542354"/>
                <a:gd name="connsiteY40" fmla="*/ 7196687 h 15152939"/>
                <a:gd name="connsiteX41" fmla="*/ 5741786 w 27542354"/>
                <a:gd name="connsiteY41" fmla="*/ 6825992 h 15152939"/>
                <a:gd name="connsiteX42" fmla="*/ 6157723 w 27542354"/>
                <a:gd name="connsiteY42" fmla="*/ 6663251 h 15152939"/>
                <a:gd name="connsiteX43" fmla="*/ 6745471 w 27542354"/>
                <a:gd name="connsiteY43" fmla="*/ 6093658 h 15152939"/>
                <a:gd name="connsiteX44" fmla="*/ 6890140 w 27542354"/>
                <a:gd name="connsiteY44" fmla="*/ 5243782 h 15152939"/>
                <a:gd name="connsiteX45" fmla="*/ 7568305 w 27542354"/>
                <a:gd name="connsiteY45" fmla="*/ 4674188 h 15152939"/>
                <a:gd name="connsiteX46" fmla="*/ 8137967 w 27542354"/>
                <a:gd name="connsiteY46" fmla="*/ 4231167 h 15152939"/>
                <a:gd name="connsiteX47" fmla="*/ 8463480 w 27542354"/>
                <a:gd name="connsiteY47" fmla="*/ 3426500 h 15152939"/>
                <a:gd name="connsiteX48" fmla="*/ 9024093 w 27542354"/>
                <a:gd name="connsiteY48" fmla="*/ 3073893 h 15152939"/>
                <a:gd name="connsiteX49" fmla="*/ 9675138 w 27542354"/>
                <a:gd name="connsiteY49" fmla="*/ 2721291 h 15152939"/>
                <a:gd name="connsiteX50" fmla="*/ 9558580 w 27542354"/>
                <a:gd name="connsiteY50" fmla="*/ 2173007 h 15152939"/>
                <a:gd name="connsiteX51" fmla="*/ 10353296 w 27542354"/>
                <a:gd name="connsiteY51" fmla="*/ 1500723 h 15152939"/>
                <a:gd name="connsiteX52" fmla="*/ 10832530 w 27542354"/>
                <a:gd name="connsiteY52" fmla="*/ 1428389 h 15152939"/>
                <a:gd name="connsiteX53" fmla="*/ 11058585 w 27542354"/>
                <a:gd name="connsiteY53" fmla="*/ 1880458 h 15152939"/>
                <a:gd name="connsiteX54" fmla="*/ 11411229 w 27542354"/>
                <a:gd name="connsiteY54" fmla="*/ 2260189 h 15152939"/>
                <a:gd name="connsiteX55" fmla="*/ 11998974 w 27542354"/>
                <a:gd name="connsiteY55" fmla="*/ 2341559 h 15152939"/>
                <a:gd name="connsiteX56" fmla="*/ 12315449 w 27542354"/>
                <a:gd name="connsiteY56" fmla="*/ 3001571 h 15152939"/>
                <a:gd name="connsiteX57" fmla="*/ 12785642 w 27542354"/>
                <a:gd name="connsiteY57" fmla="*/ 2820742 h 15152939"/>
                <a:gd name="connsiteX58" fmla="*/ 13671776 w 27542354"/>
                <a:gd name="connsiteY58" fmla="*/ 3272803 h 15152939"/>
                <a:gd name="connsiteX59" fmla="*/ 14123886 w 27542354"/>
                <a:gd name="connsiteY59" fmla="*/ 2974450 h 15152939"/>
                <a:gd name="connsiteX60" fmla="*/ 14259509 w 27542354"/>
                <a:gd name="connsiteY60" fmla="*/ 2404849 h 15152939"/>
                <a:gd name="connsiteX61" fmla="*/ 14892468 w 27542354"/>
                <a:gd name="connsiteY61" fmla="*/ 1762918 h 15152939"/>
                <a:gd name="connsiteX62" fmla="*/ 15778605 w 27542354"/>
                <a:gd name="connsiteY62" fmla="*/ 1211398 h 15152939"/>
                <a:gd name="connsiteX63" fmla="*/ 16022739 w 27542354"/>
                <a:gd name="connsiteY63" fmla="*/ 1681548 h 15152939"/>
                <a:gd name="connsiteX64" fmla="*/ 16013694 w 27542354"/>
                <a:gd name="connsiteY64" fmla="*/ 2169778 h 15152939"/>
                <a:gd name="connsiteX65" fmla="*/ 16556232 w 27542354"/>
                <a:gd name="connsiteY65" fmla="*/ 2260200 h 15152939"/>
                <a:gd name="connsiteX66" fmla="*/ 16863663 w 27542354"/>
                <a:gd name="connsiteY66" fmla="*/ 1744834 h 15152939"/>
                <a:gd name="connsiteX67" fmla="*/ 17406193 w 27542354"/>
                <a:gd name="connsiteY67" fmla="*/ 1410312 h 15152939"/>
                <a:gd name="connsiteX68" fmla="*/ 17623203 w 27542354"/>
                <a:gd name="connsiteY68" fmla="*/ 867840 h 15152939"/>
                <a:gd name="connsiteX69" fmla="*/ 18120524 w 27542354"/>
                <a:gd name="connsiteY69" fmla="*/ 831675 h 15152939"/>
                <a:gd name="connsiteX70" fmla="*/ 18201903 w 27542354"/>
                <a:gd name="connsiteY70" fmla="*/ 542358 h 15152939"/>
                <a:gd name="connsiteX71" fmla="*/ 18744437 w 27542354"/>
                <a:gd name="connsiteY71" fmla="*/ 117414 h 15152939"/>
                <a:gd name="connsiteX72" fmla="*/ 19443290 w 27542354"/>
                <a:gd name="connsiteY72" fmla="*/ 0 h 15152939"/>
                <a:gd name="connsiteX73" fmla="*/ 19982300 w 27542354"/>
                <a:gd name="connsiteY73" fmla="*/ 460880 h 15152939"/>
                <a:gd name="connsiteX74" fmla="*/ 19530143 w 27542354"/>
                <a:gd name="connsiteY74" fmla="*/ 913038 h 15152939"/>
                <a:gd name="connsiteX75" fmla="*/ 19837609 w 27542354"/>
                <a:gd name="connsiteY75" fmla="*/ 1238588 h 15152939"/>
                <a:gd name="connsiteX76" fmla="*/ 20886614 w 27542354"/>
                <a:gd name="connsiteY76" fmla="*/ 1546055 h 15152939"/>
                <a:gd name="connsiteX77" fmla="*/ 21881359 w 27542354"/>
                <a:gd name="connsiteY77" fmla="*/ 1889694 h 15152939"/>
                <a:gd name="connsiteX78" fmla="*/ 21772837 w 27542354"/>
                <a:gd name="connsiteY78" fmla="*/ 2269505 h 15152939"/>
                <a:gd name="connsiteX79" fmla="*/ 21537712 w 27542354"/>
                <a:gd name="connsiteY79" fmla="*/ 2884438 h 15152939"/>
                <a:gd name="connsiteX80" fmla="*/ 21996067 w 27542354"/>
                <a:gd name="connsiteY80" fmla="*/ 2911656 h 15152939"/>
                <a:gd name="connsiteX81" fmla="*/ 22478203 w 27542354"/>
                <a:gd name="connsiteY81" fmla="*/ 2414189 h 15152939"/>
                <a:gd name="connsiteX82" fmla="*/ 23292084 w 27542354"/>
                <a:gd name="connsiteY82" fmla="*/ 2016293 h 15152939"/>
                <a:gd name="connsiteX83" fmla="*/ 23888932 w 27542354"/>
                <a:gd name="connsiteY83" fmla="*/ 1998212 h 15152939"/>
                <a:gd name="connsiteX84" fmla="*/ 24612383 w 27542354"/>
                <a:gd name="connsiteY84" fmla="*/ 1582227 h 15152939"/>
                <a:gd name="connsiteX85" fmla="*/ 25010275 w 27542354"/>
                <a:gd name="connsiteY85" fmla="*/ 695990 h 15152939"/>
                <a:gd name="connsiteX86" fmla="*/ 25769899 w 27542354"/>
                <a:gd name="connsiteY86" fmla="*/ 840685 h 15152939"/>
                <a:gd name="connsiteX87" fmla="*/ 26402920 w 27542354"/>
                <a:gd name="connsiteY87" fmla="*/ 876857 h 15152939"/>
                <a:gd name="connsiteX88" fmla="*/ 26240141 w 27542354"/>
                <a:gd name="connsiteY88" fmla="*/ 1491794 h 15152939"/>
                <a:gd name="connsiteX89" fmla="*/ 26554742 w 27542354"/>
                <a:gd name="connsiteY89" fmla="*/ 2052454 h 15152939"/>
                <a:gd name="connsiteX90" fmla="*/ 25679461 w 27542354"/>
                <a:gd name="connsiteY90" fmla="*/ 2775920 h 15152939"/>
                <a:gd name="connsiteX91" fmla="*/ 25751806 w 27542354"/>
                <a:gd name="connsiteY91" fmla="*/ 3806840 h 15152939"/>
                <a:gd name="connsiteX92" fmla="*/ 26157237 w 27542354"/>
                <a:gd name="connsiteY92"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023104 w 27542354"/>
                <a:gd name="connsiteY6" fmla="*/ 7478344 h 15152939"/>
                <a:gd name="connsiteX7" fmla="*/ 26619948 w 27542354"/>
                <a:gd name="connsiteY7" fmla="*/ 7840060 h 15152939"/>
                <a:gd name="connsiteX8" fmla="*/ 26276305 w 27542354"/>
                <a:gd name="connsiteY8" fmla="*/ 8672029 h 15152939"/>
                <a:gd name="connsiteX9" fmla="*/ 26312478 w 27542354"/>
                <a:gd name="connsiteY9" fmla="*/ 9666777 h 15152939"/>
                <a:gd name="connsiteX10" fmla="*/ 26402912 w 27542354"/>
                <a:gd name="connsiteY10" fmla="*/ 10643437 h 15152939"/>
                <a:gd name="connsiteX11" fmla="*/ 27542355 w 27542354"/>
                <a:gd name="connsiteY11" fmla="*/ 12005935 h 15152939"/>
                <a:gd name="connsiteX12" fmla="*/ 26089423 w 27542354"/>
                <a:gd name="connsiteY12" fmla="*/ 11975789 h 15152939"/>
                <a:gd name="connsiteX13" fmla="*/ 24473715 w 27542354"/>
                <a:gd name="connsiteY13" fmla="*/ 12090334 h 15152939"/>
                <a:gd name="connsiteX14" fmla="*/ 23135328 w 27542354"/>
                <a:gd name="connsiteY14" fmla="*/ 12222964 h 15152939"/>
                <a:gd name="connsiteX15" fmla="*/ 22261159 w 27542354"/>
                <a:gd name="connsiteY15" fmla="*/ 12934357 h 15152939"/>
                <a:gd name="connsiteX16" fmla="*/ 20826342 w 27542354"/>
                <a:gd name="connsiteY16" fmla="*/ 14369204 h 15152939"/>
                <a:gd name="connsiteX17" fmla="*/ 12952786 w 27542354"/>
                <a:gd name="connsiteY17" fmla="*/ 14960014 h 15152939"/>
                <a:gd name="connsiteX18" fmla="*/ 11934663 w 27542354"/>
                <a:gd name="connsiteY18" fmla="*/ 15008264 h 15152939"/>
                <a:gd name="connsiteX19" fmla="*/ 8506848 w 27542354"/>
                <a:gd name="connsiteY19" fmla="*/ 15152939 h 15152939"/>
                <a:gd name="connsiteX20" fmla="*/ 7985095 w 27542354"/>
                <a:gd name="connsiteY20" fmla="*/ 14507857 h 15152939"/>
                <a:gd name="connsiteX21" fmla="*/ 7400308 w 27542354"/>
                <a:gd name="connsiteY21" fmla="*/ 14477712 h 15152939"/>
                <a:gd name="connsiteX22" fmla="*/ 6972273 w 27542354"/>
                <a:gd name="connsiteY22" fmla="*/ 14749009 h 15152939"/>
                <a:gd name="connsiteX23" fmla="*/ 5181729 w 27542354"/>
                <a:gd name="connsiteY23" fmla="*/ 14664610 h 15152939"/>
                <a:gd name="connsiteX24" fmla="*/ 4397998 w 27542354"/>
                <a:gd name="connsiteY24" fmla="*/ 14031593 h 15152939"/>
                <a:gd name="connsiteX25" fmla="*/ 2908896 w 27542354"/>
                <a:gd name="connsiteY25" fmla="*/ 13223739 h 15152939"/>
                <a:gd name="connsiteX26" fmla="*/ 1263043 w 27542354"/>
                <a:gd name="connsiteY26" fmla="*/ 12512346 h 15152939"/>
                <a:gd name="connsiteX27" fmla="*/ 485320 w 27542354"/>
                <a:gd name="connsiteY27" fmla="*/ 12060189 h 15152939"/>
                <a:gd name="connsiteX28" fmla="*/ 0 w 27542354"/>
                <a:gd name="connsiteY28" fmla="*/ 11767077 h 15152939"/>
                <a:gd name="connsiteX29" fmla="*/ 1003686 w 27542354"/>
                <a:gd name="connsiteY29" fmla="*/ 11021112 h 15152939"/>
                <a:gd name="connsiteX30" fmla="*/ 2902551 w 27542354"/>
                <a:gd name="connsiteY30" fmla="*/ 9836713 h 15152939"/>
                <a:gd name="connsiteX31" fmla="*/ 2558940 w 27542354"/>
                <a:gd name="connsiteY31" fmla="*/ 9303282 h 15152939"/>
                <a:gd name="connsiteX32" fmla="*/ 2402508 w 27542354"/>
                <a:gd name="connsiteY32" fmla="*/ 8616199 h 15152939"/>
                <a:gd name="connsiteX33" fmla="*/ 2730740 w 27542354"/>
                <a:gd name="connsiteY33" fmla="*/ 8589028 h 15152939"/>
                <a:gd name="connsiteX34" fmla="*/ 2947754 w 27542354"/>
                <a:gd name="connsiteY34" fmla="*/ 8118883 h 15152939"/>
                <a:gd name="connsiteX35" fmla="*/ 3499325 w 27542354"/>
                <a:gd name="connsiteY35" fmla="*/ 7675866 h 15152939"/>
                <a:gd name="connsiteX36" fmla="*/ 3680166 w 27542354"/>
                <a:gd name="connsiteY36" fmla="*/ 6798868 h 15152939"/>
                <a:gd name="connsiteX37" fmla="*/ 4186528 w 27542354"/>
                <a:gd name="connsiteY37" fmla="*/ 6807904 h 15152939"/>
                <a:gd name="connsiteX38" fmla="*/ 4837569 w 27542354"/>
                <a:gd name="connsiteY38" fmla="*/ 7278054 h 15152939"/>
                <a:gd name="connsiteX39" fmla="*/ 5352976 w 27542354"/>
                <a:gd name="connsiteY39" fmla="*/ 7196687 h 15152939"/>
                <a:gd name="connsiteX40" fmla="*/ 5741786 w 27542354"/>
                <a:gd name="connsiteY40" fmla="*/ 6825992 h 15152939"/>
                <a:gd name="connsiteX41" fmla="*/ 6157723 w 27542354"/>
                <a:gd name="connsiteY41" fmla="*/ 6663251 h 15152939"/>
                <a:gd name="connsiteX42" fmla="*/ 6745471 w 27542354"/>
                <a:gd name="connsiteY42" fmla="*/ 6093658 h 15152939"/>
                <a:gd name="connsiteX43" fmla="*/ 6890140 w 27542354"/>
                <a:gd name="connsiteY43" fmla="*/ 5243782 h 15152939"/>
                <a:gd name="connsiteX44" fmla="*/ 7568305 w 27542354"/>
                <a:gd name="connsiteY44" fmla="*/ 4674188 h 15152939"/>
                <a:gd name="connsiteX45" fmla="*/ 8137967 w 27542354"/>
                <a:gd name="connsiteY45" fmla="*/ 4231167 h 15152939"/>
                <a:gd name="connsiteX46" fmla="*/ 8463480 w 27542354"/>
                <a:gd name="connsiteY46" fmla="*/ 3426500 h 15152939"/>
                <a:gd name="connsiteX47" fmla="*/ 9024093 w 27542354"/>
                <a:gd name="connsiteY47" fmla="*/ 3073893 h 15152939"/>
                <a:gd name="connsiteX48" fmla="*/ 9675138 w 27542354"/>
                <a:gd name="connsiteY48" fmla="*/ 2721291 h 15152939"/>
                <a:gd name="connsiteX49" fmla="*/ 9558580 w 27542354"/>
                <a:gd name="connsiteY49" fmla="*/ 2173007 h 15152939"/>
                <a:gd name="connsiteX50" fmla="*/ 10353296 w 27542354"/>
                <a:gd name="connsiteY50" fmla="*/ 1500723 h 15152939"/>
                <a:gd name="connsiteX51" fmla="*/ 10832530 w 27542354"/>
                <a:gd name="connsiteY51" fmla="*/ 1428389 h 15152939"/>
                <a:gd name="connsiteX52" fmla="*/ 11058585 w 27542354"/>
                <a:gd name="connsiteY52" fmla="*/ 1880458 h 15152939"/>
                <a:gd name="connsiteX53" fmla="*/ 11411229 w 27542354"/>
                <a:gd name="connsiteY53" fmla="*/ 2260189 h 15152939"/>
                <a:gd name="connsiteX54" fmla="*/ 11998974 w 27542354"/>
                <a:gd name="connsiteY54" fmla="*/ 2341559 h 15152939"/>
                <a:gd name="connsiteX55" fmla="*/ 12315449 w 27542354"/>
                <a:gd name="connsiteY55" fmla="*/ 3001571 h 15152939"/>
                <a:gd name="connsiteX56" fmla="*/ 12785642 w 27542354"/>
                <a:gd name="connsiteY56" fmla="*/ 2820742 h 15152939"/>
                <a:gd name="connsiteX57" fmla="*/ 13671776 w 27542354"/>
                <a:gd name="connsiteY57" fmla="*/ 3272803 h 15152939"/>
                <a:gd name="connsiteX58" fmla="*/ 14123886 w 27542354"/>
                <a:gd name="connsiteY58" fmla="*/ 2974450 h 15152939"/>
                <a:gd name="connsiteX59" fmla="*/ 14259509 w 27542354"/>
                <a:gd name="connsiteY59" fmla="*/ 2404849 h 15152939"/>
                <a:gd name="connsiteX60" fmla="*/ 14892468 w 27542354"/>
                <a:gd name="connsiteY60" fmla="*/ 1762918 h 15152939"/>
                <a:gd name="connsiteX61" fmla="*/ 15778605 w 27542354"/>
                <a:gd name="connsiteY61" fmla="*/ 1211398 h 15152939"/>
                <a:gd name="connsiteX62" fmla="*/ 16022739 w 27542354"/>
                <a:gd name="connsiteY62" fmla="*/ 1681548 h 15152939"/>
                <a:gd name="connsiteX63" fmla="*/ 16013694 w 27542354"/>
                <a:gd name="connsiteY63" fmla="*/ 2169778 h 15152939"/>
                <a:gd name="connsiteX64" fmla="*/ 16556232 w 27542354"/>
                <a:gd name="connsiteY64" fmla="*/ 2260200 h 15152939"/>
                <a:gd name="connsiteX65" fmla="*/ 16863663 w 27542354"/>
                <a:gd name="connsiteY65" fmla="*/ 1744834 h 15152939"/>
                <a:gd name="connsiteX66" fmla="*/ 17406193 w 27542354"/>
                <a:gd name="connsiteY66" fmla="*/ 1410312 h 15152939"/>
                <a:gd name="connsiteX67" fmla="*/ 17623203 w 27542354"/>
                <a:gd name="connsiteY67" fmla="*/ 867840 h 15152939"/>
                <a:gd name="connsiteX68" fmla="*/ 18120524 w 27542354"/>
                <a:gd name="connsiteY68" fmla="*/ 831675 h 15152939"/>
                <a:gd name="connsiteX69" fmla="*/ 18201903 w 27542354"/>
                <a:gd name="connsiteY69" fmla="*/ 542358 h 15152939"/>
                <a:gd name="connsiteX70" fmla="*/ 18744437 w 27542354"/>
                <a:gd name="connsiteY70" fmla="*/ 117414 h 15152939"/>
                <a:gd name="connsiteX71" fmla="*/ 19443290 w 27542354"/>
                <a:gd name="connsiteY71" fmla="*/ 0 h 15152939"/>
                <a:gd name="connsiteX72" fmla="*/ 19982300 w 27542354"/>
                <a:gd name="connsiteY72" fmla="*/ 460880 h 15152939"/>
                <a:gd name="connsiteX73" fmla="*/ 19530143 w 27542354"/>
                <a:gd name="connsiteY73" fmla="*/ 913038 h 15152939"/>
                <a:gd name="connsiteX74" fmla="*/ 19837609 w 27542354"/>
                <a:gd name="connsiteY74" fmla="*/ 1238588 h 15152939"/>
                <a:gd name="connsiteX75" fmla="*/ 20886614 w 27542354"/>
                <a:gd name="connsiteY75" fmla="*/ 1546055 h 15152939"/>
                <a:gd name="connsiteX76" fmla="*/ 21881359 w 27542354"/>
                <a:gd name="connsiteY76" fmla="*/ 1889694 h 15152939"/>
                <a:gd name="connsiteX77" fmla="*/ 21772837 w 27542354"/>
                <a:gd name="connsiteY77" fmla="*/ 2269505 h 15152939"/>
                <a:gd name="connsiteX78" fmla="*/ 21537712 w 27542354"/>
                <a:gd name="connsiteY78" fmla="*/ 2884438 h 15152939"/>
                <a:gd name="connsiteX79" fmla="*/ 21996067 w 27542354"/>
                <a:gd name="connsiteY79" fmla="*/ 2911656 h 15152939"/>
                <a:gd name="connsiteX80" fmla="*/ 22478203 w 27542354"/>
                <a:gd name="connsiteY80" fmla="*/ 2414189 h 15152939"/>
                <a:gd name="connsiteX81" fmla="*/ 23292084 w 27542354"/>
                <a:gd name="connsiteY81" fmla="*/ 2016293 h 15152939"/>
                <a:gd name="connsiteX82" fmla="*/ 23888932 w 27542354"/>
                <a:gd name="connsiteY82" fmla="*/ 1998212 h 15152939"/>
                <a:gd name="connsiteX83" fmla="*/ 24612383 w 27542354"/>
                <a:gd name="connsiteY83" fmla="*/ 1582227 h 15152939"/>
                <a:gd name="connsiteX84" fmla="*/ 25010275 w 27542354"/>
                <a:gd name="connsiteY84" fmla="*/ 695990 h 15152939"/>
                <a:gd name="connsiteX85" fmla="*/ 25769899 w 27542354"/>
                <a:gd name="connsiteY85" fmla="*/ 840685 h 15152939"/>
                <a:gd name="connsiteX86" fmla="*/ 26402920 w 27542354"/>
                <a:gd name="connsiteY86" fmla="*/ 876857 h 15152939"/>
                <a:gd name="connsiteX87" fmla="*/ 26240141 w 27542354"/>
                <a:gd name="connsiteY87" fmla="*/ 1491794 h 15152939"/>
                <a:gd name="connsiteX88" fmla="*/ 26554742 w 27542354"/>
                <a:gd name="connsiteY88" fmla="*/ 2052454 h 15152939"/>
                <a:gd name="connsiteX89" fmla="*/ 25679461 w 27542354"/>
                <a:gd name="connsiteY89" fmla="*/ 2775920 h 15152939"/>
                <a:gd name="connsiteX90" fmla="*/ 25751806 w 27542354"/>
                <a:gd name="connsiteY90" fmla="*/ 3806840 h 15152939"/>
                <a:gd name="connsiteX91" fmla="*/ 26157237 w 27542354"/>
                <a:gd name="connsiteY91"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023104 w 27542354"/>
                <a:gd name="connsiteY6" fmla="*/ 7478344 h 15152939"/>
                <a:gd name="connsiteX7" fmla="*/ 26619948 w 27542354"/>
                <a:gd name="connsiteY7" fmla="*/ 7840060 h 15152939"/>
                <a:gd name="connsiteX8" fmla="*/ 26312478 w 27542354"/>
                <a:gd name="connsiteY8" fmla="*/ 9666777 h 15152939"/>
                <a:gd name="connsiteX9" fmla="*/ 26402912 w 27542354"/>
                <a:gd name="connsiteY9" fmla="*/ 10643437 h 15152939"/>
                <a:gd name="connsiteX10" fmla="*/ 27542355 w 27542354"/>
                <a:gd name="connsiteY10" fmla="*/ 12005935 h 15152939"/>
                <a:gd name="connsiteX11" fmla="*/ 26089423 w 27542354"/>
                <a:gd name="connsiteY11" fmla="*/ 11975789 h 15152939"/>
                <a:gd name="connsiteX12" fmla="*/ 24473715 w 27542354"/>
                <a:gd name="connsiteY12" fmla="*/ 12090334 h 15152939"/>
                <a:gd name="connsiteX13" fmla="*/ 23135328 w 27542354"/>
                <a:gd name="connsiteY13" fmla="*/ 12222964 h 15152939"/>
                <a:gd name="connsiteX14" fmla="*/ 22261159 w 27542354"/>
                <a:gd name="connsiteY14" fmla="*/ 12934357 h 15152939"/>
                <a:gd name="connsiteX15" fmla="*/ 20826342 w 27542354"/>
                <a:gd name="connsiteY15" fmla="*/ 14369204 h 15152939"/>
                <a:gd name="connsiteX16" fmla="*/ 12952786 w 27542354"/>
                <a:gd name="connsiteY16" fmla="*/ 14960014 h 15152939"/>
                <a:gd name="connsiteX17" fmla="*/ 11934663 w 27542354"/>
                <a:gd name="connsiteY17" fmla="*/ 15008264 h 15152939"/>
                <a:gd name="connsiteX18" fmla="*/ 8506848 w 27542354"/>
                <a:gd name="connsiteY18" fmla="*/ 15152939 h 15152939"/>
                <a:gd name="connsiteX19" fmla="*/ 7985095 w 27542354"/>
                <a:gd name="connsiteY19" fmla="*/ 14507857 h 15152939"/>
                <a:gd name="connsiteX20" fmla="*/ 7400308 w 27542354"/>
                <a:gd name="connsiteY20" fmla="*/ 14477712 h 15152939"/>
                <a:gd name="connsiteX21" fmla="*/ 6972273 w 27542354"/>
                <a:gd name="connsiteY21" fmla="*/ 14749009 h 15152939"/>
                <a:gd name="connsiteX22" fmla="*/ 5181729 w 27542354"/>
                <a:gd name="connsiteY22" fmla="*/ 14664610 h 15152939"/>
                <a:gd name="connsiteX23" fmla="*/ 4397998 w 27542354"/>
                <a:gd name="connsiteY23" fmla="*/ 14031593 h 15152939"/>
                <a:gd name="connsiteX24" fmla="*/ 2908896 w 27542354"/>
                <a:gd name="connsiteY24" fmla="*/ 13223739 h 15152939"/>
                <a:gd name="connsiteX25" fmla="*/ 1263043 w 27542354"/>
                <a:gd name="connsiteY25" fmla="*/ 12512346 h 15152939"/>
                <a:gd name="connsiteX26" fmla="*/ 485320 w 27542354"/>
                <a:gd name="connsiteY26" fmla="*/ 12060189 h 15152939"/>
                <a:gd name="connsiteX27" fmla="*/ 0 w 27542354"/>
                <a:gd name="connsiteY27" fmla="*/ 11767077 h 15152939"/>
                <a:gd name="connsiteX28" fmla="*/ 1003686 w 27542354"/>
                <a:gd name="connsiteY28" fmla="*/ 11021112 h 15152939"/>
                <a:gd name="connsiteX29" fmla="*/ 2902551 w 27542354"/>
                <a:gd name="connsiteY29" fmla="*/ 9836713 h 15152939"/>
                <a:gd name="connsiteX30" fmla="*/ 2558940 w 27542354"/>
                <a:gd name="connsiteY30" fmla="*/ 9303282 h 15152939"/>
                <a:gd name="connsiteX31" fmla="*/ 2402508 w 27542354"/>
                <a:gd name="connsiteY31" fmla="*/ 8616199 h 15152939"/>
                <a:gd name="connsiteX32" fmla="*/ 2730740 w 27542354"/>
                <a:gd name="connsiteY32" fmla="*/ 8589028 h 15152939"/>
                <a:gd name="connsiteX33" fmla="*/ 2947754 w 27542354"/>
                <a:gd name="connsiteY33" fmla="*/ 8118883 h 15152939"/>
                <a:gd name="connsiteX34" fmla="*/ 3499325 w 27542354"/>
                <a:gd name="connsiteY34" fmla="*/ 7675866 h 15152939"/>
                <a:gd name="connsiteX35" fmla="*/ 3680166 w 27542354"/>
                <a:gd name="connsiteY35" fmla="*/ 6798868 h 15152939"/>
                <a:gd name="connsiteX36" fmla="*/ 4186528 w 27542354"/>
                <a:gd name="connsiteY36" fmla="*/ 6807904 h 15152939"/>
                <a:gd name="connsiteX37" fmla="*/ 4837569 w 27542354"/>
                <a:gd name="connsiteY37" fmla="*/ 7278054 h 15152939"/>
                <a:gd name="connsiteX38" fmla="*/ 5352976 w 27542354"/>
                <a:gd name="connsiteY38" fmla="*/ 7196687 h 15152939"/>
                <a:gd name="connsiteX39" fmla="*/ 5741786 w 27542354"/>
                <a:gd name="connsiteY39" fmla="*/ 6825992 h 15152939"/>
                <a:gd name="connsiteX40" fmla="*/ 6157723 w 27542354"/>
                <a:gd name="connsiteY40" fmla="*/ 6663251 h 15152939"/>
                <a:gd name="connsiteX41" fmla="*/ 6745471 w 27542354"/>
                <a:gd name="connsiteY41" fmla="*/ 6093658 h 15152939"/>
                <a:gd name="connsiteX42" fmla="*/ 6890140 w 27542354"/>
                <a:gd name="connsiteY42" fmla="*/ 5243782 h 15152939"/>
                <a:gd name="connsiteX43" fmla="*/ 7568305 w 27542354"/>
                <a:gd name="connsiteY43" fmla="*/ 4674188 h 15152939"/>
                <a:gd name="connsiteX44" fmla="*/ 8137967 w 27542354"/>
                <a:gd name="connsiteY44" fmla="*/ 4231167 h 15152939"/>
                <a:gd name="connsiteX45" fmla="*/ 8463480 w 27542354"/>
                <a:gd name="connsiteY45" fmla="*/ 3426500 h 15152939"/>
                <a:gd name="connsiteX46" fmla="*/ 9024093 w 27542354"/>
                <a:gd name="connsiteY46" fmla="*/ 3073893 h 15152939"/>
                <a:gd name="connsiteX47" fmla="*/ 9675138 w 27542354"/>
                <a:gd name="connsiteY47" fmla="*/ 2721291 h 15152939"/>
                <a:gd name="connsiteX48" fmla="*/ 9558580 w 27542354"/>
                <a:gd name="connsiteY48" fmla="*/ 2173007 h 15152939"/>
                <a:gd name="connsiteX49" fmla="*/ 10353296 w 27542354"/>
                <a:gd name="connsiteY49" fmla="*/ 1500723 h 15152939"/>
                <a:gd name="connsiteX50" fmla="*/ 10832530 w 27542354"/>
                <a:gd name="connsiteY50" fmla="*/ 1428389 h 15152939"/>
                <a:gd name="connsiteX51" fmla="*/ 11058585 w 27542354"/>
                <a:gd name="connsiteY51" fmla="*/ 1880458 h 15152939"/>
                <a:gd name="connsiteX52" fmla="*/ 11411229 w 27542354"/>
                <a:gd name="connsiteY52" fmla="*/ 2260189 h 15152939"/>
                <a:gd name="connsiteX53" fmla="*/ 11998974 w 27542354"/>
                <a:gd name="connsiteY53" fmla="*/ 2341559 h 15152939"/>
                <a:gd name="connsiteX54" fmla="*/ 12315449 w 27542354"/>
                <a:gd name="connsiteY54" fmla="*/ 3001571 h 15152939"/>
                <a:gd name="connsiteX55" fmla="*/ 12785642 w 27542354"/>
                <a:gd name="connsiteY55" fmla="*/ 2820742 h 15152939"/>
                <a:gd name="connsiteX56" fmla="*/ 13671776 w 27542354"/>
                <a:gd name="connsiteY56" fmla="*/ 3272803 h 15152939"/>
                <a:gd name="connsiteX57" fmla="*/ 14123886 w 27542354"/>
                <a:gd name="connsiteY57" fmla="*/ 2974450 h 15152939"/>
                <a:gd name="connsiteX58" fmla="*/ 14259509 w 27542354"/>
                <a:gd name="connsiteY58" fmla="*/ 2404849 h 15152939"/>
                <a:gd name="connsiteX59" fmla="*/ 14892468 w 27542354"/>
                <a:gd name="connsiteY59" fmla="*/ 1762918 h 15152939"/>
                <a:gd name="connsiteX60" fmla="*/ 15778605 w 27542354"/>
                <a:gd name="connsiteY60" fmla="*/ 1211398 h 15152939"/>
                <a:gd name="connsiteX61" fmla="*/ 16022739 w 27542354"/>
                <a:gd name="connsiteY61" fmla="*/ 1681548 h 15152939"/>
                <a:gd name="connsiteX62" fmla="*/ 16013694 w 27542354"/>
                <a:gd name="connsiteY62" fmla="*/ 2169778 h 15152939"/>
                <a:gd name="connsiteX63" fmla="*/ 16556232 w 27542354"/>
                <a:gd name="connsiteY63" fmla="*/ 2260200 h 15152939"/>
                <a:gd name="connsiteX64" fmla="*/ 16863663 w 27542354"/>
                <a:gd name="connsiteY64" fmla="*/ 1744834 h 15152939"/>
                <a:gd name="connsiteX65" fmla="*/ 17406193 w 27542354"/>
                <a:gd name="connsiteY65" fmla="*/ 1410312 h 15152939"/>
                <a:gd name="connsiteX66" fmla="*/ 17623203 w 27542354"/>
                <a:gd name="connsiteY66" fmla="*/ 867840 h 15152939"/>
                <a:gd name="connsiteX67" fmla="*/ 18120524 w 27542354"/>
                <a:gd name="connsiteY67" fmla="*/ 831675 h 15152939"/>
                <a:gd name="connsiteX68" fmla="*/ 18201903 w 27542354"/>
                <a:gd name="connsiteY68" fmla="*/ 542358 h 15152939"/>
                <a:gd name="connsiteX69" fmla="*/ 18744437 w 27542354"/>
                <a:gd name="connsiteY69" fmla="*/ 117414 h 15152939"/>
                <a:gd name="connsiteX70" fmla="*/ 19443290 w 27542354"/>
                <a:gd name="connsiteY70" fmla="*/ 0 h 15152939"/>
                <a:gd name="connsiteX71" fmla="*/ 19982300 w 27542354"/>
                <a:gd name="connsiteY71" fmla="*/ 460880 h 15152939"/>
                <a:gd name="connsiteX72" fmla="*/ 19530143 w 27542354"/>
                <a:gd name="connsiteY72" fmla="*/ 913038 h 15152939"/>
                <a:gd name="connsiteX73" fmla="*/ 19837609 w 27542354"/>
                <a:gd name="connsiteY73" fmla="*/ 1238588 h 15152939"/>
                <a:gd name="connsiteX74" fmla="*/ 20886614 w 27542354"/>
                <a:gd name="connsiteY74" fmla="*/ 1546055 h 15152939"/>
                <a:gd name="connsiteX75" fmla="*/ 21881359 w 27542354"/>
                <a:gd name="connsiteY75" fmla="*/ 1889694 h 15152939"/>
                <a:gd name="connsiteX76" fmla="*/ 21772837 w 27542354"/>
                <a:gd name="connsiteY76" fmla="*/ 2269505 h 15152939"/>
                <a:gd name="connsiteX77" fmla="*/ 21537712 w 27542354"/>
                <a:gd name="connsiteY77" fmla="*/ 2884438 h 15152939"/>
                <a:gd name="connsiteX78" fmla="*/ 21996067 w 27542354"/>
                <a:gd name="connsiteY78" fmla="*/ 2911656 h 15152939"/>
                <a:gd name="connsiteX79" fmla="*/ 22478203 w 27542354"/>
                <a:gd name="connsiteY79" fmla="*/ 2414189 h 15152939"/>
                <a:gd name="connsiteX80" fmla="*/ 23292084 w 27542354"/>
                <a:gd name="connsiteY80" fmla="*/ 2016293 h 15152939"/>
                <a:gd name="connsiteX81" fmla="*/ 23888932 w 27542354"/>
                <a:gd name="connsiteY81" fmla="*/ 1998212 h 15152939"/>
                <a:gd name="connsiteX82" fmla="*/ 24612383 w 27542354"/>
                <a:gd name="connsiteY82" fmla="*/ 1582227 h 15152939"/>
                <a:gd name="connsiteX83" fmla="*/ 25010275 w 27542354"/>
                <a:gd name="connsiteY83" fmla="*/ 695990 h 15152939"/>
                <a:gd name="connsiteX84" fmla="*/ 25769899 w 27542354"/>
                <a:gd name="connsiteY84" fmla="*/ 840685 h 15152939"/>
                <a:gd name="connsiteX85" fmla="*/ 26402920 w 27542354"/>
                <a:gd name="connsiteY85" fmla="*/ 876857 h 15152939"/>
                <a:gd name="connsiteX86" fmla="*/ 26240141 w 27542354"/>
                <a:gd name="connsiteY86" fmla="*/ 1491794 h 15152939"/>
                <a:gd name="connsiteX87" fmla="*/ 26554742 w 27542354"/>
                <a:gd name="connsiteY87" fmla="*/ 2052454 h 15152939"/>
                <a:gd name="connsiteX88" fmla="*/ 25679461 w 27542354"/>
                <a:gd name="connsiteY88" fmla="*/ 2775920 h 15152939"/>
                <a:gd name="connsiteX89" fmla="*/ 25751806 w 27542354"/>
                <a:gd name="connsiteY89" fmla="*/ 3806840 h 15152939"/>
                <a:gd name="connsiteX90" fmla="*/ 26157237 w 27542354"/>
                <a:gd name="connsiteY90"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619948 w 27542354"/>
                <a:gd name="connsiteY6" fmla="*/ 7840060 h 15152939"/>
                <a:gd name="connsiteX7" fmla="*/ 26312478 w 27542354"/>
                <a:gd name="connsiteY7" fmla="*/ 9666777 h 15152939"/>
                <a:gd name="connsiteX8" fmla="*/ 26402912 w 27542354"/>
                <a:gd name="connsiteY8" fmla="*/ 10643437 h 15152939"/>
                <a:gd name="connsiteX9" fmla="*/ 27542355 w 27542354"/>
                <a:gd name="connsiteY9" fmla="*/ 12005935 h 15152939"/>
                <a:gd name="connsiteX10" fmla="*/ 26089423 w 27542354"/>
                <a:gd name="connsiteY10" fmla="*/ 11975789 h 15152939"/>
                <a:gd name="connsiteX11" fmla="*/ 24473715 w 27542354"/>
                <a:gd name="connsiteY11" fmla="*/ 12090334 h 15152939"/>
                <a:gd name="connsiteX12" fmla="*/ 23135328 w 27542354"/>
                <a:gd name="connsiteY12" fmla="*/ 12222964 h 15152939"/>
                <a:gd name="connsiteX13" fmla="*/ 22261159 w 27542354"/>
                <a:gd name="connsiteY13" fmla="*/ 12934357 h 15152939"/>
                <a:gd name="connsiteX14" fmla="*/ 20826342 w 27542354"/>
                <a:gd name="connsiteY14" fmla="*/ 14369204 h 15152939"/>
                <a:gd name="connsiteX15" fmla="*/ 12952786 w 27542354"/>
                <a:gd name="connsiteY15" fmla="*/ 14960014 h 15152939"/>
                <a:gd name="connsiteX16" fmla="*/ 11934663 w 27542354"/>
                <a:gd name="connsiteY16" fmla="*/ 15008264 h 15152939"/>
                <a:gd name="connsiteX17" fmla="*/ 8506848 w 27542354"/>
                <a:gd name="connsiteY17" fmla="*/ 15152939 h 15152939"/>
                <a:gd name="connsiteX18" fmla="*/ 7985095 w 27542354"/>
                <a:gd name="connsiteY18" fmla="*/ 14507857 h 15152939"/>
                <a:gd name="connsiteX19" fmla="*/ 7400308 w 27542354"/>
                <a:gd name="connsiteY19" fmla="*/ 14477712 h 15152939"/>
                <a:gd name="connsiteX20" fmla="*/ 6972273 w 27542354"/>
                <a:gd name="connsiteY20" fmla="*/ 14749009 h 15152939"/>
                <a:gd name="connsiteX21" fmla="*/ 5181729 w 27542354"/>
                <a:gd name="connsiteY21" fmla="*/ 14664610 h 15152939"/>
                <a:gd name="connsiteX22" fmla="*/ 4397998 w 27542354"/>
                <a:gd name="connsiteY22" fmla="*/ 14031593 h 15152939"/>
                <a:gd name="connsiteX23" fmla="*/ 2908896 w 27542354"/>
                <a:gd name="connsiteY23" fmla="*/ 13223739 h 15152939"/>
                <a:gd name="connsiteX24" fmla="*/ 1263043 w 27542354"/>
                <a:gd name="connsiteY24" fmla="*/ 12512346 h 15152939"/>
                <a:gd name="connsiteX25" fmla="*/ 485320 w 27542354"/>
                <a:gd name="connsiteY25" fmla="*/ 12060189 h 15152939"/>
                <a:gd name="connsiteX26" fmla="*/ 0 w 27542354"/>
                <a:gd name="connsiteY26" fmla="*/ 11767077 h 15152939"/>
                <a:gd name="connsiteX27" fmla="*/ 1003686 w 27542354"/>
                <a:gd name="connsiteY27" fmla="*/ 11021112 h 15152939"/>
                <a:gd name="connsiteX28" fmla="*/ 2902551 w 27542354"/>
                <a:gd name="connsiteY28" fmla="*/ 9836713 h 15152939"/>
                <a:gd name="connsiteX29" fmla="*/ 2558940 w 27542354"/>
                <a:gd name="connsiteY29" fmla="*/ 9303282 h 15152939"/>
                <a:gd name="connsiteX30" fmla="*/ 2402508 w 27542354"/>
                <a:gd name="connsiteY30" fmla="*/ 8616199 h 15152939"/>
                <a:gd name="connsiteX31" fmla="*/ 2730740 w 27542354"/>
                <a:gd name="connsiteY31" fmla="*/ 8589028 h 15152939"/>
                <a:gd name="connsiteX32" fmla="*/ 2947754 w 27542354"/>
                <a:gd name="connsiteY32" fmla="*/ 8118883 h 15152939"/>
                <a:gd name="connsiteX33" fmla="*/ 3499325 w 27542354"/>
                <a:gd name="connsiteY33" fmla="*/ 7675866 h 15152939"/>
                <a:gd name="connsiteX34" fmla="*/ 3680166 w 27542354"/>
                <a:gd name="connsiteY34" fmla="*/ 6798868 h 15152939"/>
                <a:gd name="connsiteX35" fmla="*/ 4186528 w 27542354"/>
                <a:gd name="connsiteY35" fmla="*/ 6807904 h 15152939"/>
                <a:gd name="connsiteX36" fmla="*/ 4837569 w 27542354"/>
                <a:gd name="connsiteY36" fmla="*/ 7278054 h 15152939"/>
                <a:gd name="connsiteX37" fmla="*/ 5352976 w 27542354"/>
                <a:gd name="connsiteY37" fmla="*/ 7196687 h 15152939"/>
                <a:gd name="connsiteX38" fmla="*/ 5741786 w 27542354"/>
                <a:gd name="connsiteY38" fmla="*/ 6825992 h 15152939"/>
                <a:gd name="connsiteX39" fmla="*/ 6157723 w 27542354"/>
                <a:gd name="connsiteY39" fmla="*/ 6663251 h 15152939"/>
                <a:gd name="connsiteX40" fmla="*/ 6745471 w 27542354"/>
                <a:gd name="connsiteY40" fmla="*/ 6093658 h 15152939"/>
                <a:gd name="connsiteX41" fmla="*/ 6890140 w 27542354"/>
                <a:gd name="connsiteY41" fmla="*/ 5243782 h 15152939"/>
                <a:gd name="connsiteX42" fmla="*/ 7568305 w 27542354"/>
                <a:gd name="connsiteY42" fmla="*/ 4674188 h 15152939"/>
                <a:gd name="connsiteX43" fmla="*/ 8137967 w 27542354"/>
                <a:gd name="connsiteY43" fmla="*/ 4231167 h 15152939"/>
                <a:gd name="connsiteX44" fmla="*/ 8463480 w 27542354"/>
                <a:gd name="connsiteY44" fmla="*/ 3426500 h 15152939"/>
                <a:gd name="connsiteX45" fmla="*/ 9024093 w 27542354"/>
                <a:gd name="connsiteY45" fmla="*/ 3073893 h 15152939"/>
                <a:gd name="connsiteX46" fmla="*/ 9675138 w 27542354"/>
                <a:gd name="connsiteY46" fmla="*/ 2721291 h 15152939"/>
                <a:gd name="connsiteX47" fmla="*/ 9558580 w 27542354"/>
                <a:gd name="connsiteY47" fmla="*/ 2173007 h 15152939"/>
                <a:gd name="connsiteX48" fmla="*/ 10353296 w 27542354"/>
                <a:gd name="connsiteY48" fmla="*/ 1500723 h 15152939"/>
                <a:gd name="connsiteX49" fmla="*/ 10832530 w 27542354"/>
                <a:gd name="connsiteY49" fmla="*/ 1428389 h 15152939"/>
                <a:gd name="connsiteX50" fmla="*/ 11058585 w 27542354"/>
                <a:gd name="connsiteY50" fmla="*/ 1880458 h 15152939"/>
                <a:gd name="connsiteX51" fmla="*/ 11411229 w 27542354"/>
                <a:gd name="connsiteY51" fmla="*/ 2260189 h 15152939"/>
                <a:gd name="connsiteX52" fmla="*/ 11998974 w 27542354"/>
                <a:gd name="connsiteY52" fmla="*/ 2341559 h 15152939"/>
                <a:gd name="connsiteX53" fmla="*/ 12315449 w 27542354"/>
                <a:gd name="connsiteY53" fmla="*/ 3001571 h 15152939"/>
                <a:gd name="connsiteX54" fmla="*/ 12785642 w 27542354"/>
                <a:gd name="connsiteY54" fmla="*/ 2820742 h 15152939"/>
                <a:gd name="connsiteX55" fmla="*/ 13671776 w 27542354"/>
                <a:gd name="connsiteY55" fmla="*/ 3272803 h 15152939"/>
                <a:gd name="connsiteX56" fmla="*/ 14123886 w 27542354"/>
                <a:gd name="connsiteY56" fmla="*/ 2974450 h 15152939"/>
                <a:gd name="connsiteX57" fmla="*/ 14259509 w 27542354"/>
                <a:gd name="connsiteY57" fmla="*/ 2404849 h 15152939"/>
                <a:gd name="connsiteX58" fmla="*/ 14892468 w 27542354"/>
                <a:gd name="connsiteY58" fmla="*/ 1762918 h 15152939"/>
                <a:gd name="connsiteX59" fmla="*/ 15778605 w 27542354"/>
                <a:gd name="connsiteY59" fmla="*/ 1211398 h 15152939"/>
                <a:gd name="connsiteX60" fmla="*/ 16022739 w 27542354"/>
                <a:gd name="connsiteY60" fmla="*/ 1681548 h 15152939"/>
                <a:gd name="connsiteX61" fmla="*/ 16013694 w 27542354"/>
                <a:gd name="connsiteY61" fmla="*/ 2169778 h 15152939"/>
                <a:gd name="connsiteX62" fmla="*/ 16556232 w 27542354"/>
                <a:gd name="connsiteY62" fmla="*/ 2260200 h 15152939"/>
                <a:gd name="connsiteX63" fmla="*/ 16863663 w 27542354"/>
                <a:gd name="connsiteY63" fmla="*/ 1744834 h 15152939"/>
                <a:gd name="connsiteX64" fmla="*/ 17406193 w 27542354"/>
                <a:gd name="connsiteY64" fmla="*/ 1410312 h 15152939"/>
                <a:gd name="connsiteX65" fmla="*/ 17623203 w 27542354"/>
                <a:gd name="connsiteY65" fmla="*/ 867840 h 15152939"/>
                <a:gd name="connsiteX66" fmla="*/ 18120524 w 27542354"/>
                <a:gd name="connsiteY66" fmla="*/ 831675 h 15152939"/>
                <a:gd name="connsiteX67" fmla="*/ 18201903 w 27542354"/>
                <a:gd name="connsiteY67" fmla="*/ 542358 h 15152939"/>
                <a:gd name="connsiteX68" fmla="*/ 18744437 w 27542354"/>
                <a:gd name="connsiteY68" fmla="*/ 117414 h 15152939"/>
                <a:gd name="connsiteX69" fmla="*/ 19443290 w 27542354"/>
                <a:gd name="connsiteY69" fmla="*/ 0 h 15152939"/>
                <a:gd name="connsiteX70" fmla="*/ 19982300 w 27542354"/>
                <a:gd name="connsiteY70" fmla="*/ 460880 h 15152939"/>
                <a:gd name="connsiteX71" fmla="*/ 19530143 w 27542354"/>
                <a:gd name="connsiteY71" fmla="*/ 913038 h 15152939"/>
                <a:gd name="connsiteX72" fmla="*/ 19837609 w 27542354"/>
                <a:gd name="connsiteY72" fmla="*/ 1238588 h 15152939"/>
                <a:gd name="connsiteX73" fmla="*/ 20886614 w 27542354"/>
                <a:gd name="connsiteY73" fmla="*/ 1546055 h 15152939"/>
                <a:gd name="connsiteX74" fmla="*/ 21881359 w 27542354"/>
                <a:gd name="connsiteY74" fmla="*/ 1889694 h 15152939"/>
                <a:gd name="connsiteX75" fmla="*/ 21772837 w 27542354"/>
                <a:gd name="connsiteY75" fmla="*/ 2269505 h 15152939"/>
                <a:gd name="connsiteX76" fmla="*/ 21537712 w 27542354"/>
                <a:gd name="connsiteY76" fmla="*/ 2884438 h 15152939"/>
                <a:gd name="connsiteX77" fmla="*/ 21996067 w 27542354"/>
                <a:gd name="connsiteY77" fmla="*/ 2911656 h 15152939"/>
                <a:gd name="connsiteX78" fmla="*/ 22478203 w 27542354"/>
                <a:gd name="connsiteY78" fmla="*/ 2414189 h 15152939"/>
                <a:gd name="connsiteX79" fmla="*/ 23292084 w 27542354"/>
                <a:gd name="connsiteY79" fmla="*/ 2016293 h 15152939"/>
                <a:gd name="connsiteX80" fmla="*/ 23888932 w 27542354"/>
                <a:gd name="connsiteY80" fmla="*/ 1998212 h 15152939"/>
                <a:gd name="connsiteX81" fmla="*/ 24612383 w 27542354"/>
                <a:gd name="connsiteY81" fmla="*/ 1582227 h 15152939"/>
                <a:gd name="connsiteX82" fmla="*/ 25010275 w 27542354"/>
                <a:gd name="connsiteY82" fmla="*/ 695990 h 15152939"/>
                <a:gd name="connsiteX83" fmla="*/ 25769899 w 27542354"/>
                <a:gd name="connsiteY83" fmla="*/ 840685 h 15152939"/>
                <a:gd name="connsiteX84" fmla="*/ 26402920 w 27542354"/>
                <a:gd name="connsiteY84" fmla="*/ 876857 h 15152939"/>
                <a:gd name="connsiteX85" fmla="*/ 26240141 w 27542354"/>
                <a:gd name="connsiteY85" fmla="*/ 1491794 h 15152939"/>
                <a:gd name="connsiteX86" fmla="*/ 26554742 w 27542354"/>
                <a:gd name="connsiteY86" fmla="*/ 2052454 h 15152939"/>
                <a:gd name="connsiteX87" fmla="*/ 25679461 w 27542354"/>
                <a:gd name="connsiteY87" fmla="*/ 2775920 h 15152939"/>
                <a:gd name="connsiteX88" fmla="*/ 25751806 w 27542354"/>
                <a:gd name="connsiteY88" fmla="*/ 3806840 h 15152939"/>
                <a:gd name="connsiteX89" fmla="*/ 26157237 w 27542354"/>
                <a:gd name="connsiteY89"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5824148 w 27542354"/>
                <a:gd name="connsiteY4" fmla="*/ 6827228 h 15152939"/>
                <a:gd name="connsiteX5" fmla="*/ 26619948 w 27542354"/>
                <a:gd name="connsiteY5" fmla="*/ 7840060 h 15152939"/>
                <a:gd name="connsiteX6" fmla="*/ 26312478 w 27542354"/>
                <a:gd name="connsiteY6" fmla="*/ 9666777 h 15152939"/>
                <a:gd name="connsiteX7" fmla="*/ 26402912 w 27542354"/>
                <a:gd name="connsiteY7" fmla="*/ 10643437 h 15152939"/>
                <a:gd name="connsiteX8" fmla="*/ 27542355 w 27542354"/>
                <a:gd name="connsiteY8" fmla="*/ 12005935 h 15152939"/>
                <a:gd name="connsiteX9" fmla="*/ 26089423 w 27542354"/>
                <a:gd name="connsiteY9" fmla="*/ 11975789 h 15152939"/>
                <a:gd name="connsiteX10" fmla="*/ 24473715 w 27542354"/>
                <a:gd name="connsiteY10" fmla="*/ 12090334 h 15152939"/>
                <a:gd name="connsiteX11" fmla="*/ 23135328 w 27542354"/>
                <a:gd name="connsiteY11" fmla="*/ 12222964 h 15152939"/>
                <a:gd name="connsiteX12" fmla="*/ 22261159 w 27542354"/>
                <a:gd name="connsiteY12" fmla="*/ 12934357 h 15152939"/>
                <a:gd name="connsiteX13" fmla="*/ 20826342 w 27542354"/>
                <a:gd name="connsiteY13" fmla="*/ 14369204 h 15152939"/>
                <a:gd name="connsiteX14" fmla="*/ 12952786 w 27542354"/>
                <a:gd name="connsiteY14" fmla="*/ 14960014 h 15152939"/>
                <a:gd name="connsiteX15" fmla="*/ 11934663 w 27542354"/>
                <a:gd name="connsiteY15" fmla="*/ 15008264 h 15152939"/>
                <a:gd name="connsiteX16" fmla="*/ 8506848 w 27542354"/>
                <a:gd name="connsiteY16" fmla="*/ 15152939 h 15152939"/>
                <a:gd name="connsiteX17" fmla="*/ 7985095 w 27542354"/>
                <a:gd name="connsiteY17" fmla="*/ 14507857 h 15152939"/>
                <a:gd name="connsiteX18" fmla="*/ 7400308 w 27542354"/>
                <a:gd name="connsiteY18" fmla="*/ 14477712 h 15152939"/>
                <a:gd name="connsiteX19" fmla="*/ 6972273 w 27542354"/>
                <a:gd name="connsiteY19" fmla="*/ 14749009 h 15152939"/>
                <a:gd name="connsiteX20" fmla="*/ 5181729 w 27542354"/>
                <a:gd name="connsiteY20" fmla="*/ 14664610 h 15152939"/>
                <a:gd name="connsiteX21" fmla="*/ 4397998 w 27542354"/>
                <a:gd name="connsiteY21" fmla="*/ 14031593 h 15152939"/>
                <a:gd name="connsiteX22" fmla="*/ 2908896 w 27542354"/>
                <a:gd name="connsiteY22" fmla="*/ 13223739 h 15152939"/>
                <a:gd name="connsiteX23" fmla="*/ 1263043 w 27542354"/>
                <a:gd name="connsiteY23" fmla="*/ 12512346 h 15152939"/>
                <a:gd name="connsiteX24" fmla="*/ 485320 w 27542354"/>
                <a:gd name="connsiteY24" fmla="*/ 12060189 h 15152939"/>
                <a:gd name="connsiteX25" fmla="*/ 0 w 27542354"/>
                <a:gd name="connsiteY25" fmla="*/ 11767077 h 15152939"/>
                <a:gd name="connsiteX26" fmla="*/ 1003686 w 27542354"/>
                <a:gd name="connsiteY26" fmla="*/ 11021112 h 15152939"/>
                <a:gd name="connsiteX27" fmla="*/ 2902551 w 27542354"/>
                <a:gd name="connsiteY27" fmla="*/ 9836713 h 15152939"/>
                <a:gd name="connsiteX28" fmla="*/ 2558940 w 27542354"/>
                <a:gd name="connsiteY28" fmla="*/ 9303282 h 15152939"/>
                <a:gd name="connsiteX29" fmla="*/ 2402508 w 27542354"/>
                <a:gd name="connsiteY29" fmla="*/ 8616199 h 15152939"/>
                <a:gd name="connsiteX30" fmla="*/ 2730740 w 27542354"/>
                <a:gd name="connsiteY30" fmla="*/ 8589028 h 15152939"/>
                <a:gd name="connsiteX31" fmla="*/ 2947754 w 27542354"/>
                <a:gd name="connsiteY31" fmla="*/ 8118883 h 15152939"/>
                <a:gd name="connsiteX32" fmla="*/ 3499325 w 27542354"/>
                <a:gd name="connsiteY32" fmla="*/ 7675866 h 15152939"/>
                <a:gd name="connsiteX33" fmla="*/ 3680166 w 27542354"/>
                <a:gd name="connsiteY33" fmla="*/ 6798868 h 15152939"/>
                <a:gd name="connsiteX34" fmla="*/ 4186528 w 27542354"/>
                <a:gd name="connsiteY34" fmla="*/ 6807904 h 15152939"/>
                <a:gd name="connsiteX35" fmla="*/ 4837569 w 27542354"/>
                <a:gd name="connsiteY35" fmla="*/ 7278054 h 15152939"/>
                <a:gd name="connsiteX36" fmla="*/ 5352976 w 27542354"/>
                <a:gd name="connsiteY36" fmla="*/ 7196687 h 15152939"/>
                <a:gd name="connsiteX37" fmla="*/ 5741786 w 27542354"/>
                <a:gd name="connsiteY37" fmla="*/ 6825992 h 15152939"/>
                <a:gd name="connsiteX38" fmla="*/ 6157723 w 27542354"/>
                <a:gd name="connsiteY38" fmla="*/ 6663251 h 15152939"/>
                <a:gd name="connsiteX39" fmla="*/ 6745471 w 27542354"/>
                <a:gd name="connsiteY39" fmla="*/ 6093658 h 15152939"/>
                <a:gd name="connsiteX40" fmla="*/ 6890140 w 27542354"/>
                <a:gd name="connsiteY40" fmla="*/ 5243782 h 15152939"/>
                <a:gd name="connsiteX41" fmla="*/ 7568305 w 27542354"/>
                <a:gd name="connsiteY41" fmla="*/ 4674188 h 15152939"/>
                <a:gd name="connsiteX42" fmla="*/ 8137967 w 27542354"/>
                <a:gd name="connsiteY42" fmla="*/ 4231167 h 15152939"/>
                <a:gd name="connsiteX43" fmla="*/ 8463480 w 27542354"/>
                <a:gd name="connsiteY43" fmla="*/ 3426500 h 15152939"/>
                <a:gd name="connsiteX44" fmla="*/ 9024093 w 27542354"/>
                <a:gd name="connsiteY44" fmla="*/ 3073893 h 15152939"/>
                <a:gd name="connsiteX45" fmla="*/ 9675138 w 27542354"/>
                <a:gd name="connsiteY45" fmla="*/ 2721291 h 15152939"/>
                <a:gd name="connsiteX46" fmla="*/ 9558580 w 27542354"/>
                <a:gd name="connsiteY46" fmla="*/ 2173007 h 15152939"/>
                <a:gd name="connsiteX47" fmla="*/ 10353296 w 27542354"/>
                <a:gd name="connsiteY47" fmla="*/ 1500723 h 15152939"/>
                <a:gd name="connsiteX48" fmla="*/ 10832530 w 27542354"/>
                <a:gd name="connsiteY48" fmla="*/ 1428389 h 15152939"/>
                <a:gd name="connsiteX49" fmla="*/ 11058585 w 27542354"/>
                <a:gd name="connsiteY49" fmla="*/ 1880458 h 15152939"/>
                <a:gd name="connsiteX50" fmla="*/ 11411229 w 27542354"/>
                <a:gd name="connsiteY50" fmla="*/ 2260189 h 15152939"/>
                <a:gd name="connsiteX51" fmla="*/ 11998974 w 27542354"/>
                <a:gd name="connsiteY51" fmla="*/ 2341559 h 15152939"/>
                <a:gd name="connsiteX52" fmla="*/ 12315449 w 27542354"/>
                <a:gd name="connsiteY52" fmla="*/ 3001571 h 15152939"/>
                <a:gd name="connsiteX53" fmla="*/ 12785642 w 27542354"/>
                <a:gd name="connsiteY53" fmla="*/ 2820742 h 15152939"/>
                <a:gd name="connsiteX54" fmla="*/ 13671776 w 27542354"/>
                <a:gd name="connsiteY54" fmla="*/ 3272803 h 15152939"/>
                <a:gd name="connsiteX55" fmla="*/ 14123886 w 27542354"/>
                <a:gd name="connsiteY55" fmla="*/ 2974450 h 15152939"/>
                <a:gd name="connsiteX56" fmla="*/ 14259509 w 27542354"/>
                <a:gd name="connsiteY56" fmla="*/ 2404849 h 15152939"/>
                <a:gd name="connsiteX57" fmla="*/ 14892468 w 27542354"/>
                <a:gd name="connsiteY57" fmla="*/ 1762918 h 15152939"/>
                <a:gd name="connsiteX58" fmla="*/ 15778605 w 27542354"/>
                <a:gd name="connsiteY58" fmla="*/ 1211398 h 15152939"/>
                <a:gd name="connsiteX59" fmla="*/ 16022739 w 27542354"/>
                <a:gd name="connsiteY59" fmla="*/ 1681548 h 15152939"/>
                <a:gd name="connsiteX60" fmla="*/ 16013694 w 27542354"/>
                <a:gd name="connsiteY60" fmla="*/ 2169778 h 15152939"/>
                <a:gd name="connsiteX61" fmla="*/ 16556232 w 27542354"/>
                <a:gd name="connsiteY61" fmla="*/ 2260200 h 15152939"/>
                <a:gd name="connsiteX62" fmla="*/ 16863663 w 27542354"/>
                <a:gd name="connsiteY62" fmla="*/ 1744834 h 15152939"/>
                <a:gd name="connsiteX63" fmla="*/ 17406193 w 27542354"/>
                <a:gd name="connsiteY63" fmla="*/ 1410312 h 15152939"/>
                <a:gd name="connsiteX64" fmla="*/ 17623203 w 27542354"/>
                <a:gd name="connsiteY64" fmla="*/ 867840 h 15152939"/>
                <a:gd name="connsiteX65" fmla="*/ 18120524 w 27542354"/>
                <a:gd name="connsiteY65" fmla="*/ 831675 h 15152939"/>
                <a:gd name="connsiteX66" fmla="*/ 18201903 w 27542354"/>
                <a:gd name="connsiteY66" fmla="*/ 542358 h 15152939"/>
                <a:gd name="connsiteX67" fmla="*/ 18744437 w 27542354"/>
                <a:gd name="connsiteY67" fmla="*/ 117414 h 15152939"/>
                <a:gd name="connsiteX68" fmla="*/ 19443290 w 27542354"/>
                <a:gd name="connsiteY68" fmla="*/ 0 h 15152939"/>
                <a:gd name="connsiteX69" fmla="*/ 19982300 w 27542354"/>
                <a:gd name="connsiteY69" fmla="*/ 460880 h 15152939"/>
                <a:gd name="connsiteX70" fmla="*/ 19530143 w 27542354"/>
                <a:gd name="connsiteY70" fmla="*/ 913038 h 15152939"/>
                <a:gd name="connsiteX71" fmla="*/ 19837609 w 27542354"/>
                <a:gd name="connsiteY71" fmla="*/ 1238588 h 15152939"/>
                <a:gd name="connsiteX72" fmla="*/ 20886614 w 27542354"/>
                <a:gd name="connsiteY72" fmla="*/ 1546055 h 15152939"/>
                <a:gd name="connsiteX73" fmla="*/ 21881359 w 27542354"/>
                <a:gd name="connsiteY73" fmla="*/ 1889694 h 15152939"/>
                <a:gd name="connsiteX74" fmla="*/ 21772837 w 27542354"/>
                <a:gd name="connsiteY74" fmla="*/ 2269505 h 15152939"/>
                <a:gd name="connsiteX75" fmla="*/ 21537712 w 27542354"/>
                <a:gd name="connsiteY75" fmla="*/ 2884438 h 15152939"/>
                <a:gd name="connsiteX76" fmla="*/ 21996067 w 27542354"/>
                <a:gd name="connsiteY76" fmla="*/ 2911656 h 15152939"/>
                <a:gd name="connsiteX77" fmla="*/ 22478203 w 27542354"/>
                <a:gd name="connsiteY77" fmla="*/ 2414189 h 15152939"/>
                <a:gd name="connsiteX78" fmla="*/ 23292084 w 27542354"/>
                <a:gd name="connsiteY78" fmla="*/ 2016293 h 15152939"/>
                <a:gd name="connsiteX79" fmla="*/ 23888932 w 27542354"/>
                <a:gd name="connsiteY79" fmla="*/ 1998212 h 15152939"/>
                <a:gd name="connsiteX80" fmla="*/ 24612383 w 27542354"/>
                <a:gd name="connsiteY80" fmla="*/ 1582227 h 15152939"/>
                <a:gd name="connsiteX81" fmla="*/ 25010275 w 27542354"/>
                <a:gd name="connsiteY81" fmla="*/ 695990 h 15152939"/>
                <a:gd name="connsiteX82" fmla="*/ 25769899 w 27542354"/>
                <a:gd name="connsiteY82" fmla="*/ 840685 h 15152939"/>
                <a:gd name="connsiteX83" fmla="*/ 26402920 w 27542354"/>
                <a:gd name="connsiteY83" fmla="*/ 876857 h 15152939"/>
                <a:gd name="connsiteX84" fmla="*/ 26240141 w 27542354"/>
                <a:gd name="connsiteY84" fmla="*/ 1491794 h 15152939"/>
                <a:gd name="connsiteX85" fmla="*/ 26554742 w 27542354"/>
                <a:gd name="connsiteY85" fmla="*/ 2052454 h 15152939"/>
                <a:gd name="connsiteX86" fmla="*/ 25679461 w 27542354"/>
                <a:gd name="connsiteY86" fmla="*/ 2775920 h 15152939"/>
                <a:gd name="connsiteX87" fmla="*/ 25751806 w 27542354"/>
                <a:gd name="connsiteY87" fmla="*/ 3806840 h 15152939"/>
                <a:gd name="connsiteX88" fmla="*/ 26157237 w 27542354"/>
                <a:gd name="connsiteY88" fmla="*/ 4322377 h 15152939"/>
                <a:gd name="connsiteX0" fmla="*/ 26157237 w 27542354"/>
                <a:gd name="connsiteY0" fmla="*/ 4322377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5769899 w 27542354"/>
                <a:gd name="connsiteY81" fmla="*/ 840685 h 15152939"/>
                <a:gd name="connsiteX82" fmla="*/ 26402920 w 27542354"/>
                <a:gd name="connsiteY82" fmla="*/ 876857 h 15152939"/>
                <a:gd name="connsiteX83" fmla="*/ 26240141 w 27542354"/>
                <a:gd name="connsiteY83" fmla="*/ 1491794 h 15152939"/>
                <a:gd name="connsiteX84" fmla="*/ 26554742 w 27542354"/>
                <a:gd name="connsiteY84" fmla="*/ 2052454 h 15152939"/>
                <a:gd name="connsiteX85" fmla="*/ 25679461 w 27542354"/>
                <a:gd name="connsiteY85" fmla="*/ 2775920 h 15152939"/>
                <a:gd name="connsiteX86" fmla="*/ 25751806 w 27542354"/>
                <a:gd name="connsiteY86" fmla="*/ 3806840 h 15152939"/>
                <a:gd name="connsiteX87" fmla="*/ 26157237 w 27542354"/>
                <a:gd name="connsiteY87" fmla="*/ 4322377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5769899 w 27542354"/>
                <a:gd name="connsiteY81" fmla="*/ 840685 h 15152939"/>
                <a:gd name="connsiteX82" fmla="*/ 26402920 w 27542354"/>
                <a:gd name="connsiteY82" fmla="*/ 876857 h 15152939"/>
                <a:gd name="connsiteX83" fmla="*/ 26240141 w 27542354"/>
                <a:gd name="connsiteY83" fmla="*/ 1491794 h 15152939"/>
                <a:gd name="connsiteX84" fmla="*/ 26554742 w 27542354"/>
                <a:gd name="connsiteY84" fmla="*/ 2052454 h 15152939"/>
                <a:gd name="connsiteX85" fmla="*/ 25679461 w 27542354"/>
                <a:gd name="connsiteY85" fmla="*/ 2775920 h 15152939"/>
                <a:gd name="connsiteX86" fmla="*/ 25751806 w 27542354"/>
                <a:gd name="connsiteY86"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5769899 w 27542354"/>
                <a:gd name="connsiteY81" fmla="*/ 840685 h 15152939"/>
                <a:gd name="connsiteX82" fmla="*/ 26402920 w 27542354"/>
                <a:gd name="connsiteY82" fmla="*/ 876857 h 15152939"/>
                <a:gd name="connsiteX83" fmla="*/ 26240141 w 27542354"/>
                <a:gd name="connsiteY83" fmla="*/ 1491794 h 15152939"/>
                <a:gd name="connsiteX84" fmla="*/ 26554742 w 27542354"/>
                <a:gd name="connsiteY84" fmla="*/ 2052454 h 15152939"/>
                <a:gd name="connsiteX85" fmla="*/ 25751806 w 27542354"/>
                <a:gd name="connsiteY85"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5769899 w 27542354"/>
                <a:gd name="connsiteY81" fmla="*/ 840685 h 15152939"/>
                <a:gd name="connsiteX82" fmla="*/ 26402920 w 27542354"/>
                <a:gd name="connsiteY82" fmla="*/ 876857 h 15152939"/>
                <a:gd name="connsiteX83" fmla="*/ 26554742 w 27542354"/>
                <a:gd name="connsiteY83" fmla="*/ 2052454 h 15152939"/>
                <a:gd name="connsiteX84" fmla="*/ 25751806 w 27542354"/>
                <a:gd name="connsiteY84"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6402920 w 27542354"/>
                <a:gd name="connsiteY81" fmla="*/ 876857 h 15152939"/>
                <a:gd name="connsiteX82" fmla="*/ 26554742 w 27542354"/>
                <a:gd name="connsiteY82" fmla="*/ 2052454 h 15152939"/>
                <a:gd name="connsiteX83" fmla="*/ 25751806 w 27542354"/>
                <a:gd name="connsiteY83"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5010275 w 27542354"/>
                <a:gd name="connsiteY79" fmla="*/ 695990 h 15152939"/>
                <a:gd name="connsiteX80" fmla="*/ 26402920 w 27542354"/>
                <a:gd name="connsiteY80" fmla="*/ 876857 h 15152939"/>
                <a:gd name="connsiteX81" fmla="*/ 26554742 w 27542354"/>
                <a:gd name="connsiteY81" fmla="*/ 2052454 h 15152939"/>
                <a:gd name="connsiteX82" fmla="*/ 25751806 w 27542354"/>
                <a:gd name="connsiteY82"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888932 w 27542354"/>
                <a:gd name="connsiteY77" fmla="*/ 1998212 h 15152939"/>
                <a:gd name="connsiteX78" fmla="*/ 25010275 w 27542354"/>
                <a:gd name="connsiteY78" fmla="*/ 695990 h 15152939"/>
                <a:gd name="connsiteX79" fmla="*/ 26402920 w 27542354"/>
                <a:gd name="connsiteY79" fmla="*/ 876857 h 15152939"/>
                <a:gd name="connsiteX80" fmla="*/ 26554742 w 27542354"/>
                <a:gd name="connsiteY80" fmla="*/ 2052454 h 15152939"/>
                <a:gd name="connsiteX81" fmla="*/ 25751806 w 27542354"/>
                <a:gd name="connsiteY81"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2478203 w 27542354"/>
                <a:gd name="connsiteY75" fmla="*/ 2414189 h 15152939"/>
                <a:gd name="connsiteX76" fmla="*/ 23888932 w 27542354"/>
                <a:gd name="connsiteY76" fmla="*/ 1998212 h 15152939"/>
                <a:gd name="connsiteX77" fmla="*/ 25010275 w 27542354"/>
                <a:gd name="connsiteY77" fmla="*/ 695990 h 15152939"/>
                <a:gd name="connsiteX78" fmla="*/ 26402920 w 27542354"/>
                <a:gd name="connsiteY78" fmla="*/ 876857 h 15152939"/>
                <a:gd name="connsiteX79" fmla="*/ 26554742 w 27542354"/>
                <a:gd name="connsiteY79" fmla="*/ 2052454 h 15152939"/>
                <a:gd name="connsiteX80" fmla="*/ 25751806 w 27542354"/>
                <a:gd name="connsiteY80"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537712 w 27542354"/>
                <a:gd name="connsiteY73" fmla="*/ 2884438 h 15152939"/>
                <a:gd name="connsiteX74" fmla="*/ 22478203 w 27542354"/>
                <a:gd name="connsiteY74" fmla="*/ 2414189 h 15152939"/>
                <a:gd name="connsiteX75" fmla="*/ 23888932 w 27542354"/>
                <a:gd name="connsiteY75" fmla="*/ 1998212 h 15152939"/>
                <a:gd name="connsiteX76" fmla="*/ 25010275 w 27542354"/>
                <a:gd name="connsiteY76" fmla="*/ 695990 h 15152939"/>
                <a:gd name="connsiteX77" fmla="*/ 26402920 w 27542354"/>
                <a:gd name="connsiteY77" fmla="*/ 876857 h 15152939"/>
                <a:gd name="connsiteX78" fmla="*/ 26554742 w 27542354"/>
                <a:gd name="connsiteY78" fmla="*/ 2052454 h 15152939"/>
                <a:gd name="connsiteX79" fmla="*/ 25751806 w 27542354"/>
                <a:gd name="connsiteY79"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1881359 w 27542354"/>
                <a:gd name="connsiteY71" fmla="*/ 1889694 h 15152939"/>
                <a:gd name="connsiteX72" fmla="*/ 21537712 w 27542354"/>
                <a:gd name="connsiteY72" fmla="*/ 2884438 h 15152939"/>
                <a:gd name="connsiteX73" fmla="*/ 22478203 w 27542354"/>
                <a:gd name="connsiteY73" fmla="*/ 2414189 h 15152939"/>
                <a:gd name="connsiteX74" fmla="*/ 23888932 w 27542354"/>
                <a:gd name="connsiteY74" fmla="*/ 1998212 h 15152939"/>
                <a:gd name="connsiteX75" fmla="*/ 25010275 w 27542354"/>
                <a:gd name="connsiteY75" fmla="*/ 695990 h 15152939"/>
                <a:gd name="connsiteX76" fmla="*/ 26402920 w 27542354"/>
                <a:gd name="connsiteY76" fmla="*/ 876857 h 15152939"/>
                <a:gd name="connsiteX77" fmla="*/ 26554742 w 27542354"/>
                <a:gd name="connsiteY77" fmla="*/ 2052454 h 15152939"/>
                <a:gd name="connsiteX78" fmla="*/ 25751806 w 27542354"/>
                <a:gd name="connsiteY78"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837609 w 27542354"/>
                <a:gd name="connsiteY69" fmla="*/ 1238588 h 15152939"/>
                <a:gd name="connsiteX70" fmla="*/ 21881359 w 27542354"/>
                <a:gd name="connsiteY70" fmla="*/ 1889694 h 15152939"/>
                <a:gd name="connsiteX71" fmla="*/ 21537712 w 27542354"/>
                <a:gd name="connsiteY71" fmla="*/ 2884438 h 15152939"/>
                <a:gd name="connsiteX72" fmla="*/ 22478203 w 27542354"/>
                <a:gd name="connsiteY72" fmla="*/ 2414189 h 15152939"/>
                <a:gd name="connsiteX73" fmla="*/ 23888932 w 27542354"/>
                <a:gd name="connsiteY73" fmla="*/ 1998212 h 15152939"/>
                <a:gd name="connsiteX74" fmla="*/ 25010275 w 27542354"/>
                <a:gd name="connsiteY74" fmla="*/ 695990 h 15152939"/>
                <a:gd name="connsiteX75" fmla="*/ 26402920 w 27542354"/>
                <a:gd name="connsiteY75" fmla="*/ 876857 h 15152939"/>
                <a:gd name="connsiteX76" fmla="*/ 26554742 w 27542354"/>
                <a:gd name="connsiteY76" fmla="*/ 2052454 h 15152939"/>
                <a:gd name="connsiteX77" fmla="*/ 25751806 w 27542354"/>
                <a:gd name="connsiteY77" fmla="*/ 3806840 h 15152939"/>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013694 w 27542354"/>
                <a:gd name="connsiteY59" fmla="*/ 2052363 h 15035524"/>
                <a:gd name="connsiteX60" fmla="*/ 16556232 w 27542354"/>
                <a:gd name="connsiteY60" fmla="*/ 2142785 h 15035524"/>
                <a:gd name="connsiteX61" fmla="*/ 16863663 w 27542354"/>
                <a:gd name="connsiteY61" fmla="*/ 1627419 h 15035524"/>
                <a:gd name="connsiteX62" fmla="*/ 17406193 w 27542354"/>
                <a:gd name="connsiteY62" fmla="*/ 1292897 h 15035524"/>
                <a:gd name="connsiteX63" fmla="*/ 17623203 w 27542354"/>
                <a:gd name="connsiteY63" fmla="*/ 750425 h 15035524"/>
                <a:gd name="connsiteX64" fmla="*/ 18120524 w 27542354"/>
                <a:gd name="connsiteY64" fmla="*/ 714260 h 15035524"/>
                <a:gd name="connsiteX65" fmla="*/ 18201903 w 27542354"/>
                <a:gd name="connsiteY65" fmla="*/ 424943 h 15035524"/>
                <a:gd name="connsiteX66" fmla="*/ 18744437 w 27542354"/>
                <a:gd name="connsiteY66" fmla="*/ -1 h 15035524"/>
                <a:gd name="connsiteX67" fmla="*/ 19982300 w 27542354"/>
                <a:gd name="connsiteY67" fmla="*/ 343465 h 15035524"/>
                <a:gd name="connsiteX68" fmla="*/ 19837609 w 27542354"/>
                <a:gd name="connsiteY68" fmla="*/ 1121173 h 15035524"/>
                <a:gd name="connsiteX69" fmla="*/ 21881359 w 27542354"/>
                <a:gd name="connsiteY69" fmla="*/ 1772279 h 15035524"/>
                <a:gd name="connsiteX70" fmla="*/ 21537712 w 27542354"/>
                <a:gd name="connsiteY70" fmla="*/ 2767023 h 15035524"/>
                <a:gd name="connsiteX71" fmla="*/ 22478203 w 27542354"/>
                <a:gd name="connsiteY71" fmla="*/ 2296774 h 15035524"/>
                <a:gd name="connsiteX72" fmla="*/ 23888932 w 27542354"/>
                <a:gd name="connsiteY72" fmla="*/ 1880797 h 15035524"/>
                <a:gd name="connsiteX73" fmla="*/ 25010275 w 27542354"/>
                <a:gd name="connsiteY73" fmla="*/ 578575 h 15035524"/>
                <a:gd name="connsiteX74" fmla="*/ 26402920 w 27542354"/>
                <a:gd name="connsiteY74" fmla="*/ 759442 h 15035524"/>
                <a:gd name="connsiteX75" fmla="*/ 26554742 w 27542354"/>
                <a:gd name="connsiteY75" fmla="*/ 1935039 h 15035524"/>
                <a:gd name="connsiteX76" fmla="*/ 25751806 w 27542354"/>
                <a:gd name="connsiteY76"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013694 w 27542354"/>
                <a:gd name="connsiteY59" fmla="*/ 2052363 h 15035524"/>
                <a:gd name="connsiteX60" fmla="*/ 16556232 w 27542354"/>
                <a:gd name="connsiteY60" fmla="*/ 2142785 h 15035524"/>
                <a:gd name="connsiteX61" fmla="*/ 16863663 w 27542354"/>
                <a:gd name="connsiteY61" fmla="*/ 1627419 h 15035524"/>
                <a:gd name="connsiteX62" fmla="*/ 17406193 w 27542354"/>
                <a:gd name="connsiteY62" fmla="*/ 1292897 h 15035524"/>
                <a:gd name="connsiteX63" fmla="*/ 17623203 w 27542354"/>
                <a:gd name="connsiteY63" fmla="*/ 750425 h 15035524"/>
                <a:gd name="connsiteX64" fmla="*/ 18120524 w 27542354"/>
                <a:gd name="connsiteY64" fmla="*/ 714260 h 15035524"/>
                <a:gd name="connsiteX65" fmla="*/ 18744437 w 27542354"/>
                <a:gd name="connsiteY65" fmla="*/ -1 h 15035524"/>
                <a:gd name="connsiteX66" fmla="*/ 19982300 w 27542354"/>
                <a:gd name="connsiteY66" fmla="*/ 343465 h 15035524"/>
                <a:gd name="connsiteX67" fmla="*/ 19837609 w 27542354"/>
                <a:gd name="connsiteY67" fmla="*/ 1121173 h 15035524"/>
                <a:gd name="connsiteX68" fmla="*/ 21881359 w 27542354"/>
                <a:gd name="connsiteY68" fmla="*/ 1772279 h 15035524"/>
                <a:gd name="connsiteX69" fmla="*/ 21537712 w 27542354"/>
                <a:gd name="connsiteY69" fmla="*/ 2767023 h 15035524"/>
                <a:gd name="connsiteX70" fmla="*/ 22478203 w 27542354"/>
                <a:gd name="connsiteY70" fmla="*/ 2296774 h 15035524"/>
                <a:gd name="connsiteX71" fmla="*/ 23888932 w 27542354"/>
                <a:gd name="connsiteY71" fmla="*/ 1880797 h 15035524"/>
                <a:gd name="connsiteX72" fmla="*/ 25010275 w 27542354"/>
                <a:gd name="connsiteY72" fmla="*/ 578575 h 15035524"/>
                <a:gd name="connsiteX73" fmla="*/ 26402920 w 27542354"/>
                <a:gd name="connsiteY73" fmla="*/ 759442 h 15035524"/>
                <a:gd name="connsiteX74" fmla="*/ 26554742 w 27542354"/>
                <a:gd name="connsiteY74" fmla="*/ 1935039 h 15035524"/>
                <a:gd name="connsiteX75" fmla="*/ 25751806 w 27542354"/>
                <a:gd name="connsiteY75"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013694 w 27542354"/>
                <a:gd name="connsiteY59" fmla="*/ 2052363 h 15035524"/>
                <a:gd name="connsiteX60" fmla="*/ 16556232 w 27542354"/>
                <a:gd name="connsiteY60" fmla="*/ 2142785 h 15035524"/>
                <a:gd name="connsiteX61" fmla="*/ 16863663 w 27542354"/>
                <a:gd name="connsiteY61" fmla="*/ 1627419 h 15035524"/>
                <a:gd name="connsiteX62" fmla="*/ 17406193 w 27542354"/>
                <a:gd name="connsiteY62" fmla="*/ 1292897 h 15035524"/>
                <a:gd name="connsiteX63" fmla="*/ 18120524 w 27542354"/>
                <a:gd name="connsiteY63" fmla="*/ 714260 h 15035524"/>
                <a:gd name="connsiteX64" fmla="*/ 18744437 w 27542354"/>
                <a:gd name="connsiteY64" fmla="*/ -1 h 15035524"/>
                <a:gd name="connsiteX65" fmla="*/ 19982300 w 27542354"/>
                <a:gd name="connsiteY65" fmla="*/ 343465 h 15035524"/>
                <a:gd name="connsiteX66" fmla="*/ 19837609 w 27542354"/>
                <a:gd name="connsiteY66" fmla="*/ 1121173 h 15035524"/>
                <a:gd name="connsiteX67" fmla="*/ 21881359 w 27542354"/>
                <a:gd name="connsiteY67" fmla="*/ 1772279 h 15035524"/>
                <a:gd name="connsiteX68" fmla="*/ 21537712 w 27542354"/>
                <a:gd name="connsiteY68" fmla="*/ 2767023 h 15035524"/>
                <a:gd name="connsiteX69" fmla="*/ 22478203 w 27542354"/>
                <a:gd name="connsiteY69" fmla="*/ 2296774 h 15035524"/>
                <a:gd name="connsiteX70" fmla="*/ 23888932 w 27542354"/>
                <a:gd name="connsiteY70" fmla="*/ 1880797 h 15035524"/>
                <a:gd name="connsiteX71" fmla="*/ 25010275 w 27542354"/>
                <a:gd name="connsiteY71" fmla="*/ 578575 h 15035524"/>
                <a:gd name="connsiteX72" fmla="*/ 26402920 w 27542354"/>
                <a:gd name="connsiteY72" fmla="*/ 759442 h 15035524"/>
                <a:gd name="connsiteX73" fmla="*/ 26554742 w 27542354"/>
                <a:gd name="connsiteY73" fmla="*/ 1935039 h 15035524"/>
                <a:gd name="connsiteX74" fmla="*/ 25751806 w 27542354"/>
                <a:gd name="connsiteY74"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013694 w 27542354"/>
                <a:gd name="connsiteY59" fmla="*/ 2052363 h 15035524"/>
                <a:gd name="connsiteX60" fmla="*/ 16556232 w 27542354"/>
                <a:gd name="connsiteY60" fmla="*/ 2142785 h 15035524"/>
                <a:gd name="connsiteX61" fmla="*/ 17406193 w 27542354"/>
                <a:gd name="connsiteY61" fmla="*/ 1292897 h 15035524"/>
                <a:gd name="connsiteX62" fmla="*/ 18120524 w 27542354"/>
                <a:gd name="connsiteY62" fmla="*/ 714260 h 15035524"/>
                <a:gd name="connsiteX63" fmla="*/ 18744437 w 27542354"/>
                <a:gd name="connsiteY63" fmla="*/ -1 h 15035524"/>
                <a:gd name="connsiteX64" fmla="*/ 19982300 w 27542354"/>
                <a:gd name="connsiteY64" fmla="*/ 343465 h 15035524"/>
                <a:gd name="connsiteX65" fmla="*/ 19837609 w 27542354"/>
                <a:gd name="connsiteY65" fmla="*/ 1121173 h 15035524"/>
                <a:gd name="connsiteX66" fmla="*/ 21881359 w 27542354"/>
                <a:gd name="connsiteY66" fmla="*/ 1772279 h 15035524"/>
                <a:gd name="connsiteX67" fmla="*/ 21537712 w 27542354"/>
                <a:gd name="connsiteY67" fmla="*/ 2767023 h 15035524"/>
                <a:gd name="connsiteX68" fmla="*/ 22478203 w 27542354"/>
                <a:gd name="connsiteY68" fmla="*/ 2296774 h 15035524"/>
                <a:gd name="connsiteX69" fmla="*/ 23888932 w 27542354"/>
                <a:gd name="connsiteY69" fmla="*/ 1880797 h 15035524"/>
                <a:gd name="connsiteX70" fmla="*/ 25010275 w 27542354"/>
                <a:gd name="connsiteY70" fmla="*/ 578575 h 15035524"/>
                <a:gd name="connsiteX71" fmla="*/ 26402920 w 27542354"/>
                <a:gd name="connsiteY71" fmla="*/ 759442 h 15035524"/>
                <a:gd name="connsiteX72" fmla="*/ 26554742 w 27542354"/>
                <a:gd name="connsiteY72" fmla="*/ 1935039 h 15035524"/>
                <a:gd name="connsiteX73" fmla="*/ 25751806 w 27542354"/>
                <a:gd name="connsiteY73"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16081136 w 27542354"/>
                <a:gd name="connsiteY12" fmla="*/ 11254718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13276149 w 27542354"/>
                <a:gd name="connsiteY11" fmla="*/ 11528479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14150319 w 27542354"/>
                <a:gd name="connsiteY10" fmla="*/ 11405301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14618283 w 27542354"/>
                <a:gd name="connsiteY9" fmla="*/ 10516400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15011380 w 27542354"/>
                <a:gd name="connsiteY9" fmla="*/ 11048592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13482332 w 27542354"/>
                <a:gd name="connsiteY8" fmla="*/ 8749261 h 15035524"/>
                <a:gd name="connsiteX9" fmla="*/ 15011380 w 27542354"/>
                <a:gd name="connsiteY9" fmla="*/ 11048592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15195097 w 27542354"/>
                <a:gd name="connsiteY8" fmla="*/ 10093742 h 15035524"/>
                <a:gd name="connsiteX9" fmla="*/ 15011380 w 27542354"/>
                <a:gd name="connsiteY9" fmla="*/ 11048592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26312478 w 26619949"/>
                <a:gd name="connsiteY5" fmla="*/ 9549362 h 15035524"/>
                <a:gd name="connsiteX6" fmla="*/ 26402912 w 26619949"/>
                <a:gd name="connsiteY6" fmla="*/ 10526022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26312478 w 26619949"/>
                <a:gd name="connsiteY5" fmla="*/ 9549362 h 15035524"/>
                <a:gd name="connsiteX6" fmla="*/ 14862794 w 26619949"/>
                <a:gd name="connsiteY6" fmla="*/ 7108798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26312478 w 26619949"/>
                <a:gd name="connsiteY5" fmla="*/ 9549362 h 15035524"/>
                <a:gd name="connsiteX6" fmla="*/ 16070155 w 26619949"/>
                <a:gd name="connsiteY6" fmla="*/ 9937808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15193523 w 26619949"/>
                <a:gd name="connsiteY5" fmla="*/ 6720348 h 15035524"/>
                <a:gd name="connsiteX6" fmla="*/ 16070155 w 26619949"/>
                <a:gd name="connsiteY6" fmla="*/ 9937808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16372801 w 26619949"/>
                <a:gd name="connsiteY5" fmla="*/ 9717422 h 15035524"/>
                <a:gd name="connsiteX6" fmla="*/ 16070155 w 26619949"/>
                <a:gd name="connsiteY6" fmla="*/ 9937808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554741"/>
                <a:gd name="connsiteY0" fmla="*/ 3689425 h 15035524"/>
                <a:gd name="connsiteX1" fmla="*/ 25950755 w 26554741"/>
                <a:gd name="connsiteY1" fmla="*/ 4828850 h 15035524"/>
                <a:gd name="connsiteX2" fmla="*/ 26439085 w 26554741"/>
                <a:gd name="connsiteY2" fmla="*/ 5986362 h 15035524"/>
                <a:gd name="connsiteX3" fmla="*/ 25824148 w 26554741"/>
                <a:gd name="connsiteY3" fmla="*/ 6709813 h 15035524"/>
                <a:gd name="connsiteX4" fmla="*/ 14321716 w 26554741"/>
                <a:gd name="connsiteY4" fmla="*/ 6574229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26439085 w 26554741"/>
                <a:gd name="connsiteY2" fmla="*/ 5986362 h 15035524"/>
                <a:gd name="connsiteX3" fmla="*/ 25824148 w 26554741"/>
                <a:gd name="connsiteY3" fmla="*/ 6709813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26439085 w 26554741"/>
                <a:gd name="connsiteY2" fmla="*/ 5986362 h 15035524"/>
                <a:gd name="connsiteX3" fmla="*/ 14340183 w 26554741"/>
                <a:gd name="connsiteY3" fmla="*/ 7354046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26439085 w 26554741"/>
                <a:gd name="connsiteY2" fmla="*/ 5986362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15179740 w 26554741"/>
                <a:gd name="connsiteY2" fmla="*/ 7863038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15505685 w 26554741"/>
                <a:gd name="connsiteY1" fmla="*/ 7181691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16432262 w 26554741"/>
                <a:gd name="connsiteY1" fmla="*/ 7825917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15138264 w 26554741"/>
                <a:gd name="connsiteY0" fmla="*/ 6406394 h 15035524"/>
                <a:gd name="connsiteX1" fmla="*/ 16432262 w 26554741"/>
                <a:gd name="connsiteY1" fmla="*/ 7825917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15138264 w 26554741"/>
                <a:gd name="connsiteY72" fmla="*/ 6406394 h 15035524"/>
                <a:gd name="connsiteX0" fmla="*/ 16682563 w 26554741"/>
                <a:gd name="connsiteY0" fmla="*/ 6798531 h 15035524"/>
                <a:gd name="connsiteX1" fmla="*/ 16432262 w 26554741"/>
                <a:gd name="connsiteY1" fmla="*/ 7825917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16682563 w 26554741"/>
                <a:gd name="connsiteY72" fmla="*/ 6798531 h 15035524"/>
                <a:gd name="connsiteX0" fmla="*/ 16682563 w 26402921"/>
                <a:gd name="connsiteY0" fmla="*/ 6798531 h 15035524"/>
                <a:gd name="connsiteX1" fmla="*/ 16432262 w 26402921"/>
                <a:gd name="connsiteY1" fmla="*/ 7825917 h 15035524"/>
                <a:gd name="connsiteX2" fmla="*/ 16106317 w 26402921"/>
                <a:gd name="connsiteY2" fmla="*/ 8367221 h 15035524"/>
                <a:gd name="connsiteX3" fmla="*/ 16305649 w 26402921"/>
                <a:gd name="connsiteY3" fmla="*/ 8754550 h 15035524"/>
                <a:gd name="connsiteX4" fmla="*/ 16287189 w 26402921"/>
                <a:gd name="connsiteY4" fmla="*/ 9151157 h 15035524"/>
                <a:gd name="connsiteX5" fmla="*/ 16372801 w 26402921"/>
                <a:gd name="connsiteY5" fmla="*/ 9717422 h 15035524"/>
                <a:gd name="connsiteX6" fmla="*/ 16070155 w 26402921"/>
                <a:gd name="connsiteY6" fmla="*/ 9937808 h 15035524"/>
                <a:gd name="connsiteX7" fmla="*/ 15805690 w 26402921"/>
                <a:gd name="connsiteY7" fmla="*/ 10431999 h 15035524"/>
                <a:gd name="connsiteX8" fmla="*/ 15195097 w 26402921"/>
                <a:gd name="connsiteY8" fmla="*/ 10093742 h 15035524"/>
                <a:gd name="connsiteX9" fmla="*/ 15011380 w 26402921"/>
                <a:gd name="connsiteY9" fmla="*/ 11048592 h 15035524"/>
                <a:gd name="connsiteX10" fmla="*/ 14908430 w 26402921"/>
                <a:gd name="connsiteY10" fmla="*/ 11937487 h 15035524"/>
                <a:gd name="connsiteX11" fmla="*/ 14904684 w 26402921"/>
                <a:gd name="connsiteY11" fmla="*/ 12760926 h 15035524"/>
                <a:gd name="connsiteX12" fmla="*/ 14929927 w 26402921"/>
                <a:gd name="connsiteY12" fmla="*/ 14391846 h 15035524"/>
                <a:gd name="connsiteX13" fmla="*/ 12952786 w 26402921"/>
                <a:gd name="connsiteY13" fmla="*/ 14842599 h 15035524"/>
                <a:gd name="connsiteX14" fmla="*/ 11934663 w 26402921"/>
                <a:gd name="connsiteY14" fmla="*/ 14890849 h 15035524"/>
                <a:gd name="connsiteX15" fmla="*/ 8506848 w 26402921"/>
                <a:gd name="connsiteY15" fmla="*/ 15035524 h 15035524"/>
                <a:gd name="connsiteX16" fmla="*/ 7985095 w 26402921"/>
                <a:gd name="connsiteY16" fmla="*/ 14390442 h 15035524"/>
                <a:gd name="connsiteX17" fmla="*/ 7400308 w 26402921"/>
                <a:gd name="connsiteY17" fmla="*/ 14360297 h 15035524"/>
                <a:gd name="connsiteX18" fmla="*/ 6972273 w 26402921"/>
                <a:gd name="connsiteY18" fmla="*/ 14631594 h 15035524"/>
                <a:gd name="connsiteX19" fmla="*/ 5181729 w 26402921"/>
                <a:gd name="connsiteY19" fmla="*/ 14547195 h 15035524"/>
                <a:gd name="connsiteX20" fmla="*/ 4397998 w 26402921"/>
                <a:gd name="connsiteY20" fmla="*/ 13914178 h 15035524"/>
                <a:gd name="connsiteX21" fmla="*/ 2908896 w 26402921"/>
                <a:gd name="connsiteY21" fmla="*/ 13106324 h 15035524"/>
                <a:gd name="connsiteX22" fmla="*/ 1263043 w 26402921"/>
                <a:gd name="connsiteY22" fmla="*/ 12394931 h 15035524"/>
                <a:gd name="connsiteX23" fmla="*/ 485320 w 26402921"/>
                <a:gd name="connsiteY23" fmla="*/ 11942774 h 15035524"/>
                <a:gd name="connsiteX24" fmla="*/ 0 w 26402921"/>
                <a:gd name="connsiteY24" fmla="*/ 11649662 h 15035524"/>
                <a:gd name="connsiteX25" fmla="*/ 1003686 w 26402921"/>
                <a:gd name="connsiteY25" fmla="*/ 10903697 h 15035524"/>
                <a:gd name="connsiteX26" fmla="*/ 2902551 w 26402921"/>
                <a:gd name="connsiteY26" fmla="*/ 9719298 h 15035524"/>
                <a:gd name="connsiteX27" fmla="*/ 2558940 w 26402921"/>
                <a:gd name="connsiteY27" fmla="*/ 9185867 h 15035524"/>
                <a:gd name="connsiteX28" fmla="*/ 2402508 w 26402921"/>
                <a:gd name="connsiteY28" fmla="*/ 8498784 h 15035524"/>
                <a:gd name="connsiteX29" fmla="*/ 2730740 w 26402921"/>
                <a:gd name="connsiteY29" fmla="*/ 8471613 h 15035524"/>
                <a:gd name="connsiteX30" fmla="*/ 2947754 w 26402921"/>
                <a:gd name="connsiteY30" fmla="*/ 8001468 h 15035524"/>
                <a:gd name="connsiteX31" fmla="*/ 3499325 w 26402921"/>
                <a:gd name="connsiteY31" fmla="*/ 7558451 h 15035524"/>
                <a:gd name="connsiteX32" fmla="*/ 3680166 w 26402921"/>
                <a:gd name="connsiteY32" fmla="*/ 6681453 h 15035524"/>
                <a:gd name="connsiteX33" fmla="*/ 4186528 w 26402921"/>
                <a:gd name="connsiteY33" fmla="*/ 6690489 h 15035524"/>
                <a:gd name="connsiteX34" fmla="*/ 4837569 w 26402921"/>
                <a:gd name="connsiteY34" fmla="*/ 7160639 h 15035524"/>
                <a:gd name="connsiteX35" fmla="*/ 5352976 w 26402921"/>
                <a:gd name="connsiteY35" fmla="*/ 7079272 h 15035524"/>
                <a:gd name="connsiteX36" fmla="*/ 5741786 w 26402921"/>
                <a:gd name="connsiteY36" fmla="*/ 6708577 h 15035524"/>
                <a:gd name="connsiteX37" fmla="*/ 6157723 w 26402921"/>
                <a:gd name="connsiteY37" fmla="*/ 6545836 h 15035524"/>
                <a:gd name="connsiteX38" fmla="*/ 6745471 w 26402921"/>
                <a:gd name="connsiteY38" fmla="*/ 5976243 h 15035524"/>
                <a:gd name="connsiteX39" fmla="*/ 6890140 w 26402921"/>
                <a:gd name="connsiteY39" fmla="*/ 5126367 h 15035524"/>
                <a:gd name="connsiteX40" fmla="*/ 7568305 w 26402921"/>
                <a:gd name="connsiteY40" fmla="*/ 4556773 h 15035524"/>
                <a:gd name="connsiteX41" fmla="*/ 8137967 w 26402921"/>
                <a:gd name="connsiteY41" fmla="*/ 4113752 h 15035524"/>
                <a:gd name="connsiteX42" fmla="*/ 8463480 w 26402921"/>
                <a:gd name="connsiteY42" fmla="*/ 3309085 h 15035524"/>
                <a:gd name="connsiteX43" fmla="*/ 9024093 w 26402921"/>
                <a:gd name="connsiteY43" fmla="*/ 2956478 h 15035524"/>
                <a:gd name="connsiteX44" fmla="*/ 9675138 w 26402921"/>
                <a:gd name="connsiteY44" fmla="*/ 2603876 h 15035524"/>
                <a:gd name="connsiteX45" fmla="*/ 9558580 w 26402921"/>
                <a:gd name="connsiteY45" fmla="*/ 2055592 h 15035524"/>
                <a:gd name="connsiteX46" fmla="*/ 10353296 w 26402921"/>
                <a:gd name="connsiteY46" fmla="*/ 1383308 h 15035524"/>
                <a:gd name="connsiteX47" fmla="*/ 10832530 w 26402921"/>
                <a:gd name="connsiteY47" fmla="*/ 1310974 h 15035524"/>
                <a:gd name="connsiteX48" fmla="*/ 11058585 w 26402921"/>
                <a:gd name="connsiteY48" fmla="*/ 1763043 h 15035524"/>
                <a:gd name="connsiteX49" fmla="*/ 11411229 w 26402921"/>
                <a:gd name="connsiteY49" fmla="*/ 2142774 h 15035524"/>
                <a:gd name="connsiteX50" fmla="*/ 11998974 w 26402921"/>
                <a:gd name="connsiteY50" fmla="*/ 2224144 h 15035524"/>
                <a:gd name="connsiteX51" fmla="*/ 12315449 w 26402921"/>
                <a:gd name="connsiteY51" fmla="*/ 2884156 h 15035524"/>
                <a:gd name="connsiteX52" fmla="*/ 12785642 w 26402921"/>
                <a:gd name="connsiteY52" fmla="*/ 2703327 h 15035524"/>
                <a:gd name="connsiteX53" fmla="*/ 13671776 w 26402921"/>
                <a:gd name="connsiteY53" fmla="*/ 3155388 h 15035524"/>
                <a:gd name="connsiteX54" fmla="*/ 14123886 w 26402921"/>
                <a:gd name="connsiteY54" fmla="*/ 2857035 h 15035524"/>
                <a:gd name="connsiteX55" fmla="*/ 14259509 w 26402921"/>
                <a:gd name="connsiteY55" fmla="*/ 2287434 h 15035524"/>
                <a:gd name="connsiteX56" fmla="*/ 14892468 w 26402921"/>
                <a:gd name="connsiteY56" fmla="*/ 1645503 h 15035524"/>
                <a:gd name="connsiteX57" fmla="*/ 15778605 w 26402921"/>
                <a:gd name="connsiteY57" fmla="*/ 1093983 h 15035524"/>
                <a:gd name="connsiteX58" fmla="*/ 16022739 w 26402921"/>
                <a:gd name="connsiteY58" fmla="*/ 1564133 h 15035524"/>
                <a:gd name="connsiteX59" fmla="*/ 16556232 w 26402921"/>
                <a:gd name="connsiteY59" fmla="*/ 2142785 h 15035524"/>
                <a:gd name="connsiteX60" fmla="*/ 17406193 w 26402921"/>
                <a:gd name="connsiteY60" fmla="*/ 1292897 h 15035524"/>
                <a:gd name="connsiteX61" fmla="*/ 18120524 w 26402921"/>
                <a:gd name="connsiteY61" fmla="*/ 714260 h 15035524"/>
                <a:gd name="connsiteX62" fmla="*/ 18744437 w 26402921"/>
                <a:gd name="connsiteY62" fmla="*/ -1 h 15035524"/>
                <a:gd name="connsiteX63" fmla="*/ 19982300 w 26402921"/>
                <a:gd name="connsiteY63" fmla="*/ 343465 h 15035524"/>
                <a:gd name="connsiteX64" fmla="*/ 19837609 w 26402921"/>
                <a:gd name="connsiteY64" fmla="*/ 1121173 h 15035524"/>
                <a:gd name="connsiteX65" fmla="*/ 21881359 w 26402921"/>
                <a:gd name="connsiteY65" fmla="*/ 1772279 h 15035524"/>
                <a:gd name="connsiteX66" fmla="*/ 21537712 w 26402921"/>
                <a:gd name="connsiteY66" fmla="*/ 2767023 h 15035524"/>
                <a:gd name="connsiteX67" fmla="*/ 22478203 w 26402921"/>
                <a:gd name="connsiteY67" fmla="*/ 2296774 h 15035524"/>
                <a:gd name="connsiteX68" fmla="*/ 23888932 w 26402921"/>
                <a:gd name="connsiteY68" fmla="*/ 1880797 h 15035524"/>
                <a:gd name="connsiteX69" fmla="*/ 25010275 w 26402921"/>
                <a:gd name="connsiteY69" fmla="*/ 578575 h 15035524"/>
                <a:gd name="connsiteX70" fmla="*/ 26402920 w 26402921"/>
                <a:gd name="connsiteY70" fmla="*/ 759442 h 15035524"/>
                <a:gd name="connsiteX71" fmla="*/ 14902301 w 26402921"/>
                <a:gd name="connsiteY71" fmla="*/ 5604356 h 15035524"/>
                <a:gd name="connsiteX72" fmla="*/ 16682563 w 26402921"/>
                <a:gd name="connsiteY72" fmla="*/ 6798531 h 15035524"/>
                <a:gd name="connsiteX0" fmla="*/ 16682563 w 26402921"/>
                <a:gd name="connsiteY0" fmla="*/ 6798531 h 15035524"/>
                <a:gd name="connsiteX1" fmla="*/ 16432262 w 26402921"/>
                <a:gd name="connsiteY1" fmla="*/ 7825917 h 15035524"/>
                <a:gd name="connsiteX2" fmla="*/ 16106317 w 26402921"/>
                <a:gd name="connsiteY2" fmla="*/ 8367221 h 15035524"/>
                <a:gd name="connsiteX3" fmla="*/ 16305649 w 26402921"/>
                <a:gd name="connsiteY3" fmla="*/ 8754550 h 15035524"/>
                <a:gd name="connsiteX4" fmla="*/ 16287189 w 26402921"/>
                <a:gd name="connsiteY4" fmla="*/ 9151157 h 15035524"/>
                <a:gd name="connsiteX5" fmla="*/ 16372801 w 26402921"/>
                <a:gd name="connsiteY5" fmla="*/ 9717422 h 15035524"/>
                <a:gd name="connsiteX6" fmla="*/ 16070155 w 26402921"/>
                <a:gd name="connsiteY6" fmla="*/ 9937808 h 15035524"/>
                <a:gd name="connsiteX7" fmla="*/ 15805690 w 26402921"/>
                <a:gd name="connsiteY7" fmla="*/ 10431999 h 15035524"/>
                <a:gd name="connsiteX8" fmla="*/ 15195097 w 26402921"/>
                <a:gd name="connsiteY8" fmla="*/ 10093742 h 15035524"/>
                <a:gd name="connsiteX9" fmla="*/ 15011380 w 26402921"/>
                <a:gd name="connsiteY9" fmla="*/ 11048592 h 15035524"/>
                <a:gd name="connsiteX10" fmla="*/ 14908430 w 26402921"/>
                <a:gd name="connsiteY10" fmla="*/ 11937487 h 15035524"/>
                <a:gd name="connsiteX11" fmla="*/ 14904684 w 26402921"/>
                <a:gd name="connsiteY11" fmla="*/ 12760926 h 15035524"/>
                <a:gd name="connsiteX12" fmla="*/ 14929927 w 26402921"/>
                <a:gd name="connsiteY12" fmla="*/ 14391846 h 15035524"/>
                <a:gd name="connsiteX13" fmla="*/ 12952786 w 26402921"/>
                <a:gd name="connsiteY13" fmla="*/ 14842599 h 15035524"/>
                <a:gd name="connsiteX14" fmla="*/ 11934663 w 26402921"/>
                <a:gd name="connsiteY14" fmla="*/ 14890849 h 15035524"/>
                <a:gd name="connsiteX15" fmla="*/ 8506848 w 26402921"/>
                <a:gd name="connsiteY15" fmla="*/ 15035524 h 15035524"/>
                <a:gd name="connsiteX16" fmla="*/ 7985095 w 26402921"/>
                <a:gd name="connsiteY16" fmla="*/ 14390442 h 15035524"/>
                <a:gd name="connsiteX17" fmla="*/ 7400308 w 26402921"/>
                <a:gd name="connsiteY17" fmla="*/ 14360297 h 15035524"/>
                <a:gd name="connsiteX18" fmla="*/ 6972273 w 26402921"/>
                <a:gd name="connsiteY18" fmla="*/ 14631594 h 15035524"/>
                <a:gd name="connsiteX19" fmla="*/ 5181729 w 26402921"/>
                <a:gd name="connsiteY19" fmla="*/ 14547195 h 15035524"/>
                <a:gd name="connsiteX20" fmla="*/ 4397998 w 26402921"/>
                <a:gd name="connsiteY20" fmla="*/ 13914178 h 15035524"/>
                <a:gd name="connsiteX21" fmla="*/ 2908896 w 26402921"/>
                <a:gd name="connsiteY21" fmla="*/ 13106324 h 15035524"/>
                <a:gd name="connsiteX22" fmla="*/ 1263043 w 26402921"/>
                <a:gd name="connsiteY22" fmla="*/ 12394931 h 15035524"/>
                <a:gd name="connsiteX23" fmla="*/ 485320 w 26402921"/>
                <a:gd name="connsiteY23" fmla="*/ 11942774 h 15035524"/>
                <a:gd name="connsiteX24" fmla="*/ 0 w 26402921"/>
                <a:gd name="connsiteY24" fmla="*/ 11649662 h 15035524"/>
                <a:gd name="connsiteX25" fmla="*/ 1003686 w 26402921"/>
                <a:gd name="connsiteY25" fmla="*/ 10903697 h 15035524"/>
                <a:gd name="connsiteX26" fmla="*/ 2902551 w 26402921"/>
                <a:gd name="connsiteY26" fmla="*/ 9719298 h 15035524"/>
                <a:gd name="connsiteX27" fmla="*/ 2558940 w 26402921"/>
                <a:gd name="connsiteY27" fmla="*/ 9185867 h 15035524"/>
                <a:gd name="connsiteX28" fmla="*/ 2402508 w 26402921"/>
                <a:gd name="connsiteY28" fmla="*/ 8498784 h 15035524"/>
                <a:gd name="connsiteX29" fmla="*/ 2730740 w 26402921"/>
                <a:gd name="connsiteY29" fmla="*/ 8471613 h 15035524"/>
                <a:gd name="connsiteX30" fmla="*/ 2947754 w 26402921"/>
                <a:gd name="connsiteY30" fmla="*/ 8001468 h 15035524"/>
                <a:gd name="connsiteX31" fmla="*/ 3499325 w 26402921"/>
                <a:gd name="connsiteY31" fmla="*/ 7558451 h 15035524"/>
                <a:gd name="connsiteX32" fmla="*/ 3680166 w 26402921"/>
                <a:gd name="connsiteY32" fmla="*/ 6681453 h 15035524"/>
                <a:gd name="connsiteX33" fmla="*/ 4186528 w 26402921"/>
                <a:gd name="connsiteY33" fmla="*/ 6690489 h 15035524"/>
                <a:gd name="connsiteX34" fmla="*/ 4837569 w 26402921"/>
                <a:gd name="connsiteY34" fmla="*/ 7160639 h 15035524"/>
                <a:gd name="connsiteX35" fmla="*/ 5352976 w 26402921"/>
                <a:gd name="connsiteY35" fmla="*/ 7079272 h 15035524"/>
                <a:gd name="connsiteX36" fmla="*/ 5741786 w 26402921"/>
                <a:gd name="connsiteY36" fmla="*/ 6708577 h 15035524"/>
                <a:gd name="connsiteX37" fmla="*/ 6157723 w 26402921"/>
                <a:gd name="connsiteY37" fmla="*/ 6545836 h 15035524"/>
                <a:gd name="connsiteX38" fmla="*/ 6745471 w 26402921"/>
                <a:gd name="connsiteY38" fmla="*/ 5976243 h 15035524"/>
                <a:gd name="connsiteX39" fmla="*/ 6890140 w 26402921"/>
                <a:gd name="connsiteY39" fmla="*/ 5126367 h 15035524"/>
                <a:gd name="connsiteX40" fmla="*/ 7568305 w 26402921"/>
                <a:gd name="connsiteY40" fmla="*/ 4556773 h 15035524"/>
                <a:gd name="connsiteX41" fmla="*/ 8137967 w 26402921"/>
                <a:gd name="connsiteY41" fmla="*/ 4113752 h 15035524"/>
                <a:gd name="connsiteX42" fmla="*/ 8463480 w 26402921"/>
                <a:gd name="connsiteY42" fmla="*/ 3309085 h 15035524"/>
                <a:gd name="connsiteX43" fmla="*/ 9024093 w 26402921"/>
                <a:gd name="connsiteY43" fmla="*/ 2956478 h 15035524"/>
                <a:gd name="connsiteX44" fmla="*/ 9675138 w 26402921"/>
                <a:gd name="connsiteY44" fmla="*/ 2603876 h 15035524"/>
                <a:gd name="connsiteX45" fmla="*/ 9558580 w 26402921"/>
                <a:gd name="connsiteY45" fmla="*/ 2055592 h 15035524"/>
                <a:gd name="connsiteX46" fmla="*/ 10353296 w 26402921"/>
                <a:gd name="connsiteY46" fmla="*/ 1383308 h 15035524"/>
                <a:gd name="connsiteX47" fmla="*/ 10832530 w 26402921"/>
                <a:gd name="connsiteY47" fmla="*/ 1310974 h 15035524"/>
                <a:gd name="connsiteX48" fmla="*/ 11058585 w 26402921"/>
                <a:gd name="connsiteY48" fmla="*/ 1763043 h 15035524"/>
                <a:gd name="connsiteX49" fmla="*/ 11411229 w 26402921"/>
                <a:gd name="connsiteY49" fmla="*/ 2142774 h 15035524"/>
                <a:gd name="connsiteX50" fmla="*/ 11998974 w 26402921"/>
                <a:gd name="connsiteY50" fmla="*/ 2224144 h 15035524"/>
                <a:gd name="connsiteX51" fmla="*/ 12315449 w 26402921"/>
                <a:gd name="connsiteY51" fmla="*/ 2884156 h 15035524"/>
                <a:gd name="connsiteX52" fmla="*/ 12785642 w 26402921"/>
                <a:gd name="connsiteY52" fmla="*/ 2703327 h 15035524"/>
                <a:gd name="connsiteX53" fmla="*/ 13671776 w 26402921"/>
                <a:gd name="connsiteY53" fmla="*/ 3155388 h 15035524"/>
                <a:gd name="connsiteX54" fmla="*/ 14123886 w 26402921"/>
                <a:gd name="connsiteY54" fmla="*/ 2857035 h 15035524"/>
                <a:gd name="connsiteX55" fmla="*/ 14259509 w 26402921"/>
                <a:gd name="connsiteY55" fmla="*/ 2287434 h 15035524"/>
                <a:gd name="connsiteX56" fmla="*/ 14892468 w 26402921"/>
                <a:gd name="connsiteY56" fmla="*/ 1645503 h 15035524"/>
                <a:gd name="connsiteX57" fmla="*/ 15778605 w 26402921"/>
                <a:gd name="connsiteY57" fmla="*/ 1093983 h 15035524"/>
                <a:gd name="connsiteX58" fmla="*/ 16022739 w 26402921"/>
                <a:gd name="connsiteY58" fmla="*/ 1564133 h 15035524"/>
                <a:gd name="connsiteX59" fmla="*/ 16556232 w 26402921"/>
                <a:gd name="connsiteY59" fmla="*/ 2142785 h 15035524"/>
                <a:gd name="connsiteX60" fmla="*/ 17406193 w 26402921"/>
                <a:gd name="connsiteY60" fmla="*/ 1292897 h 15035524"/>
                <a:gd name="connsiteX61" fmla="*/ 18120524 w 26402921"/>
                <a:gd name="connsiteY61" fmla="*/ 714260 h 15035524"/>
                <a:gd name="connsiteX62" fmla="*/ 18744437 w 26402921"/>
                <a:gd name="connsiteY62" fmla="*/ -1 h 15035524"/>
                <a:gd name="connsiteX63" fmla="*/ 19982300 w 26402921"/>
                <a:gd name="connsiteY63" fmla="*/ 343465 h 15035524"/>
                <a:gd name="connsiteX64" fmla="*/ 19837609 w 26402921"/>
                <a:gd name="connsiteY64" fmla="*/ 1121173 h 15035524"/>
                <a:gd name="connsiteX65" fmla="*/ 21881359 w 26402921"/>
                <a:gd name="connsiteY65" fmla="*/ 1772279 h 15035524"/>
                <a:gd name="connsiteX66" fmla="*/ 21537712 w 26402921"/>
                <a:gd name="connsiteY66" fmla="*/ 2767023 h 15035524"/>
                <a:gd name="connsiteX67" fmla="*/ 22478203 w 26402921"/>
                <a:gd name="connsiteY67" fmla="*/ 2296774 h 15035524"/>
                <a:gd name="connsiteX68" fmla="*/ 23888932 w 26402921"/>
                <a:gd name="connsiteY68" fmla="*/ 1880797 h 15035524"/>
                <a:gd name="connsiteX69" fmla="*/ 25010275 w 26402921"/>
                <a:gd name="connsiteY69" fmla="*/ 578575 h 15035524"/>
                <a:gd name="connsiteX70" fmla="*/ 26402920 w 26402921"/>
                <a:gd name="connsiteY70" fmla="*/ 759442 h 15035524"/>
                <a:gd name="connsiteX71" fmla="*/ 16362364 w 26402921"/>
                <a:gd name="connsiteY71" fmla="*/ 6360628 h 15035524"/>
                <a:gd name="connsiteX72" fmla="*/ 16682563 w 26402921"/>
                <a:gd name="connsiteY72" fmla="*/ 6798531 h 15035524"/>
                <a:gd name="connsiteX0" fmla="*/ 16682563 w 25010275"/>
                <a:gd name="connsiteY0" fmla="*/ 6798531 h 15035524"/>
                <a:gd name="connsiteX1" fmla="*/ 16432262 w 25010275"/>
                <a:gd name="connsiteY1" fmla="*/ 7825917 h 15035524"/>
                <a:gd name="connsiteX2" fmla="*/ 16106317 w 25010275"/>
                <a:gd name="connsiteY2" fmla="*/ 8367221 h 15035524"/>
                <a:gd name="connsiteX3" fmla="*/ 16305649 w 25010275"/>
                <a:gd name="connsiteY3" fmla="*/ 8754550 h 15035524"/>
                <a:gd name="connsiteX4" fmla="*/ 16287189 w 25010275"/>
                <a:gd name="connsiteY4" fmla="*/ 9151157 h 15035524"/>
                <a:gd name="connsiteX5" fmla="*/ 16372801 w 25010275"/>
                <a:gd name="connsiteY5" fmla="*/ 9717422 h 15035524"/>
                <a:gd name="connsiteX6" fmla="*/ 16070155 w 25010275"/>
                <a:gd name="connsiteY6" fmla="*/ 9937808 h 15035524"/>
                <a:gd name="connsiteX7" fmla="*/ 15805690 w 25010275"/>
                <a:gd name="connsiteY7" fmla="*/ 10431999 h 15035524"/>
                <a:gd name="connsiteX8" fmla="*/ 15195097 w 25010275"/>
                <a:gd name="connsiteY8" fmla="*/ 10093742 h 15035524"/>
                <a:gd name="connsiteX9" fmla="*/ 15011380 w 25010275"/>
                <a:gd name="connsiteY9" fmla="*/ 11048592 h 15035524"/>
                <a:gd name="connsiteX10" fmla="*/ 14908430 w 25010275"/>
                <a:gd name="connsiteY10" fmla="*/ 11937487 h 15035524"/>
                <a:gd name="connsiteX11" fmla="*/ 14904684 w 25010275"/>
                <a:gd name="connsiteY11" fmla="*/ 12760926 h 15035524"/>
                <a:gd name="connsiteX12" fmla="*/ 14929927 w 25010275"/>
                <a:gd name="connsiteY12" fmla="*/ 14391846 h 15035524"/>
                <a:gd name="connsiteX13" fmla="*/ 12952786 w 25010275"/>
                <a:gd name="connsiteY13" fmla="*/ 14842599 h 15035524"/>
                <a:gd name="connsiteX14" fmla="*/ 11934663 w 25010275"/>
                <a:gd name="connsiteY14" fmla="*/ 14890849 h 15035524"/>
                <a:gd name="connsiteX15" fmla="*/ 8506848 w 25010275"/>
                <a:gd name="connsiteY15" fmla="*/ 15035524 h 15035524"/>
                <a:gd name="connsiteX16" fmla="*/ 7985095 w 25010275"/>
                <a:gd name="connsiteY16" fmla="*/ 14390442 h 15035524"/>
                <a:gd name="connsiteX17" fmla="*/ 7400308 w 25010275"/>
                <a:gd name="connsiteY17" fmla="*/ 14360297 h 15035524"/>
                <a:gd name="connsiteX18" fmla="*/ 6972273 w 25010275"/>
                <a:gd name="connsiteY18" fmla="*/ 14631594 h 15035524"/>
                <a:gd name="connsiteX19" fmla="*/ 5181729 w 25010275"/>
                <a:gd name="connsiteY19" fmla="*/ 14547195 h 15035524"/>
                <a:gd name="connsiteX20" fmla="*/ 4397998 w 25010275"/>
                <a:gd name="connsiteY20" fmla="*/ 13914178 h 15035524"/>
                <a:gd name="connsiteX21" fmla="*/ 2908896 w 25010275"/>
                <a:gd name="connsiteY21" fmla="*/ 13106324 h 15035524"/>
                <a:gd name="connsiteX22" fmla="*/ 1263043 w 25010275"/>
                <a:gd name="connsiteY22" fmla="*/ 12394931 h 15035524"/>
                <a:gd name="connsiteX23" fmla="*/ 485320 w 25010275"/>
                <a:gd name="connsiteY23" fmla="*/ 11942774 h 15035524"/>
                <a:gd name="connsiteX24" fmla="*/ 0 w 25010275"/>
                <a:gd name="connsiteY24" fmla="*/ 11649662 h 15035524"/>
                <a:gd name="connsiteX25" fmla="*/ 1003686 w 25010275"/>
                <a:gd name="connsiteY25" fmla="*/ 10903697 h 15035524"/>
                <a:gd name="connsiteX26" fmla="*/ 2902551 w 25010275"/>
                <a:gd name="connsiteY26" fmla="*/ 9719298 h 15035524"/>
                <a:gd name="connsiteX27" fmla="*/ 2558940 w 25010275"/>
                <a:gd name="connsiteY27" fmla="*/ 9185867 h 15035524"/>
                <a:gd name="connsiteX28" fmla="*/ 2402508 w 25010275"/>
                <a:gd name="connsiteY28" fmla="*/ 8498784 h 15035524"/>
                <a:gd name="connsiteX29" fmla="*/ 2730740 w 25010275"/>
                <a:gd name="connsiteY29" fmla="*/ 8471613 h 15035524"/>
                <a:gd name="connsiteX30" fmla="*/ 2947754 w 25010275"/>
                <a:gd name="connsiteY30" fmla="*/ 8001468 h 15035524"/>
                <a:gd name="connsiteX31" fmla="*/ 3499325 w 25010275"/>
                <a:gd name="connsiteY31" fmla="*/ 7558451 h 15035524"/>
                <a:gd name="connsiteX32" fmla="*/ 3680166 w 25010275"/>
                <a:gd name="connsiteY32" fmla="*/ 6681453 h 15035524"/>
                <a:gd name="connsiteX33" fmla="*/ 4186528 w 25010275"/>
                <a:gd name="connsiteY33" fmla="*/ 6690489 h 15035524"/>
                <a:gd name="connsiteX34" fmla="*/ 4837569 w 25010275"/>
                <a:gd name="connsiteY34" fmla="*/ 7160639 h 15035524"/>
                <a:gd name="connsiteX35" fmla="*/ 5352976 w 25010275"/>
                <a:gd name="connsiteY35" fmla="*/ 7079272 h 15035524"/>
                <a:gd name="connsiteX36" fmla="*/ 5741786 w 25010275"/>
                <a:gd name="connsiteY36" fmla="*/ 6708577 h 15035524"/>
                <a:gd name="connsiteX37" fmla="*/ 6157723 w 25010275"/>
                <a:gd name="connsiteY37" fmla="*/ 6545836 h 15035524"/>
                <a:gd name="connsiteX38" fmla="*/ 6745471 w 25010275"/>
                <a:gd name="connsiteY38" fmla="*/ 5976243 h 15035524"/>
                <a:gd name="connsiteX39" fmla="*/ 6890140 w 25010275"/>
                <a:gd name="connsiteY39" fmla="*/ 5126367 h 15035524"/>
                <a:gd name="connsiteX40" fmla="*/ 7568305 w 25010275"/>
                <a:gd name="connsiteY40" fmla="*/ 4556773 h 15035524"/>
                <a:gd name="connsiteX41" fmla="*/ 8137967 w 25010275"/>
                <a:gd name="connsiteY41" fmla="*/ 4113752 h 15035524"/>
                <a:gd name="connsiteX42" fmla="*/ 8463480 w 25010275"/>
                <a:gd name="connsiteY42" fmla="*/ 3309085 h 15035524"/>
                <a:gd name="connsiteX43" fmla="*/ 9024093 w 25010275"/>
                <a:gd name="connsiteY43" fmla="*/ 2956478 h 15035524"/>
                <a:gd name="connsiteX44" fmla="*/ 9675138 w 25010275"/>
                <a:gd name="connsiteY44" fmla="*/ 2603876 h 15035524"/>
                <a:gd name="connsiteX45" fmla="*/ 9558580 w 25010275"/>
                <a:gd name="connsiteY45" fmla="*/ 2055592 h 15035524"/>
                <a:gd name="connsiteX46" fmla="*/ 10353296 w 25010275"/>
                <a:gd name="connsiteY46" fmla="*/ 1383308 h 15035524"/>
                <a:gd name="connsiteX47" fmla="*/ 10832530 w 25010275"/>
                <a:gd name="connsiteY47" fmla="*/ 1310974 h 15035524"/>
                <a:gd name="connsiteX48" fmla="*/ 11058585 w 25010275"/>
                <a:gd name="connsiteY48" fmla="*/ 1763043 h 15035524"/>
                <a:gd name="connsiteX49" fmla="*/ 11411229 w 25010275"/>
                <a:gd name="connsiteY49" fmla="*/ 2142774 h 15035524"/>
                <a:gd name="connsiteX50" fmla="*/ 11998974 w 25010275"/>
                <a:gd name="connsiteY50" fmla="*/ 2224144 h 15035524"/>
                <a:gd name="connsiteX51" fmla="*/ 12315449 w 25010275"/>
                <a:gd name="connsiteY51" fmla="*/ 2884156 h 15035524"/>
                <a:gd name="connsiteX52" fmla="*/ 12785642 w 25010275"/>
                <a:gd name="connsiteY52" fmla="*/ 2703327 h 15035524"/>
                <a:gd name="connsiteX53" fmla="*/ 13671776 w 25010275"/>
                <a:gd name="connsiteY53" fmla="*/ 3155388 h 15035524"/>
                <a:gd name="connsiteX54" fmla="*/ 14123886 w 25010275"/>
                <a:gd name="connsiteY54" fmla="*/ 2857035 h 15035524"/>
                <a:gd name="connsiteX55" fmla="*/ 14259509 w 25010275"/>
                <a:gd name="connsiteY55" fmla="*/ 2287434 h 15035524"/>
                <a:gd name="connsiteX56" fmla="*/ 14892468 w 25010275"/>
                <a:gd name="connsiteY56" fmla="*/ 1645503 h 15035524"/>
                <a:gd name="connsiteX57" fmla="*/ 15778605 w 25010275"/>
                <a:gd name="connsiteY57" fmla="*/ 1093983 h 15035524"/>
                <a:gd name="connsiteX58" fmla="*/ 16022739 w 25010275"/>
                <a:gd name="connsiteY58" fmla="*/ 1564133 h 15035524"/>
                <a:gd name="connsiteX59" fmla="*/ 16556232 w 25010275"/>
                <a:gd name="connsiteY59" fmla="*/ 2142785 h 15035524"/>
                <a:gd name="connsiteX60" fmla="*/ 17406193 w 25010275"/>
                <a:gd name="connsiteY60" fmla="*/ 1292897 h 15035524"/>
                <a:gd name="connsiteX61" fmla="*/ 18120524 w 25010275"/>
                <a:gd name="connsiteY61" fmla="*/ 714260 h 15035524"/>
                <a:gd name="connsiteX62" fmla="*/ 18744437 w 25010275"/>
                <a:gd name="connsiteY62" fmla="*/ -1 h 15035524"/>
                <a:gd name="connsiteX63" fmla="*/ 19982300 w 25010275"/>
                <a:gd name="connsiteY63" fmla="*/ 343465 h 15035524"/>
                <a:gd name="connsiteX64" fmla="*/ 19837609 w 25010275"/>
                <a:gd name="connsiteY64" fmla="*/ 1121173 h 15035524"/>
                <a:gd name="connsiteX65" fmla="*/ 21881359 w 25010275"/>
                <a:gd name="connsiteY65" fmla="*/ 1772279 h 15035524"/>
                <a:gd name="connsiteX66" fmla="*/ 21537712 w 25010275"/>
                <a:gd name="connsiteY66" fmla="*/ 2767023 h 15035524"/>
                <a:gd name="connsiteX67" fmla="*/ 22478203 w 25010275"/>
                <a:gd name="connsiteY67" fmla="*/ 2296774 h 15035524"/>
                <a:gd name="connsiteX68" fmla="*/ 23888932 w 25010275"/>
                <a:gd name="connsiteY68" fmla="*/ 1880797 h 15035524"/>
                <a:gd name="connsiteX69" fmla="*/ 25010275 w 25010275"/>
                <a:gd name="connsiteY69" fmla="*/ 578575 h 15035524"/>
                <a:gd name="connsiteX70" fmla="*/ 14750481 w 25010275"/>
                <a:gd name="connsiteY70" fmla="*/ 5913293 h 15035524"/>
                <a:gd name="connsiteX71" fmla="*/ 16362364 w 25010275"/>
                <a:gd name="connsiteY71" fmla="*/ 6360628 h 15035524"/>
                <a:gd name="connsiteX72" fmla="*/ 16682563 w 25010275"/>
                <a:gd name="connsiteY72" fmla="*/ 6798531 h 15035524"/>
                <a:gd name="connsiteX0" fmla="*/ 16682563 w 25010275"/>
                <a:gd name="connsiteY0" fmla="*/ 6798531 h 15035524"/>
                <a:gd name="connsiteX1" fmla="*/ 16432262 w 25010275"/>
                <a:gd name="connsiteY1" fmla="*/ 7825917 h 15035524"/>
                <a:gd name="connsiteX2" fmla="*/ 16106317 w 25010275"/>
                <a:gd name="connsiteY2" fmla="*/ 8367221 h 15035524"/>
                <a:gd name="connsiteX3" fmla="*/ 16305649 w 25010275"/>
                <a:gd name="connsiteY3" fmla="*/ 8754550 h 15035524"/>
                <a:gd name="connsiteX4" fmla="*/ 16287189 w 25010275"/>
                <a:gd name="connsiteY4" fmla="*/ 9151157 h 15035524"/>
                <a:gd name="connsiteX5" fmla="*/ 16372801 w 25010275"/>
                <a:gd name="connsiteY5" fmla="*/ 9717422 h 15035524"/>
                <a:gd name="connsiteX6" fmla="*/ 16070155 w 25010275"/>
                <a:gd name="connsiteY6" fmla="*/ 9937808 h 15035524"/>
                <a:gd name="connsiteX7" fmla="*/ 15805690 w 25010275"/>
                <a:gd name="connsiteY7" fmla="*/ 10431999 h 15035524"/>
                <a:gd name="connsiteX8" fmla="*/ 15195097 w 25010275"/>
                <a:gd name="connsiteY8" fmla="*/ 10093742 h 15035524"/>
                <a:gd name="connsiteX9" fmla="*/ 15011380 w 25010275"/>
                <a:gd name="connsiteY9" fmla="*/ 11048592 h 15035524"/>
                <a:gd name="connsiteX10" fmla="*/ 14908430 w 25010275"/>
                <a:gd name="connsiteY10" fmla="*/ 11937487 h 15035524"/>
                <a:gd name="connsiteX11" fmla="*/ 14904684 w 25010275"/>
                <a:gd name="connsiteY11" fmla="*/ 12760926 h 15035524"/>
                <a:gd name="connsiteX12" fmla="*/ 14929927 w 25010275"/>
                <a:gd name="connsiteY12" fmla="*/ 14391846 h 15035524"/>
                <a:gd name="connsiteX13" fmla="*/ 12952786 w 25010275"/>
                <a:gd name="connsiteY13" fmla="*/ 14842599 h 15035524"/>
                <a:gd name="connsiteX14" fmla="*/ 11934663 w 25010275"/>
                <a:gd name="connsiteY14" fmla="*/ 14890849 h 15035524"/>
                <a:gd name="connsiteX15" fmla="*/ 8506848 w 25010275"/>
                <a:gd name="connsiteY15" fmla="*/ 15035524 h 15035524"/>
                <a:gd name="connsiteX16" fmla="*/ 7985095 w 25010275"/>
                <a:gd name="connsiteY16" fmla="*/ 14390442 h 15035524"/>
                <a:gd name="connsiteX17" fmla="*/ 7400308 w 25010275"/>
                <a:gd name="connsiteY17" fmla="*/ 14360297 h 15035524"/>
                <a:gd name="connsiteX18" fmla="*/ 6972273 w 25010275"/>
                <a:gd name="connsiteY18" fmla="*/ 14631594 h 15035524"/>
                <a:gd name="connsiteX19" fmla="*/ 5181729 w 25010275"/>
                <a:gd name="connsiteY19" fmla="*/ 14547195 h 15035524"/>
                <a:gd name="connsiteX20" fmla="*/ 4397998 w 25010275"/>
                <a:gd name="connsiteY20" fmla="*/ 13914178 h 15035524"/>
                <a:gd name="connsiteX21" fmla="*/ 2908896 w 25010275"/>
                <a:gd name="connsiteY21" fmla="*/ 13106324 h 15035524"/>
                <a:gd name="connsiteX22" fmla="*/ 1263043 w 25010275"/>
                <a:gd name="connsiteY22" fmla="*/ 12394931 h 15035524"/>
                <a:gd name="connsiteX23" fmla="*/ 485320 w 25010275"/>
                <a:gd name="connsiteY23" fmla="*/ 11942774 h 15035524"/>
                <a:gd name="connsiteX24" fmla="*/ 0 w 25010275"/>
                <a:gd name="connsiteY24" fmla="*/ 11649662 h 15035524"/>
                <a:gd name="connsiteX25" fmla="*/ 1003686 w 25010275"/>
                <a:gd name="connsiteY25" fmla="*/ 10903697 h 15035524"/>
                <a:gd name="connsiteX26" fmla="*/ 2902551 w 25010275"/>
                <a:gd name="connsiteY26" fmla="*/ 9719298 h 15035524"/>
                <a:gd name="connsiteX27" fmla="*/ 2558940 w 25010275"/>
                <a:gd name="connsiteY27" fmla="*/ 9185867 h 15035524"/>
                <a:gd name="connsiteX28" fmla="*/ 2402508 w 25010275"/>
                <a:gd name="connsiteY28" fmla="*/ 8498784 h 15035524"/>
                <a:gd name="connsiteX29" fmla="*/ 2730740 w 25010275"/>
                <a:gd name="connsiteY29" fmla="*/ 8471613 h 15035524"/>
                <a:gd name="connsiteX30" fmla="*/ 2947754 w 25010275"/>
                <a:gd name="connsiteY30" fmla="*/ 8001468 h 15035524"/>
                <a:gd name="connsiteX31" fmla="*/ 3499325 w 25010275"/>
                <a:gd name="connsiteY31" fmla="*/ 7558451 h 15035524"/>
                <a:gd name="connsiteX32" fmla="*/ 3680166 w 25010275"/>
                <a:gd name="connsiteY32" fmla="*/ 6681453 h 15035524"/>
                <a:gd name="connsiteX33" fmla="*/ 4186528 w 25010275"/>
                <a:gd name="connsiteY33" fmla="*/ 6690489 h 15035524"/>
                <a:gd name="connsiteX34" fmla="*/ 4837569 w 25010275"/>
                <a:gd name="connsiteY34" fmla="*/ 7160639 h 15035524"/>
                <a:gd name="connsiteX35" fmla="*/ 5352976 w 25010275"/>
                <a:gd name="connsiteY35" fmla="*/ 7079272 h 15035524"/>
                <a:gd name="connsiteX36" fmla="*/ 5741786 w 25010275"/>
                <a:gd name="connsiteY36" fmla="*/ 6708577 h 15035524"/>
                <a:gd name="connsiteX37" fmla="*/ 6157723 w 25010275"/>
                <a:gd name="connsiteY37" fmla="*/ 6545836 h 15035524"/>
                <a:gd name="connsiteX38" fmla="*/ 6745471 w 25010275"/>
                <a:gd name="connsiteY38" fmla="*/ 5976243 h 15035524"/>
                <a:gd name="connsiteX39" fmla="*/ 6890140 w 25010275"/>
                <a:gd name="connsiteY39" fmla="*/ 5126367 h 15035524"/>
                <a:gd name="connsiteX40" fmla="*/ 7568305 w 25010275"/>
                <a:gd name="connsiteY40" fmla="*/ 4556773 h 15035524"/>
                <a:gd name="connsiteX41" fmla="*/ 8137967 w 25010275"/>
                <a:gd name="connsiteY41" fmla="*/ 4113752 h 15035524"/>
                <a:gd name="connsiteX42" fmla="*/ 8463480 w 25010275"/>
                <a:gd name="connsiteY42" fmla="*/ 3309085 h 15035524"/>
                <a:gd name="connsiteX43" fmla="*/ 9024093 w 25010275"/>
                <a:gd name="connsiteY43" fmla="*/ 2956478 h 15035524"/>
                <a:gd name="connsiteX44" fmla="*/ 9675138 w 25010275"/>
                <a:gd name="connsiteY44" fmla="*/ 2603876 h 15035524"/>
                <a:gd name="connsiteX45" fmla="*/ 9558580 w 25010275"/>
                <a:gd name="connsiteY45" fmla="*/ 2055592 h 15035524"/>
                <a:gd name="connsiteX46" fmla="*/ 10353296 w 25010275"/>
                <a:gd name="connsiteY46" fmla="*/ 1383308 h 15035524"/>
                <a:gd name="connsiteX47" fmla="*/ 10832530 w 25010275"/>
                <a:gd name="connsiteY47" fmla="*/ 1310974 h 15035524"/>
                <a:gd name="connsiteX48" fmla="*/ 11058585 w 25010275"/>
                <a:gd name="connsiteY48" fmla="*/ 1763043 h 15035524"/>
                <a:gd name="connsiteX49" fmla="*/ 11411229 w 25010275"/>
                <a:gd name="connsiteY49" fmla="*/ 2142774 h 15035524"/>
                <a:gd name="connsiteX50" fmla="*/ 11998974 w 25010275"/>
                <a:gd name="connsiteY50" fmla="*/ 2224144 h 15035524"/>
                <a:gd name="connsiteX51" fmla="*/ 12315449 w 25010275"/>
                <a:gd name="connsiteY51" fmla="*/ 2884156 h 15035524"/>
                <a:gd name="connsiteX52" fmla="*/ 12785642 w 25010275"/>
                <a:gd name="connsiteY52" fmla="*/ 2703327 h 15035524"/>
                <a:gd name="connsiteX53" fmla="*/ 13671776 w 25010275"/>
                <a:gd name="connsiteY53" fmla="*/ 3155388 h 15035524"/>
                <a:gd name="connsiteX54" fmla="*/ 14123886 w 25010275"/>
                <a:gd name="connsiteY54" fmla="*/ 2857035 h 15035524"/>
                <a:gd name="connsiteX55" fmla="*/ 14259509 w 25010275"/>
                <a:gd name="connsiteY55" fmla="*/ 2287434 h 15035524"/>
                <a:gd name="connsiteX56" fmla="*/ 14892468 w 25010275"/>
                <a:gd name="connsiteY56" fmla="*/ 1645503 h 15035524"/>
                <a:gd name="connsiteX57" fmla="*/ 15778605 w 25010275"/>
                <a:gd name="connsiteY57" fmla="*/ 1093983 h 15035524"/>
                <a:gd name="connsiteX58" fmla="*/ 16022739 w 25010275"/>
                <a:gd name="connsiteY58" fmla="*/ 1564133 h 15035524"/>
                <a:gd name="connsiteX59" fmla="*/ 16556232 w 25010275"/>
                <a:gd name="connsiteY59" fmla="*/ 2142785 h 15035524"/>
                <a:gd name="connsiteX60" fmla="*/ 17406193 w 25010275"/>
                <a:gd name="connsiteY60" fmla="*/ 1292897 h 15035524"/>
                <a:gd name="connsiteX61" fmla="*/ 18120524 w 25010275"/>
                <a:gd name="connsiteY61" fmla="*/ 714260 h 15035524"/>
                <a:gd name="connsiteX62" fmla="*/ 18744437 w 25010275"/>
                <a:gd name="connsiteY62" fmla="*/ -1 h 15035524"/>
                <a:gd name="connsiteX63" fmla="*/ 19982300 w 25010275"/>
                <a:gd name="connsiteY63" fmla="*/ 343465 h 15035524"/>
                <a:gd name="connsiteX64" fmla="*/ 19837609 w 25010275"/>
                <a:gd name="connsiteY64" fmla="*/ 1121173 h 15035524"/>
                <a:gd name="connsiteX65" fmla="*/ 21881359 w 25010275"/>
                <a:gd name="connsiteY65" fmla="*/ 1772279 h 15035524"/>
                <a:gd name="connsiteX66" fmla="*/ 21537712 w 25010275"/>
                <a:gd name="connsiteY66" fmla="*/ 2767023 h 15035524"/>
                <a:gd name="connsiteX67" fmla="*/ 22478203 w 25010275"/>
                <a:gd name="connsiteY67" fmla="*/ 2296774 h 15035524"/>
                <a:gd name="connsiteX68" fmla="*/ 23888932 w 25010275"/>
                <a:gd name="connsiteY68" fmla="*/ 1880797 h 15035524"/>
                <a:gd name="connsiteX69" fmla="*/ 25010275 w 25010275"/>
                <a:gd name="connsiteY69" fmla="*/ 578575 h 15035524"/>
                <a:gd name="connsiteX70" fmla="*/ 16350939 w 25010275"/>
                <a:gd name="connsiteY70" fmla="*/ 6053348 h 15035524"/>
                <a:gd name="connsiteX71" fmla="*/ 16362364 w 25010275"/>
                <a:gd name="connsiteY71" fmla="*/ 6360628 h 15035524"/>
                <a:gd name="connsiteX72" fmla="*/ 16682563 w 25010275"/>
                <a:gd name="connsiteY72" fmla="*/ 6798531 h 15035524"/>
                <a:gd name="connsiteX0" fmla="*/ 16682563 w 23888933"/>
                <a:gd name="connsiteY0" fmla="*/ 6798531 h 15035524"/>
                <a:gd name="connsiteX1" fmla="*/ 16432262 w 23888933"/>
                <a:gd name="connsiteY1" fmla="*/ 7825917 h 15035524"/>
                <a:gd name="connsiteX2" fmla="*/ 16106317 w 23888933"/>
                <a:gd name="connsiteY2" fmla="*/ 8367221 h 15035524"/>
                <a:gd name="connsiteX3" fmla="*/ 16305649 w 23888933"/>
                <a:gd name="connsiteY3" fmla="*/ 8754550 h 15035524"/>
                <a:gd name="connsiteX4" fmla="*/ 16287189 w 23888933"/>
                <a:gd name="connsiteY4" fmla="*/ 9151157 h 15035524"/>
                <a:gd name="connsiteX5" fmla="*/ 16372801 w 23888933"/>
                <a:gd name="connsiteY5" fmla="*/ 9717422 h 15035524"/>
                <a:gd name="connsiteX6" fmla="*/ 16070155 w 23888933"/>
                <a:gd name="connsiteY6" fmla="*/ 9937808 h 15035524"/>
                <a:gd name="connsiteX7" fmla="*/ 15805690 w 23888933"/>
                <a:gd name="connsiteY7" fmla="*/ 10431999 h 15035524"/>
                <a:gd name="connsiteX8" fmla="*/ 15195097 w 23888933"/>
                <a:gd name="connsiteY8" fmla="*/ 10093742 h 15035524"/>
                <a:gd name="connsiteX9" fmla="*/ 15011380 w 23888933"/>
                <a:gd name="connsiteY9" fmla="*/ 11048592 h 15035524"/>
                <a:gd name="connsiteX10" fmla="*/ 14908430 w 23888933"/>
                <a:gd name="connsiteY10" fmla="*/ 11937487 h 15035524"/>
                <a:gd name="connsiteX11" fmla="*/ 14904684 w 23888933"/>
                <a:gd name="connsiteY11" fmla="*/ 12760926 h 15035524"/>
                <a:gd name="connsiteX12" fmla="*/ 14929927 w 23888933"/>
                <a:gd name="connsiteY12" fmla="*/ 14391846 h 15035524"/>
                <a:gd name="connsiteX13" fmla="*/ 12952786 w 23888933"/>
                <a:gd name="connsiteY13" fmla="*/ 14842599 h 15035524"/>
                <a:gd name="connsiteX14" fmla="*/ 11934663 w 23888933"/>
                <a:gd name="connsiteY14" fmla="*/ 14890849 h 15035524"/>
                <a:gd name="connsiteX15" fmla="*/ 8506848 w 23888933"/>
                <a:gd name="connsiteY15" fmla="*/ 15035524 h 15035524"/>
                <a:gd name="connsiteX16" fmla="*/ 7985095 w 23888933"/>
                <a:gd name="connsiteY16" fmla="*/ 14390442 h 15035524"/>
                <a:gd name="connsiteX17" fmla="*/ 7400308 w 23888933"/>
                <a:gd name="connsiteY17" fmla="*/ 14360297 h 15035524"/>
                <a:gd name="connsiteX18" fmla="*/ 6972273 w 23888933"/>
                <a:gd name="connsiteY18" fmla="*/ 14631594 h 15035524"/>
                <a:gd name="connsiteX19" fmla="*/ 5181729 w 23888933"/>
                <a:gd name="connsiteY19" fmla="*/ 14547195 h 15035524"/>
                <a:gd name="connsiteX20" fmla="*/ 4397998 w 23888933"/>
                <a:gd name="connsiteY20" fmla="*/ 13914178 h 15035524"/>
                <a:gd name="connsiteX21" fmla="*/ 2908896 w 23888933"/>
                <a:gd name="connsiteY21" fmla="*/ 13106324 h 15035524"/>
                <a:gd name="connsiteX22" fmla="*/ 1263043 w 23888933"/>
                <a:gd name="connsiteY22" fmla="*/ 12394931 h 15035524"/>
                <a:gd name="connsiteX23" fmla="*/ 485320 w 23888933"/>
                <a:gd name="connsiteY23" fmla="*/ 11942774 h 15035524"/>
                <a:gd name="connsiteX24" fmla="*/ 0 w 23888933"/>
                <a:gd name="connsiteY24" fmla="*/ 11649662 h 15035524"/>
                <a:gd name="connsiteX25" fmla="*/ 1003686 w 23888933"/>
                <a:gd name="connsiteY25" fmla="*/ 10903697 h 15035524"/>
                <a:gd name="connsiteX26" fmla="*/ 2902551 w 23888933"/>
                <a:gd name="connsiteY26" fmla="*/ 9719298 h 15035524"/>
                <a:gd name="connsiteX27" fmla="*/ 2558940 w 23888933"/>
                <a:gd name="connsiteY27" fmla="*/ 9185867 h 15035524"/>
                <a:gd name="connsiteX28" fmla="*/ 2402508 w 23888933"/>
                <a:gd name="connsiteY28" fmla="*/ 8498784 h 15035524"/>
                <a:gd name="connsiteX29" fmla="*/ 2730740 w 23888933"/>
                <a:gd name="connsiteY29" fmla="*/ 8471613 h 15035524"/>
                <a:gd name="connsiteX30" fmla="*/ 2947754 w 23888933"/>
                <a:gd name="connsiteY30" fmla="*/ 8001468 h 15035524"/>
                <a:gd name="connsiteX31" fmla="*/ 3499325 w 23888933"/>
                <a:gd name="connsiteY31" fmla="*/ 7558451 h 15035524"/>
                <a:gd name="connsiteX32" fmla="*/ 3680166 w 23888933"/>
                <a:gd name="connsiteY32" fmla="*/ 6681453 h 15035524"/>
                <a:gd name="connsiteX33" fmla="*/ 4186528 w 23888933"/>
                <a:gd name="connsiteY33" fmla="*/ 6690489 h 15035524"/>
                <a:gd name="connsiteX34" fmla="*/ 4837569 w 23888933"/>
                <a:gd name="connsiteY34" fmla="*/ 7160639 h 15035524"/>
                <a:gd name="connsiteX35" fmla="*/ 5352976 w 23888933"/>
                <a:gd name="connsiteY35" fmla="*/ 7079272 h 15035524"/>
                <a:gd name="connsiteX36" fmla="*/ 5741786 w 23888933"/>
                <a:gd name="connsiteY36" fmla="*/ 6708577 h 15035524"/>
                <a:gd name="connsiteX37" fmla="*/ 6157723 w 23888933"/>
                <a:gd name="connsiteY37" fmla="*/ 6545836 h 15035524"/>
                <a:gd name="connsiteX38" fmla="*/ 6745471 w 23888933"/>
                <a:gd name="connsiteY38" fmla="*/ 5976243 h 15035524"/>
                <a:gd name="connsiteX39" fmla="*/ 6890140 w 23888933"/>
                <a:gd name="connsiteY39" fmla="*/ 5126367 h 15035524"/>
                <a:gd name="connsiteX40" fmla="*/ 7568305 w 23888933"/>
                <a:gd name="connsiteY40" fmla="*/ 4556773 h 15035524"/>
                <a:gd name="connsiteX41" fmla="*/ 8137967 w 23888933"/>
                <a:gd name="connsiteY41" fmla="*/ 4113752 h 15035524"/>
                <a:gd name="connsiteX42" fmla="*/ 8463480 w 23888933"/>
                <a:gd name="connsiteY42" fmla="*/ 3309085 h 15035524"/>
                <a:gd name="connsiteX43" fmla="*/ 9024093 w 23888933"/>
                <a:gd name="connsiteY43" fmla="*/ 2956478 h 15035524"/>
                <a:gd name="connsiteX44" fmla="*/ 9675138 w 23888933"/>
                <a:gd name="connsiteY44" fmla="*/ 2603876 h 15035524"/>
                <a:gd name="connsiteX45" fmla="*/ 9558580 w 23888933"/>
                <a:gd name="connsiteY45" fmla="*/ 2055592 h 15035524"/>
                <a:gd name="connsiteX46" fmla="*/ 10353296 w 23888933"/>
                <a:gd name="connsiteY46" fmla="*/ 1383308 h 15035524"/>
                <a:gd name="connsiteX47" fmla="*/ 10832530 w 23888933"/>
                <a:gd name="connsiteY47" fmla="*/ 1310974 h 15035524"/>
                <a:gd name="connsiteX48" fmla="*/ 11058585 w 23888933"/>
                <a:gd name="connsiteY48" fmla="*/ 1763043 h 15035524"/>
                <a:gd name="connsiteX49" fmla="*/ 11411229 w 23888933"/>
                <a:gd name="connsiteY49" fmla="*/ 2142774 h 15035524"/>
                <a:gd name="connsiteX50" fmla="*/ 11998974 w 23888933"/>
                <a:gd name="connsiteY50" fmla="*/ 2224144 h 15035524"/>
                <a:gd name="connsiteX51" fmla="*/ 12315449 w 23888933"/>
                <a:gd name="connsiteY51" fmla="*/ 2884156 h 15035524"/>
                <a:gd name="connsiteX52" fmla="*/ 12785642 w 23888933"/>
                <a:gd name="connsiteY52" fmla="*/ 2703327 h 15035524"/>
                <a:gd name="connsiteX53" fmla="*/ 13671776 w 23888933"/>
                <a:gd name="connsiteY53" fmla="*/ 3155388 h 15035524"/>
                <a:gd name="connsiteX54" fmla="*/ 14123886 w 23888933"/>
                <a:gd name="connsiteY54" fmla="*/ 2857035 h 15035524"/>
                <a:gd name="connsiteX55" fmla="*/ 14259509 w 23888933"/>
                <a:gd name="connsiteY55" fmla="*/ 2287434 h 15035524"/>
                <a:gd name="connsiteX56" fmla="*/ 14892468 w 23888933"/>
                <a:gd name="connsiteY56" fmla="*/ 1645503 h 15035524"/>
                <a:gd name="connsiteX57" fmla="*/ 15778605 w 23888933"/>
                <a:gd name="connsiteY57" fmla="*/ 1093983 h 15035524"/>
                <a:gd name="connsiteX58" fmla="*/ 16022739 w 23888933"/>
                <a:gd name="connsiteY58" fmla="*/ 1564133 h 15035524"/>
                <a:gd name="connsiteX59" fmla="*/ 16556232 w 23888933"/>
                <a:gd name="connsiteY59" fmla="*/ 2142785 h 15035524"/>
                <a:gd name="connsiteX60" fmla="*/ 17406193 w 23888933"/>
                <a:gd name="connsiteY60" fmla="*/ 1292897 h 15035524"/>
                <a:gd name="connsiteX61" fmla="*/ 18120524 w 23888933"/>
                <a:gd name="connsiteY61" fmla="*/ 714260 h 15035524"/>
                <a:gd name="connsiteX62" fmla="*/ 18744437 w 23888933"/>
                <a:gd name="connsiteY62" fmla="*/ -1 h 15035524"/>
                <a:gd name="connsiteX63" fmla="*/ 19982300 w 23888933"/>
                <a:gd name="connsiteY63" fmla="*/ 343465 h 15035524"/>
                <a:gd name="connsiteX64" fmla="*/ 19837609 w 23888933"/>
                <a:gd name="connsiteY64" fmla="*/ 1121173 h 15035524"/>
                <a:gd name="connsiteX65" fmla="*/ 21881359 w 23888933"/>
                <a:gd name="connsiteY65" fmla="*/ 1772279 h 15035524"/>
                <a:gd name="connsiteX66" fmla="*/ 21537712 w 23888933"/>
                <a:gd name="connsiteY66" fmla="*/ 2767023 h 15035524"/>
                <a:gd name="connsiteX67" fmla="*/ 22478203 w 23888933"/>
                <a:gd name="connsiteY67" fmla="*/ 2296774 h 15035524"/>
                <a:gd name="connsiteX68" fmla="*/ 23888932 w 23888933"/>
                <a:gd name="connsiteY68" fmla="*/ 1880797 h 15035524"/>
                <a:gd name="connsiteX69" fmla="*/ 17541488 w 23888933"/>
                <a:gd name="connsiteY69" fmla="*/ 3715695 h 15035524"/>
                <a:gd name="connsiteX70" fmla="*/ 16350939 w 23888933"/>
                <a:gd name="connsiteY70" fmla="*/ 6053348 h 15035524"/>
                <a:gd name="connsiteX71" fmla="*/ 16362364 w 23888933"/>
                <a:gd name="connsiteY71" fmla="*/ 6360628 h 15035524"/>
                <a:gd name="connsiteX72" fmla="*/ 16682563 w 23888933"/>
                <a:gd name="connsiteY72" fmla="*/ 6798531 h 15035524"/>
                <a:gd name="connsiteX0" fmla="*/ 16682563 w 23888933"/>
                <a:gd name="connsiteY0" fmla="*/ 6798531 h 15035524"/>
                <a:gd name="connsiteX1" fmla="*/ 16432262 w 23888933"/>
                <a:gd name="connsiteY1" fmla="*/ 7825917 h 15035524"/>
                <a:gd name="connsiteX2" fmla="*/ 16106317 w 23888933"/>
                <a:gd name="connsiteY2" fmla="*/ 8367221 h 15035524"/>
                <a:gd name="connsiteX3" fmla="*/ 16305649 w 23888933"/>
                <a:gd name="connsiteY3" fmla="*/ 8754550 h 15035524"/>
                <a:gd name="connsiteX4" fmla="*/ 16287189 w 23888933"/>
                <a:gd name="connsiteY4" fmla="*/ 9151157 h 15035524"/>
                <a:gd name="connsiteX5" fmla="*/ 16372801 w 23888933"/>
                <a:gd name="connsiteY5" fmla="*/ 9717422 h 15035524"/>
                <a:gd name="connsiteX6" fmla="*/ 16070155 w 23888933"/>
                <a:gd name="connsiteY6" fmla="*/ 9937808 h 15035524"/>
                <a:gd name="connsiteX7" fmla="*/ 15805690 w 23888933"/>
                <a:gd name="connsiteY7" fmla="*/ 10431999 h 15035524"/>
                <a:gd name="connsiteX8" fmla="*/ 15195097 w 23888933"/>
                <a:gd name="connsiteY8" fmla="*/ 10093742 h 15035524"/>
                <a:gd name="connsiteX9" fmla="*/ 15011380 w 23888933"/>
                <a:gd name="connsiteY9" fmla="*/ 11048592 h 15035524"/>
                <a:gd name="connsiteX10" fmla="*/ 14908430 w 23888933"/>
                <a:gd name="connsiteY10" fmla="*/ 11937487 h 15035524"/>
                <a:gd name="connsiteX11" fmla="*/ 14904684 w 23888933"/>
                <a:gd name="connsiteY11" fmla="*/ 12760926 h 15035524"/>
                <a:gd name="connsiteX12" fmla="*/ 14929927 w 23888933"/>
                <a:gd name="connsiteY12" fmla="*/ 14391846 h 15035524"/>
                <a:gd name="connsiteX13" fmla="*/ 12952786 w 23888933"/>
                <a:gd name="connsiteY13" fmla="*/ 14842599 h 15035524"/>
                <a:gd name="connsiteX14" fmla="*/ 11934663 w 23888933"/>
                <a:gd name="connsiteY14" fmla="*/ 14890849 h 15035524"/>
                <a:gd name="connsiteX15" fmla="*/ 8506848 w 23888933"/>
                <a:gd name="connsiteY15" fmla="*/ 15035524 h 15035524"/>
                <a:gd name="connsiteX16" fmla="*/ 7985095 w 23888933"/>
                <a:gd name="connsiteY16" fmla="*/ 14390442 h 15035524"/>
                <a:gd name="connsiteX17" fmla="*/ 7400308 w 23888933"/>
                <a:gd name="connsiteY17" fmla="*/ 14360297 h 15035524"/>
                <a:gd name="connsiteX18" fmla="*/ 6972273 w 23888933"/>
                <a:gd name="connsiteY18" fmla="*/ 14631594 h 15035524"/>
                <a:gd name="connsiteX19" fmla="*/ 5181729 w 23888933"/>
                <a:gd name="connsiteY19" fmla="*/ 14547195 h 15035524"/>
                <a:gd name="connsiteX20" fmla="*/ 4397998 w 23888933"/>
                <a:gd name="connsiteY20" fmla="*/ 13914178 h 15035524"/>
                <a:gd name="connsiteX21" fmla="*/ 2908896 w 23888933"/>
                <a:gd name="connsiteY21" fmla="*/ 13106324 h 15035524"/>
                <a:gd name="connsiteX22" fmla="*/ 1263043 w 23888933"/>
                <a:gd name="connsiteY22" fmla="*/ 12394931 h 15035524"/>
                <a:gd name="connsiteX23" fmla="*/ 485320 w 23888933"/>
                <a:gd name="connsiteY23" fmla="*/ 11942774 h 15035524"/>
                <a:gd name="connsiteX24" fmla="*/ 0 w 23888933"/>
                <a:gd name="connsiteY24" fmla="*/ 11649662 h 15035524"/>
                <a:gd name="connsiteX25" fmla="*/ 1003686 w 23888933"/>
                <a:gd name="connsiteY25" fmla="*/ 10903697 h 15035524"/>
                <a:gd name="connsiteX26" fmla="*/ 2902551 w 23888933"/>
                <a:gd name="connsiteY26" fmla="*/ 9719298 h 15035524"/>
                <a:gd name="connsiteX27" fmla="*/ 2558940 w 23888933"/>
                <a:gd name="connsiteY27" fmla="*/ 9185867 h 15035524"/>
                <a:gd name="connsiteX28" fmla="*/ 2402508 w 23888933"/>
                <a:gd name="connsiteY28" fmla="*/ 8498784 h 15035524"/>
                <a:gd name="connsiteX29" fmla="*/ 2730740 w 23888933"/>
                <a:gd name="connsiteY29" fmla="*/ 8471613 h 15035524"/>
                <a:gd name="connsiteX30" fmla="*/ 2947754 w 23888933"/>
                <a:gd name="connsiteY30" fmla="*/ 8001468 h 15035524"/>
                <a:gd name="connsiteX31" fmla="*/ 3499325 w 23888933"/>
                <a:gd name="connsiteY31" fmla="*/ 7558451 h 15035524"/>
                <a:gd name="connsiteX32" fmla="*/ 3680166 w 23888933"/>
                <a:gd name="connsiteY32" fmla="*/ 6681453 h 15035524"/>
                <a:gd name="connsiteX33" fmla="*/ 4186528 w 23888933"/>
                <a:gd name="connsiteY33" fmla="*/ 6690489 h 15035524"/>
                <a:gd name="connsiteX34" fmla="*/ 4837569 w 23888933"/>
                <a:gd name="connsiteY34" fmla="*/ 7160639 h 15035524"/>
                <a:gd name="connsiteX35" fmla="*/ 5352976 w 23888933"/>
                <a:gd name="connsiteY35" fmla="*/ 7079272 h 15035524"/>
                <a:gd name="connsiteX36" fmla="*/ 5741786 w 23888933"/>
                <a:gd name="connsiteY36" fmla="*/ 6708577 h 15035524"/>
                <a:gd name="connsiteX37" fmla="*/ 6157723 w 23888933"/>
                <a:gd name="connsiteY37" fmla="*/ 6545836 h 15035524"/>
                <a:gd name="connsiteX38" fmla="*/ 6745471 w 23888933"/>
                <a:gd name="connsiteY38" fmla="*/ 5976243 h 15035524"/>
                <a:gd name="connsiteX39" fmla="*/ 6890140 w 23888933"/>
                <a:gd name="connsiteY39" fmla="*/ 5126367 h 15035524"/>
                <a:gd name="connsiteX40" fmla="*/ 7568305 w 23888933"/>
                <a:gd name="connsiteY40" fmla="*/ 4556773 h 15035524"/>
                <a:gd name="connsiteX41" fmla="*/ 8137967 w 23888933"/>
                <a:gd name="connsiteY41" fmla="*/ 4113752 h 15035524"/>
                <a:gd name="connsiteX42" fmla="*/ 8463480 w 23888933"/>
                <a:gd name="connsiteY42" fmla="*/ 3309085 h 15035524"/>
                <a:gd name="connsiteX43" fmla="*/ 9024093 w 23888933"/>
                <a:gd name="connsiteY43" fmla="*/ 2956478 h 15035524"/>
                <a:gd name="connsiteX44" fmla="*/ 9675138 w 23888933"/>
                <a:gd name="connsiteY44" fmla="*/ 2603876 h 15035524"/>
                <a:gd name="connsiteX45" fmla="*/ 9558580 w 23888933"/>
                <a:gd name="connsiteY45" fmla="*/ 2055592 h 15035524"/>
                <a:gd name="connsiteX46" fmla="*/ 10353296 w 23888933"/>
                <a:gd name="connsiteY46" fmla="*/ 1383308 h 15035524"/>
                <a:gd name="connsiteX47" fmla="*/ 10832530 w 23888933"/>
                <a:gd name="connsiteY47" fmla="*/ 1310974 h 15035524"/>
                <a:gd name="connsiteX48" fmla="*/ 11058585 w 23888933"/>
                <a:gd name="connsiteY48" fmla="*/ 1763043 h 15035524"/>
                <a:gd name="connsiteX49" fmla="*/ 11411229 w 23888933"/>
                <a:gd name="connsiteY49" fmla="*/ 2142774 h 15035524"/>
                <a:gd name="connsiteX50" fmla="*/ 11998974 w 23888933"/>
                <a:gd name="connsiteY50" fmla="*/ 2224144 h 15035524"/>
                <a:gd name="connsiteX51" fmla="*/ 12315449 w 23888933"/>
                <a:gd name="connsiteY51" fmla="*/ 2884156 h 15035524"/>
                <a:gd name="connsiteX52" fmla="*/ 12785642 w 23888933"/>
                <a:gd name="connsiteY52" fmla="*/ 2703327 h 15035524"/>
                <a:gd name="connsiteX53" fmla="*/ 13671776 w 23888933"/>
                <a:gd name="connsiteY53" fmla="*/ 3155388 h 15035524"/>
                <a:gd name="connsiteX54" fmla="*/ 14123886 w 23888933"/>
                <a:gd name="connsiteY54" fmla="*/ 2857035 h 15035524"/>
                <a:gd name="connsiteX55" fmla="*/ 14259509 w 23888933"/>
                <a:gd name="connsiteY55" fmla="*/ 2287434 h 15035524"/>
                <a:gd name="connsiteX56" fmla="*/ 14892468 w 23888933"/>
                <a:gd name="connsiteY56" fmla="*/ 1645503 h 15035524"/>
                <a:gd name="connsiteX57" fmla="*/ 15778605 w 23888933"/>
                <a:gd name="connsiteY57" fmla="*/ 1093983 h 15035524"/>
                <a:gd name="connsiteX58" fmla="*/ 16022739 w 23888933"/>
                <a:gd name="connsiteY58" fmla="*/ 1564133 h 15035524"/>
                <a:gd name="connsiteX59" fmla="*/ 16556232 w 23888933"/>
                <a:gd name="connsiteY59" fmla="*/ 2142785 h 15035524"/>
                <a:gd name="connsiteX60" fmla="*/ 17406193 w 23888933"/>
                <a:gd name="connsiteY60" fmla="*/ 1292897 h 15035524"/>
                <a:gd name="connsiteX61" fmla="*/ 18120524 w 23888933"/>
                <a:gd name="connsiteY61" fmla="*/ 714260 h 15035524"/>
                <a:gd name="connsiteX62" fmla="*/ 18744437 w 23888933"/>
                <a:gd name="connsiteY62" fmla="*/ -1 h 15035524"/>
                <a:gd name="connsiteX63" fmla="*/ 19982300 w 23888933"/>
                <a:gd name="connsiteY63" fmla="*/ 343465 h 15035524"/>
                <a:gd name="connsiteX64" fmla="*/ 19837609 w 23888933"/>
                <a:gd name="connsiteY64" fmla="*/ 1121173 h 15035524"/>
                <a:gd name="connsiteX65" fmla="*/ 21881359 w 23888933"/>
                <a:gd name="connsiteY65" fmla="*/ 1772279 h 15035524"/>
                <a:gd name="connsiteX66" fmla="*/ 21537712 w 23888933"/>
                <a:gd name="connsiteY66" fmla="*/ 2767023 h 15035524"/>
                <a:gd name="connsiteX67" fmla="*/ 22478203 w 23888933"/>
                <a:gd name="connsiteY67" fmla="*/ 2296774 h 15035524"/>
                <a:gd name="connsiteX68" fmla="*/ 23888932 w 23888933"/>
                <a:gd name="connsiteY68" fmla="*/ 1880797 h 15035524"/>
                <a:gd name="connsiteX69" fmla="*/ 14031723 w 23888933"/>
                <a:gd name="connsiteY69" fmla="*/ 5592368 h 15035524"/>
                <a:gd name="connsiteX70" fmla="*/ 16350939 w 23888933"/>
                <a:gd name="connsiteY70" fmla="*/ 6053348 h 15035524"/>
                <a:gd name="connsiteX71" fmla="*/ 16362364 w 23888933"/>
                <a:gd name="connsiteY71" fmla="*/ 6360628 h 15035524"/>
                <a:gd name="connsiteX72" fmla="*/ 16682563 w 23888933"/>
                <a:gd name="connsiteY72" fmla="*/ 6798531 h 15035524"/>
                <a:gd name="connsiteX0" fmla="*/ 16682563 w 23888933"/>
                <a:gd name="connsiteY0" fmla="*/ 6798531 h 15035524"/>
                <a:gd name="connsiteX1" fmla="*/ 16432262 w 23888933"/>
                <a:gd name="connsiteY1" fmla="*/ 7825917 h 15035524"/>
                <a:gd name="connsiteX2" fmla="*/ 16106317 w 23888933"/>
                <a:gd name="connsiteY2" fmla="*/ 8367221 h 15035524"/>
                <a:gd name="connsiteX3" fmla="*/ 16305649 w 23888933"/>
                <a:gd name="connsiteY3" fmla="*/ 8754550 h 15035524"/>
                <a:gd name="connsiteX4" fmla="*/ 16287189 w 23888933"/>
                <a:gd name="connsiteY4" fmla="*/ 9151157 h 15035524"/>
                <a:gd name="connsiteX5" fmla="*/ 16372801 w 23888933"/>
                <a:gd name="connsiteY5" fmla="*/ 9717422 h 15035524"/>
                <a:gd name="connsiteX6" fmla="*/ 16070155 w 23888933"/>
                <a:gd name="connsiteY6" fmla="*/ 9937808 h 15035524"/>
                <a:gd name="connsiteX7" fmla="*/ 15805690 w 23888933"/>
                <a:gd name="connsiteY7" fmla="*/ 10431999 h 15035524"/>
                <a:gd name="connsiteX8" fmla="*/ 15195097 w 23888933"/>
                <a:gd name="connsiteY8" fmla="*/ 10093742 h 15035524"/>
                <a:gd name="connsiteX9" fmla="*/ 15011380 w 23888933"/>
                <a:gd name="connsiteY9" fmla="*/ 11048592 h 15035524"/>
                <a:gd name="connsiteX10" fmla="*/ 14908430 w 23888933"/>
                <a:gd name="connsiteY10" fmla="*/ 11937487 h 15035524"/>
                <a:gd name="connsiteX11" fmla="*/ 14904684 w 23888933"/>
                <a:gd name="connsiteY11" fmla="*/ 12760926 h 15035524"/>
                <a:gd name="connsiteX12" fmla="*/ 14929927 w 23888933"/>
                <a:gd name="connsiteY12" fmla="*/ 14391846 h 15035524"/>
                <a:gd name="connsiteX13" fmla="*/ 12952786 w 23888933"/>
                <a:gd name="connsiteY13" fmla="*/ 14842599 h 15035524"/>
                <a:gd name="connsiteX14" fmla="*/ 11934663 w 23888933"/>
                <a:gd name="connsiteY14" fmla="*/ 14890849 h 15035524"/>
                <a:gd name="connsiteX15" fmla="*/ 8506848 w 23888933"/>
                <a:gd name="connsiteY15" fmla="*/ 15035524 h 15035524"/>
                <a:gd name="connsiteX16" fmla="*/ 7985095 w 23888933"/>
                <a:gd name="connsiteY16" fmla="*/ 14390442 h 15035524"/>
                <a:gd name="connsiteX17" fmla="*/ 7400308 w 23888933"/>
                <a:gd name="connsiteY17" fmla="*/ 14360297 h 15035524"/>
                <a:gd name="connsiteX18" fmla="*/ 6972273 w 23888933"/>
                <a:gd name="connsiteY18" fmla="*/ 14631594 h 15035524"/>
                <a:gd name="connsiteX19" fmla="*/ 5181729 w 23888933"/>
                <a:gd name="connsiteY19" fmla="*/ 14547195 h 15035524"/>
                <a:gd name="connsiteX20" fmla="*/ 4397998 w 23888933"/>
                <a:gd name="connsiteY20" fmla="*/ 13914178 h 15035524"/>
                <a:gd name="connsiteX21" fmla="*/ 2908896 w 23888933"/>
                <a:gd name="connsiteY21" fmla="*/ 13106324 h 15035524"/>
                <a:gd name="connsiteX22" fmla="*/ 1263043 w 23888933"/>
                <a:gd name="connsiteY22" fmla="*/ 12394931 h 15035524"/>
                <a:gd name="connsiteX23" fmla="*/ 485320 w 23888933"/>
                <a:gd name="connsiteY23" fmla="*/ 11942774 h 15035524"/>
                <a:gd name="connsiteX24" fmla="*/ 0 w 23888933"/>
                <a:gd name="connsiteY24" fmla="*/ 11649662 h 15035524"/>
                <a:gd name="connsiteX25" fmla="*/ 1003686 w 23888933"/>
                <a:gd name="connsiteY25" fmla="*/ 10903697 h 15035524"/>
                <a:gd name="connsiteX26" fmla="*/ 2902551 w 23888933"/>
                <a:gd name="connsiteY26" fmla="*/ 9719298 h 15035524"/>
                <a:gd name="connsiteX27" fmla="*/ 2558940 w 23888933"/>
                <a:gd name="connsiteY27" fmla="*/ 9185867 h 15035524"/>
                <a:gd name="connsiteX28" fmla="*/ 2402508 w 23888933"/>
                <a:gd name="connsiteY28" fmla="*/ 8498784 h 15035524"/>
                <a:gd name="connsiteX29" fmla="*/ 2730740 w 23888933"/>
                <a:gd name="connsiteY29" fmla="*/ 8471613 h 15035524"/>
                <a:gd name="connsiteX30" fmla="*/ 2947754 w 23888933"/>
                <a:gd name="connsiteY30" fmla="*/ 8001468 h 15035524"/>
                <a:gd name="connsiteX31" fmla="*/ 3499325 w 23888933"/>
                <a:gd name="connsiteY31" fmla="*/ 7558451 h 15035524"/>
                <a:gd name="connsiteX32" fmla="*/ 3680166 w 23888933"/>
                <a:gd name="connsiteY32" fmla="*/ 6681453 h 15035524"/>
                <a:gd name="connsiteX33" fmla="*/ 4186528 w 23888933"/>
                <a:gd name="connsiteY33" fmla="*/ 6690489 h 15035524"/>
                <a:gd name="connsiteX34" fmla="*/ 4837569 w 23888933"/>
                <a:gd name="connsiteY34" fmla="*/ 7160639 h 15035524"/>
                <a:gd name="connsiteX35" fmla="*/ 5352976 w 23888933"/>
                <a:gd name="connsiteY35" fmla="*/ 7079272 h 15035524"/>
                <a:gd name="connsiteX36" fmla="*/ 5741786 w 23888933"/>
                <a:gd name="connsiteY36" fmla="*/ 6708577 h 15035524"/>
                <a:gd name="connsiteX37" fmla="*/ 6157723 w 23888933"/>
                <a:gd name="connsiteY37" fmla="*/ 6545836 h 15035524"/>
                <a:gd name="connsiteX38" fmla="*/ 6745471 w 23888933"/>
                <a:gd name="connsiteY38" fmla="*/ 5976243 h 15035524"/>
                <a:gd name="connsiteX39" fmla="*/ 6890140 w 23888933"/>
                <a:gd name="connsiteY39" fmla="*/ 5126367 h 15035524"/>
                <a:gd name="connsiteX40" fmla="*/ 7568305 w 23888933"/>
                <a:gd name="connsiteY40" fmla="*/ 4556773 h 15035524"/>
                <a:gd name="connsiteX41" fmla="*/ 8137967 w 23888933"/>
                <a:gd name="connsiteY41" fmla="*/ 4113752 h 15035524"/>
                <a:gd name="connsiteX42" fmla="*/ 8463480 w 23888933"/>
                <a:gd name="connsiteY42" fmla="*/ 3309085 h 15035524"/>
                <a:gd name="connsiteX43" fmla="*/ 9024093 w 23888933"/>
                <a:gd name="connsiteY43" fmla="*/ 2956478 h 15035524"/>
                <a:gd name="connsiteX44" fmla="*/ 9675138 w 23888933"/>
                <a:gd name="connsiteY44" fmla="*/ 2603876 h 15035524"/>
                <a:gd name="connsiteX45" fmla="*/ 9558580 w 23888933"/>
                <a:gd name="connsiteY45" fmla="*/ 2055592 h 15035524"/>
                <a:gd name="connsiteX46" fmla="*/ 10353296 w 23888933"/>
                <a:gd name="connsiteY46" fmla="*/ 1383308 h 15035524"/>
                <a:gd name="connsiteX47" fmla="*/ 10832530 w 23888933"/>
                <a:gd name="connsiteY47" fmla="*/ 1310974 h 15035524"/>
                <a:gd name="connsiteX48" fmla="*/ 11058585 w 23888933"/>
                <a:gd name="connsiteY48" fmla="*/ 1763043 h 15035524"/>
                <a:gd name="connsiteX49" fmla="*/ 11411229 w 23888933"/>
                <a:gd name="connsiteY49" fmla="*/ 2142774 h 15035524"/>
                <a:gd name="connsiteX50" fmla="*/ 11998974 w 23888933"/>
                <a:gd name="connsiteY50" fmla="*/ 2224144 h 15035524"/>
                <a:gd name="connsiteX51" fmla="*/ 12315449 w 23888933"/>
                <a:gd name="connsiteY51" fmla="*/ 2884156 h 15035524"/>
                <a:gd name="connsiteX52" fmla="*/ 12785642 w 23888933"/>
                <a:gd name="connsiteY52" fmla="*/ 2703327 h 15035524"/>
                <a:gd name="connsiteX53" fmla="*/ 13671776 w 23888933"/>
                <a:gd name="connsiteY53" fmla="*/ 3155388 h 15035524"/>
                <a:gd name="connsiteX54" fmla="*/ 14123886 w 23888933"/>
                <a:gd name="connsiteY54" fmla="*/ 2857035 h 15035524"/>
                <a:gd name="connsiteX55" fmla="*/ 14259509 w 23888933"/>
                <a:gd name="connsiteY55" fmla="*/ 2287434 h 15035524"/>
                <a:gd name="connsiteX56" fmla="*/ 14892468 w 23888933"/>
                <a:gd name="connsiteY56" fmla="*/ 1645503 h 15035524"/>
                <a:gd name="connsiteX57" fmla="*/ 15778605 w 23888933"/>
                <a:gd name="connsiteY57" fmla="*/ 1093983 h 15035524"/>
                <a:gd name="connsiteX58" fmla="*/ 16022739 w 23888933"/>
                <a:gd name="connsiteY58" fmla="*/ 1564133 h 15035524"/>
                <a:gd name="connsiteX59" fmla="*/ 16556232 w 23888933"/>
                <a:gd name="connsiteY59" fmla="*/ 2142785 h 15035524"/>
                <a:gd name="connsiteX60" fmla="*/ 17406193 w 23888933"/>
                <a:gd name="connsiteY60" fmla="*/ 1292897 h 15035524"/>
                <a:gd name="connsiteX61" fmla="*/ 18120524 w 23888933"/>
                <a:gd name="connsiteY61" fmla="*/ 714260 h 15035524"/>
                <a:gd name="connsiteX62" fmla="*/ 18744437 w 23888933"/>
                <a:gd name="connsiteY62" fmla="*/ -1 h 15035524"/>
                <a:gd name="connsiteX63" fmla="*/ 19982300 w 23888933"/>
                <a:gd name="connsiteY63" fmla="*/ 343465 h 15035524"/>
                <a:gd name="connsiteX64" fmla="*/ 19837609 w 23888933"/>
                <a:gd name="connsiteY64" fmla="*/ 1121173 h 15035524"/>
                <a:gd name="connsiteX65" fmla="*/ 21881359 w 23888933"/>
                <a:gd name="connsiteY65" fmla="*/ 1772279 h 15035524"/>
                <a:gd name="connsiteX66" fmla="*/ 21537712 w 23888933"/>
                <a:gd name="connsiteY66" fmla="*/ 2767023 h 15035524"/>
                <a:gd name="connsiteX67" fmla="*/ 22478203 w 23888933"/>
                <a:gd name="connsiteY67" fmla="*/ 2296774 h 15035524"/>
                <a:gd name="connsiteX68" fmla="*/ 23888932 w 23888933"/>
                <a:gd name="connsiteY68" fmla="*/ 1880797 h 15035524"/>
                <a:gd name="connsiteX69" fmla="*/ 15323320 w 23888933"/>
                <a:gd name="connsiteY69" fmla="*/ 5928489 h 15035524"/>
                <a:gd name="connsiteX70" fmla="*/ 16350939 w 23888933"/>
                <a:gd name="connsiteY70" fmla="*/ 6053348 h 15035524"/>
                <a:gd name="connsiteX71" fmla="*/ 16362364 w 23888933"/>
                <a:gd name="connsiteY71" fmla="*/ 6360628 h 15035524"/>
                <a:gd name="connsiteX72" fmla="*/ 16682563 w 23888933"/>
                <a:gd name="connsiteY72" fmla="*/ 6798531 h 15035524"/>
                <a:gd name="connsiteX0" fmla="*/ 16682563 w 22478203"/>
                <a:gd name="connsiteY0" fmla="*/ 6798531 h 15035524"/>
                <a:gd name="connsiteX1" fmla="*/ 16432262 w 22478203"/>
                <a:gd name="connsiteY1" fmla="*/ 7825917 h 15035524"/>
                <a:gd name="connsiteX2" fmla="*/ 16106317 w 22478203"/>
                <a:gd name="connsiteY2" fmla="*/ 8367221 h 15035524"/>
                <a:gd name="connsiteX3" fmla="*/ 16305649 w 22478203"/>
                <a:gd name="connsiteY3" fmla="*/ 8754550 h 15035524"/>
                <a:gd name="connsiteX4" fmla="*/ 16287189 w 22478203"/>
                <a:gd name="connsiteY4" fmla="*/ 9151157 h 15035524"/>
                <a:gd name="connsiteX5" fmla="*/ 16372801 w 22478203"/>
                <a:gd name="connsiteY5" fmla="*/ 9717422 h 15035524"/>
                <a:gd name="connsiteX6" fmla="*/ 16070155 w 22478203"/>
                <a:gd name="connsiteY6" fmla="*/ 9937808 h 15035524"/>
                <a:gd name="connsiteX7" fmla="*/ 15805690 w 22478203"/>
                <a:gd name="connsiteY7" fmla="*/ 10431999 h 15035524"/>
                <a:gd name="connsiteX8" fmla="*/ 15195097 w 22478203"/>
                <a:gd name="connsiteY8" fmla="*/ 10093742 h 15035524"/>
                <a:gd name="connsiteX9" fmla="*/ 15011380 w 22478203"/>
                <a:gd name="connsiteY9" fmla="*/ 11048592 h 15035524"/>
                <a:gd name="connsiteX10" fmla="*/ 14908430 w 22478203"/>
                <a:gd name="connsiteY10" fmla="*/ 11937487 h 15035524"/>
                <a:gd name="connsiteX11" fmla="*/ 14904684 w 22478203"/>
                <a:gd name="connsiteY11" fmla="*/ 12760926 h 15035524"/>
                <a:gd name="connsiteX12" fmla="*/ 14929927 w 22478203"/>
                <a:gd name="connsiteY12" fmla="*/ 14391846 h 15035524"/>
                <a:gd name="connsiteX13" fmla="*/ 12952786 w 22478203"/>
                <a:gd name="connsiteY13" fmla="*/ 14842599 h 15035524"/>
                <a:gd name="connsiteX14" fmla="*/ 11934663 w 22478203"/>
                <a:gd name="connsiteY14" fmla="*/ 14890849 h 15035524"/>
                <a:gd name="connsiteX15" fmla="*/ 8506848 w 22478203"/>
                <a:gd name="connsiteY15" fmla="*/ 15035524 h 15035524"/>
                <a:gd name="connsiteX16" fmla="*/ 7985095 w 22478203"/>
                <a:gd name="connsiteY16" fmla="*/ 14390442 h 15035524"/>
                <a:gd name="connsiteX17" fmla="*/ 7400308 w 22478203"/>
                <a:gd name="connsiteY17" fmla="*/ 14360297 h 15035524"/>
                <a:gd name="connsiteX18" fmla="*/ 6972273 w 22478203"/>
                <a:gd name="connsiteY18" fmla="*/ 14631594 h 15035524"/>
                <a:gd name="connsiteX19" fmla="*/ 5181729 w 22478203"/>
                <a:gd name="connsiteY19" fmla="*/ 14547195 h 15035524"/>
                <a:gd name="connsiteX20" fmla="*/ 4397998 w 22478203"/>
                <a:gd name="connsiteY20" fmla="*/ 13914178 h 15035524"/>
                <a:gd name="connsiteX21" fmla="*/ 2908896 w 22478203"/>
                <a:gd name="connsiteY21" fmla="*/ 13106324 h 15035524"/>
                <a:gd name="connsiteX22" fmla="*/ 1263043 w 22478203"/>
                <a:gd name="connsiteY22" fmla="*/ 12394931 h 15035524"/>
                <a:gd name="connsiteX23" fmla="*/ 485320 w 22478203"/>
                <a:gd name="connsiteY23" fmla="*/ 11942774 h 15035524"/>
                <a:gd name="connsiteX24" fmla="*/ 0 w 22478203"/>
                <a:gd name="connsiteY24" fmla="*/ 11649662 h 15035524"/>
                <a:gd name="connsiteX25" fmla="*/ 1003686 w 22478203"/>
                <a:gd name="connsiteY25" fmla="*/ 10903697 h 15035524"/>
                <a:gd name="connsiteX26" fmla="*/ 2902551 w 22478203"/>
                <a:gd name="connsiteY26" fmla="*/ 9719298 h 15035524"/>
                <a:gd name="connsiteX27" fmla="*/ 2558940 w 22478203"/>
                <a:gd name="connsiteY27" fmla="*/ 9185867 h 15035524"/>
                <a:gd name="connsiteX28" fmla="*/ 2402508 w 22478203"/>
                <a:gd name="connsiteY28" fmla="*/ 8498784 h 15035524"/>
                <a:gd name="connsiteX29" fmla="*/ 2730740 w 22478203"/>
                <a:gd name="connsiteY29" fmla="*/ 8471613 h 15035524"/>
                <a:gd name="connsiteX30" fmla="*/ 2947754 w 22478203"/>
                <a:gd name="connsiteY30" fmla="*/ 8001468 h 15035524"/>
                <a:gd name="connsiteX31" fmla="*/ 3499325 w 22478203"/>
                <a:gd name="connsiteY31" fmla="*/ 7558451 h 15035524"/>
                <a:gd name="connsiteX32" fmla="*/ 3680166 w 22478203"/>
                <a:gd name="connsiteY32" fmla="*/ 6681453 h 15035524"/>
                <a:gd name="connsiteX33" fmla="*/ 4186528 w 22478203"/>
                <a:gd name="connsiteY33" fmla="*/ 6690489 h 15035524"/>
                <a:gd name="connsiteX34" fmla="*/ 4837569 w 22478203"/>
                <a:gd name="connsiteY34" fmla="*/ 7160639 h 15035524"/>
                <a:gd name="connsiteX35" fmla="*/ 5352976 w 22478203"/>
                <a:gd name="connsiteY35" fmla="*/ 7079272 h 15035524"/>
                <a:gd name="connsiteX36" fmla="*/ 5741786 w 22478203"/>
                <a:gd name="connsiteY36" fmla="*/ 6708577 h 15035524"/>
                <a:gd name="connsiteX37" fmla="*/ 6157723 w 22478203"/>
                <a:gd name="connsiteY37" fmla="*/ 6545836 h 15035524"/>
                <a:gd name="connsiteX38" fmla="*/ 6745471 w 22478203"/>
                <a:gd name="connsiteY38" fmla="*/ 5976243 h 15035524"/>
                <a:gd name="connsiteX39" fmla="*/ 6890140 w 22478203"/>
                <a:gd name="connsiteY39" fmla="*/ 5126367 h 15035524"/>
                <a:gd name="connsiteX40" fmla="*/ 7568305 w 22478203"/>
                <a:gd name="connsiteY40" fmla="*/ 4556773 h 15035524"/>
                <a:gd name="connsiteX41" fmla="*/ 8137967 w 22478203"/>
                <a:gd name="connsiteY41" fmla="*/ 4113752 h 15035524"/>
                <a:gd name="connsiteX42" fmla="*/ 8463480 w 22478203"/>
                <a:gd name="connsiteY42" fmla="*/ 3309085 h 15035524"/>
                <a:gd name="connsiteX43" fmla="*/ 9024093 w 22478203"/>
                <a:gd name="connsiteY43" fmla="*/ 2956478 h 15035524"/>
                <a:gd name="connsiteX44" fmla="*/ 9675138 w 22478203"/>
                <a:gd name="connsiteY44" fmla="*/ 2603876 h 15035524"/>
                <a:gd name="connsiteX45" fmla="*/ 9558580 w 22478203"/>
                <a:gd name="connsiteY45" fmla="*/ 2055592 h 15035524"/>
                <a:gd name="connsiteX46" fmla="*/ 10353296 w 22478203"/>
                <a:gd name="connsiteY46" fmla="*/ 1383308 h 15035524"/>
                <a:gd name="connsiteX47" fmla="*/ 10832530 w 22478203"/>
                <a:gd name="connsiteY47" fmla="*/ 1310974 h 15035524"/>
                <a:gd name="connsiteX48" fmla="*/ 11058585 w 22478203"/>
                <a:gd name="connsiteY48" fmla="*/ 1763043 h 15035524"/>
                <a:gd name="connsiteX49" fmla="*/ 11411229 w 22478203"/>
                <a:gd name="connsiteY49" fmla="*/ 2142774 h 15035524"/>
                <a:gd name="connsiteX50" fmla="*/ 11998974 w 22478203"/>
                <a:gd name="connsiteY50" fmla="*/ 2224144 h 15035524"/>
                <a:gd name="connsiteX51" fmla="*/ 12315449 w 22478203"/>
                <a:gd name="connsiteY51" fmla="*/ 2884156 h 15035524"/>
                <a:gd name="connsiteX52" fmla="*/ 12785642 w 22478203"/>
                <a:gd name="connsiteY52" fmla="*/ 2703327 h 15035524"/>
                <a:gd name="connsiteX53" fmla="*/ 13671776 w 22478203"/>
                <a:gd name="connsiteY53" fmla="*/ 3155388 h 15035524"/>
                <a:gd name="connsiteX54" fmla="*/ 14123886 w 22478203"/>
                <a:gd name="connsiteY54" fmla="*/ 2857035 h 15035524"/>
                <a:gd name="connsiteX55" fmla="*/ 14259509 w 22478203"/>
                <a:gd name="connsiteY55" fmla="*/ 2287434 h 15035524"/>
                <a:gd name="connsiteX56" fmla="*/ 14892468 w 22478203"/>
                <a:gd name="connsiteY56" fmla="*/ 1645503 h 15035524"/>
                <a:gd name="connsiteX57" fmla="*/ 15778605 w 22478203"/>
                <a:gd name="connsiteY57" fmla="*/ 1093983 h 15035524"/>
                <a:gd name="connsiteX58" fmla="*/ 16022739 w 22478203"/>
                <a:gd name="connsiteY58" fmla="*/ 1564133 h 15035524"/>
                <a:gd name="connsiteX59" fmla="*/ 16556232 w 22478203"/>
                <a:gd name="connsiteY59" fmla="*/ 2142785 h 15035524"/>
                <a:gd name="connsiteX60" fmla="*/ 17406193 w 22478203"/>
                <a:gd name="connsiteY60" fmla="*/ 1292897 h 15035524"/>
                <a:gd name="connsiteX61" fmla="*/ 18120524 w 22478203"/>
                <a:gd name="connsiteY61" fmla="*/ 714260 h 15035524"/>
                <a:gd name="connsiteX62" fmla="*/ 18744437 w 22478203"/>
                <a:gd name="connsiteY62" fmla="*/ -1 h 15035524"/>
                <a:gd name="connsiteX63" fmla="*/ 19982300 w 22478203"/>
                <a:gd name="connsiteY63" fmla="*/ 343465 h 15035524"/>
                <a:gd name="connsiteX64" fmla="*/ 19837609 w 22478203"/>
                <a:gd name="connsiteY64" fmla="*/ 1121173 h 15035524"/>
                <a:gd name="connsiteX65" fmla="*/ 21881359 w 22478203"/>
                <a:gd name="connsiteY65" fmla="*/ 1772279 h 15035524"/>
                <a:gd name="connsiteX66" fmla="*/ 21537712 w 22478203"/>
                <a:gd name="connsiteY66" fmla="*/ 2767023 h 15035524"/>
                <a:gd name="connsiteX67" fmla="*/ 22478203 w 22478203"/>
                <a:gd name="connsiteY67" fmla="*/ 2296774 h 15035524"/>
                <a:gd name="connsiteX68" fmla="*/ 14960077 w 22478203"/>
                <a:gd name="connsiteY68" fmla="*/ 5017927 h 15035524"/>
                <a:gd name="connsiteX69" fmla="*/ 15323320 w 22478203"/>
                <a:gd name="connsiteY69" fmla="*/ 5928489 h 15035524"/>
                <a:gd name="connsiteX70" fmla="*/ 16350939 w 22478203"/>
                <a:gd name="connsiteY70" fmla="*/ 6053348 h 15035524"/>
                <a:gd name="connsiteX71" fmla="*/ 16362364 w 22478203"/>
                <a:gd name="connsiteY71" fmla="*/ 6360628 h 15035524"/>
                <a:gd name="connsiteX72" fmla="*/ 16682563 w 22478203"/>
                <a:gd name="connsiteY72" fmla="*/ 6798531 h 15035524"/>
                <a:gd name="connsiteX0" fmla="*/ 16682563 w 22478203"/>
                <a:gd name="connsiteY0" fmla="*/ 6798531 h 15035524"/>
                <a:gd name="connsiteX1" fmla="*/ 16432262 w 22478203"/>
                <a:gd name="connsiteY1" fmla="*/ 7825917 h 15035524"/>
                <a:gd name="connsiteX2" fmla="*/ 16106317 w 22478203"/>
                <a:gd name="connsiteY2" fmla="*/ 8367221 h 15035524"/>
                <a:gd name="connsiteX3" fmla="*/ 16305649 w 22478203"/>
                <a:gd name="connsiteY3" fmla="*/ 8754550 h 15035524"/>
                <a:gd name="connsiteX4" fmla="*/ 16287189 w 22478203"/>
                <a:gd name="connsiteY4" fmla="*/ 9151157 h 15035524"/>
                <a:gd name="connsiteX5" fmla="*/ 16372801 w 22478203"/>
                <a:gd name="connsiteY5" fmla="*/ 9717422 h 15035524"/>
                <a:gd name="connsiteX6" fmla="*/ 16070155 w 22478203"/>
                <a:gd name="connsiteY6" fmla="*/ 9937808 h 15035524"/>
                <a:gd name="connsiteX7" fmla="*/ 15805690 w 22478203"/>
                <a:gd name="connsiteY7" fmla="*/ 10431999 h 15035524"/>
                <a:gd name="connsiteX8" fmla="*/ 15195097 w 22478203"/>
                <a:gd name="connsiteY8" fmla="*/ 10093742 h 15035524"/>
                <a:gd name="connsiteX9" fmla="*/ 15011380 w 22478203"/>
                <a:gd name="connsiteY9" fmla="*/ 11048592 h 15035524"/>
                <a:gd name="connsiteX10" fmla="*/ 14908430 w 22478203"/>
                <a:gd name="connsiteY10" fmla="*/ 11937487 h 15035524"/>
                <a:gd name="connsiteX11" fmla="*/ 14904684 w 22478203"/>
                <a:gd name="connsiteY11" fmla="*/ 12760926 h 15035524"/>
                <a:gd name="connsiteX12" fmla="*/ 14929927 w 22478203"/>
                <a:gd name="connsiteY12" fmla="*/ 14391846 h 15035524"/>
                <a:gd name="connsiteX13" fmla="*/ 12952786 w 22478203"/>
                <a:gd name="connsiteY13" fmla="*/ 14842599 h 15035524"/>
                <a:gd name="connsiteX14" fmla="*/ 11934663 w 22478203"/>
                <a:gd name="connsiteY14" fmla="*/ 14890849 h 15035524"/>
                <a:gd name="connsiteX15" fmla="*/ 8506848 w 22478203"/>
                <a:gd name="connsiteY15" fmla="*/ 15035524 h 15035524"/>
                <a:gd name="connsiteX16" fmla="*/ 7985095 w 22478203"/>
                <a:gd name="connsiteY16" fmla="*/ 14390442 h 15035524"/>
                <a:gd name="connsiteX17" fmla="*/ 7400308 w 22478203"/>
                <a:gd name="connsiteY17" fmla="*/ 14360297 h 15035524"/>
                <a:gd name="connsiteX18" fmla="*/ 6972273 w 22478203"/>
                <a:gd name="connsiteY18" fmla="*/ 14631594 h 15035524"/>
                <a:gd name="connsiteX19" fmla="*/ 5181729 w 22478203"/>
                <a:gd name="connsiteY19" fmla="*/ 14547195 h 15035524"/>
                <a:gd name="connsiteX20" fmla="*/ 4397998 w 22478203"/>
                <a:gd name="connsiteY20" fmla="*/ 13914178 h 15035524"/>
                <a:gd name="connsiteX21" fmla="*/ 2908896 w 22478203"/>
                <a:gd name="connsiteY21" fmla="*/ 13106324 h 15035524"/>
                <a:gd name="connsiteX22" fmla="*/ 1263043 w 22478203"/>
                <a:gd name="connsiteY22" fmla="*/ 12394931 h 15035524"/>
                <a:gd name="connsiteX23" fmla="*/ 485320 w 22478203"/>
                <a:gd name="connsiteY23" fmla="*/ 11942774 h 15035524"/>
                <a:gd name="connsiteX24" fmla="*/ 0 w 22478203"/>
                <a:gd name="connsiteY24" fmla="*/ 11649662 h 15035524"/>
                <a:gd name="connsiteX25" fmla="*/ 1003686 w 22478203"/>
                <a:gd name="connsiteY25" fmla="*/ 10903697 h 15035524"/>
                <a:gd name="connsiteX26" fmla="*/ 2902551 w 22478203"/>
                <a:gd name="connsiteY26" fmla="*/ 9719298 h 15035524"/>
                <a:gd name="connsiteX27" fmla="*/ 2558940 w 22478203"/>
                <a:gd name="connsiteY27" fmla="*/ 9185867 h 15035524"/>
                <a:gd name="connsiteX28" fmla="*/ 2402508 w 22478203"/>
                <a:gd name="connsiteY28" fmla="*/ 8498784 h 15035524"/>
                <a:gd name="connsiteX29" fmla="*/ 2730740 w 22478203"/>
                <a:gd name="connsiteY29" fmla="*/ 8471613 h 15035524"/>
                <a:gd name="connsiteX30" fmla="*/ 2947754 w 22478203"/>
                <a:gd name="connsiteY30" fmla="*/ 8001468 h 15035524"/>
                <a:gd name="connsiteX31" fmla="*/ 3499325 w 22478203"/>
                <a:gd name="connsiteY31" fmla="*/ 7558451 h 15035524"/>
                <a:gd name="connsiteX32" fmla="*/ 3680166 w 22478203"/>
                <a:gd name="connsiteY32" fmla="*/ 6681453 h 15035524"/>
                <a:gd name="connsiteX33" fmla="*/ 4186528 w 22478203"/>
                <a:gd name="connsiteY33" fmla="*/ 6690489 h 15035524"/>
                <a:gd name="connsiteX34" fmla="*/ 4837569 w 22478203"/>
                <a:gd name="connsiteY34" fmla="*/ 7160639 h 15035524"/>
                <a:gd name="connsiteX35" fmla="*/ 5352976 w 22478203"/>
                <a:gd name="connsiteY35" fmla="*/ 7079272 h 15035524"/>
                <a:gd name="connsiteX36" fmla="*/ 5741786 w 22478203"/>
                <a:gd name="connsiteY36" fmla="*/ 6708577 h 15035524"/>
                <a:gd name="connsiteX37" fmla="*/ 6157723 w 22478203"/>
                <a:gd name="connsiteY37" fmla="*/ 6545836 h 15035524"/>
                <a:gd name="connsiteX38" fmla="*/ 6745471 w 22478203"/>
                <a:gd name="connsiteY38" fmla="*/ 5976243 h 15035524"/>
                <a:gd name="connsiteX39" fmla="*/ 6890140 w 22478203"/>
                <a:gd name="connsiteY39" fmla="*/ 5126367 h 15035524"/>
                <a:gd name="connsiteX40" fmla="*/ 7568305 w 22478203"/>
                <a:gd name="connsiteY40" fmla="*/ 4556773 h 15035524"/>
                <a:gd name="connsiteX41" fmla="*/ 8137967 w 22478203"/>
                <a:gd name="connsiteY41" fmla="*/ 4113752 h 15035524"/>
                <a:gd name="connsiteX42" fmla="*/ 8463480 w 22478203"/>
                <a:gd name="connsiteY42" fmla="*/ 3309085 h 15035524"/>
                <a:gd name="connsiteX43" fmla="*/ 9024093 w 22478203"/>
                <a:gd name="connsiteY43" fmla="*/ 2956478 h 15035524"/>
                <a:gd name="connsiteX44" fmla="*/ 9675138 w 22478203"/>
                <a:gd name="connsiteY44" fmla="*/ 2603876 h 15035524"/>
                <a:gd name="connsiteX45" fmla="*/ 9558580 w 22478203"/>
                <a:gd name="connsiteY45" fmla="*/ 2055592 h 15035524"/>
                <a:gd name="connsiteX46" fmla="*/ 10353296 w 22478203"/>
                <a:gd name="connsiteY46" fmla="*/ 1383308 h 15035524"/>
                <a:gd name="connsiteX47" fmla="*/ 10832530 w 22478203"/>
                <a:gd name="connsiteY47" fmla="*/ 1310974 h 15035524"/>
                <a:gd name="connsiteX48" fmla="*/ 11058585 w 22478203"/>
                <a:gd name="connsiteY48" fmla="*/ 1763043 h 15035524"/>
                <a:gd name="connsiteX49" fmla="*/ 11411229 w 22478203"/>
                <a:gd name="connsiteY49" fmla="*/ 2142774 h 15035524"/>
                <a:gd name="connsiteX50" fmla="*/ 11998974 w 22478203"/>
                <a:gd name="connsiteY50" fmla="*/ 2224144 h 15035524"/>
                <a:gd name="connsiteX51" fmla="*/ 12315449 w 22478203"/>
                <a:gd name="connsiteY51" fmla="*/ 2884156 h 15035524"/>
                <a:gd name="connsiteX52" fmla="*/ 12785642 w 22478203"/>
                <a:gd name="connsiteY52" fmla="*/ 2703327 h 15035524"/>
                <a:gd name="connsiteX53" fmla="*/ 13671776 w 22478203"/>
                <a:gd name="connsiteY53" fmla="*/ 3155388 h 15035524"/>
                <a:gd name="connsiteX54" fmla="*/ 14123886 w 22478203"/>
                <a:gd name="connsiteY54" fmla="*/ 2857035 h 15035524"/>
                <a:gd name="connsiteX55" fmla="*/ 14259509 w 22478203"/>
                <a:gd name="connsiteY55" fmla="*/ 2287434 h 15035524"/>
                <a:gd name="connsiteX56" fmla="*/ 14892468 w 22478203"/>
                <a:gd name="connsiteY56" fmla="*/ 1645503 h 15035524"/>
                <a:gd name="connsiteX57" fmla="*/ 15778605 w 22478203"/>
                <a:gd name="connsiteY57" fmla="*/ 1093983 h 15035524"/>
                <a:gd name="connsiteX58" fmla="*/ 16022739 w 22478203"/>
                <a:gd name="connsiteY58" fmla="*/ 1564133 h 15035524"/>
                <a:gd name="connsiteX59" fmla="*/ 16556232 w 22478203"/>
                <a:gd name="connsiteY59" fmla="*/ 2142785 h 15035524"/>
                <a:gd name="connsiteX60" fmla="*/ 17406193 w 22478203"/>
                <a:gd name="connsiteY60" fmla="*/ 1292897 h 15035524"/>
                <a:gd name="connsiteX61" fmla="*/ 18120524 w 22478203"/>
                <a:gd name="connsiteY61" fmla="*/ 714260 h 15035524"/>
                <a:gd name="connsiteX62" fmla="*/ 18744437 w 22478203"/>
                <a:gd name="connsiteY62" fmla="*/ -1 h 15035524"/>
                <a:gd name="connsiteX63" fmla="*/ 19982300 w 22478203"/>
                <a:gd name="connsiteY63" fmla="*/ 343465 h 15035524"/>
                <a:gd name="connsiteX64" fmla="*/ 19837609 w 22478203"/>
                <a:gd name="connsiteY64" fmla="*/ 1121173 h 15035524"/>
                <a:gd name="connsiteX65" fmla="*/ 21881359 w 22478203"/>
                <a:gd name="connsiteY65" fmla="*/ 1772279 h 15035524"/>
                <a:gd name="connsiteX66" fmla="*/ 21537712 w 22478203"/>
                <a:gd name="connsiteY66" fmla="*/ 2767023 h 15035524"/>
                <a:gd name="connsiteX67" fmla="*/ 22478203 w 22478203"/>
                <a:gd name="connsiteY67" fmla="*/ 2296774 h 15035524"/>
                <a:gd name="connsiteX68" fmla="*/ 13387695 w 22478203"/>
                <a:gd name="connsiteY68" fmla="*/ 5998279 h 15035524"/>
                <a:gd name="connsiteX69" fmla="*/ 15323320 w 22478203"/>
                <a:gd name="connsiteY69" fmla="*/ 5928489 h 15035524"/>
                <a:gd name="connsiteX70" fmla="*/ 16350939 w 22478203"/>
                <a:gd name="connsiteY70" fmla="*/ 6053348 h 15035524"/>
                <a:gd name="connsiteX71" fmla="*/ 16362364 w 22478203"/>
                <a:gd name="connsiteY71" fmla="*/ 6360628 h 15035524"/>
                <a:gd name="connsiteX72" fmla="*/ 16682563 w 22478203"/>
                <a:gd name="connsiteY72" fmla="*/ 6798531 h 15035524"/>
                <a:gd name="connsiteX0" fmla="*/ 16682563 w 22478203"/>
                <a:gd name="connsiteY0" fmla="*/ 6798531 h 15035524"/>
                <a:gd name="connsiteX1" fmla="*/ 16432262 w 22478203"/>
                <a:gd name="connsiteY1" fmla="*/ 7825917 h 15035524"/>
                <a:gd name="connsiteX2" fmla="*/ 16106317 w 22478203"/>
                <a:gd name="connsiteY2" fmla="*/ 8367221 h 15035524"/>
                <a:gd name="connsiteX3" fmla="*/ 16305649 w 22478203"/>
                <a:gd name="connsiteY3" fmla="*/ 8754550 h 15035524"/>
                <a:gd name="connsiteX4" fmla="*/ 16287189 w 22478203"/>
                <a:gd name="connsiteY4" fmla="*/ 9151157 h 15035524"/>
                <a:gd name="connsiteX5" fmla="*/ 16372801 w 22478203"/>
                <a:gd name="connsiteY5" fmla="*/ 9717422 h 15035524"/>
                <a:gd name="connsiteX6" fmla="*/ 16070155 w 22478203"/>
                <a:gd name="connsiteY6" fmla="*/ 9937808 h 15035524"/>
                <a:gd name="connsiteX7" fmla="*/ 15805690 w 22478203"/>
                <a:gd name="connsiteY7" fmla="*/ 10431999 h 15035524"/>
                <a:gd name="connsiteX8" fmla="*/ 15195097 w 22478203"/>
                <a:gd name="connsiteY8" fmla="*/ 10093742 h 15035524"/>
                <a:gd name="connsiteX9" fmla="*/ 15011380 w 22478203"/>
                <a:gd name="connsiteY9" fmla="*/ 11048592 h 15035524"/>
                <a:gd name="connsiteX10" fmla="*/ 14908430 w 22478203"/>
                <a:gd name="connsiteY10" fmla="*/ 11937487 h 15035524"/>
                <a:gd name="connsiteX11" fmla="*/ 14904684 w 22478203"/>
                <a:gd name="connsiteY11" fmla="*/ 12760926 h 15035524"/>
                <a:gd name="connsiteX12" fmla="*/ 14929927 w 22478203"/>
                <a:gd name="connsiteY12" fmla="*/ 14391846 h 15035524"/>
                <a:gd name="connsiteX13" fmla="*/ 12952786 w 22478203"/>
                <a:gd name="connsiteY13" fmla="*/ 14842599 h 15035524"/>
                <a:gd name="connsiteX14" fmla="*/ 11934663 w 22478203"/>
                <a:gd name="connsiteY14" fmla="*/ 14890849 h 15035524"/>
                <a:gd name="connsiteX15" fmla="*/ 8506848 w 22478203"/>
                <a:gd name="connsiteY15" fmla="*/ 15035524 h 15035524"/>
                <a:gd name="connsiteX16" fmla="*/ 7985095 w 22478203"/>
                <a:gd name="connsiteY16" fmla="*/ 14390442 h 15035524"/>
                <a:gd name="connsiteX17" fmla="*/ 7400308 w 22478203"/>
                <a:gd name="connsiteY17" fmla="*/ 14360297 h 15035524"/>
                <a:gd name="connsiteX18" fmla="*/ 6972273 w 22478203"/>
                <a:gd name="connsiteY18" fmla="*/ 14631594 h 15035524"/>
                <a:gd name="connsiteX19" fmla="*/ 5181729 w 22478203"/>
                <a:gd name="connsiteY19" fmla="*/ 14547195 h 15035524"/>
                <a:gd name="connsiteX20" fmla="*/ 4397998 w 22478203"/>
                <a:gd name="connsiteY20" fmla="*/ 13914178 h 15035524"/>
                <a:gd name="connsiteX21" fmla="*/ 2908896 w 22478203"/>
                <a:gd name="connsiteY21" fmla="*/ 13106324 h 15035524"/>
                <a:gd name="connsiteX22" fmla="*/ 1263043 w 22478203"/>
                <a:gd name="connsiteY22" fmla="*/ 12394931 h 15035524"/>
                <a:gd name="connsiteX23" fmla="*/ 485320 w 22478203"/>
                <a:gd name="connsiteY23" fmla="*/ 11942774 h 15035524"/>
                <a:gd name="connsiteX24" fmla="*/ 0 w 22478203"/>
                <a:gd name="connsiteY24" fmla="*/ 11649662 h 15035524"/>
                <a:gd name="connsiteX25" fmla="*/ 1003686 w 22478203"/>
                <a:gd name="connsiteY25" fmla="*/ 10903697 h 15035524"/>
                <a:gd name="connsiteX26" fmla="*/ 2902551 w 22478203"/>
                <a:gd name="connsiteY26" fmla="*/ 9719298 h 15035524"/>
                <a:gd name="connsiteX27" fmla="*/ 2558940 w 22478203"/>
                <a:gd name="connsiteY27" fmla="*/ 9185867 h 15035524"/>
                <a:gd name="connsiteX28" fmla="*/ 2402508 w 22478203"/>
                <a:gd name="connsiteY28" fmla="*/ 8498784 h 15035524"/>
                <a:gd name="connsiteX29" fmla="*/ 2730740 w 22478203"/>
                <a:gd name="connsiteY29" fmla="*/ 8471613 h 15035524"/>
                <a:gd name="connsiteX30" fmla="*/ 2947754 w 22478203"/>
                <a:gd name="connsiteY30" fmla="*/ 8001468 h 15035524"/>
                <a:gd name="connsiteX31" fmla="*/ 3499325 w 22478203"/>
                <a:gd name="connsiteY31" fmla="*/ 7558451 h 15035524"/>
                <a:gd name="connsiteX32" fmla="*/ 3680166 w 22478203"/>
                <a:gd name="connsiteY32" fmla="*/ 6681453 h 15035524"/>
                <a:gd name="connsiteX33" fmla="*/ 4186528 w 22478203"/>
                <a:gd name="connsiteY33" fmla="*/ 6690489 h 15035524"/>
                <a:gd name="connsiteX34" fmla="*/ 4837569 w 22478203"/>
                <a:gd name="connsiteY34" fmla="*/ 7160639 h 15035524"/>
                <a:gd name="connsiteX35" fmla="*/ 5352976 w 22478203"/>
                <a:gd name="connsiteY35" fmla="*/ 7079272 h 15035524"/>
                <a:gd name="connsiteX36" fmla="*/ 5741786 w 22478203"/>
                <a:gd name="connsiteY36" fmla="*/ 6708577 h 15035524"/>
                <a:gd name="connsiteX37" fmla="*/ 6157723 w 22478203"/>
                <a:gd name="connsiteY37" fmla="*/ 6545836 h 15035524"/>
                <a:gd name="connsiteX38" fmla="*/ 6745471 w 22478203"/>
                <a:gd name="connsiteY38" fmla="*/ 5976243 h 15035524"/>
                <a:gd name="connsiteX39" fmla="*/ 6890140 w 22478203"/>
                <a:gd name="connsiteY39" fmla="*/ 5126367 h 15035524"/>
                <a:gd name="connsiteX40" fmla="*/ 7568305 w 22478203"/>
                <a:gd name="connsiteY40" fmla="*/ 4556773 h 15035524"/>
                <a:gd name="connsiteX41" fmla="*/ 8137967 w 22478203"/>
                <a:gd name="connsiteY41" fmla="*/ 4113752 h 15035524"/>
                <a:gd name="connsiteX42" fmla="*/ 8463480 w 22478203"/>
                <a:gd name="connsiteY42" fmla="*/ 3309085 h 15035524"/>
                <a:gd name="connsiteX43" fmla="*/ 9024093 w 22478203"/>
                <a:gd name="connsiteY43" fmla="*/ 2956478 h 15035524"/>
                <a:gd name="connsiteX44" fmla="*/ 9675138 w 22478203"/>
                <a:gd name="connsiteY44" fmla="*/ 2603876 h 15035524"/>
                <a:gd name="connsiteX45" fmla="*/ 9558580 w 22478203"/>
                <a:gd name="connsiteY45" fmla="*/ 2055592 h 15035524"/>
                <a:gd name="connsiteX46" fmla="*/ 10353296 w 22478203"/>
                <a:gd name="connsiteY46" fmla="*/ 1383308 h 15035524"/>
                <a:gd name="connsiteX47" fmla="*/ 10832530 w 22478203"/>
                <a:gd name="connsiteY47" fmla="*/ 1310974 h 15035524"/>
                <a:gd name="connsiteX48" fmla="*/ 11058585 w 22478203"/>
                <a:gd name="connsiteY48" fmla="*/ 1763043 h 15035524"/>
                <a:gd name="connsiteX49" fmla="*/ 11411229 w 22478203"/>
                <a:gd name="connsiteY49" fmla="*/ 2142774 h 15035524"/>
                <a:gd name="connsiteX50" fmla="*/ 11998974 w 22478203"/>
                <a:gd name="connsiteY50" fmla="*/ 2224144 h 15035524"/>
                <a:gd name="connsiteX51" fmla="*/ 12315449 w 22478203"/>
                <a:gd name="connsiteY51" fmla="*/ 2884156 h 15035524"/>
                <a:gd name="connsiteX52" fmla="*/ 12785642 w 22478203"/>
                <a:gd name="connsiteY52" fmla="*/ 2703327 h 15035524"/>
                <a:gd name="connsiteX53" fmla="*/ 13671776 w 22478203"/>
                <a:gd name="connsiteY53" fmla="*/ 3155388 h 15035524"/>
                <a:gd name="connsiteX54" fmla="*/ 14123886 w 22478203"/>
                <a:gd name="connsiteY54" fmla="*/ 2857035 h 15035524"/>
                <a:gd name="connsiteX55" fmla="*/ 14259509 w 22478203"/>
                <a:gd name="connsiteY55" fmla="*/ 2287434 h 15035524"/>
                <a:gd name="connsiteX56" fmla="*/ 14892468 w 22478203"/>
                <a:gd name="connsiteY56" fmla="*/ 1645503 h 15035524"/>
                <a:gd name="connsiteX57" fmla="*/ 15778605 w 22478203"/>
                <a:gd name="connsiteY57" fmla="*/ 1093983 h 15035524"/>
                <a:gd name="connsiteX58" fmla="*/ 16022739 w 22478203"/>
                <a:gd name="connsiteY58" fmla="*/ 1564133 h 15035524"/>
                <a:gd name="connsiteX59" fmla="*/ 16556232 w 22478203"/>
                <a:gd name="connsiteY59" fmla="*/ 2142785 h 15035524"/>
                <a:gd name="connsiteX60" fmla="*/ 17406193 w 22478203"/>
                <a:gd name="connsiteY60" fmla="*/ 1292897 h 15035524"/>
                <a:gd name="connsiteX61" fmla="*/ 18120524 w 22478203"/>
                <a:gd name="connsiteY61" fmla="*/ 714260 h 15035524"/>
                <a:gd name="connsiteX62" fmla="*/ 18744437 w 22478203"/>
                <a:gd name="connsiteY62" fmla="*/ -1 h 15035524"/>
                <a:gd name="connsiteX63" fmla="*/ 19982300 w 22478203"/>
                <a:gd name="connsiteY63" fmla="*/ 343465 h 15035524"/>
                <a:gd name="connsiteX64" fmla="*/ 19837609 w 22478203"/>
                <a:gd name="connsiteY64" fmla="*/ 1121173 h 15035524"/>
                <a:gd name="connsiteX65" fmla="*/ 21881359 w 22478203"/>
                <a:gd name="connsiteY65" fmla="*/ 1772279 h 15035524"/>
                <a:gd name="connsiteX66" fmla="*/ 21537712 w 22478203"/>
                <a:gd name="connsiteY66" fmla="*/ 2767023 h 15035524"/>
                <a:gd name="connsiteX67" fmla="*/ 22478203 w 22478203"/>
                <a:gd name="connsiteY67" fmla="*/ 2296774 h 15035524"/>
                <a:gd name="connsiteX68" fmla="*/ 14370431 w 22478203"/>
                <a:gd name="connsiteY68" fmla="*/ 5830216 h 15035524"/>
                <a:gd name="connsiteX69" fmla="*/ 15323320 w 22478203"/>
                <a:gd name="connsiteY69" fmla="*/ 5928489 h 15035524"/>
                <a:gd name="connsiteX70" fmla="*/ 16350939 w 22478203"/>
                <a:gd name="connsiteY70" fmla="*/ 6053348 h 15035524"/>
                <a:gd name="connsiteX71" fmla="*/ 16362364 w 22478203"/>
                <a:gd name="connsiteY71" fmla="*/ 6360628 h 15035524"/>
                <a:gd name="connsiteX72" fmla="*/ 16682563 w 22478203"/>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21537712 w 21881361"/>
                <a:gd name="connsiteY66" fmla="*/ 2767023 h 15035524"/>
                <a:gd name="connsiteX67" fmla="*/ 15879834 w 21881361"/>
                <a:gd name="connsiteY67" fmla="*/ 3669271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21537712 w 21881361"/>
                <a:gd name="connsiteY66" fmla="*/ 2767023 h 15035524"/>
                <a:gd name="connsiteX67" fmla="*/ 12791242 w 21881361"/>
                <a:gd name="connsiteY67" fmla="*/ 4145446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21537712 w 21881361"/>
                <a:gd name="connsiteY66" fmla="*/ 2767023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9351795 w 21881361"/>
                <a:gd name="connsiteY66" fmla="*/ 5483998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8537524 w 21881361"/>
                <a:gd name="connsiteY66" fmla="*/ 7052559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8481365 w 21881361"/>
                <a:gd name="connsiteY66" fmla="*/ 9209329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13844296 w 21881361"/>
                <a:gd name="connsiteY66" fmla="*/ 6156232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9583129 w 19982300"/>
                <a:gd name="connsiteY65" fmla="*/ 5329554 h 15035524"/>
                <a:gd name="connsiteX66" fmla="*/ 13844296 w 19982300"/>
                <a:gd name="connsiteY66" fmla="*/ 6156232 h 15035524"/>
                <a:gd name="connsiteX67" fmla="*/ 14195152 w 19982300"/>
                <a:gd name="connsiteY67" fmla="*/ 5489927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0818567 w 19982300"/>
                <a:gd name="connsiteY65" fmla="*/ 7094187 h 15035524"/>
                <a:gd name="connsiteX66" fmla="*/ 13844296 w 19982300"/>
                <a:gd name="connsiteY66" fmla="*/ 6156232 h 15035524"/>
                <a:gd name="connsiteX67" fmla="*/ 14195152 w 19982300"/>
                <a:gd name="connsiteY67" fmla="*/ 5489927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0818567 w 19982300"/>
                <a:gd name="connsiteY65" fmla="*/ 709418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0902797 w 19982300"/>
                <a:gd name="connsiteY65" fmla="*/ 8634739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1717061 w 19982300"/>
                <a:gd name="connsiteY65" fmla="*/ 9643106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2531332 w 19982300"/>
                <a:gd name="connsiteY65" fmla="*/ 10399372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1239741 w 19982300"/>
                <a:gd name="connsiteY65" fmla="*/ 10035244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0537783 w 19982300"/>
                <a:gd name="connsiteY65" fmla="*/ 9419026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9358504 w 19982300"/>
                <a:gd name="connsiteY65" fmla="*/ 12556148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5820656 w 19982300"/>
                <a:gd name="connsiteY65" fmla="*/ 12276045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2868275 w 19982300"/>
                <a:gd name="connsiteY65" fmla="*/ 675806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9926023 w 19982300"/>
                <a:gd name="connsiteY64" fmla="*/ 5238645 h 15035524"/>
                <a:gd name="connsiteX65" fmla="*/ 12868275 w 19982300"/>
                <a:gd name="connsiteY65" fmla="*/ 675806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8353647 w 19982300"/>
                <a:gd name="connsiteY64" fmla="*/ 9412143 h 15035524"/>
                <a:gd name="connsiteX65" fmla="*/ 12868275 w 19982300"/>
                <a:gd name="connsiteY65" fmla="*/ 675806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1919572 w 19982300"/>
                <a:gd name="connsiteY64" fmla="*/ 7003278 h 15035524"/>
                <a:gd name="connsiteX65" fmla="*/ 12868275 w 19982300"/>
                <a:gd name="connsiteY65" fmla="*/ 675806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8744436"/>
                <a:gd name="connsiteY0" fmla="*/ 6798531 h 15035524"/>
                <a:gd name="connsiteX1" fmla="*/ 16432262 w 18744436"/>
                <a:gd name="connsiteY1" fmla="*/ 7825917 h 15035524"/>
                <a:gd name="connsiteX2" fmla="*/ 16106317 w 18744436"/>
                <a:gd name="connsiteY2" fmla="*/ 8367221 h 15035524"/>
                <a:gd name="connsiteX3" fmla="*/ 16305649 w 18744436"/>
                <a:gd name="connsiteY3" fmla="*/ 8754550 h 15035524"/>
                <a:gd name="connsiteX4" fmla="*/ 16287189 w 18744436"/>
                <a:gd name="connsiteY4" fmla="*/ 9151157 h 15035524"/>
                <a:gd name="connsiteX5" fmla="*/ 16372801 w 18744436"/>
                <a:gd name="connsiteY5" fmla="*/ 9717422 h 15035524"/>
                <a:gd name="connsiteX6" fmla="*/ 16070155 w 18744436"/>
                <a:gd name="connsiteY6" fmla="*/ 9937808 h 15035524"/>
                <a:gd name="connsiteX7" fmla="*/ 15805690 w 18744436"/>
                <a:gd name="connsiteY7" fmla="*/ 10431999 h 15035524"/>
                <a:gd name="connsiteX8" fmla="*/ 15195097 w 18744436"/>
                <a:gd name="connsiteY8" fmla="*/ 10093742 h 15035524"/>
                <a:gd name="connsiteX9" fmla="*/ 15011380 w 18744436"/>
                <a:gd name="connsiteY9" fmla="*/ 11048592 h 15035524"/>
                <a:gd name="connsiteX10" fmla="*/ 14908430 w 18744436"/>
                <a:gd name="connsiteY10" fmla="*/ 11937487 h 15035524"/>
                <a:gd name="connsiteX11" fmla="*/ 14904684 w 18744436"/>
                <a:gd name="connsiteY11" fmla="*/ 12760926 h 15035524"/>
                <a:gd name="connsiteX12" fmla="*/ 14929927 w 18744436"/>
                <a:gd name="connsiteY12" fmla="*/ 14391846 h 15035524"/>
                <a:gd name="connsiteX13" fmla="*/ 12952786 w 18744436"/>
                <a:gd name="connsiteY13" fmla="*/ 14842599 h 15035524"/>
                <a:gd name="connsiteX14" fmla="*/ 11934663 w 18744436"/>
                <a:gd name="connsiteY14" fmla="*/ 14890849 h 15035524"/>
                <a:gd name="connsiteX15" fmla="*/ 8506848 w 18744436"/>
                <a:gd name="connsiteY15" fmla="*/ 15035524 h 15035524"/>
                <a:gd name="connsiteX16" fmla="*/ 7985095 w 18744436"/>
                <a:gd name="connsiteY16" fmla="*/ 14390442 h 15035524"/>
                <a:gd name="connsiteX17" fmla="*/ 7400308 w 18744436"/>
                <a:gd name="connsiteY17" fmla="*/ 14360297 h 15035524"/>
                <a:gd name="connsiteX18" fmla="*/ 6972273 w 18744436"/>
                <a:gd name="connsiteY18" fmla="*/ 14631594 h 15035524"/>
                <a:gd name="connsiteX19" fmla="*/ 5181729 w 18744436"/>
                <a:gd name="connsiteY19" fmla="*/ 14547195 h 15035524"/>
                <a:gd name="connsiteX20" fmla="*/ 4397998 w 18744436"/>
                <a:gd name="connsiteY20" fmla="*/ 13914178 h 15035524"/>
                <a:gd name="connsiteX21" fmla="*/ 2908896 w 18744436"/>
                <a:gd name="connsiteY21" fmla="*/ 13106324 h 15035524"/>
                <a:gd name="connsiteX22" fmla="*/ 1263043 w 18744436"/>
                <a:gd name="connsiteY22" fmla="*/ 12394931 h 15035524"/>
                <a:gd name="connsiteX23" fmla="*/ 485320 w 18744436"/>
                <a:gd name="connsiteY23" fmla="*/ 11942774 h 15035524"/>
                <a:gd name="connsiteX24" fmla="*/ 0 w 18744436"/>
                <a:gd name="connsiteY24" fmla="*/ 11649662 h 15035524"/>
                <a:gd name="connsiteX25" fmla="*/ 1003686 w 18744436"/>
                <a:gd name="connsiteY25" fmla="*/ 10903697 h 15035524"/>
                <a:gd name="connsiteX26" fmla="*/ 2902551 w 18744436"/>
                <a:gd name="connsiteY26" fmla="*/ 9719298 h 15035524"/>
                <a:gd name="connsiteX27" fmla="*/ 2558940 w 18744436"/>
                <a:gd name="connsiteY27" fmla="*/ 9185867 h 15035524"/>
                <a:gd name="connsiteX28" fmla="*/ 2402508 w 18744436"/>
                <a:gd name="connsiteY28" fmla="*/ 8498784 h 15035524"/>
                <a:gd name="connsiteX29" fmla="*/ 2730740 w 18744436"/>
                <a:gd name="connsiteY29" fmla="*/ 8471613 h 15035524"/>
                <a:gd name="connsiteX30" fmla="*/ 2947754 w 18744436"/>
                <a:gd name="connsiteY30" fmla="*/ 8001468 h 15035524"/>
                <a:gd name="connsiteX31" fmla="*/ 3499325 w 18744436"/>
                <a:gd name="connsiteY31" fmla="*/ 7558451 h 15035524"/>
                <a:gd name="connsiteX32" fmla="*/ 3680166 w 18744436"/>
                <a:gd name="connsiteY32" fmla="*/ 6681453 h 15035524"/>
                <a:gd name="connsiteX33" fmla="*/ 4186528 w 18744436"/>
                <a:gd name="connsiteY33" fmla="*/ 6690489 h 15035524"/>
                <a:gd name="connsiteX34" fmla="*/ 4837569 w 18744436"/>
                <a:gd name="connsiteY34" fmla="*/ 7160639 h 15035524"/>
                <a:gd name="connsiteX35" fmla="*/ 5352976 w 18744436"/>
                <a:gd name="connsiteY35" fmla="*/ 7079272 h 15035524"/>
                <a:gd name="connsiteX36" fmla="*/ 5741786 w 18744436"/>
                <a:gd name="connsiteY36" fmla="*/ 6708577 h 15035524"/>
                <a:gd name="connsiteX37" fmla="*/ 6157723 w 18744436"/>
                <a:gd name="connsiteY37" fmla="*/ 6545836 h 15035524"/>
                <a:gd name="connsiteX38" fmla="*/ 6745471 w 18744436"/>
                <a:gd name="connsiteY38" fmla="*/ 5976243 h 15035524"/>
                <a:gd name="connsiteX39" fmla="*/ 6890140 w 18744436"/>
                <a:gd name="connsiteY39" fmla="*/ 5126367 h 15035524"/>
                <a:gd name="connsiteX40" fmla="*/ 7568305 w 18744436"/>
                <a:gd name="connsiteY40" fmla="*/ 4556773 h 15035524"/>
                <a:gd name="connsiteX41" fmla="*/ 8137967 w 18744436"/>
                <a:gd name="connsiteY41" fmla="*/ 4113752 h 15035524"/>
                <a:gd name="connsiteX42" fmla="*/ 8463480 w 18744436"/>
                <a:gd name="connsiteY42" fmla="*/ 3309085 h 15035524"/>
                <a:gd name="connsiteX43" fmla="*/ 9024093 w 18744436"/>
                <a:gd name="connsiteY43" fmla="*/ 2956478 h 15035524"/>
                <a:gd name="connsiteX44" fmla="*/ 9675138 w 18744436"/>
                <a:gd name="connsiteY44" fmla="*/ 2603876 h 15035524"/>
                <a:gd name="connsiteX45" fmla="*/ 9558580 w 18744436"/>
                <a:gd name="connsiteY45" fmla="*/ 2055592 h 15035524"/>
                <a:gd name="connsiteX46" fmla="*/ 10353296 w 18744436"/>
                <a:gd name="connsiteY46" fmla="*/ 1383308 h 15035524"/>
                <a:gd name="connsiteX47" fmla="*/ 10832530 w 18744436"/>
                <a:gd name="connsiteY47" fmla="*/ 1310974 h 15035524"/>
                <a:gd name="connsiteX48" fmla="*/ 11058585 w 18744436"/>
                <a:gd name="connsiteY48" fmla="*/ 1763043 h 15035524"/>
                <a:gd name="connsiteX49" fmla="*/ 11411229 w 18744436"/>
                <a:gd name="connsiteY49" fmla="*/ 2142774 h 15035524"/>
                <a:gd name="connsiteX50" fmla="*/ 11998974 w 18744436"/>
                <a:gd name="connsiteY50" fmla="*/ 2224144 h 15035524"/>
                <a:gd name="connsiteX51" fmla="*/ 12315449 w 18744436"/>
                <a:gd name="connsiteY51" fmla="*/ 2884156 h 15035524"/>
                <a:gd name="connsiteX52" fmla="*/ 12785642 w 18744436"/>
                <a:gd name="connsiteY52" fmla="*/ 2703327 h 15035524"/>
                <a:gd name="connsiteX53" fmla="*/ 13671776 w 18744436"/>
                <a:gd name="connsiteY53" fmla="*/ 3155388 h 15035524"/>
                <a:gd name="connsiteX54" fmla="*/ 14123886 w 18744436"/>
                <a:gd name="connsiteY54" fmla="*/ 2857035 h 15035524"/>
                <a:gd name="connsiteX55" fmla="*/ 14259509 w 18744436"/>
                <a:gd name="connsiteY55" fmla="*/ 2287434 h 15035524"/>
                <a:gd name="connsiteX56" fmla="*/ 14892468 w 18744436"/>
                <a:gd name="connsiteY56" fmla="*/ 1645503 h 15035524"/>
                <a:gd name="connsiteX57" fmla="*/ 15778605 w 18744436"/>
                <a:gd name="connsiteY57" fmla="*/ 1093983 h 15035524"/>
                <a:gd name="connsiteX58" fmla="*/ 16022739 w 18744436"/>
                <a:gd name="connsiteY58" fmla="*/ 1564133 h 15035524"/>
                <a:gd name="connsiteX59" fmla="*/ 16556232 w 18744436"/>
                <a:gd name="connsiteY59" fmla="*/ 2142785 h 15035524"/>
                <a:gd name="connsiteX60" fmla="*/ 17406193 w 18744436"/>
                <a:gd name="connsiteY60" fmla="*/ 1292897 h 15035524"/>
                <a:gd name="connsiteX61" fmla="*/ 18120524 w 18744436"/>
                <a:gd name="connsiteY61" fmla="*/ 714260 h 15035524"/>
                <a:gd name="connsiteX62" fmla="*/ 18744437 w 18744436"/>
                <a:gd name="connsiteY62" fmla="*/ -1 h 15035524"/>
                <a:gd name="connsiteX63" fmla="*/ 3500421 w 18744436"/>
                <a:gd name="connsiteY63" fmla="*/ 4096811 h 15035524"/>
                <a:gd name="connsiteX64" fmla="*/ 11919572 w 18744436"/>
                <a:gd name="connsiteY64" fmla="*/ 7003278 h 15035524"/>
                <a:gd name="connsiteX65" fmla="*/ 12868275 w 18744436"/>
                <a:gd name="connsiteY65" fmla="*/ 6758067 h 15035524"/>
                <a:gd name="connsiteX66" fmla="*/ 13844296 w 18744436"/>
                <a:gd name="connsiteY66" fmla="*/ 6156232 h 15035524"/>
                <a:gd name="connsiteX67" fmla="*/ 13886291 w 18744436"/>
                <a:gd name="connsiteY67" fmla="*/ 5321864 h 15035524"/>
                <a:gd name="connsiteX68" fmla="*/ 14370431 w 18744436"/>
                <a:gd name="connsiteY68" fmla="*/ 5830216 h 15035524"/>
                <a:gd name="connsiteX69" fmla="*/ 15323320 w 18744436"/>
                <a:gd name="connsiteY69" fmla="*/ 5928489 h 15035524"/>
                <a:gd name="connsiteX70" fmla="*/ 16350939 w 18744436"/>
                <a:gd name="connsiteY70" fmla="*/ 6053348 h 15035524"/>
                <a:gd name="connsiteX71" fmla="*/ 16362364 w 18744436"/>
                <a:gd name="connsiteY71" fmla="*/ 6360628 h 15035524"/>
                <a:gd name="connsiteX72" fmla="*/ 16682563 w 18744436"/>
                <a:gd name="connsiteY72" fmla="*/ 6798531 h 15035524"/>
                <a:gd name="connsiteX0" fmla="*/ 16682563 w 18744436"/>
                <a:gd name="connsiteY0" fmla="*/ 6798531 h 15035524"/>
                <a:gd name="connsiteX1" fmla="*/ 16432262 w 18744436"/>
                <a:gd name="connsiteY1" fmla="*/ 7825917 h 15035524"/>
                <a:gd name="connsiteX2" fmla="*/ 16106317 w 18744436"/>
                <a:gd name="connsiteY2" fmla="*/ 8367221 h 15035524"/>
                <a:gd name="connsiteX3" fmla="*/ 16305649 w 18744436"/>
                <a:gd name="connsiteY3" fmla="*/ 8754550 h 15035524"/>
                <a:gd name="connsiteX4" fmla="*/ 16287189 w 18744436"/>
                <a:gd name="connsiteY4" fmla="*/ 9151157 h 15035524"/>
                <a:gd name="connsiteX5" fmla="*/ 16372801 w 18744436"/>
                <a:gd name="connsiteY5" fmla="*/ 9717422 h 15035524"/>
                <a:gd name="connsiteX6" fmla="*/ 16070155 w 18744436"/>
                <a:gd name="connsiteY6" fmla="*/ 9937808 h 15035524"/>
                <a:gd name="connsiteX7" fmla="*/ 15805690 w 18744436"/>
                <a:gd name="connsiteY7" fmla="*/ 10431999 h 15035524"/>
                <a:gd name="connsiteX8" fmla="*/ 15195097 w 18744436"/>
                <a:gd name="connsiteY8" fmla="*/ 10093742 h 15035524"/>
                <a:gd name="connsiteX9" fmla="*/ 15011380 w 18744436"/>
                <a:gd name="connsiteY9" fmla="*/ 11048592 h 15035524"/>
                <a:gd name="connsiteX10" fmla="*/ 14908430 w 18744436"/>
                <a:gd name="connsiteY10" fmla="*/ 11937487 h 15035524"/>
                <a:gd name="connsiteX11" fmla="*/ 14904684 w 18744436"/>
                <a:gd name="connsiteY11" fmla="*/ 12760926 h 15035524"/>
                <a:gd name="connsiteX12" fmla="*/ 14929927 w 18744436"/>
                <a:gd name="connsiteY12" fmla="*/ 14391846 h 15035524"/>
                <a:gd name="connsiteX13" fmla="*/ 12952786 w 18744436"/>
                <a:gd name="connsiteY13" fmla="*/ 14842599 h 15035524"/>
                <a:gd name="connsiteX14" fmla="*/ 11934663 w 18744436"/>
                <a:gd name="connsiteY14" fmla="*/ 14890849 h 15035524"/>
                <a:gd name="connsiteX15" fmla="*/ 8506848 w 18744436"/>
                <a:gd name="connsiteY15" fmla="*/ 15035524 h 15035524"/>
                <a:gd name="connsiteX16" fmla="*/ 7985095 w 18744436"/>
                <a:gd name="connsiteY16" fmla="*/ 14390442 h 15035524"/>
                <a:gd name="connsiteX17" fmla="*/ 7400308 w 18744436"/>
                <a:gd name="connsiteY17" fmla="*/ 14360297 h 15035524"/>
                <a:gd name="connsiteX18" fmla="*/ 6972273 w 18744436"/>
                <a:gd name="connsiteY18" fmla="*/ 14631594 h 15035524"/>
                <a:gd name="connsiteX19" fmla="*/ 5181729 w 18744436"/>
                <a:gd name="connsiteY19" fmla="*/ 14547195 h 15035524"/>
                <a:gd name="connsiteX20" fmla="*/ 4397998 w 18744436"/>
                <a:gd name="connsiteY20" fmla="*/ 13914178 h 15035524"/>
                <a:gd name="connsiteX21" fmla="*/ 2908896 w 18744436"/>
                <a:gd name="connsiteY21" fmla="*/ 13106324 h 15035524"/>
                <a:gd name="connsiteX22" fmla="*/ 1263043 w 18744436"/>
                <a:gd name="connsiteY22" fmla="*/ 12394931 h 15035524"/>
                <a:gd name="connsiteX23" fmla="*/ 485320 w 18744436"/>
                <a:gd name="connsiteY23" fmla="*/ 11942774 h 15035524"/>
                <a:gd name="connsiteX24" fmla="*/ 0 w 18744436"/>
                <a:gd name="connsiteY24" fmla="*/ 11649662 h 15035524"/>
                <a:gd name="connsiteX25" fmla="*/ 1003686 w 18744436"/>
                <a:gd name="connsiteY25" fmla="*/ 10903697 h 15035524"/>
                <a:gd name="connsiteX26" fmla="*/ 2902551 w 18744436"/>
                <a:gd name="connsiteY26" fmla="*/ 9719298 h 15035524"/>
                <a:gd name="connsiteX27" fmla="*/ 2558940 w 18744436"/>
                <a:gd name="connsiteY27" fmla="*/ 9185867 h 15035524"/>
                <a:gd name="connsiteX28" fmla="*/ 2402508 w 18744436"/>
                <a:gd name="connsiteY28" fmla="*/ 8498784 h 15035524"/>
                <a:gd name="connsiteX29" fmla="*/ 2730740 w 18744436"/>
                <a:gd name="connsiteY29" fmla="*/ 8471613 h 15035524"/>
                <a:gd name="connsiteX30" fmla="*/ 2947754 w 18744436"/>
                <a:gd name="connsiteY30" fmla="*/ 8001468 h 15035524"/>
                <a:gd name="connsiteX31" fmla="*/ 3499325 w 18744436"/>
                <a:gd name="connsiteY31" fmla="*/ 7558451 h 15035524"/>
                <a:gd name="connsiteX32" fmla="*/ 3680166 w 18744436"/>
                <a:gd name="connsiteY32" fmla="*/ 6681453 h 15035524"/>
                <a:gd name="connsiteX33" fmla="*/ 4186528 w 18744436"/>
                <a:gd name="connsiteY33" fmla="*/ 6690489 h 15035524"/>
                <a:gd name="connsiteX34" fmla="*/ 4837569 w 18744436"/>
                <a:gd name="connsiteY34" fmla="*/ 7160639 h 15035524"/>
                <a:gd name="connsiteX35" fmla="*/ 5352976 w 18744436"/>
                <a:gd name="connsiteY35" fmla="*/ 7079272 h 15035524"/>
                <a:gd name="connsiteX36" fmla="*/ 5741786 w 18744436"/>
                <a:gd name="connsiteY36" fmla="*/ 6708577 h 15035524"/>
                <a:gd name="connsiteX37" fmla="*/ 6157723 w 18744436"/>
                <a:gd name="connsiteY37" fmla="*/ 6545836 h 15035524"/>
                <a:gd name="connsiteX38" fmla="*/ 6745471 w 18744436"/>
                <a:gd name="connsiteY38" fmla="*/ 5976243 h 15035524"/>
                <a:gd name="connsiteX39" fmla="*/ 6890140 w 18744436"/>
                <a:gd name="connsiteY39" fmla="*/ 5126367 h 15035524"/>
                <a:gd name="connsiteX40" fmla="*/ 7568305 w 18744436"/>
                <a:gd name="connsiteY40" fmla="*/ 4556773 h 15035524"/>
                <a:gd name="connsiteX41" fmla="*/ 8137967 w 18744436"/>
                <a:gd name="connsiteY41" fmla="*/ 4113752 h 15035524"/>
                <a:gd name="connsiteX42" fmla="*/ 8463480 w 18744436"/>
                <a:gd name="connsiteY42" fmla="*/ 3309085 h 15035524"/>
                <a:gd name="connsiteX43" fmla="*/ 9024093 w 18744436"/>
                <a:gd name="connsiteY43" fmla="*/ 2956478 h 15035524"/>
                <a:gd name="connsiteX44" fmla="*/ 9675138 w 18744436"/>
                <a:gd name="connsiteY44" fmla="*/ 2603876 h 15035524"/>
                <a:gd name="connsiteX45" fmla="*/ 9558580 w 18744436"/>
                <a:gd name="connsiteY45" fmla="*/ 2055592 h 15035524"/>
                <a:gd name="connsiteX46" fmla="*/ 10353296 w 18744436"/>
                <a:gd name="connsiteY46" fmla="*/ 1383308 h 15035524"/>
                <a:gd name="connsiteX47" fmla="*/ 10832530 w 18744436"/>
                <a:gd name="connsiteY47" fmla="*/ 1310974 h 15035524"/>
                <a:gd name="connsiteX48" fmla="*/ 11058585 w 18744436"/>
                <a:gd name="connsiteY48" fmla="*/ 1763043 h 15035524"/>
                <a:gd name="connsiteX49" fmla="*/ 11411229 w 18744436"/>
                <a:gd name="connsiteY49" fmla="*/ 2142774 h 15035524"/>
                <a:gd name="connsiteX50" fmla="*/ 11998974 w 18744436"/>
                <a:gd name="connsiteY50" fmla="*/ 2224144 h 15035524"/>
                <a:gd name="connsiteX51" fmla="*/ 12315449 w 18744436"/>
                <a:gd name="connsiteY51" fmla="*/ 2884156 h 15035524"/>
                <a:gd name="connsiteX52" fmla="*/ 12785642 w 18744436"/>
                <a:gd name="connsiteY52" fmla="*/ 2703327 h 15035524"/>
                <a:gd name="connsiteX53" fmla="*/ 13671776 w 18744436"/>
                <a:gd name="connsiteY53" fmla="*/ 3155388 h 15035524"/>
                <a:gd name="connsiteX54" fmla="*/ 14123886 w 18744436"/>
                <a:gd name="connsiteY54" fmla="*/ 2857035 h 15035524"/>
                <a:gd name="connsiteX55" fmla="*/ 14259509 w 18744436"/>
                <a:gd name="connsiteY55" fmla="*/ 2287434 h 15035524"/>
                <a:gd name="connsiteX56" fmla="*/ 14892468 w 18744436"/>
                <a:gd name="connsiteY56" fmla="*/ 1645503 h 15035524"/>
                <a:gd name="connsiteX57" fmla="*/ 15778605 w 18744436"/>
                <a:gd name="connsiteY57" fmla="*/ 1093983 h 15035524"/>
                <a:gd name="connsiteX58" fmla="*/ 16022739 w 18744436"/>
                <a:gd name="connsiteY58" fmla="*/ 1564133 h 15035524"/>
                <a:gd name="connsiteX59" fmla="*/ 16556232 w 18744436"/>
                <a:gd name="connsiteY59" fmla="*/ 2142785 h 15035524"/>
                <a:gd name="connsiteX60" fmla="*/ 17406193 w 18744436"/>
                <a:gd name="connsiteY60" fmla="*/ 1292897 h 15035524"/>
                <a:gd name="connsiteX61" fmla="*/ 18120524 w 18744436"/>
                <a:gd name="connsiteY61" fmla="*/ 714260 h 15035524"/>
                <a:gd name="connsiteX62" fmla="*/ 18744437 w 18744436"/>
                <a:gd name="connsiteY62" fmla="*/ -1 h 15035524"/>
                <a:gd name="connsiteX63" fmla="*/ 496059 w 18744436"/>
                <a:gd name="connsiteY63" fmla="*/ 6029507 h 15035524"/>
                <a:gd name="connsiteX64" fmla="*/ 11919572 w 18744436"/>
                <a:gd name="connsiteY64" fmla="*/ 7003278 h 15035524"/>
                <a:gd name="connsiteX65" fmla="*/ 12868275 w 18744436"/>
                <a:gd name="connsiteY65" fmla="*/ 6758067 h 15035524"/>
                <a:gd name="connsiteX66" fmla="*/ 13844296 w 18744436"/>
                <a:gd name="connsiteY66" fmla="*/ 6156232 h 15035524"/>
                <a:gd name="connsiteX67" fmla="*/ 13886291 w 18744436"/>
                <a:gd name="connsiteY67" fmla="*/ 5321864 h 15035524"/>
                <a:gd name="connsiteX68" fmla="*/ 14370431 w 18744436"/>
                <a:gd name="connsiteY68" fmla="*/ 5830216 h 15035524"/>
                <a:gd name="connsiteX69" fmla="*/ 15323320 w 18744436"/>
                <a:gd name="connsiteY69" fmla="*/ 5928489 h 15035524"/>
                <a:gd name="connsiteX70" fmla="*/ 16350939 w 18744436"/>
                <a:gd name="connsiteY70" fmla="*/ 6053348 h 15035524"/>
                <a:gd name="connsiteX71" fmla="*/ 16362364 w 18744436"/>
                <a:gd name="connsiteY71" fmla="*/ 6360628 h 15035524"/>
                <a:gd name="connsiteX72" fmla="*/ 16682563 w 18744436"/>
                <a:gd name="connsiteY72" fmla="*/ 6798531 h 15035524"/>
                <a:gd name="connsiteX0" fmla="*/ 16682563 w 18744436"/>
                <a:gd name="connsiteY0" fmla="*/ 6798531 h 15035524"/>
                <a:gd name="connsiteX1" fmla="*/ 16432262 w 18744436"/>
                <a:gd name="connsiteY1" fmla="*/ 7825917 h 15035524"/>
                <a:gd name="connsiteX2" fmla="*/ 16106317 w 18744436"/>
                <a:gd name="connsiteY2" fmla="*/ 8367221 h 15035524"/>
                <a:gd name="connsiteX3" fmla="*/ 16305649 w 18744436"/>
                <a:gd name="connsiteY3" fmla="*/ 8754550 h 15035524"/>
                <a:gd name="connsiteX4" fmla="*/ 16287189 w 18744436"/>
                <a:gd name="connsiteY4" fmla="*/ 9151157 h 15035524"/>
                <a:gd name="connsiteX5" fmla="*/ 16372801 w 18744436"/>
                <a:gd name="connsiteY5" fmla="*/ 9717422 h 15035524"/>
                <a:gd name="connsiteX6" fmla="*/ 16070155 w 18744436"/>
                <a:gd name="connsiteY6" fmla="*/ 9937808 h 15035524"/>
                <a:gd name="connsiteX7" fmla="*/ 15805690 w 18744436"/>
                <a:gd name="connsiteY7" fmla="*/ 10431999 h 15035524"/>
                <a:gd name="connsiteX8" fmla="*/ 15195097 w 18744436"/>
                <a:gd name="connsiteY8" fmla="*/ 10093742 h 15035524"/>
                <a:gd name="connsiteX9" fmla="*/ 15011380 w 18744436"/>
                <a:gd name="connsiteY9" fmla="*/ 11048592 h 15035524"/>
                <a:gd name="connsiteX10" fmla="*/ 14908430 w 18744436"/>
                <a:gd name="connsiteY10" fmla="*/ 11937487 h 15035524"/>
                <a:gd name="connsiteX11" fmla="*/ 14904684 w 18744436"/>
                <a:gd name="connsiteY11" fmla="*/ 12760926 h 15035524"/>
                <a:gd name="connsiteX12" fmla="*/ 14929927 w 18744436"/>
                <a:gd name="connsiteY12" fmla="*/ 14391846 h 15035524"/>
                <a:gd name="connsiteX13" fmla="*/ 12952786 w 18744436"/>
                <a:gd name="connsiteY13" fmla="*/ 14842599 h 15035524"/>
                <a:gd name="connsiteX14" fmla="*/ 11934663 w 18744436"/>
                <a:gd name="connsiteY14" fmla="*/ 14890849 h 15035524"/>
                <a:gd name="connsiteX15" fmla="*/ 8506848 w 18744436"/>
                <a:gd name="connsiteY15" fmla="*/ 15035524 h 15035524"/>
                <a:gd name="connsiteX16" fmla="*/ 7985095 w 18744436"/>
                <a:gd name="connsiteY16" fmla="*/ 14390442 h 15035524"/>
                <a:gd name="connsiteX17" fmla="*/ 7400308 w 18744436"/>
                <a:gd name="connsiteY17" fmla="*/ 14360297 h 15035524"/>
                <a:gd name="connsiteX18" fmla="*/ 6972273 w 18744436"/>
                <a:gd name="connsiteY18" fmla="*/ 14631594 h 15035524"/>
                <a:gd name="connsiteX19" fmla="*/ 5181729 w 18744436"/>
                <a:gd name="connsiteY19" fmla="*/ 14547195 h 15035524"/>
                <a:gd name="connsiteX20" fmla="*/ 4397998 w 18744436"/>
                <a:gd name="connsiteY20" fmla="*/ 13914178 h 15035524"/>
                <a:gd name="connsiteX21" fmla="*/ 2908896 w 18744436"/>
                <a:gd name="connsiteY21" fmla="*/ 13106324 h 15035524"/>
                <a:gd name="connsiteX22" fmla="*/ 1263043 w 18744436"/>
                <a:gd name="connsiteY22" fmla="*/ 12394931 h 15035524"/>
                <a:gd name="connsiteX23" fmla="*/ 485320 w 18744436"/>
                <a:gd name="connsiteY23" fmla="*/ 11942774 h 15035524"/>
                <a:gd name="connsiteX24" fmla="*/ 0 w 18744436"/>
                <a:gd name="connsiteY24" fmla="*/ 11649662 h 15035524"/>
                <a:gd name="connsiteX25" fmla="*/ 1003686 w 18744436"/>
                <a:gd name="connsiteY25" fmla="*/ 10903697 h 15035524"/>
                <a:gd name="connsiteX26" fmla="*/ 2902551 w 18744436"/>
                <a:gd name="connsiteY26" fmla="*/ 9719298 h 15035524"/>
                <a:gd name="connsiteX27" fmla="*/ 2558940 w 18744436"/>
                <a:gd name="connsiteY27" fmla="*/ 9185867 h 15035524"/>
                <a:gd name="connsiteX28" fmla="*/ 2402508 w 18744436"/>
                <a:gd name="connsiteY28" fmla="*/ 8498784 h 15035524"/>
                <a:gd name="connsiteX29" fmla="*/ 2730740 w 18744436"/>
                <a:gd name="connsiteY29" fmla="*/ 8471613 h 15035524"/>
                <a:gd name="connsiteX30" fmla="*/ 2947754 w 18744436"/>
                <a:gd name="connsiteY30" fmla="*/ 8001468 h 15035524"/>
                <a:gd name="connsiteX31" fmla="*/ 3499325 w 18744436"/>
                <a:gd name="connsiteY31" fmla="*/ 7558451 h 15035524"/>
                <a:gd name="connsiteX32" fmla="*/ 3680166 w 18744436"/>
                <a:gd name="connsiteY32" fmla="*/ 6681453 h 15035524"/>
                <a:gd name="connsiteX33" fmla="*/ 4186528 w 18744436"/>
                <a:gd name="connsiteY33" fmla="*/ 6690489 h 15035524"/>
                <a:gd name="connsiteX34" fmla="*/ 4837569 w 18744436"/>
                <a:gd name="connsiteY34" fmla="*/ 7160639 h 15035524"/>
                <a:gd name="connsiteX35" fmla="*/ 5352976 w 18744436"/>
                <a:gd name="connsiteY35" fmla="*/ 7079272 h 15035524"/>
                <a:gd name="connsiteX36" fmla="*/ 5741786 w 18744436"/>
                <a:gd name="connsiteY36" fmla="*/ 6708577 h 15035524"/>
                <a:gd name="connsiteX37" fmla="*/ 6157723 w 18744436"/>
                <a:gd name="connsiteY37" fmla="*/ 6545836 h 15035524"/>
                <a:gd name="connsiteX38" fmla="*/ 6745471 w 18744436"/>
                <a:gd name="connsiteY38" fmla="*/ 5976243 h 15035524"/>
                <a:gd name="connsiteX39" fmla="*/ 6890140 w 18744436"/>
                <a:gd name="connsiteY39" fmla="*/ 5126367 h 15035524"/>
                <a:gd name="connsiteX40" fmla="*/ 7568305 w 18744436"/>
                <a:gd name="connsiteY40" fmla="*/ 4556773 h 15035524"/>
                <a:gd name="connsiteX41" fmla="*/ 8137967 w 18744436"/>
                <a:gd name="connsiteY41" fmla="*/ 4113752 h 15035524"/>
                <a:gd name="connsiteX42" fmla="*/ 8463480 w 18744436"/>
                <a:gd name="connsiteY42" fmla="*/ 3309085 h 15035524"/>
                <a:gd name="connsiteX43" fmla="*/ 9024093 w 18744436"/>
                <a:gd name="connsiteY43" fmla="*/ 2956478 h 15035524"/>
                <a:gd name="connsiteX44" fmla="*/ 9675138 w 18744436"/>
                <a:gd name="connsiteY44" fmla="*/ 2603876 h 15035524"/>
                <a:gd name="connsiteX45" fmla="*/ 9558580 w 18744436"/>
                <a:gd name="connsiteY45" fmla="*/ 2055592 h 15035524"/>
                <a:gd name="connsiteX46" fmla="*/ 10353296 w 18744436"/>
                <a:gd name="connsiteY46" fmla="*/ 1383308 h 15035524"/>
                <a:gd name="connsiteX47" fmla="*/ 10832530 w 18744436"/>
                <a:gd name="connsiteY47" fmla="*/ 1310974 h 15035524"/>
                <a:gd name="connsiteX48" fmla="*/ 11058585 w 18744436"/>
                <a:gd name="connsiteY48" fmla="*/ 1763043 h 15035524"/>
                <a:gd name="connsiteX49" fmla="*/ 11411229 w 18744436"/>
                <a:gd name="connsiteY49" fmla="*/ 2142774 h 15035524"/>
                <a:gd name="connsiteX50" fmla="*/ 11998974 w 18744436"/>
                <a:gd name="connsiteY50" fmla="*/ 2224144 h 15035524"/>
                <a:gd name="connsiteX51" fmla="*/ 12315449 w 18744436"/>
                <a:gd name="connsiteY51" fmla="*/ 2884156 h 15035524"/>
                <a:gd name="connsiteX52" fmla="*/ 12785642 w 18744436"/>
                <a:gd name="connsiteY52" fmla="*/ 2703327 h 15035524"/>
                <a:gd name="connsiteX53" fmla="*/ 13671776 w 18744436"/>
                <a:gd name="connsiteY53" fmla="*/ 3155388 h 15035524"/>
                <a:gd name="connsiteX54" fmla="*/ 14123886 w 18744436"/>
                <a:gd name="connsiteY54" fmla="*/ 2857035 h 15035524"/>
                <a:gd name="connsiteX55" fmla="*/ 14259509 w 18744436"/>
                <a:gd name="connsiteY55" fmla="*/ 2287434 h 15035524"/>
                <a:gd name="connsiteX56" fmla="*/ 14892468 w 18744436"/>
                <a:gd name="connsiteY56" fmla="*/ 1645503 h 15035524"/>
                <a:gd name="connsiteX57" fmla="*/ 15778605 w 18744436"/>
                <a:gd name="connsiteY57" fmla="*/ 1093983 h 15035524"/>
                <a:gd name="connsiteX58" fmla="*/ 16022739 w 18744436"/>
                <a:gd name="connsiteY58" fmla="*/ 1564133 h 15035524"/>
                <a:gd name="connsiteX59" fmla="*/ 16556232 w 18744436"/>
                <a:gd name="connsiteY59" fmla="*/ 2142785 h 15035524"/>
                <a:gd name="connsiteX60" fmla="*/ 17406193 w 18744436"/>
                <a:gd name="connsiteY60" fmla="*/ 1292897 h 15035524"/>
                <a:gd name="connsiteX61" fmla="*/ 18120524 w 18744436"/>
                <a:gd name="connsiteY61" fmla="*/ 714260 h 15035524"/>
                <a:gd name="connsiteX62" fmla="*/ 18744437 w 18744436"/>
                <a:gd name="connsiteY62" fmla="*/ -1 h 15035524"/>
                <a:gd name="connsiteX63" fmla="*/ 271434 w 18744436"/>
                <a:gd name="connsiteY63" fmla="*/ 7065877 h 15035524"/>
                <a:gd name="connsiteX64" fmla="*/ 11919572 w 18744436"/>
                <a:gd name="connsiteY64" fmla="*/ 7003278 h 15035524"/>
                <a:gd name="connsiteX65" fmla="*/ 12868275 w 18744436"/>
                <a:gd name="connsiteY65" fmla="*/ 6758067 h 15035524"/>
                <a:gd name="connsiteX66" fmla="*/ 13844296 w 18744436"/>
                <a:gd name="connsiteY66" fmla="*/ 6156232 h 15035524"/>
                <a:gd name="connsiteX67" fmla="*/ 13886291 w 18744436"/>
                <a:gd name="connsiteY67" fmla="*/ 5321864 h 15035524"/>
                <a:gd name="connsiteX68" fmla="*/ 14370431 w 18744436"/>
                <a:gd name="connsiteY68" fmla="*/ 5830216 h 15035524"/>
                <a:gd name="connsiteX69" fmla="*/ 15323320 w 18744436"/>
                <a:gd name="connsiteY69" fmla="*/ 5928489 h 15035524"/>
                <a:gd name="connsiteX70" fmla="*/ 16350939 w 18744436"/>
                <a:gd name="connsiteY70" fmla="*/ 6053348 h 15035524"/>
                <a:gd name="connsiteX71" fmla="*/ 16362364 w 18744436"/>
                <a:gd name="connsiteY71" fmla="*/ 6360628 h 15035524"/>
                <a:gd name="connsiteX72" fmla="*/ 16682563 w 18744436"/>
                <a:gd name="connsiteY72" fmla="*/ 6798531 h 15035524"/>
                <a:gd name="connsiteX0" fmla="*/ 16682563 w 18744436"/>
                <a:gd name="connsiteY0" fmla="*/ 6798531 h 15035524"/>
                <a:gd name="connsiteX1" fmla="*/ 16432262 w 18744436"/>
                <a:gd name="connsiteY1" fmla="*/ 7825917 h 15035524"/>
                <a:gd name="connsiteX2" fmla="*/ 16106317 w 18744436"/>
                <a:gd name="connsiteY2" fmla="*/ 8367221 h 15035524"/>
                <a:gd name="connsiteX3" fmla="*/ 16305649 w 18744436"/>
                <a:gd name="connsiteY3" fmla="*/ 8754550 h 15035524"/>
                <a:gd name="connsiteX4" fmla="*/ 16287189 w 18744436"/>
                <a:gd name="connsiteY4" fmla="*/ 9151157 h 15035524"/>
                <a:gd name="connsiteX5" fmla="*/ 16372801 w 18744436"/>
                <a:gd name="connsiteY5" fmla="*/ 9717422 h 15035524"/>
                <a:gd name="connsiteX6" fmla="*/ 16070155 w 18744436"/>
                <a:gd name="connsiteY6" fmla="*/ 9937808 h 15035524"/>
                <a:gd name="connsiteX7" fmla="*/ 15805690 w 18744436"/>
                <a:gd name="connsiteY7" fmla="*/ 10431999 h 15035524"/>
                <a:gd name="connsiteX8" fmla="*/ 15195097 w 18744436"/>
                <a:gd name="connsiteY8" fmla="*/ 10093742 h 15035524"/>
                <a:gd name="connsiteX9" fmla="*/ 15011380 w 18744436"/>
                <a:gd name="connsiteY9" fmla="*/ 11048592 h 15035524"/>
                <a:gd name="connsiteX10" fmla="*/ 14908430 w 18744436"/>
                <a:gd name="connsiteY10" fmla="*/ 11937487 h 15035524"/>
                <a:gd name="connsiteX11" fmla="*/ 14904684 w 18744436"/>
                <a:gd name="connsiteY11" fmla="*/ 12760926 h 15035524"/>
                <a:gd name="connsiteX12" fmla="*/ 14929927 w 18744436"/>
                <a:gd name="connsiteY12" fmla="*/ 14391846 h 15035524"/>
                <a:gd name="connsiteX13" fmla="*/ 12952786 w 18744436"/>
                <a:gd name="connsiteY13" fmla="*/ 14842599 h 15035524"/>
                <a:gd name="connsiteX14" fmla="*/ 11934663 w 18744436"/>
                <a:gd name="connsiteY14" fmla="*/ 14890849 h 15035524"/>
                <a:gd name="connsiteX15" fmla="*/ 8506848 w 18744436"/>
                <a:gd name="connsiteY15" fmla="*/ 15035524 h 15035524"/>
                <a:gd name="connsiteX16" fmla="*/ 7985095 w 18744436"/>
                <a:gd name="connsiteY16" fmla="*/ 14390442 h 15035524"/>
                <a:gd name="connsiteX17" fmla="*/ 7400308 w 18744436"/>
                <a:gd name="connsiteY17" fmla="*/ 14360297 h 15035524"/>
                <a:gd name="connsiteX18" fmla="*/ 6972273 w 18744436"/>
                <a:gd name="connsiteY18" fmla="*/ 14631594 h 15035524"/>
                <a:gd name="connsiteX19" fmla="*/ 5181729 w 18744436"/>
                <a:gd name="connsiteY19" fmla="*/ 14547195 h 15035524"/>
                <a:gd name="connsiteX20" fmla="*/ 4397998 w 18744436"/>
                <a:gd name="connsiteY20" fmla="*/ 13914178 h 15035524"/>
                <a:gd name="connsiteX21" fmla="*/ 2908896 w 18744436"/>
                <a:gd name="connsiteY21" fmla="*/ 13106324 h 15035524"/>
                <a:gd name="connsiteX22" fmla="*/ 1263043 w 18744436"/>
                <a:gd name="connsiteY22" fmla="*/ 12394931 h 15035524"/>
                <a:gd name="connsiteX23" fmla="*/ 485320 w 18744436"/>
                <a:gd name="connsiteY23" fmla="*/ 11942774 h 15035524"/>
                <a:gd name="connsiteX24" fmla="*/ 0 w 18744436"/>
                <a:gd name="connsiteY24" fmla="*/ 11649662 h 15035524"/>
                <a:gd name="connsiteX25" fmla="*/ 1003686 w 18744436"/>
                <a:gd name="connsiteY25" fmla="*/ 10903697 h 15035524"/>
                <a:gd name="connsiteX26" fmla="*/ 2902551 w 18744436"/>
                <a:gd name="connsiteY26" fmla="*/ 9719298 h 15035524"/>
                <a:gd name="connsiteX27" fmla="*/ 2558940 w 18744436"/>
                <a:gd name="connsiteY27" fmla="*/ 9185867 h 15035524"/>
                <a:gd name="connsiteX28" fmla="*/ 2402508 w 18744436"/>
                <a:gd name="connsiteY28" fmla="*/ 8498784 h 15035524"/>
                <a:gd name="connsiteX29" fmla="*/ 2730740 w 18744436"/>
                <a:gd name="connsiteY29" fmla="*/ 8471613 h 15035524"/>
                <a:gd name="connsiteX30" fmla="*/ 2947754 w 18744436"/>
                <a:gd name="connsiteY30" fmla="*/ 8001468 h 15035524"/>
                <a:gd name="connsiteX31" fmla="*/ 3499325 w 18744436"/>
                <a:gd name="connsiteY31" fmla="*/ 7558451 h 15035524"/>
                <a:gd name="connsiteX32" fmla="*/ 3680166 w 18744436"/>
                <a:gd name="connsiteY32" fmla="*/ 6681453 h 15035524"/>
                <a:gd name="connsiteX33" fmla="*/ 4186528 w 18744436"/>
                <a:gd name="connsiteY33" fmla="*/ 6690489 h 15035524"/>
                <a:gd name="connsiteX34" fmla="*/ 4837569 w 18744436"/>
                <a:gd name="connsiteY34" fmla="*/ 7160639 h 15035524"/>
                <a:gd name="connsiteX35" fmla="*/ 5352976 w 18744436"/>
                <a:gd name="connsiteY35" fmla="*/ 7079272 h 15035524"/>
                <a:gd name="connsiteX36" fmla="*/ 5741786 w 18744436"/>
                <a:gd name="connsiteY36" fmla="*/ 6708577 h 15035524"/>
                <a:gd name="connsiteX37" fmla="*/ 6157723 w 18744436"/>
                <a:gd name="connsiteY37" fmla="*/ 6545836 h 15035524"/>
                <a:gd name="connsiteX38" fmla="*/ 6745471 w 18744436"/>
                <a:gd name="connsiteY38" fmla="*/ 5976243 h 15035524"/>
                <a:gd name="connsiteX39" fmla="*/ 6890140 w 18744436"/>
                <a:gd name="connsiteY39" fmla="*/ 5126367 h 15035524"/>
                <a:gd name="connsiteX40" fmla="*/ 7568305 w 18744436"/>
                <a:gd name="connsiteY40" fmla="*/ 4556773 h 15035524"/>
                <a:gd name="connsiteX41" fmla="*/ 8137967 w 18744436"/>
                <a:gd name="connsiteY41" fmla="*/ 4113752 h 15035524"/>
                <a:gd name="connsiteX42" fmla="*/ 8463480 w 18744436"/>
                <a:gd name="connsiteY42" fmla="*/ 3309085 h 15035524"/>
                <a:gd name="connsiteX43" fmla="*/ 9024093 w 18744436"/>
                <a:gd name="connsiteY43" fmla="*/ 2956478 h 15035524"/>
                <a:gd name="connsiteX44" fmla="*/ 9675138 w 18744436"/>
                <a:gd name="connsiteY44" fmla="*/ 2603876 h 15035524"/>
                <a:gd name="connsiteX45" fmla="*/ 9558580 w 18744436"/>
                <a:gd name="connsiteY45" fmla="*/ 2055592 h 15035524"/>
                <a:gd name="connsiteX46" fmla="*/ 10353296 w 18744436"/>
                <a:gd name="connsiteY46" fmla="*/ 1383308 h 15035524"/>
                <a:gd name="connsiteX47" fmla="*/ 10832530 w 18744436"/>
                <a:gd name="connsiteY47" fmla="*/ 1310974 h 15035524"/>
                <a:gd name="connsiteX48" fmla="*/ 11058585 w 18744436"/>
                <a:gd name="connsiteY48" fmla="*/ 1763043 h 15035524"/>
                <a:gd name="connsiteX49" fmla="*/ 11411229 w 18744436"/>
                <a:gd name="connsiteY49" fmla="*/ 2142774 h 15035524"/>
                <a:gd name="connsiteX50" fmla="*/ 11998974 w 18744436"/>
                <a:gd name="connsiteY50" fmla="*/ 2224144 h 15035524"/>
                <a:gd name="connsiteX51" fmla="*/ 12315449 w 18744436"/>
                <a:gd name="connsiteY51" fmla="*/ 2884156 h 15035524"/>
                <a:gd name="connsiteX52" fmla="*/ 12785642 w 18744436"/>
                <a:gd name="connsiteY52" fmla="*/ 2703327 h 15035524"/>
                <a:gd name="connsiteX53" fmla="*/ 13671776 w 18744436"/>
                <a:gd name="connsiteY53" fmla="*/ 3155388 h 15035524"/>
                <a:gd name="connsiteX54" fmla="*/ 14123886 w 18744436"/>
                <a:gd name="connsiteY54" fmla="*/ 2857035 h 15035524"/>
                <a:gd name="connsiteX55" fmla="*/ 14259509 w 18744436"/>
                <a:gd name="connsiteY55" fmla="*/ 2287434 h 15035524"/>
                <a:gd name="connsiteX56" fmla="*/ 14892468 w 18744436"/>
                <a:gd name="connsiteY56" fmla="*/ 1645503 h 15035524"/>
                <a:gd name="connsiteX57" fmla="*/ 15778605 w 18744436"/>
                <a:gd name="connsiteY57" fmla="*/ 1093983 h 15035524"/>
                <a:gd name="connsiteX58" fmla="*/ 16022739 w 18744436"/>
                <a:gd name="connsiteY58" fmla="*/ 1564133 h 15035524"/>
                <a:gd name="connsiteX59" fmla="*/ 16556232 w 18744436"/>
                <a:gd name="connsiteY59" fmla="*/ 2142785 h 15035524"/>
                <a:gd name="connsiteX60" fmla="*/ 17406193 w 18744436"/>
                <a:gd name="connsiteY60" fmla="*/ 1292897 h 15035524"/>
                <a:gd name="connsiteX61" fmla="*/ 18120524 w 18744436"/>
                <a:gd name="connsiteY61" fmla="*/ 714260 h 15035524"/>
                <a:gd name="connsiteX62" fmla="*/ 18744437 w 18744436"/>
                <a:gd name="connsiteY62" fmla="*/ -1 h 15035524"/>
                <a:gd name="connsiteX63" fmla="*/ 11109603 w 18744436"/>
                <a:gd name="connsiteY63" fmla="*/ 6729756 h 15035524"/>
                <a:gd name="connsiteX64" fmla="*/ 11919572 w 18744436"/>
                <a:gd name="connsiteY64" fmla="*/ 7003278 h 15035524"/>
                <a:gd name="connsiteX65" fmla="*/ 12868275 w 18744436"/>
                <a:gd name="connsiteY65" fmla="*/ 6758067 h 15035524"/>
                <a:gd name="connsiteX66" fmla="*/ 13844296 w 18744436"/>
                <a:gd name="connsiteY66" fmla="*/ 6156232 h 15035524"/>
                <a:gd name="connsiteX67" fmla="*/ 13886291 w 18744436"/>
                <a:gd name="connsiteY67" fmla="*/ 5321864 h 15035524"/>
                <a:gd name="connsiteX68" fmla="*/ 14370431 w 18744436"/>
                <a:gd name="connsiteY68" fmla="*/ 5830216 h 15035524"/>
                <a:gd name="connsiteX69" fmla="*/ 15323320 w 18744436"/>
                <a:gd name="connsiteY69" fmla="*/ 5928489 h 15035524"/>
                <a:gd name="connsiteX70" fmla="*/ 16350939 w 18744436"/>
                <a:gd name="connsiteY70" fmla="*/ 6053348 h 15035524"/>
                <a:gd name="connsiteX71" fmla="*/ 16362364 w 18744436"/>
                <a:gd name="connsiteY71" fmla="*/ 6360628 h 15035524"/>
                <a:gd name="connsiteX72" fmla="*/ 16682563 w 18744436"/>
                <a:gd name="connsiteY72" fmla="*/ 6798531 h 15035524"/>
                <a:gd name="connsiteX0" fmla="*/ 16682563 w 18120523"/>
                <a:gd name="connsiteY0" fmla="*/ 6084269 h 14321262"/>
                <a:gd name="connsiteX1" fmla="*/ 16432262 w 18120523"/>
                <a:gd name="connsiteY1" fmla="*/ 7111655 h 14321262"/>
                <a:gd name="connsiteX2" fmla="*/ 16106317 w 18120523"/>
                <a:gd name="connsiteY2" fmla="*/ 7652959 h 14321262"/>
                <a:gd name="connsiteX3" fmla="*/ 16305649 w 18120523"/>
                <a:gd name="connsiteY3" fmla="*/ 8040288 h 14321262"/>
                <a:gd name="connsiteX4" fmla="*/ 16287189 w 18120523"/>
                <a:gd name="connsiteY4" fmla="*/ 8436895 h 14321262"/>
                <a:gd name="connsiteX5" fmla="*/ 16372801 w 18120523"/>
                <a:gd name="connsiteY5" fmla="*/ 9003160 h 14321262"/>
                <a:gd name="connsiteX6" fmla="*/ 16070155 w 18120523"/>
                <a:gd name="connsiteY6" fmla="*/ 9223546 h 14321262"/>
                <a:gd name="connsiteX7" fmla="*/ 15805690 w 18120523"/>
                <a:gd name="connsiteY7" fmla="*/ 9717737 h 14321262"/>
                <a:gd name="connsiteX8" fmla="*/ 15195097 w 18120523"/>
                <a:gd name="connsiteY8" fmla="*/ 9379480 h 14321262"/>
                <a:gd name="connsiteX9" fmla="*/ 15011380 w 18120523"/>
                <a:gd name="connsiteY9" fmla="*/ 10334330 h 14321262"/>
                <a:gd name="connsiteX10" fmla="*/ 14908430 w 18120523"/>
                <a:gd name="connsiteY10" fmla="*/ 11223225 h 14321262"/>
                <a:gd name="connsiteX11" fmla="*/ 14904684 w 18120523"/>
                <a:gd name="connsiteY11" fmla="*/ 12046664 h 14321262"/>
                <a:gd name="connsiteX12" fmla="*/ 14929927 w 18120523"/>
                <a:gd name="connsiteY12" fmla="*/ 13677584 h 14321262"/>
                <a:gd name="connsiteX13" fmla="*/ 12952786 w 18120523"/>
                <a:gd name="connsiteY13" fmla="*/ 14128337 h 14321262"/>
                <a:gd name="connsiteX14" fmla="*/ 11934663 w 18120523"/>
                <a:gd name="connsiteY14" fmla="*/ 14176587 h 14321262"/>
                <a:gd name="connsiteX15" fmla="*/ 8506848 w 18120523"/>
                <a:gd name="connsiteY15" fmla="*/ 14321262 h 14321262"/>
                <a:gd name="connsiteX16" fmla="*/ 7985095 w 18120523"/>
                <a:gd name="connsiteY16" fmla="*/ 13676180 h 14321262"/>
                <a:gd name="connsiteX17" fmla="*/ 7400308 w 18120523"/>
                <a:gd name="connsiteY17" fmla="*/ 13646035 h 14321262"/>
                <a:gd name="connsiteX18" fmla="*/ 6972273 w 18120523"/>
                <a:gd name="connsiteY18" fmla="*/ 13917332 h 14321262"/>
                <a:gd name="connsiteX19" fmla="*/ 5181729 w 18120523"/>
                <a:gd name="connsiteY19" fmla="*/ 13832933 h 14321262"/>
                <a:gd name="connsiteX20" fmla="*/ 4397998 w 18120523"/>
                <a:gd name="connsiteY20" fmla="*/ 13199916 h 14321262"/>
                <a:gd name="connsiteX21" fmla="*/ 2908896 w 18120523"/>
                <a:gd name="connsiteY21" fmla="*/ 12392062 h 14321262"/>
                <a:gd name="connsiteX22" fmla="*/ 1263043 w 18120523"/>
                <a:gd name="connsiteY22" fmla="*/ 11680669 h 14321262"/>
                <a:gd name="connsiteX23" fmla="*/ 485320 w 18120523"/>
                <a:gd name="connsiteY23" fmla="*/ 11228512 h 14321262"/>
                <a:gd name="connsiteX24" fmla="*/ 0 w 18120523"/>
                <a:gd name="connsiteY24" fmla="*/ 10935400 h 14321262"/>
                <a:gd name="connsiteX25" fmla="*/ 1003686 w 18120523"/>
                <a:gd name="connsiteY25" fmla="*/ 10189435 h 14321262"/>
                <a:gd name="connsiteX26" fmla="*/ 2902551 w 18120523"/>
                <a:gd name="connsiteY26" fmla="*/ 9005036 h 14321262"/>
                <a:gd name="connsiteX27" fmla="*/ 2558940 w 18120523"/>
                <a:gd name="connsiteY27" fmla="*/ 8471605 h 14321262"/>
                <a:gd name="connsiteX28" fmla="*/ 2402508 w 18120523"/>
                <a:gd name="connsiteY28" fmla="*/ 7784522 h 14321262"/>
                <a:gd name="connsiteX29" fmla="*/ 2730740 w 18120523"/>
                <a:gd name="connsiteY29" fmla="*/ 7757351 h 14321262"/>
                <a:gd name="connsiteX30" fmla="*/ 2947754 w 18120523"/>
                <a:gd name="connsiteY30" fmla="*/ 7287206 h 14321262"/>
                <a:gd name="connsiteX31" fmla="*/ 3499325 w 18120523"/>
                <a:gd name="connsiteY31" fmla="*/ 6844189 h 14321262"/>
                <a:gd name="connsiteX32" fmla="*/ 3680166 w 18120523"/>
                <a:gd name="connsiteY32" fmla="*/ 5967191 h 14321262"/>
                <a:gd name="connsiteX33" fmla="*/ 4186528 w 18120523"/>
                <a:gd name="connsiteY33" fmla="*/ 5976227 h 14321262"/>
                <a:gd name="connsiteX34" fmla="*/ 4837569 w 18120523"/>
                <a:gd name="connsiteY34" fmla="*/ 6446377 h 14321262"/>
                <a:gd name="connsiteX35" fmla="*/ 5352976 w 18120523"/>
                <a:gd name="connsiteY35" fmla="*/ 6365010 h 14321262"/>
                <a:gd name="connsiteX36" fmla="*/ 5741786 w 18120523"/>
                <a:gd name="connsiteY36" fmla="*/ 5994315 h 14321262"/>
                <a:gd name="connsiteX37" fmla="*/ 6157723 w 18120523"/>
                <a:gd name="connsiteY37" fmla="*/ 5831574 h 14321262"/>
                <a:gd name="connsiteX38" fmla="*/ 6745471 w 18120523"/>
                <a:gd name="connsiteY38" fmla="*/ 5261981 h 14321262"/>
                <a:gd name="connsiteX39" fmla="*/ 6890140 w 18120523"/>
                <a:gd name="connsiteY39" fmla="*/ 4412105 h 14321262"/>
                <a:gd name="connsiteX40" fmla="*/ 7568305 w 18120523"/>
                <a:gd name="connsiteY40" fmla="*/ 3842511 h 14321262"/>
                <a:gd name="connsiteX41" fmla="*/ 8137967 w 18120523"/>
                <a:gd name="connsiteY41" fmla="*/ 3399490 h 14321262"/>
                <a:gd name="connsiteX42" fmla="*/ 8463480 w 18120523"/>
                <a:gd name="connsiteY42" fmla="*/ 2594823 h 14321262"/>
                <a:gd name="connsiteX43" fmla="*/ 9024093 w 18120523"/>
                <a:gd name="connsiteY43" fmla="*/ 2242216 h 14321262"/>
                <a:gd name="connsiteX44" fmla="*/ 9675138 w 18120523"/>
                <a:gd name="connsiteY44" fmla="*/ 1889614 h 14321262"/>
                <a:gd name="connsiteX45" fmla="*/ 9558580 w 18120523"/>
                <a:gd name="connsiteY45" fmla="*/ 1341330 h 14321262"/>
                <a:gd name="connsiteX46" fmla="*/ 10353296 w 18120523"/>
                <a:gd name="connsiteY46" fmla="*/ 669046 h 14321262"/>
                <a:gd name="connsiteX47" fmla="*/ 10832530 w 18120523"/>
                <a:gd name="connsiteY47" fmla="*/ 596712 h 14321262"/>
                <a:gd name="connsiteX48" fmla="*/ 11058585 w 18120523"/>
                <a:gd name="connsiteY48" fmla="*/ 1048781 h 14321262"/>
                <a:gd name="connsiteX49" fmla="*/ 11411229 w 18120523"/>
                <a:gd name="connsiteY49" fmla="*/ 1428512 h 14321262"/>
                <a:gd name="connsiteX50" fmla="*/ 11998974 w 18120523"/>
                <a:gd name="connsiteY50" fmla="*/ 1509882 h 14321262"/>
                <a:gd name="connsiteX51" fmla="*/ 12315449 w 18120523"/>
                <a:gd name="connsiteY51" fmla="*/ 2169894 h 14321262"/>
                <a:gd name="connsiteX52" fmla="*/ 12785642 w 18120523"/>
                <a:gd name="connsiteY52" fmla="*/ 1989065 h 14321262"/>
                <a:gd name="connsiteX53" fmla="*/ 13671776 w 18120523"/>
                <a:gd name="connsiteY53" fmla="*/ 2441126 h 14321262"/>
                <a:gd name="connsiteX54" fmla="*/ 14123886 w 18120523"/>
                <a:gd name="connsiteY54" fmla="*/ 2142773 h 14321262"/>
                <a:gd name="connsiteX55" fmla="*/ 14259509 w 18120523"/>
                <a:gd name="connsiteY55" fmla="*/ 1573172 h 14321262"/>
                <a:gd name="connsiteX56" fmla="*/ 14892468 w 18120523"/>
                <a:gd name="connsiteY56" fmla="*/ 931241 h 14321262"/>
                <a:gd name="connsiteX57" fmla="*/ 15778605 w 18120523"/>
                <a:gd name="connsiteY57" fmla="*/ 379721 h 14321262"/>
                <a:gd name="connsiteX58" fmla="*/ 16022739 w 18120523"/>
                <a:gd name="connsiteY58" fmla="*/ 849871 h 14321262"/>
                <a:gd name="connsiteX59" fmla="*/ 16556232 w 18120523"/>
                <a:gd name="connsiteY59" fmla="*/ 1428523 h 14321262"/>
                <a:gd name="connsiteX60" fmla="*/ 17406193 w 18120523"/>
                <a:gd name="connsiteY60" fmla="*/ 578635 h 14321262"/>
                <a:gd name="connsiteX61" fmla="*/ 18120524 w 18120523"/>
                <a:gd name="connsiteY61" fmla="*/ -2 h 14321262"/>
                <a:gd name="connsiteX62" fmla="*/ 7035843 w 18120523"/>
                <a:gd name="connsiteY62" fmla="*/ 6484324 h 14321262"/>
                <a:gd name="connsiteX63" fmla="*/ 11109603 w 18120523"/>
                <a:gd name="connsiteY63" fmla="*/ 6015494 h 14321262"/>
                <a:gd name="connsiteX64" fmla="*/ 11919572 w 18120523"/>
                <a:gd name="connsiteY64" fmla="*/ 6289016 h 14321262"/>
                <a:gd name="connsiteX65" fmla="*/ 12868275 w 18120523"/>
                <a:gd name="connsiteY65" fmla="*/ 6043805 h 14321262"/>
                <a:gd name="connsiteX66" fmla="*/ 13844296 w 18120523"/>
                <a:gd name="connsiteY66" fmla="*/ 5441970 h 14321262"/>
                <a:gd name="connsiteX67" fmla="*/ 13886291 w 18120523"/>
                <a:gd name="connsiteY67" fmla="*/ 4607602 h 14321262"/>
                <a:gd name="connsiteX68" fmla="*/ 14370431 w 18120523"/>
                <a:gd name="connsiteY68" fmla="*/ 5115954 h 14321262"/>
                <a:gd name="connsiteX69" fmla="*/ 15323320 w 18120523"/>
                <a:gd name="connsiteY69" fmla="*/ 5214227 h 14321262"/>
                <a:gd name="connsiteX70" fmla="*/ 16350939 w 18120523"/>
                <a:gd name="connsiteY70" fmla="*/ 5339086 h 14321262"/>
                <a:gd name="connsiteX71" fmla="*/ 16362364 w 18120523"/>
                <a:gd name="connsiteY71" fmla="*/ 5646366 h 14321262"/>
                <a:gd name="connsiteX72" fmla="*/ 16682563 w 18120523"/>
                <a:gd name="connsiteY72" fmla="*/ 6084269 h 14321262"/>
                <a:gd name="connsiteX0" fmla="*/ 16682563 w 18120523"/>
                <a:gd name="connsiteY0" fmla="*/ 6084269 h 14321262"/>
                <a:gd name="connsiteX1" fmla="*/ 16432262 w 18120523"/>
                <a:gd name="connsiteY1" fmla="*/ 7111655 h 14321262"/>
                <a:gd name="connsiteX2" fmla="*/ 16106317 w 18120523"/>
                <a:gd name="connsiteY2" fmla="*/ 7652959 h 14321262"/>
                <a:gd name="connsiteX3" fmla="*/ 16305649 w 18120523"/>
                <a:gd name="connsiteY3" fmla="*/ 8040288 h 14321262"/>
                <a:gd name="connsiteX4" fmla="*/ 16287189 w 18120523"/>
                <a:gd name="connsiteY4" fmla="*/ 8436895 h 14321262"/>
                <a:gd name="connsiteX5" fmla="*/ 16372801 w 18120523"/>
                <a:gd name="connsiteY5" fmla="*/ 9003160 h 14321262"/>
                <a:gd name="connsiteX6" fmla="*/ 16070155 w 18120523"/>
                <a:gd name="connsiteY6" fmla="*/ 9223546 h 14321262"/>
                <a:gd name="connsiteX7" fmla="*/ 15805690 w 18120523"/>
                <a:gd name="connsiteY7" fmla="*/ 9717737 h 14321262"/>
                <a:gd name="connsiteX8" fmla="*/ 15195097 w 18120523"/>
                <a:gd name="connsiteY8" fmla="*/ 9379480 h 14321262"/>
                <a:gd name="connsiteX9" fmla="*/ 15011380 w 18120523"/>
                <a:gd name="connsiteY9" fmla="*/ 10334330 h 14321262"/>
                <a:gd name="connsiteX10" fmla="*/ 14908430 w 18120523"/>
                <a:gd name="connsiteY10" fmla="*/ 11223225 h 14321262"/>
                <a:gd name="connsiteX11" fmla="*/ 14904684 w 18120523"/>
                <a:gd name="connsiteY11" fmla="*/ 12046664 h 14321262"/>
                <a:gd name="connsiteX12" fmla="*/ 14929927 w 18120523"/>
                <a:gd name="connsiteY12" fmla="*/ 13677584 h 14321262"/>
                <a:gd name="connsiteX13" fmla="*/ 12952786 w 18120523"/>
                <a:gd name="connsiteY13" fmla="*/ 14128337 h 14321262"/>
                <a:gd name="connsiteX14" fmla="*/ 11934663 w 18120523"/>
                <a:gd name="connsiteY14" fmla="*/ 14176587 h 14321262"/>
                <a:gd name="connsiteX15" fmla="*/ 8506848 w 18120523"/>
                <a:gd name="connsiteY15" fmla="*/ 14321262 h 14321262"/>
                <a:gd name="connsiteX16" fmla="*/ 7985095 w 18120523"/>
                <a:gd name="connsiteY16" fmla="*/ 13676180 h 14321262"/>
                <a:gd name="connsiteX17" fmla="*/ 7400308 w 18120523"/>
                <a:gd name="connsiteY17" fmla="*/ 13646035 h 14321262"/>
                <a:gd name="connsiteX18" fmla="*/ 6972273 w 18120523"/>
                <a:gd name="connsiteY18" fmla="*/ 13917332 h 14321262"/>
                <a:gd name="connsiteX19" fmla="*/ 5181729 w 18120523"/>
                <a:gd name="connsiteY19" fmla="*/ 13832933 h 14321262"/>
                <a:gd name="connsiteX20" fmla="*/ 4397998 w 18120523"/>
                <a:gd name="connsiteY20" fmla="*/ 13199916 h 14321262"/>
                <a:gd name="connsiteX21" fmla="*/ 2908896 w 18120523"/>
                <a:gd name="connsiteY21" fmla="*/ 12392062 h 14321262"/>
                <a:gd name="connsiteX22" fmla="*/ 1263043 w 18120523"/>
                <a:gd name="connsiteY22" fmla="*/ 11680669 h 14321262"/>
                <a:gd name="connsiteX23" fmla="*/ 485320 w 18120523"/>
                <a:gd name="connsiteY23" fmla="*/ 11228512 h 14321262"/>
                <a:gd name="connsiteX24" fmla="*/ 0 w 18120523"/>
                <a:gd name="connsiteY24" fmla="*/ 10935400 h 14321262"/>
                <a:gd name="connsiteX25" fmla="*/ 1003686 w 18120523"/>
                <a:gd name="connsiteY25" fmla="*/ 10189435 h 14321262"/>
                <a:gd name="connsiteX26" fmla="*/ 2902551 w 18120523"/>
                <a:gd name="connsiteY26" fmla="*/ 9005036 h 14321262"/>
                <a:gd name="connsiteX27" fmla="*/ 2558940 w 18120523"/>
                <a:gd name="connsiteY27" fmla="*/ 8471605 h 14321262"/>
                <a:gd name="connsiteX28" fmla="*/ 2402508 w 18120523"/>
                <a:gd name="connsiteY28" fmla="*/ 7784522 h 14321262"/>
                <a:gd name="connsiteX29" fmla="*/ 2730740 w 18120523"/>
                <a:gd name="connsiteY29" fmla="*/ 7757351 h 14321262"/>
                <a:gd name="connsiteX30" fmla="*/ 2947754 w 18120523"/>
                <a:gd name="connsiteY30" fmla="*/ 7287206 h 14321262"/>
                <a:gd name="connsiteX31" fmla="*/ 3499325 w 18120523"/>
                <a:gd name="connsiteY31" fmla="*/ 6844189 h 14321262"/>
                <a:gd name="connsiteX32" fmla="*/ 3680166 w 18120523"/>
                <a:gd name="connsiteY32" fmla="*/ 5967191 h 14321262"/>
                <a:gd name="connsiteX33" fmla="*/ 4186528 w 18120523"/>
                <a:gd name="connsiteY33" fmla="*/ 5976227 h 14321262"/>
                <a:gd name="connsiteX34" fmla="*/ 4837569 w 18120523"/>
                <a:gd name="connsiteY34" fmla="*/ 6446377 h 14321262"/>
                <a:gd name="connsiteX35" fmla="*/ 5352976 w 18120523"/>
                <a:gd name="connsiteY35" fmla="*/ 6365010 h 14321262"/>
                <a:gd name="connsiteX36" fmla="*/ 5741786 w 18120523"/>
                <a:gd name="connsiteY36" fmla="*/ 5994315 h 14321262"/>
                <a:gd name="connsiteX37" fmla="*/ 6157723 w 18120523"/>
                <a:gd name="connsiteY37" fmla="*/ 5831574 h 14321262"/>
                <a:gd name="connsiteX38" fmla="*/ 6745471 w 18120523"/>
                <a:gd name="connsiteY38" fmla="*/ 5261981 h 14321262"/>
                <a:gd name="connsiteX39" fmla="*/ 6890140 w 18120523"/>
                <a:gd name="connsiteY39" fmla="*/ 4412105 h 14321262"/>
                <a:gd name="connsiteX40" fmla="*/ 7568305 w 18120523"/>
                <a:gd name="connsiteY40" fmla="*/ 3842511 h 14321262"/>
                <a:gd name="connsiteX41" fmla="*/ 8137967 w 18120523"/>
                <a:gd name="connsiteY41" fmla="*/ 3399490 h 14321262"/>
                <a:gd name="connsiteX42" fmla="*/ 8463480 w 18120523"/>
                <a:gd name="connsiteY42" fmla="*/ 2594823 h 14321262"/>
                <a:gd name="connsiteX43" fmla="*/ 9024093 w 18120523"/>
                <a:gd name="connsiteY43" fmla="*/ 2242216 h 14321262"/>
                <a:gd name="connsiteX44" fmla="*/ 9675138 w 18120523"/>
                <a:gd name="connsiteY44" fmla="*/ 1889614 h 14321262"/>
                <a:gd name="connsiteX45" fmla="*/ 9558580 w 18120523"/>
                <a:gd name="connsiteY45" fmla="*/ 1341330 h 14321262"/>
                <a:gd name="connsiteX46" fmla="*/ 10353296 w 18120523"/>
                <a:gd name="connsiteY46" fmla="*/ 669046 h 14321262"/>
                <a:gd name="connsiteX47" fmla="*/ 10832530 w 18120523"/>
                <a:gd name="connsiteY47" fmla="*/ 596712 h 14321262"/>
                <a:gd name="connsiteX48" fmla="*/ 11058585 w 18120523"/>
                <a:gd name="connsiteY48" fmla="*/ 1048781 h 14321262"/>
                <a:gd name="connsiteX49" fmla="*/ 11411229 w 18120523"/>
                <a:gd name="connsiteY49" fmla="*/ 1428512 h 14321262"/>
                <a:gd name="connsiteX50" fmla="*/ 11998974 w 18120523"/>
                <a:gd name="connsiteY50" fmla="*/ 1509882 h 14321262"/>
                <a:gd name="connsiteX51" fmla="*/ 12315449 w 18120523"/>
                <a:gd name="connsiteY51" fmla="*/ 2169894 h 14321262"/>
                <a:gd name="connsiteX52" fmla="*/ 12785642 w 18120523"/>
                <a:gd name="connsiteY52" fmla="*/ 1989065 h 14321262"/>
                <a:gd name="connsiteX53" fmla="*/ 13671776 w 18120523"/>
                <a:gd name="connsiteY53" fmla="*/ 2441126 h 14321262"/>
                <a:gd name="connsiteX54" fmla="*/ 14123886 w 18120523"/>
                <a:gd name="connsiteY54" fmla="*/ 2142773 h 14321262"/>
                <a:gd name="connsiteX55" fmla="*/ 14259509 w 18120523"/>
                <a:gd name="connsiteY55" fmla="*/ 1573172 h 14321262"/>
                <a:gd name="connsiteX56" fmla="*/ 14892468 w 18120523"/>
                <a:gd name="connsiteY56" fmla="*/ 931241 h 14321262"/>
                <a:gd name="connsiteX57" fmla="*/ 15778605 w 18120523"/>
                <a:gd name="connsiteY57" fmla="*/ 379721 h 14321262"/>
                <a:gd name="connsiteX58" fmla="*/ 16022739 w 18120523"/>
                <a:gd name="connsiteY58" fmla="*/ 849871 h 14321262"/>
                <a:gd name="connsiteX59" fmla="*/ 16556232 w 18120523"/>
                <a:gd name="connsiteY59" fmla="*/ 1428523 h 14321262"/>
                <a:gd name="connsiteX60" fmla="*/ 17406193 w 18120523"/>
                <a:gd name="connsiteY60" fmla="*/ 578635 h 14321262"/>
                <a:gd name="connsiteX61" fmla="*/ 18120524 w 18120523"/>
                <a:gd name="connsiteY61" fmla="*/ -2 h 14321262"/>
                <a:gd name="connsiteX62" fmla="*/ 10152517 w 18120523"/>
                <a:gd name="connsiteY62" fmla="*/ 5644020 h 14321262"/>
                <a:gd name="connsiteX63" fmla="*/ 11109603 w 18120523"/>
                <a:gd name="connsiteY63" fmla="*/ 6015494 h 14321262"/>
                <a:gd name="connsiteX64" fmla="*/ 11919572 w 18120523"/>
                <a:gd name="connsiteY64" fmla="*/ 6289016 h 14321262"/>
                <a:gd name="connsiteX65" fmla="*/ 12868275 w 18120523"/>
                <a:gd name="connsiteY65" fmla="*/ 6043805 h 14321262"/>
                <a:gd name="connsiteX66" fmla="*/ 13844296 w 18120523"/>
                <a:gd name="connsiteY66" fmla="*/ 5441970 h 14321262"/>
                <a:gd name="connsiteX67" fmla="*/ 13886291 w 18120523"/>
                <a:gd name="connsiteY67" fmla="*/ 4607602 h 14321262"/>
                <a:gd name="connsiteX68" fmla="*/ 14370431 w 18120523"/>
                <a:gd name="connsiteY68" fmla="*/ 5115954 h 14321262"/>
                <a:gd name="connsiteX69" fmla="*/ 15323320 w 18120523"/>
                <a:gd name="connsiteY69" fmla="*/ 5214227 h 14321262"/>
                <a:gd name="connsiteX70" fmla="*/ 16350939 w 18120523"/>
                <a:gd name="connsiteY70" fmla="*/ 5339086 h 14321262"/>
                <a:gd name="connsiteX71" fmla="*/ 16362364 w 18120523"/>
                <a:gd name="connsiteY71" fmla="*/ 5646366 h 14321262"/>
                <a:gd name="connsiteX72" fmla="*/ 16682563 w 18120523"/>
                <a:gd name="connsiteY72" fmla="*/ 6084269 h 14321262"/>
                <a:gd name="connsiteX0" fmla="*/ 16682563 w 17406190"/>
                <a:gd name="connsiteY0" fmla="*/ 5704551 h 13941544"/>
                <a:gd name="connsiteX1" fmla="*/ 16432262 w 17406190"/>
                <a:gd name="connsiteY1" fmla="*/ 6731937 h 13941544"/>
                <a:gd name="connsiteX2" fmla="*/ 16106317 w 17406190"/>
                <a:gd name="connsiteY2" fmla="*/ 7273241 h 13941544"/>
                <a:gd name="connsiteX3" fmla="*/ 16305649 w 17406190"/>
                <a:gd name="connsiteY3" fmla="*/ 7660570 h 13941544"/>
                <a:gd name="connsiteX4" fmla="*/ 16287189 w 17406190"/>
                <a:gd name="connsiteY4" fmla="*/ 8057177 h 13941544"/>
                <a:gd name="connsiteX5" fmla="*/ 16372801 w 17406190"/>
                <a:gd name="connsiteY5" fmla="*/ 8623442 h 13941544"/>
                <a:gd name="connsiteX6" fmla="*/ 16070155 w 17406190"/>
                <a:gd name="connsiteY6" fmla="*/ 8843828 h 13941544"/>
                <a:gd name="connsiteX7" fmla="*/ 15805690 w 17406190"/>
                <a:gd name="connsiteY7" fmla="*/ 9338019 h 13941544"/>
                <a:gd name="connsiteX8" fmla="*/ 15195097 w 17406190"/>
                <a:gd name="connsiteY8" fmla="*/ 8999762 h 13941544"/>
                <a:gd name="connsiteX9" fmla="*/ 15011380 w 17406190"/>
                <a:gd name="connsiteY9" fmla="*/ 9954612 h 13941544"/>
                <a:gd name="connsiteX10" fmla="*/ 14908430 w 17406190"/>
                <a:gd name="connsiteY10" fmla="*/ 10843507 h 13941544"/>
                <a:gd name="connsiteX11" fmla="*/ 14904684 w 17406190"/>
                <a:gd name="connsiteY11" fmla="*/ 11666946 h 13941544"/>
                <a:gd name="connsiteX12" fmla="*/ 14929927 w 17406190"/>
                <a:gd name="connsiteY12" fmla="*/ 13297866 h 13941544"/>
                <a:gd name="connsiteX13" fmla="*/ 12952786 w 17406190"/>
                <a:gd name="connsiteY13" fmla="*/ 13748619 h 13941544"/>
                <a:gd name="connsiteX14" fmla="*/ 11934663 w 17406190"/>
                <a:gd name="connsiteY14" fmla="*/ 13796869 h 13941544"/>
                <a:gd name="connsiteX15" fmla="*/ 8506848 w 17406190"/>
                <a:gd name="connsiteY15" fmla="*/ 13941544 h 13941544"/>
                <a:gd name="connsiteX16" fmla="*/ 7985095 w 17406190"/>
                <a:gd name="connsiteY16" fmla="*/ 13296462 h 13941544"/>
                <a:gd name="connsiteX17" fmla="*/ 7400308 w 17406190"/>
                <a:gd name="connsiteY17" fmla="*/ 13266317 h 13941544"/>
                <a:gd name="connsiteX18" fmla="*/ 6972273 w 17406190"/>
                <a:gd name="connsiteY18" fmla="*/ 13537614 h 13941544"/>
                <a:gd name="connsiteX19" fmla="*/ 5181729 w 17406190"/>
                <a:gd name="connsiteY19" fmla="*/ 13453215 h 13941544"/>
                <a:gd name="connsiteX20" fmla="*/ 4397998 w 17406190"/>
                <a:gd name="connsiteY20" fmla="*/ 12820198 h 13941544"/>
                <a:gd name="connsiteX21" fmla="*/ 2908896 w 17406190"/>
                <a:gd name="connsiteY21" fmla="*/ 12012344 h 13941544"/>
                <a:gd name="connsiteX22" fmla="*/ 1263043 w 17406190"/>
                <a:gd name="connsiteY22" fmla="*/ 11300951 h 13941544"/>
                <a:gd name="connsiteX23" fmla="*/ 485320 w 17406190"/>
                <a:gd name="connsiteY23" fmla="*/ 10848794 h 13941544"/>
                <a:gd name="connsiteX24" fmla="*/ 0 w 17406190"/>
                <a:gd name="connsiteY24" fmla="*/ 10555682 h 13941544"/>
                <a:gd name="connsiteX25" fmla="*/ 1003686 w 17406190"/>
                <a:gd name="connsiteY25" fmla="*/ 9809717 h 13941544"/>
                <a:gd name="connsiteX26" fmla="*/ 2902551 w 17406190"/>
                <a:gd name="connsiteY26" fmla="*/ 8625318 h 13941544"/>
                <a:gd name="connsiteX27" fmla="*/ 2558940 w 17406190"/>
                <a:gd name="connsiteY27" fmla="*/ 8091887 h 13941544"/>
                <a:gd name="connsiteX28" fmla="*/ 2402508 w 17406190"/>
                <a:gd name="connsiteY28" fmla="*/ 7404804 h 13941544"/>
                <a:gd name="connsiteX29" fmla="*/ 2730740 w 17406190"/>
                <a:gd name="connsiteY29" fmla="*/ 7377633 h 13941544"/>
                <a:gd name="connsiteX30" fmla="*/ 2947754 w 17406190"/>
                <a:gd name="connsiteY30" fmla="*/ 6907488 h 13941544"/>
                <a:gd name="connsiteX31" fmla="*/ 3499325 w 17406190"/>
                <a:gd name="connsiteY31" fmla="*/ 6464471 h 13941544"/>
                <a:gd name="connsiteX32" fmla="*/ 3680166 w 17406190"/>
                <a:gd name="connsiteY32" fmla="*/ 5587473 h 13941544"/>
                <a:gd name="connsiteX33" fmla="*/ 4186528 w 17406190"/>
                <a:gd name="connsiteY33" fmla="*/ 5596509 h 13941544"/>
                <a:gd name="connsiteX34" fmla="*/ 4837569 w 17406190"/>
                <a:gd name="connsiteY34" fmla="*/ 6066659 h 13941544"/>
                <a:gd name="connsiteX35" fmla="*/ 5352976 w 17406190"/>
                <a:gd name="connsiteY35" fmla="*/ 5985292 h 13941544"/>
                <a:gd name="connsiteX36" fmla="*/ 5741786 w 17406190"/>
                <a:gd name="connsiteY36" fmla="*/ 5614597 h 13941544"/>
                <a:gd name="connsiteX37" fmla="*/ 6157723 w 17406190"/>
                <a:gd name="connsiteY37" fmla="*/ 5451856 h 13941544"/>
                <a:gd name="connsiteX38" fmla="*/ 6745471 w 17406190"/>
                <a:gd name="connsiteY38" fmla="*/ 4882263 h 13941544"/>
                <a:gd name="connsiteX39" fmla="*/ 6890140 w 17406190"/>
                <a:gd name="connsiteY39" fmla="*/ 4032387 h 13941544"/>
                <a:gd name="connsiteX40" fmla="*/ 7568305 w 17406190"/>
                <a:gd name="connsiteY40" fmla="*/ 3462793 h 13941544"/>
                <a:gd name="connsiteX41" fmla="*/ 8137967 w 17406190"/>
                <a:gd name="connsiteY41" fmla="*/ 3019772 h 13941544"/>
                <a:gd name="connsiteX42" fmla="*/ 8463480 w 17406190"/>
                <a:gd name="connsiteY42" fmla="*/ 2215105 h 13941544"/>
                <a:gd name="connsiteX43" fmla="*/ 9024093 w 17406190"/>
                <a:gd name="connsiteY43" fmla="*/ 1862498 h 13941544"/>
                <a:gd name="connsiteX44" fmla="*/ 9675138 w 17406190"/>
                <a:gd name="connsiteY44" fmla="*/ 1509896 h 13941544"/>
                <a:gd name="connsiteX45" fmla="*/ 9558580 w 17406190"/>
                <a:gd name="connsiteY45" fmla="*/ 961612 h 13941544"/>
                <a:gd name="connsiteX46" fmla="*/ 10353296 w 17406190"/>
                <a:gd name="connsiteY46" fmla="*/ 289328 h 13941544"/>
                <a:gd name="connsiteX47" fmla="*/ 10832530 w 17406190"/>
                <a:gd name="connsiteY47" fmla="*/ 216994 h 13941544"/>
                <a:gd name="connsiteX48" fmla="*/ 11058585 w 17406190"/>
                <a:gd name="connsiteY48" fmla="*/ 669063 h 13941544"/>
                <a:gd name="connsiteX49" fmla="*/ 11411229 w 17406190"/>
                <a:gd name="connsiteY49" fmla="*/ 1048794 h 13941544"/>
                <a:gd name="connsiteX50" fmla="*/ 11998974 w 17406190"/>
                <a:gd name="connsiteY50" fmla="*/ 1130164 h 13941544"/>
                <a:gd name="connsiteX51" fmla="*/ 12315449 w 17406190"/>
                <a:gd name="connsiteY51" fmla="*/ 1790176 h 13941544"/>
                <a:gd name="connsiteX52" fmla="*/ 12785642 w 17406190"/>
                <a:gd name="connsiteY52" fmla="*/ 1609347 h 13941544"/>
                <a:gd name="connsiteX53" fmla="*/ 13671776 w 17406190"/>
                <a:gd name="connsiteY53" fmla="*/ 2061408 h 13941544"/>
                <a:gd name="connsiteX54" fmla="*/ 14123886 w 17406190"/>
                <a:gd name="connsiteY54" fmla="*/ 1763055 h 13941544"/>
                <a:gd name="connsiteX55" fmla="*/ 14259509 w 17406190"/>
                <a:gd name="connsiteY55" fmla="*/ 1193454 h 13941544"/>
                <a:gd name="connsiteX56" fmla="*/ 14892468 w 17406190"/>
                <a:gd name="connsiteY56" fmla="*/ 551523 h 13941544"/>
                <a:gd name="connsiteX57" fmla="*/ 15778605 w 17406190"/>
                <a:gd name="connsiteY57" fmla="*/ 3 h 13941544"/>
                <a:gd name="connsiteX58" fmla="*/ 16022739 w 17406190"/>
                <a:gd name="connsiteY58" fmla="*/ 470153 h 13941544"/>
                <a:gd name="connsiteX59" fmla="*/ 16556232 w 17406190"/>
                <a:gd name="connsiteY59" fmla="*/ 1048805 h 13941544"/>
                <a:gd name="connsiteX60" fmla="*/ 17406193 w 17406190"/>
                <a:gd name="connsiteY60" fmla="*/ 198917 h 13941544"/>
                <a:gd name="connsiteX61" fmla="*/ 10152517 w 17406190"/>
                <a:gd name="connsiteY61" fmla="*/ 5264302 h 13941544"/>
                <a:gd name="connsiteX62" fmla="*/ 11109603 w 17406190"/>
                <a:gd name="connsiteY62" fmla="*/ 5635776 h 13941544"/>
                <a:gd name="connsiteX63" fmla="*/ 11919572 w 17406190"/>
                <a:gd name="connsiteY63" fmla="*/ 5909298 h 13941544"/>
                <a:gd name="connsiteX64" fmla="*/ 12868275 w 17406190"/>
                <a:gd name="connsiteY64" fmla="*/ 5664087 h 13941544"/>
                <a:gd name="connsiteX65" fmla="*/ 13844296 w 17406190"/>
                <a:gd name="connsiteY65" fmla="*/ 5062252 h 13941544"/>
                <a:gd name="connsiteX66" fmla="*/ 13886291 w 17406190"/>
                <a:gd name="connsiteY66" fmla="*/ 4227884 h 13941544"/>
                <a:gd name="connsiteX67" fmla="*/ 14370431 w 17406190"/>
                <a:gd name="connsiteY67" fmla="*/ 4736236 h 13941544"/>
                <a:gd name="connsiteX68" fmla="*/ 15323320 w 17406190"/>
                <a:gd name="connsiteY68" fmla="*/ 4834509 h 13941544"/>
                <a:gd name="connsiteX69" fmla="*/ 16350939 w 17406190"/>
                <a:gd name="connsiteY69" fmla="*/ 4959368 h 13941544"/>
                <a:gd name="connsiteX70" fmla="*/ 16362364 w 17406190"/>
                <a:gd name="connsiteY70" fmla="*/ 5266648 h 13941544"/>
                <a:gd name="connsiteX71" fmla="*/ 16682563 w 17406190"/>
                <a:gd name="connsiteY71" fmla="*/ 5704551 h 13941544"/>
                <a:gd name="connsiteX0" fmla="*/ 16682563 w 16682562"/>
                <a:gd name="connsiteY0" fmla="*/ 5704551 h 13941544"/>
                <a:gd name="connsiteX1" fmla="*/ 16432262 w 16682562"/>
                <a:gd name="connsiteY1" fmla="*/ 6731937 h 13941544"/>
                <a:gd name="connsiteX2" fmla="*/ 16106317 w 16682562"/>
                <a:gd name="connsiteY2" fmla="*/ 7273241 h 13941544"/>
                <a:gd name="connsiteX3" fmla="*/ 16305649 w 16682562"/>
                <a:gd name="connsiteY3" fmla="*/ 7660570 h 13941544"/>
                <a:gd name="connsiteX4" fmla="*/ 16287189 w 16682562"/>
                <a:gd name="connsiteY4" fmla="*/ 8057177 h 13941544"/>
                <a:gd name="connsiteX5" fmla="*/ 16372801 w 16682562"/>
                <a:gd name="connsiteY5" fmla="*/ 8623442 h 13941544"/>
                <a:gd name="connsiteX6" fmla="*/ 16070155 w 16682562"/>
                <a:gd name="connsiteY6" fmla="*/ 8843828 h 13941544"/>
                <a:gd name="connsiteX7" fmla="*/ 15805690 w 16682562"/>
                <a:gd name="connsiteY7" fmla="*/ 9338019 h 13941544"/>
                <a:gd name="connsiteX8" fmla="*/ 15195097 w 16682562"/>
                <a:gd name="connsiteY8" fmla="*/ 8999762 h 13941544"/>
                <a:gd name="connsiteX9" fmla="*/ 15011380 w 16682562"/>
                <a:gd name="connsiteY9" fmla="*/ 9954612 h 13941544"/>
                <a:gd name="connsiteX10" fmla="*/ 14908430 w 16682562"/>
                <a:gd name="connsiteY10" fmla="*/ 10843507 h 13941544"/>
                <a:gd name="connsiteX11" fmla="*/ 14904684 w 16682562"/>
                <a:gd name="connsiteY11" fmla="*/ 11666946 h 13941544"/>
                <a:gd name="connsiteX12" fmla="*/ 14929927 w 16682562"/>
                <a:gd name="connsiteY12" fmla="*/ 13297866 h 13941544"/>
                <a:gd name="connsiteX13" fmla="*/ 12952786 w 16682562"/>
                <a:gd name="connsiteY13" fmla="*/ 13748619 h 13941544"/>
                <a:gd name="connsiteX14" fmla="*/ 11934663 w 16682562"/>
                <a:gd name="connsiteY14" fmla="*/ 13796869 h 13941544"/>
                <a:gd name="connsiteX15" fmla="*/ 8506848 w 16682562"/>
                <a:gd name="connsiteY15" fmla="*/ 13941544 h 13941544"/>
                <a:gd name="connsiteX16" fmla="*/ 7985095 w 16682562"/>
                <a:gd name="connsiteY16" fmla="*/ 13296462 h 13941544"/>
                <a:gd name="connsiteX17" fmla="*/ 7400308 w 16682562"/>
                <a:gd name="connsiteY17" fmla="*/ 13266317 h 13941544"/>
                <a:gd name="connsiteX18" fmla="*/ 6972273 w 16682562"/>
                <a:gd name="connsiteY18" fmla="*/ 13537614 h 13941544"/>
                <a:gd name="connsiteX19" fmla="*/ 5181729 w 16682562"/>
                <a:gd name="connsiteY19" fmla="*/ 13453215 h 13941544"/>
                <a:gd name="connsiteX20" fmla="*/ 4397998 w 16682562"/>
                <a:gd name="connsiteY20" fmla="*/ 12820198 h 13941544"/>
                <a:gd name="connsiteX21" fmla="*/ 2908896 w 16682562"/>
                <a:gd name="connsiteY21" fmla="*/ 12012344 h 13941544"/>
                <a:gd name="connsiteX22" fmla="*/ 1263043 w 16682562"/>
                <a:gd name="connsiteY22" fmla="*/ 11300951 h 13941544"/>
                <a:gd name="connsiteX23" fmla="*/ 485320 w 16682562"/>
                <a:gd name="connsiteY23" fmla="*/ 10848794 h 13941544"/>
                <a:gd name="connsiteX24" fmla="*/ 0 w 16682562"/>
                <a:gd name="connsiteY24" fmla="*/ 10555682 h 13941544"/>
                <a:gd name="connsiteX25" fmla="*/ 1003686 w 16682562"/>
                <a:gd name="connsiteY25" fmla="*/ 9809717 h 13941544"/>
                <a:gd name="connsiteX26" fmla="*/ 2902551 w 16682562"/>
                <a:gd name="connsiteY26" fmla="*/ 8625318 h 13941544"/>
                <a:gd name="connsiteX27" fmla="*/ 2558940 w 16682562"/>
                <a:gd name="connsiteY27" fmla="*/ 8091887 h 13941544"/>
                <a:gd name="connsiteX28" fmla="*/ 2402508 w 16682562"/>
                <a:gd name="connsiteY28" fmla="*/ 7404804 h 13941544"/>
                <a:gd name="connsiteX29" fmla="*/ 2730740 w 16682562"/>
                <a:gd name="connsiteY29" fmla="*/ 7377633 h 13941544"/>
                <a:gd name="connsiteX30" fmla="*/ 2947754 w 16682562"/>
                <a:gd name="connsiteY30" fmla="*/ 6907488 h 13941544"/>
                <a:gd name="connsiteX31" fmla="*/ 3499325 w 16682562"/>
                <a:gd name="connsiteY31" fmla="*/ 6464471 h 13941544"/>
                <a:gd name="connsiteX32" fmla="*/ 3680166 w 16682562"/>
                <a:gd name="connsiteY32" fmla="*/ 5587473 h 13941544"/>
                <a:gd name="connsiteX33" fmla="*/ 4186528 w 16682562"/>
                <a:gd name="connsiteY33" fmla="*/ 5596509 h 13941544"/>
                <a:gd name="connsiteX34" fmla="*/ 4837569 w 16682562"/>
                <a:gd name="connsiteY34" fmla="*/ 6066659 h 13941544"/>
                <a:gd name="connsiteX35" fmla="*/ 5352976 w 16682562"/>
                <a:gd name="connsiteY35" fmla="*/ 5985292 h 13941544"/>
                <a:gd name="connsiteX36" fmla="*/ 5741786 w 16682562"/>
                <a:gd name="connsiteY36" fmla="*/ 5614597 h 13941544"/>
                <a:gd name="connsiteX37" fmla="*/ 6157723 w 16682562"/>
                <a:gd name="connsiteY37" fmla="*/ 5451856 h 13941544"/>
                <a:gd name="connsiteX38" fmla="*/ 6745471 w 16682562"/>
                <a:gd name="connsiteY38" fmla="*/ 4882263 h 13941544"/>
                <a:gd name="connsiteX39" fmla="*/ 6890140 w 16682562"/>
                <a:gd name="connsiteY39" fmla="*/ 4032387 h 13941544"/>
                <a:gd name="connsiteX40" fmla="*/ 7568305 w 16682562"/>
                <a:gd name="connsiteY40" fmla="*/ 3462793 h 13941544"/>
                <a:gd name="connsiteX41" fmla="*/ 8137967 w 16682562"/>
                <a:gd name="connsiteY41" fmla="*/ 3019772 h 13941544"/>
                <a:gd name="connsiteX42" fmla="*/ 8463480 w 16682562"/>
                <a:gd name="connsiteY42" fmla="*/ 2215105 h 13941544"/>
                <a:gd name="connsiteX43" fmla="*/ 9024093 w 16682562"/>
                <a:gd name="connsiteY43" fmla="*/ 1862498 h 13941544"/>
                <a:gd name="connsiteX44" fmla="*/ 9675138 w 16682562"/>
                <a:gd name="connsiteY44" fmla="*/ 1509896 h 13941544"/>
                <a:gd name="connsiteX45" fmla="*/ 9558580 w 16682562"/>
                <a:gd name="connsiteY45" fmla="*/ 961612 h 13941544"/>
                <a:gd name="connsiteX46" fmla="*/ 10353296 w 16682562"/>
                <a:gd name="connsiteY46" fmla="*/ 289328 h 13941544"/>
                <a:gd name="connsiteX47" fmla="*/ 10832530 w 16682562"/>
                <a:gd name="connsiteY47" fmla="*/ 216994 h 13941544"/>
                <a:gd name="connsiteX48" fmla="*/ 11058585 w 16682562"/>
                <a:gd name="connsiteY48" fmla="*/ 669063 h 13941544"/>
                <a:gd name="connsiteX49" fmla="*/ 11411229 w 16682562"/>
                <a:gd name="connsiteY49" fmla="*/ 1048794 h 13941544"/>
                <a:gd name="connsiteX50" fmla="*/ 11998974 w 16682562"/>
                <a:gd name="connsiteY50" fmla="*/ 1130164 h 13941544"/>
                <a:gd name="connsiteX51" fmla="*/ 12315449 w 16682562"/>
                <a:gd name="connsiteY51" fmla="*/ 1790176 h 13941544"/>
                <a:gd name="connsiteX52" fmla="*/ 12785642 w 16682562"/>
                <a:gd name="connsiteY52" fmla="*/ 1609347 h 13941544"/>
                <a:gd name="connsiteX53" fmla="*/ 13671776 w 16682562"/>
                <a:gd name="connsiteY53" fmla="*/ 2061408 h 13941544"/>
                <a:gd name="connsiteX54" fmla="*/ 14123886 w 16682562"/>
                <a:gd name="connsiteY54" fmla="*/ 1763055 h 13941544"/>
                <a:gd name="connsiteX55" fmla="*/ 14259509 w 16682562"/>
                <a:gd name="connsiteY55" fmla="*/ 1193454 h 13941544"/>
                <a:gd name="connsiteX56" fmla="*/ 14892468 w 16682562"/>
                <a:gd name="connsiteY56" fmla="*/ 551523 h 13941544"/>
                <a:gd name="connsiteX57" fmla="*/ 15778605 w 16682562"/>
                <a:gd name="connsiteY57" fmla="*/ 3 h 13941544"/>
                <a:gd name="connsiteX58" fmla="*/ 16022739 w 16682562"/>
                <a:gd name="connsiteY58" fmla="*/ 470153 h 13941544"/>
                <a:gd name="connsiteX59" fmla="*/ 16556232 w 16682562"/>
                <a:gd name="connsiteY59" fmla="*/ 1048805 h 13941544"/>
                <a:gd name="connsiteX60" fmla="*/ 10152517 w 16682562"/>
                <a:gd name="connsiteY60" fmla="*/ 5264302 h 13941544"/>
                <a:gd name="connsiteX61" fmla="*/ 11109603 w 16682562"/>
                <a:gd name="connsiteY61" fmla="*/ 5635776 h 13941544"/>
                <a:gd name="connsiteX62" fmla="*/ 11919572 w 16682562"/>
                <a:gd name="connsiteY62" fmla="*/ 5909298 h 13941544"/>
                <a:gd name="connsiteX63" fmla="*/ 12868275 w 16682562"/>
                <a:gd name="connsiteY63" fmla="*/ 5664087 h 13941544"/>
                <a:gd name="connsiteX64" fmla="*/ 13844296 w 16682562"/>
                <a:gd name="connsiteY64" fmla="*/ 5062252 h 13941544"/>
                <a:gd name="connsiteX65" fmla="*/ 13886291 w 16682562"/>
                <a:gd name="connsiteY65" fmla="*/ 4227884 h 13941544"/>
                <a:gd name="connsiteX66" fmla="*/ 14370431 w 16682562"/>
                <a:gd name="connsiteY66" fmla="*/ 4736236 h 13941544"/>
                <a:gd name="connsiteX67" fmla="*/ 15323320 w 16682562"/>
                <a:gd name="connsiteY67" fmla="*/ 4834509 h 13941544"/>
                <a:gd name="connsiteX68" fmla="*/ 16350939 w 16682562"/>
                <a:gd name="connsiteY68" fmla="*/ 4959368 h 13941544"/>
                <a:gd name="connsiteX69" fmla="*/ 16362364 w 16682562"/>
                <a:gd name="connsiteY69" fmla="*/ 5266648 h 13941544"/>
                <a:gd name="connsiteX70" fmla="*/ 16682563 w 16682562"/>
                <a:gd name="connsiteY70" fmla="*/ 5704551 h 13941544"/>
                <a:gd name="connsiteX0" fmla="*/ 16682563 w 16682562"/>
                <a:gd name="connsiteY0" fmla="*/ 5704551 h 13941544"/>
                <a:gd name="connsiteX1" fmla="*/ 16432262 w 16682562"/>
                <a:gd name="connsiteY1" fmla="*/ 6731937 h 13941544"/>
                <a:gd name="connsiteX2" fmla="*/ 16106317 w 16682562"/>
                <a:gd name="connsiteY2" fmla="*/ 7273241 h 13941544"/>
                <a:gd name="connsiteX3" fmla="*/ 16305649 w 16682562"/>
                <a:gd name="connsiteY3" fmla="*/ 7660570 h 13941544"/>
                <a:gd name="connsiteX4" fmla="*/ 16287189 w 16682562"/>
                <a:gd name="connsiteY4" fmla="*/ 8057177 h 13941544"/>
                <a:gd name="connsiteX5" fmla="*/ 16372801 w 16682562"/>
                <a:gd name="connsiteY5" fmla="*/ 8623442 h 13941544"/>
                <a:gd name="connsiteX6" fmla="*/ 16070155 w 16682562"/>
                <a:gd name="connsiteY6" fmla="*/ 8843828 h 13941544"/>
                <a:gd name="connsiteX7" fmla="*/ 15805690 w 16682562"/>
                <a:gd name="connsiteY7" fmla="*/ 9338019 h 13941544"/>
                <a:gd name="connsiteX8" fmla="*/ 15195097 w 16682562"/>
                <a:gd name="connsiteY8" fmla="*/ 8999762 h 13941544"/>
                <a:gd name="connsiteX9" fmla="*/ 15011380 w 16682562"/>
                <a:gd name="connsiteY9" fmla="*/ 9954612 h 13941544"/>
                <a:gd name="connsiteX10" fmla="*/ 14908430 w 16682562"/>
                <a:gd name="connsiteY10" fmla="*/ 10843507 h 13941544"/>
                <a:gd name="connsiteX11" fmla="*/ 14904684 w 16682562"/>
                <a:gd name="connsiteY11" fmla="*/ 11666946 h 13941544"/>
                <a:gd name="connsiteX12" fmla="*/ 14929927 w 16682562"/>
                <a:gd name="connsiteY12" fmla="*/ 13297866 h 13941544"/>
                <a:gd name="connsiteX13" fmla="*/ 12952786 w 16682562"/>
                <a:gd name="connsiteY13" fmla="*/ 13748619 h 13941544"/>
                <a:gd name="connsiteX14" fmla="*/ 11934663 w 16682562"/>
                <a:gd name="connsiteY14" fmla="*/ 13796869 h 13941544"/>
                <a:gd name="connsiteX15" fmla="*/ 8506848 w 16682562"/>
                <a:gd name="connsiteY15" fmla="*/ 13941544 h 13941544"/>
                <a:gd name="connsiteX16" fmla="*/ 7985095 w 16682562"/>
                <a:gd name="connsiteY16" fmla="*/ 13296462 h 13941544"/>
                <a:gd name="connsiteX17" fmla="*/ 7400308 w 16682562"/>
                <a:gd name="connsiteY17" fmla="*/ 13266317 h 13941544"/>
                <a:gd name="connsiteX18" fmla="*/ 6972273 w 16682562"/>
                <a:gd name="connsiteY18" fmla="*/ 13537614 h 13941544"/>
                <a:gd name="connsiteX19" fmla="*/ 5181729 w 16682562"/>
                <a:gd name="connsiteY19" fmla="*/ 13453215 h 13941544"/>
                <a:gd name="connsiteX20" fmla="*/ 4397998 w 16682562"/>
                <a:gd name="connsiteY20" fmla="*/ 12820198 h 13941544"/>
                <a:gd name="connsiteX21" fmla="*/ 2908896 w 16682562"/>
                <a:gd name="connsiteY21" fmla="*/ 12012344 h 13941544"/>
                <a:gd name="connsiteX22" fmla="*/ 1263043 w 16682562"/>
                <a:gd name="connsiteY22" fmla="*/ 11300951 h 13941544"/>
                <a:gd name="connsiteX23" fmla="*/ 485320 w 16682562"/>
                <a:gd name="connsiteY23" fmla="*/ 10848794 h 13941544"/>
                <a:gd name="connsiteX24" fmla="*/ 0 w 16682562"/>
                <a:gd name="connsiteY24" fmla="*/ 10555682 h 13941544"/>
                <a:gd name="connsiteX25" fmla="*/ 1003686 w 16682562"/>
                <a:gd name="connsiteY25" fmla="*/ 9809717 h 13941544"/>
                <a:gd name="connsiteX26" fmla="*/ 2902551 w 16682562"/>
                <a:gd name="connsiteY26" fmla="*/ 8625318 h 13941544"/>
                <a:gd name="connsiteX27" fmla="*/ 2558940 w 16682562"/>
                <a:gd name="connsiteY27" fmla="*/ 8091887 h 13941544"/>
                <a:gd name="connsiteX28" fmla="*/ 2402508 w 16682562"/>
                <a:gd name="connsiteY28" fmla="*/ 7404804 h 13941544"/>
                <a:gd name="connsiteX29" fmla="*/ 2730740 w 16682562"/>
                <a:gd name="connsiteY29" fmla="*/ 7377633 h 13941544"/>
                <a:gd name="connsiteX30" fmla="*/ 2947754 w 16682562"/>
                <a:gd name="connsiteY30" fmla="*/ 6907488 h 13941544"/>
                <a:gd name="connsiteX31" fmla="*/ 3499325 w 16682562"/>
                <a:gd name="connsiteY31" fmla="*/ 6464471 h 13941544"/>
                <a:gd name="connsiteX32" fmla="*/ 3680166 w 16682562"/>
                <a:gd name="connsiteY32" fmla="*/ 5587473 h 13941544"/>
                <a:gd name="connsiteX33" fmla="*/ 4186528 w 16682562"/>
                <a:gd name="connsiteY33" fmla="*/ 5596509 h 13941544"/>
                <a:gd name="connsiteX34" fmla="*/ 4837569 w 16682562"/>
                <a:gd name="connsiteY34" fmla="*/ 6066659 h 13941544"/>
                <a:gd name="connsiteX35" fmla="*/ 5352976 w 16682562"/>
                <a:gd name="connsiteY35" fmla="*/ 5985292 h 13941544"/>
                <a:gd name="connsiteX36" fmla="*/ 5741786 w 16682562"/>
                <a:gd name="connsiteY36" fmla="*/ 5614597 h 13941544"/>
                <a:gd name="connsiteX37" fmla="*/ 6157723 w 16682562"/>
                <a:gd name="connsiteY37" fmla="*/ 5451856 h 13941544"/>
                <a:gd name="connsiteX38" fmla="*/ 6745471 w 16682562"/>
                <a:gd name="connsiteY38" fmla="*/ 4882263 h 13941544"/>
                <a:gd name="connsiteX39" fmla="*/ 6890140 w 16682562"/>
                <a:gd name="connsiteY39" fmla="*/ 4032387 h 13941544"/>
                <a:gd name="connsiteX40" fmla="*/ 7568305 w 16682562"/>
                <a:gd name="connsiteY40" fmla="*/ 3462793 h 13941544"/>
                <a:gd name="connsiteX41" fmla="*/ 8137967 w 16682562"/>
                <a:gd name="connsiteY41" fmla="*/ 3019772 h 13941544"/>
                <a:gd name="connsiteX42" fmla="*/ 8463480 w 16682562"/>
                <a:gd name="connsiteY42" fmla="*/ 2215105 h 13941544"/>
                <a:gd name="connsiteX43" fmla="*/ 9024093 w 16682562"/>
                <a:gd name="connsiteY43" fmla="*/ 1862498 h 13941544"/>
                <a:gd name="connsiteX44" fmla="*/ 9675138 w 16682562"/>
                <a:gd name="connsiteY44" fmla="*/ 1509896 h 13941544"/>
                <a:gd name="connsiteX45" fmla="*/ 9558580 w 16682562"/>
                <a:gd name="connsiteY45" fmla="*/ 961612 h 13941544"/>
                <a:gd name="connsiteX46" fmla="*/ 10353296 w 16682562"/>
                <a:gd name="connsiteY46" fmla="*/ 289328 h 13941544"/>
                <a:gd name="connsiteX47" fmla="*/ 10832530 w 16682562"/>
                <a:gd name="connsiteY47" fmla="*/ 216994 h 13941544"/>
                <a:gd name="connsiteX48" fmla="*/ 11058585 w 16682562"/>
                <a:gd name="connsiteY48" fmla="*/ 669063 h 13941544"/>
                <a:gd name="connsiteX49" fmla="*/ 11411229 w 16682562"/>
                <a:gd name="connsiteY49" fmla="*/ 1048794 h 13941544"/>
                <a:gd name="connsiteX50" fmla="*/ 11998974 w 16682562"/>
                <a:gd name="connsiteY50" fmla="*/ 1130164 h 13941544"/>
                <a:gd name="connsiteX51" fmla="*/ 12315449 w 16682562"/>
                <a:gd name="connsiteY51" fmla="*/ 1790176 h 13941544"/>
                <a:gd name="connsiteX52" fmla="*/ 12785642 w 16682562"/>
                <a:gd name="connsiteY52" fmla="*/ 1609347 h 13941544"/>
                <a:gd name="connsiteX53" fmla="*/ 13671776 w 16682562"/>
                <a:gd name="connsiteY53" fmla="*/ 2061408 h 13941544"/>
                <a:gd name="connsiteX54" fmla="*/ 14123886 w 16682562"/>
                <a:gd name="connsiteY54" fmla="*/ 1763055 h 13941544"/>
                <a:gd name="connsiteX55" fmla="*/ 14259509 w 16682562"/>
                <a:gd name="connsiteY55" fmla="*/ 1193454 h 13941544"/>
                <a:gd name="connsiteX56" fmla="*/ 14892468 w 16682562"/>
                <a:gd name="connsiteY56" fmla="*/ 551523 h 13941544"/>
                <a:gd name="connsiteX57" fmla="*/ 15778605 w 16682562"/>
                <a:gd name="connsiteY57" fmla="*/ 3 h 13941544"/>
                <a:gd name="connsiteX58" fmla="*/ 16022739 w 16682562"/>
                <a:gd name="connsiteY58" fmla="*/ 470153 h 13941544"/>
                <a:gd name="connsiteX59" fmla="*/ 9312071 w 16682562"/>
                <a:gd name="connsiteY59" fmla="*/ 4353992 h 13941544"/>
                <a:gd name="connsiteX60" fmla="*/ 10152517 w 16682562"/>
                <a:gd name="connsiteY60" fmla="*/ 5264302 h 13941544"/>
                <a:gd name="connsiteX61" fmla="*/ 11109603 w 16682562"/>
                <a:gd name="connsiteY61" fmla="*/ 5635776 h 13941544"/>
                <a:gd name="connsiteX62" fmla="*/ 11919572 w 16682562"/>
                <a:gd name="connsiteY62" fmla="*/ 5909298 h 13941544"/>
                <a:gd name="connsiteX63" fmla="*/ 12868275 w 16682562"/>
                <a:gd name="connsiteY63" fmla="*/ 5664087 h 13941544"/>
                <a:gd name="connsiteX64" fmla="*/ 13844296 w 16682562"/>
                <a:gd name="connsiteY64" fmla="*/ 5062252 h 13941544"/>
                <a:gd name="connsiteX65" fmla="*/ 13886291 w 16682562"/>
                <a:gd name="connsiteY65" fmla="*/ 4227884 h 13941544"/>
                <a:gd name="connsiteX66" fmla="*/ 14370431 w 16682562"/>
                <a:gd name="connsiteY66" fmla="*/ 4736236 h 13941544"/>
                <a:gd name="connsiteX67" fmla="*/ 15323320 w 16682562"/>
                <a:gd name="connsiteY67" fmla="*/ 4834509 h 13941544"/>
                <a:gd name="connsiteX68" fmla="*/ 16350939 w 16682562"/>
                <a:gd name="connsiteY68" fmla="*/ 4959368 h 13941544"/>
                <a:gd name="connsiteX69" fmla="*/ 16362364 w 16682562"/>
                <a:gd name="connsiteY69" fmla="*/ 5266648 h 13941544"/>
                <a:gd name="connsiteX70" fmla="*/ 16682563 w 16682562"/>
                <a:gd name="connsiteY70" fmla="*/ 5704551 h 13941544"/>
                <a:gd name="connsiteX0" fmla="*/ 16682563 w 16682562"/>
                <a:gd name="connsiteY0" fmla="*/ 5704551 h 13941544"/>
                <a:gd name="connsiteX1" fmla="*/ 16432262 w 16682562"/>
                <a:gd name="connsiteY1" fmla="*/ 6731937 h 13941544"/>
                <a:gd name="connsiteX2" fmla="*/ 16106317 w 16682562"/>
                <a:gd name="connsiteY2" fmla="*/ 7273241 h 13941544"/>
                <a:gd name="connsiteX3" fmla="*/ 16305649 w 16682562"/>
                <a:gd name="connsiteY3" fmla="*/ 7660570 h 13941544"/>
                <a:gd name="connsiteX4" fmla="*/ 16287189 w 16682562"/>
                <a:gd name="connsiteY4" fmla="*/ 8057177 h 13941544"/>
                <a:gd name="connsiteX5" fmla="*/ 16372801 w 16682562"/>
                <a:gd name="connsiteY5" fmla="*/ 8623442 h 13941544"/>
                <a:gd name="connsiteX6" fmla="*/ 16070155 w 16682562"/>
                <a:gd name="connsiteY6" fmla="*/ 8843828 h 13941544"/>
                <a:gd name="connsiteX7" fmla="*/ 15805690 w 16682562"/>
                <a:gd name="connsiteY7" fmla="*/ 9338019 h 13941544"/>
                <a:gd name="connsiteX8" fmla="*/ 15195097 w 16682562"/>
                <a:gd name="connsiteY8" fmla="*/ 8999762 h 13941544"/>
                <a:gd name="connsiteX9" fmla="*/ 15011380 w 16682562"/>
                <a:gd name="connsiteY9" fmla="*/ 9954612 h 13941544"/>
                <a:gd name="connsiteX10" fmla="*/ 14908430 w 16682562"/>
                <a:gd name="connsiteY10" fmla="*/ 10843507 h 13941544"/>
                <a:gd name="connsiteX11" fmla="*/ 14904684 w 16682562"/>
                <a:gd name="connsiteY11" fmla="*/ 11666946 h 13941544"/>
                <a:gd name="connsiteX12" fmla="*/ 14929927 w 16682562"/>
                <a:gd name="connsiteY12" fmla="*/ 13297866 h 13941544"/>
                <a:gd name="connsiteX13" fmla="*/ 12952786 w 16682562"/>
                <a:gd name="connsiteY13" fmla="*/ 13748619 h 13941544"/>
                <a:gd name="connsiteX14" fmla="*/ 11934663 w 16682562"/>
                <a:gd name="connsiteY14" fmla="*/ 13796869 h 13941544"/>
                <a:gd name="connsiteX15" fmla="*/ 8506848 w 16682562"/>
                <a:gd name="connsiteY15" fmla="*/ 13941544 h 13941544"/>
                <a:gd name="connsiteX16" fmla="*/ 7985095 w 16682562"/>
                <a:gd name="connsiteY16" fmla="*/ 13296462 h 13941544"/>
                <a:gd name="connsiteX17" fmla="*/ 7400308 w 16682562"/>
                <a:gd name="connsiteY17" fmla="*/ 13266317 h 13941544"/>
                <a:gd name="connsiteX18" fmla="*/ 6972273 w 16682562"/>
                <a:gd name="connsiteY18" fmla="*/ 13537614 h 13941544"/>
                <a:gd name="connsiteX19" fmla="*/ 5181729 w 16682562"/>
                <a:gd name="connsiteY19" fmla="*/ 13453215 h 13941544"/>
                <a:gd name="connsiteX20" fmla="*/ 4397998 w 16682562"/>
                <a:gd name="connsiteY20" fmla="*/ 12820198 h 13941544"/>
                <a:gd name="connsiteX21" fmla="*/ 2908896 w 16682562"/>
                <a:gd name="connsiteY21" fmla="*/ 12012344 h 13941544"/>
                <a:gd name="connsiteX22" fmla="*/ 1263043 w 16682562"/>
                <a:gd name="connsiteY22" fmla="*/ 11300951 h 13941544"/>
                <a:gd name="connsiteX23" fmla="*/ 485320 w 16682562"/>
                <a:gd name="connsiteY23" fmla="*/ 10848794 h 13941544"/>
                <a:gd name="connsiteX24" fmla="*/ 0 w 16682562"/>
                <a:gd name="connsiteY24" fmla="*/ 10555682 h 13941544"/>
                <a:gd name="connsiteX25" fmla="*/ 1003686 w 16682562"/>
                <a:gd name="connsiteY25" fmla="*/ 9809717 h 13941544"/>
                <a:gd name="connsiteX26" fmla="*/ 2902551 w 16682562"/>
                <a:gd name="connsiteY26" fmla="*/ 8625318 h 13941544"/>
                <a:gd name="connsiteX27" fmla="*/ 2558940 w 16682562"/>
                <a:gd name="connsiteY27" fmla="*/ 8091887 h 13941544"/>
                <a:gd name="connsiteX28" fmla="*/ 2402508 w 16682562"/>
                <a:gd name="connsiteY28" fmla="*/ 7404804 h 13941544"/>
                <a:gd name="connsiteX29" fmla="*/ 2730740 w 16682562"/>
                <a:gd name="connsiteY29" fmla="*/ 7377633 h 13941544"/>
                <a:gd name="connsiteX30" fmla="*/ 2947754 w 16682562"/>
                <a:gd name="connsiteY30" fmla="*/ 6907488 h 13941544"/>
                <a:gd name="connsiteX31" fmla="*/ 3499325 w 16682562"/>
                <a:gd name="connsiteY31" fmla="*/ 6464471 h 13941544"/>
                <a:gd name="connsiteX32" fmla="*/ 3680166 w 16682562"/>
                <a:gd name="connsiteY32" fmla="*/ 5587473 h 13941544"/>
                <a:gd name="connsiteX33" fmla="*/ 4186528 w 16682562"/>
                <a:gd name="connsiteY33" fmla="*/ 5596509 h 13941544"/>
                <a:gd name="connsiteX34" fmla="*/ 4837569 w 16682562"/>
                <a:gd name="connsiteY34" fmla="*/ 6066659 h 13941544"/>
                <a:gd name="connsiteX35" fmla="*/ 5352976 w 16682562"/>
                <a:gd name="connsiteY35" fmla="*/ 5985292 h 13941544"/>
                <a:gd name="connsiteX36" fmla="*/ 5741786 w 16682562"/>
                <a:gd name="connsiteY36" fmla="*/ 5614597 h 13941544"/>
                <a:gd name="connsiteX37" fmla="*/ 6157723 w 16682562"/>
                <a:gd name="connsiteY37" fmla="*/ 5451856 h 13941544"/>
                <a:gd name="connsiteX38" fmla="*/ 6745471 w 16682562"/>
                <a:gd name="connsiteY38" fmla="*/ 4882263 h 13941544"/>
                <a:gd name="connsiteX39" fmla="*/ 6890140 w 16682562"/>
                <a:gd name="connsiteY39" fmla="*/ 4032387 h 13941544"/>
                <a:gd name="connsiteX40" fmla="*/ 7568305 w 16682562"/>
                <a:gd name="connsiteY40" fmla="*/ 3462793 h 13941544"/>
                <a:gd name="connsiteX41" fmla="*/ 8137967 w 16682562"/>
                <a:gd name="connsiteY41" fmla="*/ 3019772 h 13941544"/>
                <a:gd name="connsiteX42" fmla="*/ 8463480 w 16682562"/>
                <a:gd name="connsiteY42" fmla="*/ 2215105 h 13941544"/>
                <a:gd name="connsiteX43" fmla="*/ 9024093 w 16682562"/>
                <a:gd name="connsiteY43" fmla="*/ 1862498 h 13941544"/>
                <a:gd name="connsiteX44" fmla="*/ 9675138 w 16682562"/>
                <a:gd name="connsiteY44" fmla="*/ 1509896 h 13941544"/>
                <a:gd name="connsiteX45" fmla="*/ 9558580 w 16682562"/>
                <a:gd name="connsiteY45" fmla="*/ 961612 h 13941544"/>
                <a:gd name="connsiteX46" fmla="*/ 10353296 w 16682562"/>
                <a:gd name="connsiteY46" fmla="*/ 289328 h 13941544"/>
                <a:gd name="connsiteX47" fmla="*/ 10832530 w 16682562"/>
                <a:gd name="connsiteY47" fmla="*/ 216994 h 13941544"/>
                <a:gd name="connsiteX48" fmla="*/ 11058585 w 16682562"/>
                <a:gd name="connsiteY48" fmla="*/ 669063 h 13941544"/>
                <a:gd name="connsiteX49" fmla="*/ 11411229 w 16682562"/>
                <a:gd name="connsiteY49" fmla="*/ 1048794 h 13941544"/>
                <a:gd name="connsiteX50" fmla="*/ 11998974 w 16682562"/>
                <a:gd name="connsiteY50" fmla="*/ 1130164 h 13941544"/>
                <a:gd name="connsiteX51" fmla="*/ 12315449 w 16682562"/>
                <a:gd name="connsiteY51" fmla="*/ 1790176 h 13941544"/>
                <a:gd name="connsiteX52" fmla="*/ 12785642 w 16682562"/>
                <a:gd name="connsiteY52" fmla="*/ 1609347 h 13941544"/>
                <a:gd name="connsiteX53" fmla="*/ 13671776 w 16682562"/>
                <a:gd name="connsiteY53" fmla="*/ 2061408 h 13941544"/>
                <a:gd name="connsiteX54" fmla="*/ 14123886 w 16682562"/>
                <a:gd name="connsiteY54" fmla="*/ 1763055 h 13941544"/>
                <a:gd name="connsiteX55" fmla="*/ 14259509 w 16682562"/>
                <a:gd name="connsiteY55" fmla="*/ 1193454 h 13941544"/>
                <a:gd name="connsiteX56" fmla="*/ 14892468 w 16682562"/>
                <a:gd name="connsiteY56" fmla="*/ 551523 h 13941544"/>
                <a:gd name="connsiteX57" fmla="*/ 15778605 w 16682562"/>
                <a:gd name="connsiteY57" fmla="*/ 3 h 13941544"/>
                <a:gd name="connsiteX58" fmla="*/ 16022739 w 16682562"/>
                <a:gd name="connsiteY58" fmla="*/ 470153 h 13941544"/>
                <a:gd name="connsiteX59" fmla="*/ 9761321 w 16682562"/>
                <a:gd name="connsiteY59" fmla="*/ 4466032 h 13941544"/>
                <a:gd name="connsiteX60" fmla="*/ 10152517 w 16682562"/>
                <a:gd name="connsiteY60" fmla="*/ 5264302 h 13941544"/>
                <a:gd name="connsiteX61" fmla="*/ 11109603 w 16682562"/>
                <a:gd name="connsiteY61" fmla="*/ 5635776 h 13941544"/>
                <a:gd name="connsiteX62" fmla="*/ 11919572 w 16682562"/>
                <a:gd name="connsiteY62" fmla="*/ 5909298 h 13941544"/>
                <a:gd name="connsiteX63" fmla="*/ 12868275 w 16682562"/>
                <a:gd name="connsiteY63" fmla="*/ 5664087 h 13941544"/>
                <a:gd name="connsiteX64" fmla="*/ 13844296 w 16682562"/>
                <a:gd name="connsiteY64" fmla="*/ 5062252 h 13941544"/>
                <a:gd name="connsiteX65" fmla="*/ 13886291 w 16682562"/>
                <a:gd name="connsiteY65" fmla="*/ 4227884 h 13941544"/>
                <a:gd name="connsiteX66" fmla="*/ 14370431 w 16682562"/>
                <a:gd name="connsiteY66" fmla="*/ 4736236 h 13941544"/>
                <a:gd name="connsiteX67" fmla="*/ 15323320 w 16682562"/>
                <a:gd name="connsiteY67" fmla="*/ 4834509 h 13941544"/>
                <a:gd name="connsiteX68" fmla="*/ 16350939 w 16682562"/>
                <a:gd name="connsiteY68" fmla="*/ 4959368 h 13941544"/>
                <a:gd name="connsiteX69" fmla="*/ 16362364 w 16682562"/>
                <a:gd name="connsiteY69" fmla="*/ 5266648 h 13941544"/>
                <a:gd name="connsiteX70" fmla="*/ 16682563 w 16682562"/>
                <a:gd name="connsiteY70" fmla="*/ 5704551 h 13941544"/>
                <a:gd name="connsiteX0" fmla="*/ 16682563 w 16682562"/>
                <a:gd name="connsiteY0" fmla="*/ 5704551 h 13941544"/>
                <a:gd name="connsiteX1" fmla="*/ 16432262 w 16682562"/>
                <a:gd name="connsiteY1" fmla="*/ 6731937 h 13941544"/>
                <a:gd name="connsiteX2" fmla="*/ 16106317 w 16682562"/>
                <a:gd name="connsiteY2" fmla="*/ 7273241 h 13941544"/>
                <a:gd name="connsiteX3" fmla="*/ 16305649 w 16682562"/>
                <a:gd name="connsiteY3" fmla="*/ 7660570 h 13941544"/>
                <a:gd name="connsiteX4" fmla="*/ 16287189 w 16682562"/>
                <a:gd name="connsiteY4" fmla="*/ 8057177 h 13941544"/>
                <a:gd name="connsiteX5" fmla="*/ 16372801 w 16682562"/>
                <a:gd name="connsiteY5" fmla="*/ 8623442 h 13941544"/>
                <a:gd name="connsiteX6" fmla="*/ 16070155 w 16682562"/>
                <a:gd name="connsiteY6" fmla="*/ 8843828 h 13941544"/>
                <a:gd name="connsiteX7" fmla="*/ 15805690 w 16682562"/>
                <a:gd name="connsiteY7" fmla="*/ 9338019 h 13941544"/>
                <a:gd name="connsiteX8" fmla="*/ 15195097 w 16682562"/>
                <a:gd name="connsiteY8" fmla="*/ 8999762 h 13941544"/>
                <a:gd name="connsiteX9" fmla="*/ 15011380 w 16682562"/>
                <a:gd name="connsiteY9" fmla="*/ 9954612 h 13941544"/>
                <a:gd name="connsiteX10" fmla="*/ 14908430 w 16682562"/>
                <a:gd name="connsiteY10" fmla="*/ 10843507 h 13941544"/>
                <a:gd name="connsiteX11" fmla="*/ 14904684 w 16682562"/>
                <a:gd name="connsiteY11" fmla="*/ 11666946 h 13941544"/>
                <a:gd name="connsiteX12" fmla="*/ 14929927 w 16682562"/>
                <a:gd name="connsiteY12" fmla="*/ 13297866 h 13941544"/>
                <a:gd name="connsiteX13" fmla="*/ 12952786 w 16682562"/>
                <a:gd name="connsiteY13" fmla="*/ 13748619 h 13941544"/>
                <a:gd name="connsiteX14" fmla="*/ 11934663 w 16682562"/>
                <a:gd name="connsiteY14" fmla="*/ 13796869 h 13941544"/>
                <a:gd name="connsiteX15" fmla="*/ 8506848 w 16682562"/>
                <a:gd name="connsiteY15" fmla="*/ 13941544 h 13941544"/>
                <a:gd name="connsiteX16" fmla="*/ 7985095 w 16682562"/>
                <a:gd name="connsiteY16" fmla="*/ 13296462 h 13941544"/>
                <a:gd name="connsiteX17" fmla="*/ 7400308 w 16682562"/>
                <a:gd name="connsiteY17" fmla="*/ 13266317 h 13941544"/>
                <a:gd name="connsiteX18" fmla="*/ 6972273 w 16682562"/>
                <a:gd name="connsiteY18" fmla="*/ 13537614 h 13941544"/>
                <a:gd name="connsiteX19" fmla="*/ 5181729 w 16682562"/>
                <a:gd name="connsiteY19" fmla="*/ 13453215 h 13941544"/>
                <a:gd name="connsiteX20" fmla="*/ 4397998 w 16682562"/>
                <a:gd name="connsiteY20" fmla="*/ 12820198 h 13941544"/>
                <a:gd name="connsiteX21" fmla="*/ 2908896 w 16682562"/>
                <a:gd name="connsiteY21" fmla="*/ 12012344 h 13941544"/>
                <a:gd name="connsiteX22" fmla="*/ 1263043 w 16682562"/>
                <a:gd name="connsiteY22" fmla="*/ 11300951 h 13941544"/>
                <a:gd name="connsiteX23" fmla="*/ 485320 w 16682562"/>
                <a:gd name="connsiteY23" fmla="*/ 10848794 h 13941544"/>
                <a:gd name="connsiteX24" fmla="*/ 0 w 16682562"/>
                <a:gd name="connsiteY24" fmla="*/ 10555682 h 13941544"/>
                <a:gd name="connsiteX25" fmla="*/ 1003686 w 16682562"/>
                <a:gd name="connsiteY25" fmla="*/ 9809717 h 13941544"/>
                <a:gd name="connsiteX26" fmla="*/ 2902551 w 16682562"/>
                <a:gd name="connsiteY26" fmla="*/ 8625318 h 13941544"/>
                <a:gd name="connsiteX27" fmla="*/ 2558940 w 16682562"/>
                <a:gd name="connsiteY27" fmla="*/ 8091887 h 13941544"/>
                <a:gd name="connsiteX28" fmla="*/ 2402508 w 16682562"/>
                <a:gd name="connsiteY28" fmla="*/ 7404804 h 13941544"/>
                <a:gd name="connsiteX29" fmla="*/ 2730740 w 16682562"/>
                <a:gd name="connsiteY29" fmla="*/ 7377633 h 13941544"/>
                <a:gd name="connsiteX30" fmla="*/ 2947754 w 16682562"/>
                <a:gd name="connsiteY30" fmla="*/ 6907488 h 13941544"/>
                <a:gd name="connsiteX31" fmla="*/ 3499325 w 16682562"/>
                <a:gd name="connsiteY31" fmla="*/ 6464471 h 13941544"/>
                <a:gd name="connsiteX32" fmla="*/ 3680166 w 16682562"/>
                <a:gd name="connsiteY32" fmla="*/ 5587473 h 13941544"/>
                <a:gd name="connsiteX33" fmla="*/ 4186528 w 16682562"/>
                <a:gd name="connsiteY33" fmla="*/ 5596509 h 13941544"/>
                <a:gd name="connsiteX34" fmla="*/ 4837569 w 16682562"/>
                <a:gd name="connsiteY34" fmla="*/ 6066659 h 13941544"/>
                <a:gd name="connsiteX35" fmla="*/ 5352976 w 16682562"/>
                <a:gd name="connsiteY35" fmla="*/ 5985292 h 13941544"/>
                <a:gd name="connsiteX36" fmla="*/ 5741786 w 16682562"/>
                <a:gd name="connsiteY36" fmla="*/ 5614597 h 13941544"/>
                <a:gd name="connsiteX37" fmla="*/ 6157723 w 16682562"/>
                <a:gd name="connsiteY37" fmla="*/ 5451856 h 13941544"/>
                <a:gd name="connsiteX38" fmla="*/ 6745471 w 16682562"/>
                <a:gd name="connsiteY38" fmla="*/ 4882263 h 13941544"/>
                <a:gd name="connsiteX39" fmla="*/ 6890140 w 16682562"/>
                <a:gd name="connsiteY39" fmla="*/ 4032387 h 13941544"/>
                <a:gd name="connsiteX40" fmla="*/ 7568305 w 16682562"/>
                <a:gd name="connsiteY40" fmla="*/ 3462793 h 13941544"/>
                <a:gd name="connsiteX41" fmla="*/ 8137967 w 16682562"/>
                <a:gd name="connsiteY41" fmla="*/ 3019772 h 13941544"/>
                <a:gd name="connsiteX42" fmla="*/ 8463480 w 16682562"/>
                <a:gd name="connsiteY42" fmla="*/ 2215105 h 13941544"/>
                <a:gd name="connsiteX43" fmla="*/ 9024093 w 16682562"/>
                <a:gd name="connsiteY43" fmla="*/ 1862498 h 13941544"/>
                <a:gd name="connsiteX44" fmla="*/ 9675138 w 16682562"/>
                <a:gd name="connsiteY44" fmla="*/ 1509896 h 13941544"/>
                <a:gd name="connsiteX45" fmla="*/ 9558580 w 16682562"/>
                <a:gd name="connsiteY45" fmla="*/ 961612 h 13941544"/>
                <a:gd name="connsiteX46" fmla="*/ 10353296 w 16682562"/>
                <a:gd name="connsiteY46" fmla="*/ 289328 h 13941544"/>
                <a:gd name="connsiteX47" fmla="*/ 10832530 w 16682562"/>
                <a:gd name="connsiteY47" fmla="*/ 216994 h 13941544"/>
                <a:gd name="connsiteX48" fmla="*/ 11058585 w 16682562"/>
                <a:gd name="connsiteY48" fmla="*/ 669063 h 13941544"/>
                <a:gd name="connsiteX49" fmla="*/ 11411229 w 16682562"/>
                <a:gd name="connsiteY49" fmla="*/ 1048794 h 13941544"/>
                <a:gd name="connsiteX50" fmla="*/ 11998974 w 16682562"/>
                <a:gd name="connsiteY50" fmla="*/ 1130164 h 13941544"/>
                <a:gd name="connsiteX51" fmla="*/ 12315449 w 16682562"/>
                <a:gd name="connsiteY51" fmla="*/ 1790176 h 13941544"/>
                <a:gd name="connsiteX52" fmla="*/ 12785642 w 16682562"/>
                <a:gd name="connsiteY52" fmla="*/ 1609347 h 13941544"/>
                <a:gd name="connsiteX53" fmla="*/ 13671776 w 16682562"/>
                <a:gd name="connsiteY53" fmla="*/ 2061408 h 13941544"/>
                <a:gd name="connsiteX54" fmla="*/ 14123886 w 16682562"/>
                <a:gd name="connsiteY54" fmla="*/ 1763055 h 13941544"/>
                <a:gd name="connsiteX55" fmla="*/ 14259509 w 16682562"/>
                <a:gd name="connsiteY55" fmla="*/ 1193454 h 13941544"/>
                <a:gd name="connsiteX56" fmla="*/ 14892468 w 16682562"/>
                <a:gd name="connsiteY56" fmla="*/ 551523 h 13941544"/>
                <a:gd name="connsiteX57" fmla="*/ 15778605 w 16682562"/>
                <a:gd name="connsiteY57" fmla="*/ 3 h 13941544"/>
                <a:gd name="connsiteX58" fmla="*/ 9761321 w 16682562"/>
                <a:gd name="connsiteY58" fmla="*/ 4466032 h 13941544"/>
                <a:gd name="connsiteX59" fmla="*/ 10152517 w 16682562"/>
                <a:gd name="connsiteY59" fmla="*/ 5264302 h 13941544"/>
                <a:gd name="connsiteX60" fmla="*/ 11109603 w 16682562"/>
                <a:gd name="connsiteY60" fmla="*/ 5635776 h 13941544"/>
                <a:gd name="connsiteX61" fmla="*/ 11919572 w 16682562"/>
                <a:gd name="connsiteY61" fmla="*/ 5909298 h 13941544"/>
                <a:gd name="connsiteX62" fmla="*/ 12868275 w 16682562"/>
                <a:gd name="connsiteY62" fmla="*/ 5664087 h 13941544"/>
                <a:gd name="connsiteX63" fmla="*/ 13844296 w 16682562"/>
                <a:gd name="connsiteY63" fmla="*/ 5062252 h 13941544"/>
                <a:gd name="connsiteX64" fmla="*/ 13886291 w 16682562"/>
                <a:gd name="connsiteY64" fmla="*/ 4227884 h 13941544"/>
                <a:gd name="connsiteX65" fmla="*/ 14370431 w 16682562"/>
                <a:gd name="connsiteY65" fmla="*/ 4736236 h 13941544"/>
                <a:gd name="connsiteX66" fmla="*/ 15323320 w 16682562"/>
                <a:gd name="connsiteY66" fmla="*/ 4834509 h 13941544"/>
                <a:gd name="connsiteX67" fmla="*/ 16350939 w 16682562"/>
                <a:gd name="connsiteY67" fmla="*/ 4959368 h 13941544"/>
                <a:gd name="connsiteX68" fmla="*/ 16362364 w 16682562"/>
                <a:gd name="connsiteY68" fmla="*/ 5266648 h 13941544"/>
                <a:gd name="connsiteX69" fmla="*/ 16682563 w 16682562"/>
                <a:gd name="connsiteY69" fmla="*/ 5704551 h 13941544"/>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13671776 w 16682562"/>
                <a:gd name="connsiteY53" fmla="*/ 1844415 h 13724551"/>
                <a:gd name="connsiteX54" fmla="*/ 14123886 w 16682562"/>
                <a:gd name="connsiteY54" fmla="*/ 1546062 h 13724551"/>
                <a:gd name="connsiteX55" fmla="*/ 14259509 w 16682562"/>
                <a:gd name="connsiteY55" fmla="*/ 976461 h 13724551"/>
                <a:gd name="connsiteX56" fmla="*/ 14892468 w 16682562"/>
                <a:gd name="connsiteY56" fmla="*/ 334530 h 13724551"/>
                <a:gd name="connsiteX57" fmla="*/ 9761321 w 16682562"/>
                <a:gd name="connsiteY57" fmla="*/ 4249039 h 13724551"/>
                <a:gd name="connsiteX58" fmla="*/ 10152517 w 16682562"/>
                <a:gd name="connsiteY58" fmla="*/ 5047309 h 13724551"/>
                <a:gd name="connsiteX59" fmla="*/ 11109603 w 16682562"/>
                <a:gd name="connsiteY59" fmla="*/ 5418783 h 13724551"/>
                <a:gd name="connsiteX60" fmla="*/ 11919572 w 16682562"/>
                <a:gd name="connsiteY60" fmla="*/ 5692305 h 13724551"/>
                <a:gd name="connsiteX61" fmla="*/ 12868275 w 16682562"/>
                <a:gd name="connsiteY61" fmla="*/ 5447094 h 13724551"/>
                <a:gd name="connsiteX62" fmla="*/ 13844296 w 16682562"/>
                <a:gd name="connsiteY62" fmla="*/ 4845259 h 13724551"/>
                <a:gd name="connsiteX63" fmla="*/ 13886291 w 16682562"/>
                <a:gd name="connsiteY63" fmla="*/ 4010891 h 13724551"/>
                <a:gd name="connsiteX64" fmla="*/ 14370431 w 16682562"/>
                <a:gd name="connsiteY64" fmla="*/ 4519243 h 13724551"/>
                <a:gd name="connsiteX65" fmla="*/ 15323320 w 16682562"/>
                <a:gd name="connsiteY65" fmla="*/ 4617516 h 13724551"/>
                <a:gd name="connsiteX66" fmla="*/ 16350939 w 16682562"/>
                <a:gd name="connsiteY66" fmla="*/ 4742375 h 13724551"/>
                <a:gd name="connsiteX67" fmla="*/ 16362364 w 16682562"/>
                <a:gd name="connsiteY67" fmla="*/ 5049655 h 13724551"/>
                <a:gd name="connsiteX68" fmla="*/ 16682563 w 16682562"/>
                <a:gd name="connsiteY68"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13671776 w 16682562"/>
                <a:gd name="connsiteY53" fmla="*/ 1844415 h 13724551"/>
                <a:gd name="connsiteX54" fmla="*/ 14123886 w 16682562"/>
                <a:gd name="connsiteY54" fmla="*/ 1546062 h 13724551"/>
                <a:gd name="connsiteX55" fmla="*/ 14259509 w 16682562"/>
                <a:gd name="connsiteY55" fmla="*/ 976461 h 13724551"/>
                <a:gd name="connsiteX56" fmla="*/ 9761321 w 16682562"/>
                <a:gd name="connsiteY56" fmla="*/ 4249039 h 13724551"/>
                <a:gd name="connsiteX57" fmla="*/ 10152517 w 16682562"/>
                <a:gd name="connsiteY57" fmla="*/ 5047309 h 13724551"/>
                <a:gd name="connsiteX58" fmla="*/ 11109603 w 16682562"/>
                <a:gd name="connsiteY58" fmla="*/ 5418783 h 13724551"/>
                <a:gd name="connsiteX59" fmla="*/ 11919572 w 16682562"/>
                <a:gd name="connsiteY59" fmla="*/ 5692305 h 13724551"/>
                <a:gd name="connsiteX60" fmla="*/ 12868275 w 16682562"/>
                <a:gd name="connsiteY60" fmla="*/ 5447094 h 13724551"/>
                <a:gd name="connsiteX61" fmla="*/ 13844296 w 16682562"/>
                <a:gd name="connsiteY61" fmla="*/ 4845259 h 13724551"/>
                <a:gd name="connsiteX62" fmla="*/ 13886291 w 16682562"/>
                <a:gd name="connsiteY62" fmla="*/ 4010891 h 13724551"/>
                <a:gd name="connsiteX63" fmla="*/ 14370431 w 16682562"/>
                <a:gd name="connsiteY63" fmla="*/ 4519243 h 13724551"/>
                <a:gd name="connsiteX64" fmla="*/ 15323320 w 16682562"/>
                <a:gd name="connsiteY64" fmla="*/ 4617516 h 13724551"/>
                <a:gd name="connsiteX65" fmla="*/ 16350939 w 16682562"/>
                <a:gd name="connsiteY65" fmla="*/ 4742375 h 13724551"/>
                <a:gd name="connsiteX66" fmla="*/ 16362364 w 16682562"/>
                <a:gd name="connsiteY66" fmla="*/ 5049655 h 13724551"/>
                <a:gd name="connsiteX67" fmla="*/ 16682563 w 16682562"/>
                <a:gd name="connsiteY67"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13671776 w 16682562"/>
                <a:gd name="connsiteY53" fmla="*/ 1844415 h 13724551"/>
                <a:gd name="connsiteX54" fmla="*/ 14123886 w 16682562"/>
                <a:gd name="connsiteY54" fmla="*/ 1546062 h 13724551"/>
                <a:gd name="connsiteX55" fmla="*/ 9761321 w 16682562"/>
                <a:gd name="connsiteY55" fmla="*/ 4249039 h 13724551"/>
                <a:gd name="connsiteX56" fmla="*/ 10152517 w 16682562"/>
                <a:gd name="connsiteY56" fmla="*/ 5047309 h 13724551"/>
                <a:gd name="connsiteX57" fmla="*/ 11109603 w 16682562"/>
                <a:gd name="connsiteY57" fmla="*/ 5418783 h 13724551"/>
                <a:gd name="connsiteX58" fmla="*/ 11919572 w 16682562"/>
                <a:gd name="connsiteY58" fmla="*/ 5692305 h 13724551"/>
                <a:gd name="connsiteX59" fmla="*/ 12868275 w 16682562"/>
                <a:gd name="connsiteY59" fmla="*/ 5447094 h 13724551"/>
                <a:gd name="connsiteX60" fmla="*/ 13844296 w 16682562"/>
                <a:gd name="connsiteY60" fmla="*/ 4845259 h 13724551"/>
                <a:gd name="connsiteX61" fmla="*/ 13886291 w 16682562"/>
                <a:gd name="connsiteY61" fmla="*/ 4010891 h 13724551"/>
                <a:gd name="connsiteX62" fmla="*/ 14370431 w 16682562"/>
                <a:gd name="connsiteY62" fmla="*/ 4519243 h 13724551"/>
                <a:gd name="connsiteX63" fmla="*/ 15323320 w 16682562"/>
                <a:gd name="connsiteY63" fmla="*/ 4617516 h 13724551"/>
                <a:gd name="connsiteX64" fmla="*/ 16350939 w 16682562"/>
                <a:gd name="connsiteY64" fmla="*/ 4742375 h 13724551"/>
                <a:gd name="connsiteX65" fmla="*/ 16362364 w 16682562"/>
                <a:gd name="connsiteY65" fmla="*/ 5049655 h 13724551"/>
                <a:gd name="connsiteX66" fmla="*/ 16682563 w 16682562"/>
                <a:gd name="connsiteY66"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13671776 w 16682562"/>
                <a:gd name="connsiteY53" fmla="*/ 1844415 h 13724551"/>
                <a:gd name="connsiteX54" fmla="*/ 9761321 w 16682562"/>
                <a:gd name="connsiteY54" fmla="*/ 4249039 h 13724551"/>
                <a:gd name="connsiteX55" fmla="*/ 10152517 w 16682562"/>
                <a:gd name="connsiteY55" fmla="*/ 5047309 h 13724551"/>
                <a:gd name="connsiteX56" fmla="*/ 11109603 w 16682562"/>
                <a:gd name="connsiteY56" fmla="*/ 5418783 h 13724551"/>
                <a:gd name="connsiteX57" fmla="*/ 11919572 w 16682562"/>
                <a:gd name="connsiteY57" fmla="*/ 5692305 h 13724551"/>
                <a:gd name="connsiteX58" fmla="*/ 12868275 w 16682562"/>
                <a:gd name="connsiteY58" fmla="*/ 5447094 h 13724551"/>
                <a:gd name="connsiteX59" fmla="*/ 13844296 w 16682562"/>
                <a:gd name="connsiteY59" fmla="*/ 4845259 h 13724551"/>
                <a:gd name="connsiteX60" fmla="*/ 13886291 w 16682562"/>
                <a:gd name="connsiteY60" fmla="*/ 4010891 h 13724551"/>
                <a:gd name="connsiteX61" fmla="*/ 14370431 w 16682562"/>
                <a:gd name="connsiteY61" fmla="*/ 4519243 h 13724551"/>
                <a:gd name="connsiteX62" fmla="*/ 15323320 w 16682562"/>
                <a:gd name="connsiteY62" fmla="*/ 4617516 h 13724551"/>
                <a:gd name="connsiteX63" fmla="*/ 16350939 w 16682562"/>
                <a:gd name="connsiteY63" fmla="*/ 4742375 h 13724551"/>
                <a:gd name="connsiteX64" fmla="*/ 16362364 w 16682562"/>
                <a:gd name="connsiteY64" fmla="*/ 5049655 h 13724551"/>
                <a:gd name="connsiteX65" fmla="*/ 16682563 w 16682562"/>
                <a:gd name="connsiteY65"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9761321 w 16682562"/>
                <a:gd name="connsiteY53" fmla="*/ 4249039 h 13724551"/>
                <a:gd name="connsiteX54" fmla="*/ 10152517 w 16682562"/>
                <a:gd name="connsiteY54" fmla="*/ 5047309 h 13724551"/>
                <a:gd name="connsiteX55" fmla="*/ 11109603 w 16682562"/>
                <a:gd name="connsiteY55" fmla="*/ 5418783 h 13724551"/>
                <a:gd name="connsiteX56" fmla="*/ 11919572 w 16682562"/>
                <a:gd name="connsiteY56" fmla="*/ 5692305 h 13724551"/>
                <a:gd name="connsiteX57" fmla="*/ 12868275 w 16682562"/>
                <a:gd name="connsiteY57" fmla="*/ 5447094 h 13724551"/>
                <a:gd name="connsiteX58" fmla="*/ 13844296 w 16682562"/>
                <a:gd name="connsiteY58" fmla="*/ 4845259 h 13724551"/>
                <a:gd name="connsiteX59" fmla="*/ 13886291 w 16682562"/>
                <a:gd name="connsiteY59" fmla="*/ 4010891 h 13724551"/>
                <a:gd name="connsiteX60" fmla="*/ 14370431 w 16682562"/>
                <a:gd name="connsiteY60" fmla="*/ 4519243 h 13724551"/>
                <a:gd name="connsiteX61" fmla="*/ 15323320 w 16682562"/>
                <a:gd name="connsiteY61" fmla="*/ 4617516 h 13724551"/>
                <a:gd name="connsiteX62" fmla="*/ 16350939 w 16682562"/>
                <a:gd name="connsiteY62" fmla="*/ 4742375 h 13724551"/>
                <a:gd name="connsiteX63" fmla="*/ 16362364 w 16682562"/>
                <a:gd name="connsiteY63" fmla="*/ 5049655 h 13724551"/>
                <a:gd name="connsiteX64" fmla="*/ 16682563 w 16682562"/>
                <a:gd name="connsiteY64"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8216041 w 16682562"/>
                <a:gd name="connsiteY51" fmla="*/ 3870010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8524896 w 16682562"/>
                <a:gd name="connsiteY51" fmla="*/ 4654291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8348814 w 16682562"/>
                <a:gd name="connsiteY50" fmla="*/ 3770198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9078849 w 16682562"/>
                <a:gd name="connsiteY50" fmla="*/ 3798207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8463027 w 16682562"/>
                <a:gd name="connsiteY49" fmla="*/ 3408723 h 13724551"/>
                <a:gd name="connsiteX50" fmla="*/ 9078849 w 16682562"/>
                <a:gd name="connsiteY50" fmla="*/ 3798207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8856118 w 16682562"/>
                <a:gd name="connsiteY49" fmla="*/ 3184643 h 13724551"/>
                <a:gd name="connsiteX50" fmla="*/ 9078849 w 16682562"/>
                <a:gd name="connsiteY50" fmla="*/ 3798207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8856118 w 16682562"/>
                <a:gd name="connsiteY48" fmla="*/ 3184643 h 13724551"/>
                <a:gd name="connsiteX49" fmla="*/ 9078849 w 16682562"/>
                <a:gd name="connsiteY49" fmla="*/ 3798207 h 13724551"/>
                <a:gd name="connsiteX50" fmla="*/ 9086459 w 16682562"/>
                <a:gd name="connsiteY50" fmla="*/ 4346185 h 13724551"/>
                <a:gd name="connsiteX51" fmla="*/ 9761321 w 16682562"/>
                <a:gd name="connsiteY51" fmla="*/ 4249039 h 13724551"/>
                <a:gd name="connsiteX52" fmla="*/ 10152517 w 16682562"/>
                <a:gd name="connsiteY52" fmla="*/ 5047309 h 13724551"/>
                <a:gd name="connsiteX53" fmla="*/ 11109603 w 16682562"/>
                <a:gd name="connsiteY53" fmla="*/ 5418783 h 13724551"/>
                <a:gd name="connsiteX54" fmla="*/ 11919572 w 16682562"/>
                <a:gd name="connsiteY54" fmla="*/ 5692305 h 13724551"/>
                <a:gd name="connsiteX55" fmla="*/ 12868275 w 16682562"/>
                <a:gd name="connsiteY55" fmla="*/ 5447094 h 13724551"/>
                <a:gd name="connsiteX56" fmla="*/ 13844296 w 16682562"/>
                <a:gd name="connsiteY56" fmla="*/ 4845259 h 13724551"/>
                <a:gd name="connsiteX57" fmla="*/ 13886291 w 16682562"/>
                <a:gd name="connsiteY57" fmla="*/ 4010891 h 13724551"/>
                <a:gd name="connsiteX58" fmla="*/ 14370431 w 16682562"/>
                <a:gd name="connsiteY58" fmla="*/ 4519243 h 13724551"/>
                <a:gd name="connsiteX59" fmla="*/ 15323320 w 16682562"/>
                <a:gd name="connsiteY59" fmla="*/ 4617516 h 13724551"/>
                <a:gd name="connsiteX60" fmla="*/ 16350939 w 16682562"/>
                <a:gd name="connsiteY60" fmla="*/ 4742375 h 13724551"/>
                <a:gd name="connsiteX61" fmla="*/ 16362364 w 16682562"/>
                <a:gd name="connsiteY61" fmla="*/ 5049655 h 13724551"/>
                <a:gd name="connsiteX62" fmla="*/ 16682563 w 16682562"/>
                <a:gd name="connsiteY62" fmla="*/ 5487558 h 13724551"/>
                <a:gd name="connsiteX0" fmla="*/ 16682563 w 16682562"/>
                <a:gd name="connsiteY0" fmla="*/ 5415225 h 13652218"/>
                <a:gd name="connsiteX1" fmla="*/ 16432262 w 16682562"/>
                <a:gd name="connsiteY1" fmla="*/ 6442611 h 13652218"/>
                <a:gd name="connsiteX2" fmla="*/ 16106317 w 16682562"/>
                <a:gd name="connsiteY2" fmla="*/ 6983915 h 13652218"/>
                <a:gd name="connsiteX3" fmla="*/ 16305649 w 16682562"/>
                <a:gd name="connsiteY3" fmla="*/ 7371244 h 13652218"/>
                <a:gd name="connsiteX4" fmla="*/ 16287189 w 16682562"/>
                <a:gd name="connsiteY4" fmla="*/ 7767851 h 13652218"/>
                <a:gd name="connsiteX5" fmla="*/ 16372801 w 16682562"/>
                <a:gd name="connsiteY5" fmla="*/ 8334116 h 13652218"/>
                <a:gd name="connsiteX6" fmla="*/ 16070155 w 16682562"/>
                <a:gd name="connsiteY6" fmla="*/ 8554502 h 13652218"/>
                <a:gd name="connsiteX7" fmla="*/ 15805690 w 16682562"/>
                <a:gd name="connsiteY7" fmla="*/ 9048693 h 13652218"/>
                <a:gd name="connsiteX8" fmla="*/ 15195097 w 16682562"/>
                <a:gd name="connsiteY8" fmla="*/ 8710436 h 13652218"/>
                <a:gd name="connsiteX9" fmla="*/ 15011380 w 16682562"/>
                <a:gd name="connsiteY9" fmla="*/ 9665286 h 13652218"/>
                <a:gd name="connsiteX10" fmla="*/ 14908430 w 16682562"/>
                <a:gd name="connsiteY10" fmla="*/ 10554181 h 13652218"/>
                <a:gd name="connsiteX11" fmla="*/ 14904684 w 16682562"/>
                <a:gd name="connsiteY11" fmla="*/ 11377620 h 13652218"/>
                <a:gd name="connsiteX12" fmla="*/ 14929927 w 16682562"/>
                <a:gd name="connsiteY12" fmla="*/ 13008540 h 13652218"/>
                <a:gd name="connsiteX13" fmla="*/ 12952786 w 16682562"/>
                <a:gd name="connsiteY13" fmla="*/ 13459293 h 13652218"/>
                <a:gd name="connsiteX14" fmla="*/ 11934663 w 16682562"/>
                <a:gd name="connsiteY14" fmla="*/ 13507543 h 13652218"/>
                <a:gd name="connsiteX15" fmla="*/ 8506848 w 16682562"/>
                <a:gd name="connsiteY15" fmla="*/ 13652218 h 13652218"/>
                <a:gd name="connsiteX16" fmla="*/ 7985095 w 16682562"/>
                <a:gd name="connsiteY16" fmla="*/ 13007136 h 13652218"/>
                <a:gd name="connsiteX17" fmla="*/ 7400308 w 16682562"/>
                <a:gd name="connsiteY17" fmla="*/ 12976991 h 13652218"/>
                <a:gd name="connsiteX18" fmla="*/ 6972273 w 16682562"/>
                <a:gd name="connsiteY18" fmla="*/ 13248288 h 13652218"/>
                <a:gd name="connsiteX19" fmla="*/ 5181729 w 16682562"/>
                <a:gd name="connsiteY19" fmla="*/ 13163889 h 13652218"/>
                <a:gd name="connsiteX20" fmla="*/ 4397998 w 16682562"/>
                <a:gd name="connsiteY20" fmla="*/ 12530872 h 13652218"/>
                <a:gd name="connsiteX21" fmla="*/ 2908896 w 16682562"/>
                <a:gd name="connsiteY21" fmla="*/ 11723018 h 13652218"/>
                <a:gd name="connsiteX22" fmla="*/ 1263043 w 16682562"/>
                <a:gd name="connsiteY22" fmla="*/ 11011625 h 13652218"/>
                <a:gd name="connsiteX23" fmla="*/ 485320 w 16682562"/>
                <a:gd name="connsiteY23" fmla="*/ 10559468 h 13652218"/>
                <a:gd name="connsiteX24" fmla="*/ 0 w 16682562"/>
                <a:gd name="connsiteY24" fmla="*/ 10266356 h 13652218"/>
                <a:gd name="connsiteX25" fmla="*/ 1003686 w 16682562"/>
                <a:gd name="connsiteY25" fmla="*/ 9520391 h 13652218"/>
                <a:gd name="connsiteX26" fmla="*/ 2902551 w 16682562"/>
                <a:gd name="connsiteY26" fmla="*/ 8335992 h 13652218"/>
                <a:gd name="connsiteX27" fmla="*/ 2558940 w 16682562"/>
                <a:gd name="connsiteY27" fmla="*/ 7802561 h 13652218"/>
                <a:gd name="connsiteX28" fmla="*/ 2402508 w 16682562"/>
                <a:gd name="connsiteY28" fmla="*/ 7115478 h 13652218"/>
                <a:gd name="connsiteX29" fmla="*/ 2730740 w 16682562"/>
                <a:gd name="connsiteY29" fmla="*/ 7088307 h 13652218"/>
                <a:gd name="connsiteX30" fmla="*/ 2947754 w 16682562"/>
                <a:gd name="connsiteY30" fmla="*/ 6618162 h 13652218"/>
                <a:gd name="connsiteX31" fmla="*/ 3499325 w 16682562"/>
                <a:gd name="connsiteY31" fmla="*/ 6175145 h 13652218"/>
                <a:gd name="connsiteX32" fmla="*/ 3680166 w 16682562"/>
                <a:gd name="connsiteY32" fmla="*/ 5298147 h 13652218"/>
                <a:gd name="connsiteX33" fmla="*/ 4186528 w 16682562"/>
                <a:gd name="connsiteY33" fmla="*/ 5307183 h 13652218"/>
                <a:gd name="connsiteX34" fmla="*/ 4837569 w 16682562"/>
                <a:gd name="connsiteY34" fmla="*/ 5777333 h 13652218"/>
                <a:gd name="connsiteX35" fmla="*/ 5352976 w 16682562"/>
                <a:gd name="connsiteY35" fmla="*/ 5695966 h 13652218"/>
                <a:gd name="connsiteX36" fmla="*/ 5741786 w 16682562"/>
                <a:gd name="connsiteY36" fmla="*/ 5325271 h 13652218"/>
                <a:gd name="connsiteX37" fmla="*/ 6157723 w 16682562"/>
                <a:gd name="connsiteY37" fmla="*/ 5162530 h 13652218"/>
                <a:gd name="connsiteX38" fmla="*/ 6745471 w 16682562"/>
                <a:gd name="connsiteY38" fmla="*/ 4592937 h 13652218"/>
                <a:gd name="connsiteX39" fmla="*/ 6890140 w 16682562"/>
                <a:gd name="connsiteY39" fmla="*/ 3743061 h 13652218"/>
                <a:gd name="connsiteX40" fmla="*/ 7568305 w 16682562"/>
                <a:gd name="connsiteY40" fmla="*/ 3173467 h 13652218"/>
                <a:gd name="connsiteX41" fmla="*/ 8137967 w 16682562"/>
                <a:gd name="connsiteY41" fmla="*/ 2730446 h 13652218"/>
                <a:gd name="connsiteX42" fmla="*/ 8463480 w 16682562"/>
                <a:gd name="connsiteY42" fmla="*/ 1925779 h 13652218"/>
                <a:gd name="connsiteX43" fmla="*/ 9024093 w 16682562"/>
                <a:gd name="connsiteY43" fmla="*/ 1573172 h 13652218"/>
                <a:gd name="connsiteX44" fmla="*/ 9675138 w 16682562"/>
                <a:gd name="connsiteY44" fmla="*/ 1220570 h 13652218"/>
                <a:gd name="connsiteX45" fmla="*/ 9558580 w 16682562"/>
                <a:gd name="connsiteY45" fmla="*/ 672286 h 13652218"/>
                <a:gd name="connsiteX46" fmla="*/ 10353296 w 16682562"/>
                <a:gd name="connsiteY46" fmla="*/ 2 h 13652218"/>
                <a:gd name="connsiteX47" fmla="*/ 8856118 w 16682562"/>
                <a:gd name="connsiteY47" fmla="*/ 3112310 h 13652218"/>
                <a:gd name="connsiteX48" fmla="*/ 9078849 w 16682562"/>
                <a:gd name="connsiteY48" fmla="*/ 3725874 h 13652218"/>
                <a:gd name="connsiteX49" fmla="*/ 9086459 w 16682562"/>
                <a:gd name="connsiteY49" fmla="*/ 4273852 h 13652218"/>
                <a:gd name="connsiteX50" fmla="*/ 9761321 w 16682562"/>
                <a:gd name="connsiteY50" fmla="*/ 4176706 h 13652218"/>
                <a:gd name="connsiteX51" fmla="*/ 10152517 w 16682562"/>
                <a:gd name="connsiteY51" fmla="*/ 4974976 h 13652218"/>
                <a:gd name="connsiteX52" fmla="*/ 11109603 w 16682562"/>
                <a:gd name="connsiteY52" fmla="*/ 5346450 h 13652218"/>
                <a:gd name="connsiteX53" fmla="*/ 11919572 w 16682562"/>
                <a:gd name="connsiteY53" fmla="*/ 5619972 h 13652218"/>
                <a:gd name="connsiteX54" fmla="*/ 12868275 w 16682562"/>
                <a:gd name="connsiteY54" fmla="*/ 5374761 h 13652218"/>
                <a:gd name="connsiteX55" fmla="*/ 13844296 w 16682562"/>
                <a:gd name="connsiteY55" fmla="*/ 4772926 h 13652218"/>
                <a:gd name="connsiteX56" fmla="*/ 13886291 w 16682562"/>
                <a:gd name="connsiteY56" fmla="*/ 3938558 h 13652218"/>
                <a:gd name="connsiteX57" fmla="*/ 14370431 w 16682562"/>
                <a:gd name="connsiteY57" fmla="*/ 4446910 h 13652218"/>
                <a:gd name="connsiteX58" fmla="*/ 15323320 w 16682562"/>
                <a:gd name="connsiteY58" fmla="*/ 4545183 h 13652218"/>
                <a:gd name="connsiteX59" fmla="*/ 16350939 w 16682562"/>
                <a:gd name="connsiteY59" fmla="*/ 4670042 h 13652218"/>
                <a:gd name="connsiteX60" fmla="*/ 16362364 w 16682562"/>
                <a:gd name="connsiteY60" fmla="*/ 4977322 h 13652218"/>
                <a:gd name="connsiteX61" fmla="*/ 16682563 w 16682562"/>
                <a:gd name="connsiteY61" fmla="*/ 5415225 h 13652218"/>
                <a:gd name="connsiteX0" fmla="*/ 16682563 w 16682562"/>
                <a:gd name="connsiteY0" fmla="*/ 4742941 h 12979934"/>
                <a:gd name="connsiteX1" fmla="*/ 16432262 w 16682562"/>
                <a:gd name="connsiteY1" fmla="*/ 5770327 h 12979934"/>
                <a:gd name="connsiteX2" fmla="*/ 16106317 w 16682562"/>
                <a:gd name="connsiteY2" fmla="*/ 6311631 h 12979934"/>
                <a:gd name="connsiteX3" fmla="*/ 16305649 w 16682562"/>
                <a:gd name="connsiteY3" fmla="*/ 6698960 h 12979934"/>
                <a:gd name="connsiteX4" fmla="*/ 16287189 w 16682562"/>
                <a:gd name="connsiteY4" fmla="*/ 7095567 h 12979934"/>
                <a:gd name="connsiteX5" fmla="*/ 16372801 w 16682562"/>
                <a:gd name="connsiteY5" fmla="*/ 7661832 h 12979934"/>
                <a:gd name="connsiteX6" fmla="*/ 16070155 w 16682562"/>
                <a:gd name="connsiteY6" fmla="*/ 7882218 h 12979934"/>
                <a:gd name="connsiteX7" fmla="*/ 15805690 w 16682562"/>
                <a:gd name="connsiteY7" fmla="*/ 8376409 h 12979934"/>
                <a:gd name="connsiteX8" fmla="*/ 15195097 w 16682562"/>
                <a:gd name="connsiteY8" fmla="*/ 8038152 h 12979934"/>
                <a:gd name="connsiteX9" fmla="*/ 15011380 w 16682562"/>
                <a:gd name="connsiteY9" fmla="*/ 8993002 h 12979934"/>
                <a:gd name="connsiteX10" fmla="*/ 14908430 w 16682562"/>
                <a:gd name="connsiteY10" fmla="*/ 9881897 h 12979934"/>
                <a:gd name="connsiteX11" fmla="*/ 14904684 w 16682562"/>
                <a:gd name="connsiteY11" fmla="*/ 10705336 h 12979934"/>
                <a:gd name="connsiteX12" fmla="*/ 14929927 w 16682562"/>
                <a:gd name="connsiteY12" fmla="*/ 12336256 h 12979934"/>
                <a:gd name="connsiteX13" fmla="*/ 12952786 w 16682562"/>
                <a:gd name="connsiteY13" fmla="*/ 12787009 h 12979934"/>
                <a:gd name="connsiteX14" fmla="*/ 11934663 w 16682562"/>
                <a:gd name="connsiteY14" fmla="*/ 12835259 h 12979934"/>
                <a:gd name="connsiteX15" fmla="*/ 8506848 w 16682562"/>
                <a:gd name="connsiteY15" fmla="*/ 12979934 h 12979934"/>
                <a:gd name="connsiteX16" fmla="*/ 7985095 w 16682562"/>
                <a:gd name="connsiteY16" fmla="*/ 12334852 h 12979934"/>
                <a:gd name="connsiteX17" fmla="*/ 7400308 w 16682562"/>
                <a:gd name="connsiteY17" fmla="*/ 12304707 h 12979934"/>
                <a:gd name="connsiteX18" fmla="*/ 6972273 w 16682562"/>
                <a:gd name="connsiteY18" fmla="*/ 12576004 h 12979934"/>
                <a:gd name="connsiteX19" fmla="*/ 5181729 w 16682562"/>
                <a:gd name="connsiteY19" fmla="*/ 12491605 h 12979934"/>
                <a:gd name="connsiteX20" fmla="*/ 4397998 w 16682562"/>
                <a:gd name="connsiteY20" fmla="*/ 11858588 h 12979934"/>
                <a:gd name="connsiteX21" fmla="*/ 2908896 w 16682562"/>
                <a:gd name="connsiteY21" fmla="*/ 11050734 h 12979934"/>
                <a:gd name="connsiteX22" fmla="*/ 1263043 w 16682562"/>
                <a:gd name="connsiteY22" fmla="*/ 10339341 h 12979934"/>
                <a:gd name="connsiteX23" fmla="*/ 485320 w 16682562"/>
                <a:gd name="connsiteY23" fmla="*/ 9887184 h 12979934"/>
                <a:gd name="connsiteX24" fmla="*/ 0 w 16682562"/>
                <a:gd name="connsiteY24" fmla="*/ 9594072 h 12979934"/>
                <a:gd name="connsiteX25" fmla="*/ 1003686 w 16682562"/>
                <a:gd name="connsiteY25" fmla="*/ 8848107 h 12979934"/>
                <a:gd name="connsiteX26" fmla="*/ 2902551 w 16682562"/>
                <a:gd name="connsiteY26" fmla="*/ 7663708 h 12979934"/>
                <a:gd name="connsiteX27" fmla="*/ 2558940 w 16682562"/>
                <a:gd name="connsiteY27" fmla="*/ 7130277 h 12979934"/>
                <a:gd name="connsiteX28" fmla="*/ 2402508 w 16682562"/>
                <a:gd name="connsiteY28" fmla="*/ 6443194 h 12979934"/>
                <a:gd name="connsiteX29" fmla="*/ 2730740 w 16682562"/>
                <a:gd name="connsiteY29" fmla="*/ 6416023 h 12979934"/>
                <a:gd name="connsiteX30" fmla="*/ 2947754 w 16682562"/>
                <a:gd name="connsiteY30" fmla="*/ 5945878 h 12979934"/>
                <a:gd name="connsiteX31" fmla="*/ 3499325 w 16682562"/>
                <a:gd name="connsiteY31" fmla="*/ 5502861 h 12979934"/>
                <a:gd name="connsiteX32" fmla="*/ 3680166 w 16682562"/>
                <a:gd name="connsiteY32" fmla="*/ 4625863 h 12979934"/>
                <a:gd name="connsiteX33" fmla="*/ 4186528 w 16682562"/>
                <a:gd name="connsiteY33" fmla="*/ 4634899 h 12979934"/>
                <a:gd name="connsiteX34" fmla="*/ 4837569 w 16682562"/>
                <a:gd name="connsiteY34" fmla="*/ 5105049 h 12979934"/>
                <a:gd name="connsiteX35" fmla="*/ 5352976 w 16682562"/>
                <a:gd name="connsiteY35" fmla="*/ 5023682 h 12979934"/>
                <a:gd name="connsiteX36" fmla="*/ 5741786 w 16682562"/>
                <a:gd name="connsiteY36" fmla="*/ 4652987 h 12979934"/>
                <a:gd name="connsiteX37" fmla="*/ 6157723 w 16682562"/>
                <a:gd name="connsiteY37" fmla="*/ 4490246 h 12979934"/>
                <a:gd name="connsiteX38" fmla="*/ 6745471 w 16682562"/>
                <a:gd name="connsiteY38" fmla="*/ 3920653 h 12979934"/>
                <a:gd name="connsiteX39" fmla="*/ 6890140 w 16682562"/>
                <a:gd name="connsiteY39" fmla="*/ 3070777 h 12979934"/>
                <a:gd name="connsiteX40" fmla="*/ 7568305 w 16682562"/>
                <a:gd name="connsiteY40" fmla="*/ 2501183 h 12979934"/>
                <a:gd name="connsiteX41" fmla="*/ 8137967 w 16682562"/>
                <a:gd name="connsiteY41" fmla="*/ 2058162 h 12979934"/>
                <a:gd name="connsiteX42" fmla="*/ 8463480 w 16682562"/>
                <a:gd name="connsiteY42" fmla="*/ 1253495 h 12979934"/>
                <a:gd name="connsiteX43" fmla="*/ 9024093 w 16682562"/>
                <a:gd name="connsiteY43" fmla="*/ 900888 h 12979934"/>
                <a:gd name="connsiteX44" fmla="*/ 9675138 w 16682562"/>
                <a:gd name="connsiteY44" fmla="*/ 548286 h 12979934"/>
                <a:gd name="connsiteX45" fmla="*/ 9558580 w 16682562"/>
                <a:gd name="connsiteY45" fmla="*/ 2 h 12979934"/>
                <a:gd name="connsiteX46" fmla="*/ 8856118 w 16682562"/>
                <a:gd name="connsiteY46" fmla="*/ 2440026 h 12979934"/>
                <a:gd name="connsiteX47" fmla="*/ 9078849 w 16682562"/>
                <a:gd name="connsiteY47" fmla="*/ 3053590 h 12979934"/>
                <a:gd name="connsiteX48" fmla="*/ 9086459 w 16682562"/>
                <a:gd name="connsiteY48" fmla="*/ 3601568 h 12979934"/>
                <a:gd name="connsiteX49" fmla="*/ 9761321 w 16682562"/>
                <a:gd name="connsiteY49" fmla="*/ 3504422 h 12979934"/>
                <a:gd name="connsiteX50" fmla="*/ 10152517 w 16682562"/>
                <a:gd name="connsiteY50" fmla="*/ 4302692 h 12979934"/>
                <a:gd name="connsiteX51" fmla="*/ 11109603 w 16682562"/>
                <a:gd name="connsiteY51" fmla="*/ 4674166 h 12979934"/>
                <a:gd name="connsiteX52" fmla="*/ 11919572 w 16682562"/>
                <a:gd name="connsiteY52" fmla="*/ 4947688 h 12979934"/>
                <a:gd name="connsiteX53" fmla="*/ 12868275 w 16682562"/>
                <a:gd name="connsiteY53" fmla="*/ 4702477 h 12979934"/>
                <a:gd name="connsiteX54" fmla="*/ 13844296 w 16682562"/>
                <a:gd name="connsiteY54" fmla="*/ 4100642 h 12979934"/>
                <a:gd name="connsiteX55" fmla="*/ 13886291 w 16682562"/>
                <a:gd name="connsiteY55" fmla="*/ 3266274 h 12979934"/>
                <a:gd name="connsiteX56" fmla="*/ 14370431 w 16682562"/>
                <a:gd name="connsiteY56" fmla="*/ 3774626 h 12979934"/>
                <a:gd name="connsiteX57" fmla="*/ 15323320 w 16682562"/>
                <a:gd name="connsiteY57" fmla="*/ 3872899 h 12979934"/>
                <a:gd name="connsiteX58" fmla="*/ 16350939 w 16682562"/>
                <a:gd name="connsiteY58" fmla="*/ 3997758 h 12979934"/>
                <a:gd name="connsiteX59" fmla="*/ 16362364 w 16682562"/>
                <a:gd name="connsiteY59" fmla="*/ 4305038 h 12979934"/>
                <a:gd name="connsiteX60" fmla="*/ 16682563 w 16682562"/>
                <a:gd name="connsiteY60" fmla="*/ 4742941 h 12979934"/>
                <a:gd name="connsiteX0" fmla="*/ 16682563 w 16682562"/>
                <a:gd name="connsiteY0" fmla="*/ 4194654 h 12431647"/>
                <a:gd name="connsiteX1" fmla="*/ 16432262 w 16682562"/>
                <a:gd name="connsiteY1" fmla="*/ 5222040 h 12431647"/>
                <a:gd name="connsiteX2" fmla="*/ 16106317 w 16682562"/>
                <a:gd name="connsiteY2" fmla="*/ 5763344 h 12431647"/>
                <a:gd name="connsiteX3" fmla="*/ 16305649 w 16682562"/>
                <a:gd name="connsiteY3" fmla="*/ 6150673 h 12431647"/>
                <a:gd name="connsiteX4" fmla="*/ 16287189 w 16682562"/>
                <a:gd name="connsiteY4" fmla="*/ 6547280 h 12431647"/>
                <a:gd name="connsiteX5" fmla="*/ 16372801 w 16682562"/>
                <a:gd name="connsiteY5" fmla="*/ 7113545 h 12431647"/>
                <a:gd name="connsiteX6" fmla="*/ 16070155 w 16682562"/>
                <a:gd name="connsiteY6" fmla="*/ 7333931 h 12431647"/>
                <a:gd name="connsiteX7" fmla="*/ 15805690 w 16682562"/>
                <a:gd name="connsiteY7" fmla="*/ 7828122 h 12431647"/>
                <a:gd name="connsiteX8" fmla="*/ 15195097 w 16682562"/>
                <a:gd name="connsiteY8" fmla="*/ 7489865 h 12431647"/>
                <a:gd name="connsiteX9" fmla="*/ 15011380 w 16682562"/>
                <a:gd name="connsiteY9" fmla="*/ 8444715 h 12431647"/>
                <a:gd name="connsiteX10" fmla="*/ 14908430 w 16682562"/>
                <a:gd name="connsiteY10" fmla="*/ 9333610 h 12431647"/>
                <a:gd name="connsiteX11" fmla="*/ 14904684 w 16682562"/>
                <a:gd name="connsiteY11" fmla="*/ 10157049 h 12431647"/>
                <a:gd name="connsiteX12" fmla="*/ 14929927 w 16682562"/>
                <a:gd name="connsiteY12" fmla="*/ 11787969 h 12431647"/>
                <a:gd name="connsiteX13" fmla="*/ 12952786 w 16682562"/>
                <a:gd name="connsiteY13" fmla="*/ 12238722 h 12431647"/>
                <a:gd name="connsiteX14" fmla="*/ 11934663 w 16682562"/>
                <a:gd name="connsiteY14" fmla="*/ 12286972 h 12431647"/>
                <a:gd name="connsiteX15" fmla="*/ 8506848 w 16682562"/>
                <a:gd name="connsiteY15" fmla="*/ 12431647 h 12431647"/>
                <a:gd name="connsiteX16" fmla="*/ 7985095 w 16682562"/>
                <a:gd name="connsiteY16" fmla="*/ 11786565 h 12431647"/>
                <a:gd name="connsiteX17" fmla="*/ 7400308 w 16682562"/>
                <a:gd name="connsiteY17" fmla="*/ 11756420 h 12431647"/>
                <a:gd name="connsiteX18" fmla="*/ 6972273 w 16682562"/>
                <a:gd name="connsiteY18" fmla="*/ 12027717 h 12431647"/>
                <a:gd name="connsiteX19" fmla="*/ 5181729 w 16682562"/>
                <a:gd name="connsiteY19" fmla="*/ 11943318 h 12431647"/>
                <a:gd name="connsiteX20" fmla="*/ 4397998 w 16682562"/>
                <a:gd name="connsiteY20" fmla="*/ 11310301 h 12431647"/>
                <a:gd name="connsiteX21" fmla="*/ 2908896 w 16682562"/>
                <a:gd name="connsiteY21" fmla="*/ 10502447 h 12431647"/>
                <a:gd name="connsiteX22" fmla="*/ 1263043 w 16682562"/>
                <a:gd name="connsiteY22" fmla="*/ 9791054 h 12431647"/>
                <a:gd name="connsiteX23" fmla="*/ 485320 w 16682562"/>
                <a:gd name="connsiteY23" fmla="*/ 9338897 h 12431647"/>
                <a:gd name="connsiteX24" fmla="*/ 0 w 16682562"/>
                <a:gd name="connsiteY24" fmla="*/ 9045785 h 12431647"/>
                <a:gd name="connsiteX25" fmla="*/ 1003686 w 16682562"/>
                <a:gd name="connsiteY25" fmla="*/ 8299820 h 12431647"/>
                <a:gd name="connsiteX26" fmla="*/ 2902551 w 16682562"/>
                <a:gd name="connsiteY26" fmla="*/ 7115421 h 12431647"/>
                <a:gd name="connsiteX27" fmla="*/ 2558940 w 16682562"/>
                <a:gd name="connsiteY27" fmla="*/ 6581990 h 12431647"/>
                <a:gd name="connsiteX28" fmla="*/ 2402508 w 16682562"/>
                <a:gd name="connsiteY28" fmla="*/ 5894907 h 12431647"/>
                <a:gd name="connsiteX29" fmla="*/ 2730740 w 16682562"/>
                <a:gd name="connsiteY29" fmla="*/ 5867736 h 12431647"/>
                <a:gd name="connsiteX30" fmla="*/ 2947754 w 16682562"/>
                <a:gd name="connsiteY30" fmla="*/ 5397591 h 12431647"/>
                <a:gd name="connsiteX31" fmla="*/ 3499325 w 16682562"/>
                <a:gd name="connsiteY31" fmla="*/ 4954574 h 12431647"/>
                <a:gd name="connsiteX32" fmla="*/ 3680166 w 16682562"/>
                <a:gd name="connsiteY32" fmla="*/ 4077576 h 12431647"/>
                <a:gd name="connsiteX33" fmla="*/ 4186528 w 16682562"/>
                <a:gd name="connsiteY33" fmla="*/ 4086612 h 12431647"/>
                <a:gd name="connsiteX34" fmla="*/ 4837569 w 16682562"/>
                <a:gd name="connsiteY34" fmla="*/ 4556762 h 12431647"/>
                <a:gd name="connsiteX35" fmla="*/ 5352976 w 16682562"/>
                <a:gd name="connsiteY35" fmla="*/ 4475395 h 12431647"/>
                <a:gd name="connsiteX36" fmla="*/ 5741786 w 16682562"/>
                <a:gd name="connsiteY36" fmla="*/ 4104700 h 12431647"/>
                <a:gd name="connsiteX37" fmla="*/ 6157723 w 16682562"/>
                <a:gd name="connsiteY37" fmla="*/ 3941959 h 12431647"/>
                <a:gd name="connsiteX38" fmla="*/ 6745471 w 16682562"/>
                <a:gd name="connsiteY38" fmla="*/ 3372366 h 12431647"/>
                <a:gd name="connsiteX39" fmla="*/ 6890140 w 16682562"/>
                <a:gd name="connsiteY39" fmla="*/ 2522490 h 12431647"/>
                <a:gd name="connsiteX40" fmla="*/ 7568305 w 16682562"/>
                <a:gd name="connsiteY40" fmla="*/ 1952896 h 12431647"/>
                <a:gd name="connsiteX41" fmla="*/ 8137967 w 16682562"/>
                <a:gd name="connsiteY41" fmla="*/ 1509875 h 12431647"/>
                <a:gd name="connsiteX42" fmla="*/ 8463480 w 16682562"/>
                <a:gd name="connsiteY42" fmla="*/ 705208 h 12431647"/>
                <a:gd name="connsiteX43" fmla="*/ 9024093 w 16682562"/>
                <a:gd name="connsiteY43" fmla="*/ 352601 h 12431647"/>
                <a:gd name="connsiteX44" fmla="*/ 9675138 w 16682562"/>
                <a:gd name="connsiteY44" fmla="*/ -1 h 12431647"/>
                <a:gd name="connsiteX45" fmla="*/ 8856118 w 16682562"/>
                <a:gd name="connsiteY45" fmla="*/ 1891739 h 12431647"/>
                <a:gd name="connsiteX46" fmla="*/ 9078849 w 16682562"/>
                <a:gd name="connsiteY46" fmla="*/ 2505303 h 12431647"/>
                <a:gd name="connsiteX47" fmla="*/ 9086459 w 16682562"/>
                <a:gd name="connsiteY47" fmla="*/ 3053281 h 12431647"/>
                <a:gd name="connsiteX48" fmla="*/ 9761321 w 16682562"/>
                <a:gd name="connsiteY48" fmla="*/ 2956135 h 12431647"/>
                <a:gd name="connsiteX49" fmla="*/ 10152517 w 16682562"/>
                <a:gd name="connsiteY49" fmla="*/ 3754405 h 12431647"/>
                <a:gd name="connsiteX50" fmla="*/ 11109603 w 16682562"/>
                <a:gd name="connsiteY50" fmla="*/ 4125879 h 12431647"/>
                <a:gd name="connsiteX51" fmla="*/ 11919572 w 16682562"/>
                <a:gd name="connsiteY51" fmla="*/ 4399401 h 12431647"/>
                <a:gd name="connsiteX52" fmla="*/ 12868275 w 16682562"/>
                <a:gd name="connsiteY52" fmla="*/ 4154190 h 12431647"/>
                <a:gd name="connsiteX53" fmla="*/ 13844296 w 16682562"/>
                <a:gd name="connsiteY53" fmla="*/ 3552355 h 12431647"/>
                <a:gd name="connsiteX54" fmla="*/ 13886291 w 16682562"/>
                <a:gd name="connsiteY54" fmla="*/ 2717987 h 12431647"/>
                <a:gd name="connsiteX55" fmla="*/ 14370431 w 16682562"/>
                <a:gd name="connsiteY55" fmla="*/ 3226339 h 12431647"/>
                <a:gd name="connsiteX56" fmla="*/ 15323320 w 16682562"/>
                <a:gd name="connsiteY56" fmla="*/ 3324612 h 12431647"/>
                <a:gd name="connsiteX57" fmla="*/ 16350939 w 16682562"/>
                <a:gd name="connsiteY57" fmla="*/ 3449471 h 12431647"/>
                <a:gd name="connsiteX58" fmla="*/ 16362364 w 16682562"/>
                <a:gd name="connsiteY58" fmla="*/ 3756751 h 12431647"/>
                <a:gd name="connsiteX59" fmla="*/ 16682563 w 16682562"/>
                <a:gd name="connsiteY59" fmla="*/ 4194654 h 12431647"/>
                <a:gd name="connsiteX0" fmla="*/ 16682563 w 16682562"/>
                <a:gd name="connsiteY0" fmla="*/ 3842051 h 12079044"/>
                <a:gd name="connsiteX1" fmla="*/ 16432262 w 16682562"/>
                <a:gd name="connsiteY1" fmla="*/ 4869437 h 12079044"/>
                <a:gd name="connsiteX2" fmla="*/ 16106317 w 16682562"/>
                <a:gd name="connsiteY2" fmla="*/ 5410741 h 12079044"/>
                <a:gd name="connsiteX3" fmla="*/ 16305649 w 16682562"/>
                <a:gd name="connsiteY3" fmla="*/ 5798070 h 12079044"/>
                <a:gd name="connsiteX4" fmla="*/ 16287189 w 16682562"/>
                <a:gd name="connsiteY4" fmla="*/ 6194677 h 12079044"/>
                <a:gd name="connsiteX5" fmla="*/ 16372801 w 16682562"/>
                <a:gd name="connsiteY5" fmla="*/ 6760942 h 12079044"/>
                <a:gd name="connsiteX6" fmla="*/ 16070155 w 16682562"/>
                <a:gd name="connsiteY6" fmla="*/ 6981328 h 12079044"/>
                <a:gd name="connsiteX7" fmla="*/ 15805690 w 16682562"/>
                <a:gd name="connsiteY7" fmla="*/ 7475519 h 12079044"/>
                <a:gd name="connsiteX8" fmla="*/ 15195097 w 16682562"/>
                <a:gd name="connsiteY8" fmla="*/ 7137262 h 12079044"/>
                <a:gd name="connsiteX9" fmla="*/ 15011380 w 16682562"/>
                <a:gd name="connsiteY9" fmla="*/ 8092112 h 12079044"/>
                <a:gd name="connsiteX10" fmla="*/ 14908430 w 16682562"/>
                <a:gd name="connsiteY10" fmla="*/ 8981007 h 12079044"/>
                <a:gd name="connsiteX11" fmla="*/ 14904684 w 16682562"/>
                <a:gd name="connsiteY11" fmla="*/ 9804446 h 12079044"/>
                <a:gd name="connsiteX12" fmla="*/ 14929927 w 16682562"/>
                <a:gd name="connsiteY12" fmla="*/ 11435366 h 12079044"/>
                <a:gd name="connsiteX13" fmla="*/ 12952786 w 16682562"/>
                <a:gd name="connsiteY13" fmla="*/ 11886119 h 12079044"/>
                <a:gd name="connsiteX14" fmla="*/ 11934663 w 16682562"/>
                <a:gd name="connsiteY14" fmla="*/ 11934369 h 12079044"/>
                <a:gd name="connsiteX15" fmla="*/ 8506848 w 16682562"/>
                <a:gd name="connsiteY15" fmla="*/ 12079044 h 12079044"/>
                <a:gd name="connsiteX16" fmla="*/ 7985095 w 16682562"/>
                <a:gd name="connsiteY16" fmla="*/ 11433962 h 12079044"/>
                <a:gd name="connsiteX17" fmla="*/ 7400308 w 16682562"/>
                <a:gd name="connsiteY17" fmla="*/ 11403817 h 12079044"/>
                <a:gd name="connsiteX18" fmla="*/ 6972273 w 16682562"/>
                <a:gd name="connsiteY18" fmla="*/ 11675114 h 12079044"/>
                <a:gd name="connsiteX19" fmla="*/ 5181729 w 16682562"/>
                <a:gd name="connsiteY19" fmla="*/ 11590715 h 12079044"/>
                <a:gd name="connsiteX20" fmla="*/ 4397998 w 16682562"/>
                <a:gd name="connsiteY20" fmla="*/ 10957698 h 12079044"/>
                <a:gd name="connsiteX21" fmla="*/ 2908896 w 16682562"/>
                <a:gd name="connsiteY21" fmla="*/ 10149844 h 12079044"/>
                <a:gd name="connsiteX22" fmla="*/ 1263043 w 16682562"/>
                <a:gd name="connsiteY22" fmla="*/ 9438451 h 12079044"/>
                <a:gd name="connsiteX23" fmla="*/ 485320 w 16682562"/>
                <a:gd name="connsiteY23" fmla="*/ 8986294 h 12079044"/>
                <a:gd name="connsiteX24" fmla="*/ 0 w 16682562"/>
                <a:gd name="connsiteY24" fmla="*/ 8693182 h 12079044"/>
                <a:gd name="connsiteX25" fmla="*/ 1003686 w 16682562"/>
                <a:gd name="connsiteY25" fmla="*/ 7947217 h 12079044"/>
                <a:gd name="connsiteX26" fmla="*/ 2902551 w 16682562"/>
                <a:gd name="connsiteY26" fmla="*/ 6762818 h 12079044"/>
                <a:gd name="connsiteX27" fmla="*/ 2558940 w 16682562"/>
                <a:gd name="connsiteY27" fmla="*/ 6229387 h 12079044"/>
                <a:gd name="connsiteX28" fmla="*/ 2402508 w 16682562"/>
                <a:gd name="connsiteY28" fmla="*/ 5542304 h 12079044"/>
                <a:gd name="connsiteX29" fmla="*/ 2730740 w 16682562"/>
                <a:gd name="connsiteY29" fmla="*/ 5515133 h 12079044"/>
                <a:gd name="connsiteX30" fmla="*/ 2947754 w 16682562"/>
                <a:gd name="connsiteY30" fmla="*/ 5044988 h 12079044"/>
                <a:gd name="connsiteX31" fmla="*/ 3499325 w 16682562"/>
                <a:gd name="connsiteY31" fmla="*/ 4601971 h 12079044"/>
                <a:gd name="connsiteX32" fmla="*/ 3680166 w 16682562"/>
                <a:gd name="connsiteY32" fmla="*/ 3724973 h 12079044"/>
                <a:gd name="connsiteX33" fmla="*/ 4186528 w 16682562"/>
                <a:gd name="connsiteY33" fmla="*/ 3734009 h 12079044"/>
                <a:gd name="connsiteX34" fmla="*/ 4837569 w 16682562"/>
                <a:gd name="connsiteY34" fmla="*/ 4204159 h 12079044"/>
                <a:gd name="connsiteX35" fmla="*/ 5352976 w 16682562"/>
                <a:gd name="connsiteY35" fmla="*/ 4122792 h 12079044"/>
                <a:gd name="connsiteX36" fmla="*/ 5741786 w 16682562"/>
                <a:gd name="connsiteY36" fmla="*/ 3752097 h 12079044"/>
                <a:gd name="connsiteX37" fmla="*/ 6157723 w 16682562"/>
                <a:gd name="connsiteY37" fmla="*/ 3589356 h 12079044"/>
                <a:gd name="connsiteX38" fmla="*/ 6745471 w 16682562"/>
                <a:gd name="connsiteY38" fmla="*/ 3019763 h 12079044"/>
                <a:gd name="connsiteX39" fmla="*/ 6890140 w 16682562"/>
                <a:gd name="connsiteY39" fmla="*/ 2169887 h 12079044"/>
                <a:gd name="connsiteX40" fmla="*/ 7568305 w 16682562"/>
                <a:gd name="connsiteY40" fmla="*/ 1600293 h 12079044"/>
                <a:gd name="connsiteX41" fmla="*/ 8137967 w 16682562"/>
                <a:gd name="connsiteY41" fmla="*/ 1157272 h 12079044"/>
                <a:gd name="connsiteX42" fmla="*/ 8463480 w 16682562"/>
                <a:gd name="connsiteY42" fmla="*/ 352605 h 12079044"/>
                <a:gd name="connsiteX43" fmla="*/ 9024093 w 16682562"/>
                <a:gd name="connsiteY43" fmla="*/ -2 h 12079044"/>
                <a:gd name="connsiteX44" fmla="*/ 8856118 w 16682562"/>
                <a:gd name="connsiteY44" fmla="*/ 1539136 h 12079044"/>
                <a:gd name="connsiteX45" fmla="*/ 9078849 w 16682562"/>
                <a:gd name="connsiteY45" fmla="*/ 2152700 h 12079044"/>
                <a:gd name="connsiteX46" fmla="*/ 9086459 w 16682562"/>
                <a:gd name="connsiteY46" fmla="*/ 2700678 h 12079044"/>
                <a:gd name="connsiteX47" fmla="*/ 9761321 w 16682562"/>
                <a:gd name="connsiteY47" fmla="*/ 2603532 h 12079044"/>
                <a:gd name="connsiteX48" fmla="*/ 10152517 w 16682562"/>
                <a:gd name="connsiteY48" fmla="*/ 3401802 h 12079044"/>
                <a:gd name="connsiteX49" fmla="*/ 11109603 w 16682562"/>
                <a:gd name="connsiteY49" fmla="*/ 3773276 h 12079044"/>
                <a:gd name="connsiteX50" fmla="*/ 11919572 w 16682562"/>
                <a:gd name="connsiteY50" fmla="*/ 4046798 h 12079044"/>
                <a:gd name="connsiteX51" fmla="*/ 12868275 w 16682562"/>
                <a:gd name="connsiteY51" fmla="*/ 3801587 h 12079044"/>
                <a:gd name="connsiteX52" fmla="*/ 13844296 w 16682562"/>
                <a:gd name="connsiteY52" fmla="*/ 3199752 h 12079044"/>
                <a:gd name="connsiteX53" fmla="*/ 13886291 w 16682562"/>
                <a:gd name="connsiteY53" fmla="*/ 2365384 h 12079044"/>
                <a:gd name="connsiteX54" fmla="*/ 14370431 w 16682562"/>
                <a:gd name="connsiteY54" fmla="*/ 2873736 h 12079044"/>
                <a:gd name="connsiteX55" fmla="*/ 15323320 w 16682562"/>
                <a:gd name="connsiteY55" fmla="*/ 2972009 h 12079044"/>
                <a:gd name="connsiteX56" fmla="*/ 16350939 w 16682562"/>
                <a:gd name="connsiteY56" fmla="*/ 3096868 h 12079044"/>
                <a:gd name="connsiteX57" fmla="*/ 16362364 w 16682562"/>
                <a:gd name="connsiteY57" fmla="*/ 3404148 h 12079044"/>
                <a:gd name="connsiteX58" fmla="*/ 16682563 w 16682562"/>
                <a:gd name="connsiteY58" fmla="*/ 3842051 h 12079044"/>
                <a:gd name="connsiteX0" fmla="*/ 16682563 w 16682562"/>
                <a:gd name="connsiteY0" fmla="*/ 3489448 h 11726441"/>
                <a:gd name="connsiteX1" fmla="*/ 16432262 w 16682562"/>
                <a:gd name="connsiteY1" fmla="*/ 4516834 h 11726441"/>
                <a:gd name="connsiteX2" fmla="*/ 16106317 w 16682562"/>
                <a:gd name="connsiteY2" fmla="*/ 5058138 h 11726441"/>
                <a:gd name="connsiteX3" fmla="*/ 16305649 w 16682562"/>
                <a:gd name="connsiteY3" fmla="*/ 5445467 h 11726441"/>
                <a:gd name="connsiteX4" fmla="*/ 16287189 w 16682562"/>
                <a:gd name="connsiteY4" fmla="*/ 5842074 h 11726441"/>
                <a:gd name="connsiteX5" fmla="*/ 16372801 w 16682562"/>
                <a:gd name="connsiteY5" fmla="*/ 6408339 h 11726441"/>
                <a:gd name="connsiteX6" fmla="*/ 16070155 w 16682562"/>
                <a:gd name="connsiteY6" fmla="*/ 6628725 h 11726441"/>
                <a:gd name="connsiteX7" fmla="*/ 15805690 w 16682562"/>
                <a:gd name="connsiteY7" fmla="*/ 7122916 h 11726441"/>
                <a:gd name="connsiteX8" fmla="*/ 15195097 w 16682562"/>
                <a:gd name="connsiteY8" fmla="*/ 6784659 h 11726441"/>
                <a:gd name="connsiteX9" fmla="*/ 15011380 w 16682562"/>
                <a:gd name="connsiteY9" fmla="*/ 7739509 h 11726441"/>
                <a:gd name="connsiteX10" fmla="*/ 14908430 w 16682562"/>
                <a:gd name="connsiteY10" fmla="*/ 8628404 h 11726441"/>
                <a:gd name="connsiteX11" fmla="*/ 14904684 w 16682562"/>
                <a:gd name="connsiteY11" fmla="*/ 9451843 h 11726441"/>
                <a:gd name="connsiteX12" fmla="*/ 14929927 w 16682562"/>
                <a:gd name="connsiteY12" fmla="*/ 11082763 h 11726441"/>
                <a:gd name="connsiteX13" fmla="*/ 12952786 w 16682562"/>
                <a:gd name="connsiteY13" fmla="*/ 11533516 h 11726441"/>
                <a:gd name="connsiteX14" fmla="*/ 11934663 w 16682562"/>
                <a:gd name="connsiteY14" fmla="*/ 11581766 h 11726441"/>
                <a:gd name="connsiteX15" fmla="*/ 8506848 w 16682562"/>
                <a:gd name="connsiteY15" fmla="*/ 11726441 h 11726441"/>
                <a:gd name="connsiteX16" fmla="*/ 7985095 w 16682562"/>
                <a:gd name="connsiteY16" fmla="*/ 11081359 h 11726441"/>
                <a:gd name="connsiteX17" fmla="*/ 7400308 w 16682562"/>
                <a:gd name="connsiteY17" fmla="*/ 11051214 h 11726441"/>
                <a:gd name="connsiteX18" fmla="*/ 6972273 w 16682562"/>
                <a:gd name="connsiteY18" fmla="*/ 11322511 h 11726441"/>
                <a:gd name="connsiteX19" fmla="*/ 5181729 w 16682562"/>
                <a:gd name="connsiteY19" fmla="*/ 11238112 h 11726441"/>
                <a:gd name="connsiteX20" fmla="*/ 4397998 w 16682562"/>
                <a:gd name="connsiteY20" fmla="*/ 10605095 h 11726441"/>
                <a:gd name="connsiteX21" fmla="*/ 2908896 w 16682562"/>
                <a:gd name="connsiteY21" fmla="*/ 9797241 h 11726441"/>
                <a:gd name="connsiteX22" fmla="*/ 1263043 w 16682562"/>
                <a:gd name="connsiteY22" fmla="*/ 9085848 h 11726441"/>
                <a:gd name="connsiteX23" fmla="*/ 485320 w 16682562"/>
                <a:gd name="connsiteY23" fmla="*/ 8633691 h 11726441"/>
                <a:gd name="connsiteX24" fmla="*/ 0 w 16682562"/>
                <a:gd name="connsiteY24" fmla="*/ 8340579 h 11726441"/>
                <a:gd name="connsiteX25" fmla="*/ 1003686 w 16682562"/>
                <a:gd name="connsiteY25" fmla="*/ 7594614 h 11726441"/>
                <a:gd name="connsiteX26" fmla="*/ 2902551 w 16682562"/>
                <a:gd name="connsiteY26" fmla="*/ 6410215 h 11726441"/>
                <a:gd name="connsiteX27" fmla="*/ 2558940 w 16682562"/>
                <a:gd name="connsiteY27" fmla="*/ 5876784 h 11726441"/>
                <a:gd name="connsiteX28" fmla="*/ 2402508 w 16682562"/>
                <a:gd name="connsiteY28" fmla="*/ 5189701 h 11726441"/>
                <a:gd name="connsiteX29" fmla="*/ 2730740 w 16682562"/>
                <a:gd name="connsiteY29" fmla="*/ 5162530 h 11726441"/>
                <a:gd name="connsiteX30" fmla="*/ 2947754 w 16682562"/>
                <a:gd name="connsiteY30" fmla="*/ 4692385 h 11726441"/>
                <a:gd name="connsiteX31" fmla="*/ 3499325 w 16682562"/>
                <a:gd name="connsiteY31" fmla="*/ 4249368 h 11726441"/>
                <a:gd name="connsiteX32" fmla="*/ 3680166 w 16682562"/>
                <a:gd name="connsiteY32" fmla="*/ 3372370 h 11726441"/>
                <a:gd name="connsiteX33" fmla="*/ 4186528 w 16682562"/>
                <a:gd name="connsiteY33" fmla="*/ 3381406 h 11726441"/>
                <a:gd name="connsiteX34" fmla="*/ 4837569 w 16682562"/>
                <a:gd name="connsiteY34" fmla="*/ 3851556 h 11726441"/>
                <a:gd name="connsiteX35" fmla="*/ 5352976 w 16682562"/>
                <a:gd name="connsiteY35" fmla="*/ 3770189 h 11726441"/>
                <a:gd name="connsiteX36" fmla="*/ 5741786 w 16682562"/>
                <a:gd name="connsiteY36" fmla="*/ 3399494 h 11726441"/>
                <a:gd name="connsiteX37" fmla="*/ 6157723 w 16682562"/>
                <a:gd name="connsiteY37" fmla="*/ 3236753 h 11726441"/>
                <a:gd name="connsiteX38" fmla="*/ 6745471 w 16682562"/>
                <a:gd name="connsiteY38" fmla="*/ 2667160 h 11726441"/>
                <a:gd name="connsiteX39" fmla="*/ 6890140 w 16682562"/>
                <a:gd name="connsiteY39" fmla="*/ 1817284 h 11726441"/>
                <a:gd name="connsiteX40" fmla="*/ 7568305 w 16682562"/>
                <a:gd name="connsiteY40" fmla="*/ 1247690 h 11726441"/>
                <a:gd name="connsiteX41" fmla="*/ 8137967 w 16682562"/>
                <a:gd name="connsiteY41" fmla="*/ 804669 h 11726441"/>
                <a:gd name="connsiteX42" fmla="*/ 8463480 w 16682562"/>
                <a:gd name="connsiteY42" fmla="*/ 2 h 11726441"/>
                <a:gd name="connsiteX43" fmla="*/ 8856118 w 16682562"/>
                <a:gd name="connsiteY43" fmla="*/ 1186533 h 11726441"/>
                <a:gd name="connsiteX44" fmla="*/ 9078849 w 16682562"/>
                <a:gd name="connsiteY44" fmla="*/ 1800097 h 11726441"/>
                <a:gd name="connsiteX45" fmla="*/ 9086459 w 16682562"/>
                <a:gd name="connsiteY45" fmla="*/ 2348075 h 11726441"/>
                <a:gd name="connsiteX46" fmla="*/ 9761321 w 16682562"/>
                <a:gd name="connsiteY46" fmla="*/ 2250929 h 11726441"/>
                <a:gd name="connsiteX47" fmla="*/ 10152517 w 16682562"/>
                <a:gd name="connsiteY47" fmla="*/ 3049199 h 11726441"/>
                <a:gd name="connsiteX48" fmla="*/ 11109603 w 16682562"/>
                <a:gd name="connsiteY48" fmla="*/ 3420673 h 11726441"/>
                <a:gd name="connsiteX49" fmla="*/ 11919572 w 16682562"/>
                <a:gd name="connsiteY49" fmla="*/ 3694195 h 11726441"/>
                <a:gd name="connsiteX50" fmla="*/ 12868275 w 16682562"/>
                <a:gd name="connsiteY50" fmla="*/ 3448984 h 11726441"/>
                <a:gd name="connsiteX51" fmla="*/ 13844296 w 16682562"/>
                <a:gd name="connsiteY51" fmla="*/ 2847149 h 11726441"/>
                <a:gd name="connsiteX52" fmla="*/ 13886291 w 16682562"/>
                <a:gd name="connsiteY52" fmla="*/ 2012781 h 11726441"/>
                <a:gd name="connsiteX53" fmla="*/ 14370431 w 16682562"/>
                <a:gd name="connsiteY53" fmla="*/ 2521133 h 11726441"/>
                <a:gd name="connsiteX54" fmla="*/ 15323320 w 16682562"/>
                <a:gd name="connsiteY54" fmla="*/ 2619406 h 11726441"/>
                <a:gd name="connsiteX55" fmla="*/ 16350939 w 16682562"/>
                <a:gd name="connsiteY55" fmla="*/ 2744265 h 11726441"/>
                <a:gd name="connsiteX56" fmla="*/ 16362364 w 16682562"/>
                <a:gd name="connsiteY56" fmla="*/ 3051545 h 11726441"/>
                <a:gd name="connsiteX57" fmla="*/ 16682563 w 16682562"/>
                <a:gd name="connsiteY57" fmla="*/ 3489448 h 11726441"/>
                <a:gd name="connsiteX0" fmla="*/ 16682563 w 16682562"/>
                <a:gd name="connsiteY0" fmla="*/ 2684781 h 10921774"/>
                <a:gd name="connsiteX1" fmla="*/ 16432262 w 16682562"/>
                <a:gd name="connsiteY1" fmla="*/ 3712167 h 10921774"/>
                <a:gd name="connsiteX2" fmla="*/ 16106317 w 16682562"/>
                <a:gd name="connsiteY2" fmla="*/ 4253471 h 10921774"/>
                <a:gd name="connsiteX3" fmla="*/ 16305649 w 16682562"/>
                <a:gd name="connsiteY3" fmla="*/ 4640800 h 10921774"/>
                <a:gd name="connsiteX4" fmla="*/ 16287189 w 16682562"/>
                <a:gd name="connsiteY4" fmla="*/ 5037407 h 10921774"/>
                <a:gd name="connsiteX5" fmla="*/ 16372801 w 16682562"/>
                <a:gd name="connsiteY5" fmla="*/ 5603672 h 10921774"/>
                <a:gd name="connsiteX6" fmla="*/ 16070155 w 16682562"/>
                <a:gd name="connsiteY6" fmla="*/ 5824058 h 10921774"/>
                <a:gd name="connsiteX7" fmla="*/ 15805690 w 16682562"/>
                <a:gd name="connsiteY7" fmla="*/ 6318249 h 10921774"/>
                <a:gd name="connsiteX8" fmla="*/ 15195097 w 16682562"/>
                <a:gd name="connsiteY8" fmla="*/ 5979992 h 10921774"/>
                <a:gd name="connsiteX9" fmla="*/ 15011380 w 16682562"/>
                <a:gd name="connsiteY9" fmla="*/ 6934842 h 10921774"/>
                <a:gd name="connsiteX10" fmla="*/ 14908430 w 16682562"/>
                <a:gd name="connsiteY10" fmla="*/ 7823737 h 10921774"/>
                <a:gd name="connsiteX11" fmla="*/ 14904684 w 16682562"/>
                <a:gd name="connsiteY11" fmla="*/ 8647176 h 10921774"/>
                <a:gd name="connsiteX12" fmla="*/ 14929927 w 16682562"/>
                <a:gd name="connsiteY12" fmla="*/ 10278096 h 10921774"/>
                <a:gd name="connsiteX13" fmla="*/ 12952786 w 16682562"/>
                <a:gd name="connsiteY13" fmla="*/ 10728849 h 10921774"/>
                <a:gd name="connsiteX14" fmla="*/ 11934663 w 16682562"/>
                <a:gd name="connsiteY14" fmla="*/ 10777099 h 10921774"/>
                <a:gd name="connsiteX15" fmla="*/ 8506848 w 16682562"/>
                <a:gd name="connsiteY15" fmla="*/ 10921774 h 10921774"/>
                <a:gd name="connsiteX16" fmla="*/ 7985095 w 16682562"/>
                <a:gd name="connsiteY16" fmla="*/ 10276692 h 10921774"/>
                <a:gd name="connsiteX17" fmla="*/ 7400308 w 16682562"/>
                <a:gd name="connsiteY17" fmla="*/ 10246547 h 10921774"/>
                <a:gd name="connsiteX18" fmla="*/ 6972273 w 16682562"/>
                <a:gd name="connsiteY18" fmla="*/ 10517844 h 10921774"/>
                <a:gd name="connsiteX19" fmla="*/ 5181729 w 16682562"/>
                <a:gd name="connsiteY19" fmla="*/ 10433445 h 10921774"/>
                <a:gd name="connsiteX20" fmla="*/ 4397998 w 16682562"/>
                <a:gd name="connsiteY20" fmla="*/ 9800428 h 10921774"/>
                <a:gd name="connsiteX21" fmla="*/ 2908896 w 16682562"/>
                <a:gd name="connsiteY21" fmla="*/ 8992574 h 10921774"/>
                <a:gd name="connsiteX22" fmla="*/ 1263043 w 16682562"/>
                <a:gd name="connsiteY22" fmla="*/ 8281181 h 10921774"/>
                <a:gd name="connsiteX23" fmla="*/ 485320 w 16682562"/>
                <a:gd name="connsiteY23" fmla="*/ 7829024 h 10921774"/>
                <a:gd name="connsiteX24" fmla="*/ 0 w 16682562"/>
                <a:gd name="connsiteY24" fmla="*/ 7535912 h 10921774"/>
                <a:gd name="connsiteX25" fmla="*/ 1003686 w 16682562"/>
                <a:gd name="connsiteY25" fmla="*/ 6789947 h 10921774"/>
                <a:gd name="connsiteX26" fmla="*/ 2902551 w 16682562"/>
                <a:gd name="connsiteY26" fmla="*/ 5605548 h 10921774"/>
                <a:gd name="connsiteX27" fmla="*/ 2558940 w 16682562"/>
                <a:gd name="connsiteY27" fmla="*/ 5072117 h 10921774"/>
                <a:gd name="connsiteX28" fmla="*/ 2402508 w 16682562"/>
                <a:gd name="connsiteY28" fmla="*/ 4385034 h 10921774"/>
                <a:gd name="connsiteX29" fmla="*/ 2730740 w 16682562"/>
                <a:gd name="connsiteY29" fmla="*/ 4357863 h 10921774"/>
                <a:gd name="connsiteX30" fmla="*/ 2947754 w 16682562"/>
                <a:gd name="connsiteY30" fmla="*/ 3887718 h 10921774"/>
                <a:gd name="connsiteX31" fmla="*/ 3499325 w 16682562"/>
                <a:gd name="connsiteY31" fmla="*/ 3444701 h 10921774"/>
                <a:gd name="connsiteX32" fmla="*/ 3680166 w 16682562"/>
                <a:gd name="connsiteY32" fmla="*/ 2567703 h 10921774"/>
                <a:gd name="connsiteX33" fmla="*/ 4186528 w 16682562"/>
                <a:gd name="connsiteY33" fmla="*/ 2576739 h 10921774"/>
                <a:gd name="connsiteX34" fmla="*/ 4837569 w 16682562"/>
                <a:gd name="connsiteY34" fmla="*/ 3046889 h 10921774"/>
                <a:gd name="connsiteX35" fmla="*/ 5352976 w 16682562"/>
                <a:gd name="connsiteY35" fmla="*/ 2965522 h 10921774"/>
                <a:gd name="connsiteX36" fmla="*/ 5741786 w 16682562"/>
                <a:gd name="connsiteY36" fmla="*/ 2594827 h 10921774"/>
                <a:gd name="connsiteX37" fmla="*/ 6157723 w 16682562"/>
                <a:gd name="connsiteY37" fmla="*/ 2432086 h 10921774"/>
                <a:gd name="connsiteX38" fmla="*/ 6745471 w 16682562"/>
                <a:gd name="connsiteY38" fmla="*/ 1862493 h 10921774"/>
                <a:gd name="connsiteX39" fmla="*/ 6890140 w 16682562"/>
                <a:gd name="connsiteY39" fmla="*/ 1012617 h 10921774"/>
                <a:gd name="connsiteX40" fmla="*/ 7568305 w 16682562"/>
                <a:gd name="connsiteY40" fmla="*/ 443023 h 10921774"/>
                <a:gd name="connsiteX41" fmla="*/ 8137967 w 16682562"/>
                <a:gd name="connsiteY41" fmla="*/ 2 h 10921774"/>
                <a:gd name="connsiteX42" fmla="*/ 8856118 w 16682562"/>
                <a:gd name="connsiteY42" fmla="*/ 381866 h 10921774"/>
                <a:gd name="connsiteX43" fmla="*/ 9078849 w 16682562"/>
                <a:gd name="connsiteY43" fmla="*/ 995430 h 10921774"/>
                <a:gd name="connsiteX44" fmla="*/ 9086459 w 16682562"/>
                <a:gd name="connsiteY44" fmla="*/ 1543408 h 10921774"/>
                <a:gd name="connsiteX45" fmla="*/ 9761321 w 16682562"/>
                <a:gd name="connsiteY45" fmla="*/ 1446262 h 10921774"/>
                <a:gd name="connsiteX46" fmla="*/ 10152517 w 16682562"/>
                <a:gd name="connsiteY46" fmla="*/ 2244532 h 10921774"/>
                <a:gd name="connsiteX47" fmla="*/ 11109603 w 16682562"/>
                <a:gd name="connsiteY47" fmla="*/ 2616006 h 10921774"/>
                <a:gd name="connsiteX48" fmla="*/ 11919572 w 16682562"/>
                <a:gd name="connsiteY48" fmla="*/ 2889528 h 10921774"/>
                <a:gd name="connsiteX49" fmla="*/ 12868275 w 16682562"/>
                <a:gd name="connsiteY49" fmla="*/ 2644317 h 10921774"/>
                <a:gd name="connsiteX50" fmla="*/ 13844296 w 16682562"/>
                <a:gd name="connsiteY50" fmla="*/ 2042482 h 10921774"/>
                <a:gd name="connsiteX51" fmla="*/ 13886291 w 16682562"/>
                <a:gd name="connsiteY51" fmla="*/ 1208114 h 10921774"/>
                <a:gd name="connsiteX52" fmla="*/ 14370431 w 16682562"/>
                <a:gd name="connsiteY52" fmla="*/ 1716466 h 10921774"/>
                <a:gd name="connsiteX53" fmla="*/ 15323320 w 16682562"/>
                <a:gd name="connsiteY53" fmla="*/ 1814739 h 10921774"/>
                <a:gd name="connsiteX54" fmla="*/ 16350939 w 16682562"/>
                <a:gd name="connsiteY54" fmla="*/ 1939598 h 10921774"/>
                <a:gd name="connsiteX55" fmla="*/ 16362364 w 16682562"/>
                <a:gd name="connsiteY55" fmla="*/ 2246878 h 10921774"/>
                <a:gd name="connsiteX56" fmla="*/ 16682563 w 16682562"/>
                <a:gd name="connsiteY56" fmla="*/ 2684781 h 10921774"/>
                <a:gd name="connsiteX0" fmla="*/ 16682563 w 16682562"/>
                <a:gd name="connsiteY0" fmla="*/ 2908861 h 11145854"/>
                <a:gd name="connsiteX1" fmla="*/ 16432262 w 16682562"/>
                <a:gd name="connsiteY1" fmla="*/ 3936247 h 11145854"/>
                <a:gd name="connsiteX2" fmla="*/ 16106317 w 16682562"/>
                <a:gd name="connsiteY2" fmla="*/ 4477551 h 11145854"/>
                <a:gd name="connsiteX3" fmla="*/ 16305649 w 16682562"/>
                <a:gd name="connsiteY3" fmla="*/ 4864880 h 11145854"/>
                <a:gd name="connsiteX4" fmla="*/ 16287189 w 16682562"/>
                <a:gd name="connsiteY4" fmla="*/ 5261487 h 11145854"/>
                <a:gd name="connsiteX5" fmla="*/ 16372801 w 16682562"/>
                <a:gd name="connsiteY5" fmla="*/ 5827752 h 11145854"/>
                <a:gd name="connsiteX6" fmla="*/ 16070155 w 16682562"/>
                <a:gd name="connsiteY6" fmla="*/ 6048138 h 11145854"/>
                <a:gd name="connsiteX7" fmla="*/ 15805690 w 16682562"/>
                <a:gd name="connsiteY7" fmla="*/ 6542329 h 11145854"/>
                <a:gd name="connsiteX8" fmla="*/ 15195097 w 16682562"/>
                <a:gd name="connsiteY8" fmla="*/ 6204072 h 11145854"/>
                <a:gd name="connsiteX9" fmla="*/ 15011380 w 16682562"/>
                <a:gd name="connsiteY9" fmla="*/ 7158922 h 11145854"/>
                <a:gd name="connsiteX10" fmla="*/ 14908430 w 16682562"/>
                <a:gd name="connsiteY10" fmla="*/ 8047817 h 11145854"/>
                <a:gd name="connsiteX11" fmla="*/ 14904684 w 16682562"/>
                <a:gd name="connsiteY11" fmla="*/ 8871256 h 11145854"/>
                <a:gd name="connsiteX12" fmla="*/ 14929927 w 16682562"/>
                <a:gd name="connsiteY12" fmla="*/ 10502176 h 11145854"/>
                <a:gd name="connsiteX13" fmla="*/ 12952786 w 16682562"/>
                <a:gd name="connsiteY13" fmla="*/ 10952929 h 11145854"/>
                <a:gd name="connsiteX14" fmla="*/ 11934663 w 16682562"/>
                <a:gd name="connsiteY14" fmla="*/ 11001179 h 11145854"/>
                <a:gd name="connsiteX15" fmla="*/ 8506848 w 16682562"/>
                <a:gd name="connsiteY15" fmla="*/ 11145854 h 11145854"/>
                <a:gd name="connsiteX16" fmla="*/ 7985095 w 16682562"/>
                <a:gd name="connsiteY16" fmla="*/ 10500772 h 11145854"/>
                <a:gd name="connsiteX17" fmla="*/ 7400308 w 16682562"/>
                <a:gd name="connsiteY17" fmla="*/ 10470627 h 11145854"/>
                <a:gd name="connsiteX18" fmla="*/ 6972273 w 16682562"/>
                <a:gd name="connsiteY18" fmla="*/ 10741924 h 11145854"/>
                <a:gd name="connsiteX19" fmla="*/ 5181729 w 16682562"/>
                <a:gd name="connsiteY19" fmla="*/ 10657525 h 11145854"/>
                <a:gd name="connsiteX20" fmla="*/ 4397998 w 16682562"/>
                <a:gd name="connsiteY20" fmla="*/ 10024508 h 11145854"/>
                <a:gd name="connsiteX21" fmla="*/ 2908896 w 16682562"/>
                <a:gd name="connsiteY21" fmla="*/ 9216654 h 11145854"/>
                <a:gd name="connsiteX22" fmla="*/ 1263043 w 16682562"/>
                <a:gd name="connsiteY22" fmla="*/ 8505261 h 11145854"/>
                <a:gd name="connsiteX23" fmla="*/ 485320 w 16682562"/>
                <a:gd name="connsiteY23" fmla="*/ 8053104 h 11145854"/>
                <a:gd name="connsiteX24" fmla="*/ 0 w 16682562"/>
                <a:gd name="connsiteY24" fmla="*/ 7759992 h 11145854"/>
                <a:gd name="connsiteX25" fmla="*/ 1003686 w 16682562"/>
                <a:gd name="connsiteY25" fmla="*/ 7014027 h 11145854"/>
                <a:gd name="connsiteX26" fmla="*/ 2902551 w 16682562"/>
                <a:gd name="connsiteY26" fmla="*/ 5829628 h 11145854"/>
                <a:gd name="connsiteX27" fmla="*/ 2558940 w 16682562"/>
                <a:gd name="connsiteY27" fmla="*/ 5296197 h 11145854"/>
                <a:gd name="connsiteX28" fmla="*/ 2402508 w 16682562"/>
                <a:gd name="connsiteY28" fmla="*/ 4609114 h 11145854"/>
                <a:gd name="connsiteX29" fmla="*/ 2730740 w 16682562"/>
                <a:gd name="connsiteY29" fmla="*/ 4581943 h 11145854"/>
                <a:gd name="connsiteX30" fmla="*/ 2947754 w 16682562"/>
                <a:gd name="connsiteY30" fmla="*/ 4111798 h 11145854"/>
                <a:gd name="connsiteX31" fmla="*/ 3499325 w 16682562"/>
                <a:gd name="connsiteY31" fmla="*/ 3668781 h 11145854"/>
                <a:gd name="connsiteX32" fmla="*/ 3680166 w 16682562"/>
                <a:gd name="connsiteY32" fmla="*/ 2791783 h 11145854"/>
                <a:gd name="connsiteX33" fmla="*/ 4186528 w 16682562"/>
                <a:gd name="connsiteY33" fmla="*/ 2800819 h 11145854"/>
                <a:gd name="connsiteX34" fmla="*/ 4837569 w 16682562"/>
                <a:gd name="connsiteY34" fmla="*/ 3270969 h 11145854"/>
                <a:gd name="connsiteX35" fmla="*/ 5352976 w 16682562"/>
                <a:gd name="connsiteY35" fmla="*/ 3189602 h 11145854"/>
                <a:gd name="connsiteX36" fmla="*/ 5741786 w 16682562"/>
                <a:gd name="connsiteY36" fmla="*/ 2818907 h 11145854"/>
                <a:gd name="connsiteX37" fmla="*/ 6157723 w 16682562"/>
                <a:gd name="connsiteY37" fmla="*/ 2656166 h 11145854"/>
                <a:gd name="connsiteX38" fmla="*/ 6745471 w 16682562"/>
                <a:gd name="connsiteY38" fmla="*/ 2086573 h 11145854"/>
                <a:gd name="connsiteX39" fmla="*/ 6890140 w 16682562"/>
                <a:gd name="connsiteY39" fmla="*/ 1236697 h 11145854"/>
                <a:gd name="connsiteX40" fmla="*/ 7568305 w 16682562"/>
                <a:gd name="connsiteY40" fmla="*/ 667103 h 11145854"/>
                <a:gd name="connsiteX41" fmla="*/ 8502979 w 16682562"/>
                <a:gd name="connsiteY41" fmla="*/ 0 h 11145854"/>
                <a:gd name="connsiteX42" fmla="*/ 8856118 w 16682562"/>
                <a:gd name="connsiteY42" fmla="*/ 605946 h 11145854"/>
                <a:gd name="connsiteX43" fmla="*/ 9078849 w 16682562"/>
                <a:gd name="connsiteY43" fmla="*/ 1219510 h 11145854"/>
                <a:gd name="connsiteX44" fmla="*/ 9086459 w 16682562"/>
                <a:gd name="connsiteY44" fmla="*/ 1767488 h 11145854"/>
                <a:gd name="connsiteX45" fmla="*/ 9761321 w 16682562"/>
                <a:gd name="connsiteY45" fmla="*/ 1670342 h 11145854"/>
                <a:gd name="connsiteX46" fmla="*/ 10152517 w 16682562"/>
                <a:gd name="connsiteY46" fmla="*/ 2468612 h 11145854"/>
                <a:gd name="connsiteX47" fmla="*/ 11109603 w 16682562"/>
                <a:gd name="connsiteY47" fmla="*/ 2840086 h 11145854"/>
                <a:gd name="connsiteX48" fmla="*/ 11919572 w 16682562"/>
                <a:gd name="connsiteY48" fmla="*/ 3113608 h 11145854"/>
                <a:gd name="connsiteX49" fmla="*/ 12868275 w 16682562"/>
                <a:gd name="connsiteY49" fmla="*/ 2868397 h 11145854"/>
                <a:gd name="connsiteX50" fmla="*/ 13844296 w 16682562"/>
                <a:gd name="connsiteY50" fmla="*/ 2266562 h 11145854"/>
                <a:gd name="connsiteX51" fmla="*/ 13886291 w 16682562"/>
                <a:gd name="connsiteY51" fmla="*/ 1432194 h 11145854"/>
                <a:gd name="connsiteX52" fmla="*/ 14370431 w 16682562"/>
                <a:gd name="connsiteY52" fmla="*/ 1940546 h 11145854"/>
                <a:gd name="connsiteX53" fmla="*/ 15323320 w 16682562"/>
                <a:gd name="connsiteY53" fmla="*/ 2038819 h 11145854"/>
                <a:gd name="connsiteX54" fmla="*/ 16350939 w 16682562"/>
                <a:gd name="connsiteY54" fmla="*/ 2163678 h 11145854"/>
                <a:gd name="connsiteX55" fmla="*/ 16362364 w 16682562"/>
                <a:gd name="connsiteY55" fmla="*/ 2470958 h 11145854"/>
                <a:gd name="connsiteX56" fmla="*/ 16682563 w 16682562"/>
                <a:gd name="connsiteY56" fmla="*/ 2908861 h 11145854"/>
                <a:gd name="connsiteX0" fmla="*/ 16682563 w 16682562"/>
                <a:gd name="connsiteY0" fmla="*/ 2908861 h 11145854"/>
                <a:gd name="connsiteX1" fmla="*/ 16432262 w 16682562"/>
                <a:gd name="connsiteY1" fmla="*/ 3936247 h 11145854"/>
                <a:gd name="connsiteX2" fmla="*/ 16106317 w 16682562"/>
                <a:gd name="connsiteY2" fmla="*/ 4477551 h 11145854"/>
                <a:gd name="connsiteX3" fmla="*/ 16305649 w 16682562"/>
                <a:gd name="connsiteY3" fmla="*/ 4864880 h 11145854"/>
                <a:gd name="connsiteX4" fmla="*/ 16287189 w 16682562"/>
                <a:gd name="connsiteY4" fmla="*/ 5261487 h 11145854"/>
                <a:gd name="connsiteX5" fmla="*/ 16372801 w 16682562"/>
                <a:gd name="connsiteY5" fmla="*/ 5827752 h 11145854"/>
                <a:gd name="connsiteX6" fmla="*/ 16070155 w 16682562"/>
                <a:gd name="connsiteY6" fmla="*/ 6048138 h 11145854"/>
                <a:gd name="connsiteX7" fmla="*/ 15805690 w 16682562"/>
                <a:gd name="connsiteY7" fmla="*/ 6542329 h 11145854"/>
                <a:gd name="connsiteX8" fmla="*/ 15195097 w 16682562"/>
                <a:gd name="connsiteY8" fmla="*/ 6204072 h 11145854"/>
                <a:gd name="connsiteX9" fmla="*/ 15011380 w 16682562"/>
                <a:gd name="connsiteY9" fmla="*/ 7158922 h 11145854"/>
                <a:gd name="connsiteX10" fmla="*/ 14908430 w 16682562"/>
                <a:gd name="connsiteY10" fmla="*/ 8047817 h 11145854"/>
                <a:gd name="connsiteX11" fmla="*/ 14904684 w 16682562"/>
                <a:gd name="connsiteY11" fmla="*/ 8871256 h 11145854"/>
                <a:gd name="connsiteX12" fmla="*/ 14962237 w 16682562"/>
                <a:gd name="connsiteY12" fmla="*/ 10899713 h 11145854"/>
                <a:gd name="connsiteX13" fmla="*/ 12952786 w 16682562"/>
                <a:gd name="connsiteY13" fmla="*/ 10952929 h 11145854"/>
                <a:gd name="connsiteX14" fmla="*/ 11934663 w 16682562"/>
                <a:gd name="connsiteY14" fmla="*/ 11001179 h 11145854"/>
                <a:gd name="connsiteX15" fmla="*/ 8506848 w 16682562"/>
                <a:gd name="connsiteY15" fmla="*/ 11145854 h 11145854"/>
                <a:gd name="connsiteX16" fmla="*/ 7985095 w 16682562"/>
                <a:gd name="connsiteY16" fmla="*/ 10500772 h 11145854"/>
                <a:gd name="connsiteX17" fmla="*/ 7400308 w 16682562"/>
                <a:gd name="connsiteY17" fmla="*/ 10470627 h 11145854"/>
                <a:gd name="connsiteX18" fmla="*/ 6972273 w 16682562"/>
                <a:gd name="connsiteY18" fmla="*/ 10741924 h 11145854"/>
                <a:gd name="connsiteX19" fmla="*/ 5181729 w 16682562"/>
                <a:gd name="connsiteY19" fmla="*/ 10657525 h 11145854"/>
                <a:gd name="connsiteX20" fmla="*/ 4397998 w 16682562"/>
                <a:gd name="connsiteY20" fmla="*/ 10024508 h 11145854"/>
                <a:gd name="connsiteX21" fmla="*/ 2908896 w 16682562"/>
                <a:gd name="connsiteY21" fmla="*/ 9216654 h 11145854"/>
                <a:gd name="connsiteX22" fmla="*/ 1263043 w 16682562"/>
                <a:gd name="connsiteY22" fmla="*/ 8505261 h 11145854"/>
                <a:gd name="connsiteX23" fmla="*/ 485320 w 16682562"/>
                <a:gd name="connsiteY23" fmla="*/ 8053104 h 11145854"/>
                <a:gd name="connsiteX24" fmla="*/ 0 w 16682562"/>
                <a:gd name="connsiteY24" fmla="*/ 7759992 h 11145854"/>
                <a:gd name="connsiteX25" fmla="*/ 1003686 w 16682562"/>
                <a:gd name="connsiteY25" fmla="*/ 7014027 h 11145854"/>
                <a:gd name="connsiteX26" fmla="*/ 2902551 w 16682562"/>
                <a:gd name="connsiteY26" fmla="*/ 5829628 h 11145854"/>
                <a:gd name="connsiteX27" fmla="*/ 2558940 w 16682562"/>
                <a:gd name="connsiteY27" fmla="*/ 5296197 h 11145854"/>
                <a:gd name="connsiteX28" fmla="*/ 2402508 w 16682562"/>
                <a:gd name="connsiteY28" fmla="*/ 4609114 h 11145854"/>
                <a:gd name="connsiteX29" fmla="*/ 2730740 w 16682562"/>
                <a:gd name="connsiteY29" fmla="*/ 4581943 h 11145854"/>
                <a:gd name="connsiteX30" fmla="*/ 2947754 w 16682562"/>
                <a:gd name="connsiteY30" fmla="*/ 4111798 h 11145854"/>
                <a:gd name="connsiteX31" fmla="*/ 3499325 w 16682562"/>
                <a:gd name="connsiteY31" fmla="*/ 3668781 h 11145854"/>
                <a:gd name="connsiteX32" fmla="*/ 3680166 w 16682562"/>
                <a:gd name="connsiteY32" fmla="*/ 2791783 h 11145854"/>
                <a:gd name="connsiteX33" fmla="*/ 4186528 w 16682562"/>
                <a:gd name="connsiteY33" fmla="*/ 2800819 h 11145854"/>
                <a:gd name="connsiteX34" fmla="*/ 4837569 w 16682562"/>
                <a:gd name="connsiteY34" fmla="*/ 3270969 h 11145854"/>
                <a:gd name="connsiteX35" fmla="*/ 5352976 w 16682562"/>
                <a:gd name="connsiteY35" fmla="*/ 3189602 h 11145854"/>
                <a:gd name="connsiteX36" fmla="*/ 5741786 w 16682562"/>
                <a:gd name="connsiteY36" fmla="*/ 2818907 h 11145854"/>
                <a:gd name="connsiteX37" fmla="*/ 6157723 w 16682562"/>
                <a:gd name="connsiteY37" fmla="*/ 2656166 h 11145854"/>
                <a:gd name="connsiteX38" fmla="*/ 6745471 w 16682562"/>
                <a:gd name="connsiteY38" fmla="*/ 2086573 h 11145854"/>
                <a:gd name="connsiteX39" fmla="*/ 6890140 w 16682562"/>
                <a:gd name="connsiteY39" fmla="*/ 1236697 h 11145854"/>
                <a:gd name="connsiteX40" fmla="*/ 7568305 w 16682562"/>
                <a:gd name="connsiteY40" fmla="*/ 667103 h 11145854"/>
                <a:gd name="connsiteX41" fmla="*/ 8502979 w 16682562"/>
                <a:gd name="connsiteY41" fmla="*/ 0 h 11145854"/>
                <a:gd name="connsiteX42" fmla="*/ 8856118 w 16682562"/>
                <a:gd name="connsiteY42" fmla="*/ 605946 h 11145854"/>
                <a:gd name="connsiteX43" fmla="*/ 9078849 w 16682562"/>
                <a:gd name="connsiteY43" fmla="*/ 1219510 h 11145854"/>
                <a:gd name="connsiteX44" fmla="*/ 9086459 w 16682562"/>
                <a:gd name="connsiteY44" fmla="*/ 1767488 h 11145854"/>
                <a:gd name="connsiteX45" fmla="*/ 9761321 w 16682562"/>
                <a:gd name="connsiteY45" fmla="*/ 1670342 h 11145854"/>
                <a:gd name="connsiteX46" fmla="*/ 10152517 w 16682562"/>
                <a:gd name="connsiteY46" fmla="*/ 2468612 h 11145854"/>
                <a:gd name="connsiteX47" fmla="*/ 11109603 w 16682562"/>
                <a:gd name="connsiteY47" fmla="*/ 2840086 h 11145854"/>
                <a:gd name="connsiteX48" fmla="*/ 11919572 w 16682562"/>
                <a:gd name="connsiteY48" fmla="*/ 3113608 h 11145854"/>
                <a:gd name="connsiteX49" fmla="*/ 12868275 w 16682562"/>
                <a:gd name="connsiteY49" fmla="*/ 2868397 h 11145854"/>
                <a:gd name="connsiteX50" fmla="*/ 13844296 w 16682562"/>
                <a:gd name="connsiteY50" fmla="*/ 2266562 h 11145854"/>
                <a:gd name="connsiteX51" fmla="*/ 13886291 w 16682562"/>
                <a:gd name="connsiteY51" fmla="*/ 1432194 h 11145854"/>
                <a:gd name="connsiteX52" fmla="*/ 14370431 w 16682562"/>
                <a:gd name="connsiteY52" fmla="*/ 1940546 h 11145854"/>
                <a:gd name="connsiteX53" fmla="*/ 15323320 w 16682562"/>
                <a:gd name="connsiteY53" fmla="*/ 2038819 h 11145854"/>
                <a:gd name="connsiteX54" fmla="*/ 16350939 w 16682562"/>
                <a:gd name="connsiteY54" fmla="*/ 2163678 h 11145854"/>
                <a:gd name="connsiteX55" fmla="*/ 16362364 w 16682562"/>
                <a:gd name="connsiteY55" fmla="*/ 2470958 h 11145854"/>
                <a:gd name="connsiteX56" fmla="*/ 16682563 w 16682562"/>
                <a:gd name="connsiteY56" fmla="*/ 2908861 h 11145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6682562" h="11145854">
                  <a:moveTo>
                    <a:pt x="16682563" y="2908861"/>
                  </a:moveTo>
                  <a:lnTo>
                    <a:pt x="16432262" y="3936247"/>
                  </a:lnTo>
                  <a:lnTo>
                    <a:pt x="16106317" y="4477551"/>
                  </a:lnTo>
                  <a:lnTo>
                    <a:pt x="16305649" y="4864880"/>
                  </a:lnTo>
                  <a:lnTo>
                    <a:pt x="16287189" y="5261487"/>
                  </a:lnTo>
                  <a:lnTo>
                    <a:pt x="16372801" y="5827752"/>
                  </a:lnTo>
                  <a:lnTo>
                    <a:pt x="16070155" y="6048138"/>
                  </a:lnTo>
                  <a:lnTo>
                    <a:pt x="15805690" y="6542329"/>
                  </a:lnTo>
                  <a:lnTo>
                    <a:pt x="15195097" y="6204072"/>
                  </a:lnTo>
                  <a:lnTo>
                    <a:pt x="15011380" y="7158922"/>
                  </a:lnTo>
                  <a:lnTo>
                    <a:pt x="14908430" y="8047817"/>
                  </a:lnTo>
                  <a:cubicBezTo>
                    <a:pt x="14907181" y="8322297"/>
                    <a:pt x="14905933" y="8596776"/>
                    <a:pt x="14904684" y="8871256"/>
                  </a:cubicBezTo>
                  <a:lnTo>
                    <a:pt x="14962237" y="10899713"/>
                  </a:lnTo>
                  <a:lnTo>
                    <a:pt x="12952786" y="10952929"/>
                  </a:lnTo>
                  <a:lnTo>
                    <a:pt x="11934663" y="11001179"/>
                  </a:lnTo>
                  <a:lnTo>
                    <a:pt x="8506848" y="11145854"/>
                  </a:lnTo>
                  <a:lnTo>
                    <a:pt x="7985095" y="10500772"/>
                  </a:lnTo>
                  <a:lnTo>
                    <a:pt x="7400308" y="10470627"/>
                  </a:lnTo>
                  <a:lnTo>
                    <a:pt x="6972273" y="10741924"/>
                  </a:lnTo>
                  <a:lnTo>
                    <a:pt x="5181729" y="10657525"/>
                  </a:lnTo>
                  <a:lnTo>
                    <a:pt x="4397998" y="10024508"/>
                  </a:lnTo>
                  <a:lnTo>
                    <a:pt x="2908896" y="9216654"/>
                  </a:lnTo>
                  <a:lnTo>
                    <a:pt x="1263043" y="8505261"/>
                  </a:lnTo>
                  <a:lnTo>
                    <a:pt x="485320" y="8053104"/>
                  </a:lnTo>
                  <a:lnTo>
                    <a:pt x="0" y="7759992"/>
                  </a:lnTo>
                  <a:lnTo>
                    <a:pt x="1003686" y="7014027"/>
                  </a:lnTo>
                  <a:lnTo>
                    <a:pt x="2902551" y="5829628"/>
                  </a:lnTo>
                  <a:lnTo>
                    <a:pt x="2558940" y="5296197"/>
                  </a:lnTo>
                  <a:lnTo>
                    <a:pt x="2402508" y="4609114"/>
                  </a:lnTo>
                  <a:lnTo>
                    <a:pt x="2730740" y="4581943"/>
                  </a:lnTo>
                  <a:lnTo>
                    <a:pt x="2947754" y="4111798"/>
                  </a:lnTo>
                  <a:lnTo>
                    <a:pt x="3499325" y="3668781"/>
                  </a:lnTo>
                  <a:lnTo>
                    <a:pt x="3680166" y="2791783"/>
                  </a:lnTo>
                  <a:lnTo>
                    <a:pt x="4186528" y="2800819"/>
                  </a:lnTo>
                  <a:lnTo>
                    <a:pt x="4837569" y="3270969"/>
                  </a:lnTo>
                  <a:lnTo>
                    <a:pt x="5352976" y="3189602"/>
                  </a:lnTo>
                  <a:lnTo>
                    <a:pt x="5741786" y="2818907"/>
                  </a:lnTo>
                  <a:lnTo>
                    <a:pt x="6157723" y="2656166"/>
                  </a:lnTo>
                  <a:lnTo>
                    <a:pt x="6745471" y="2086573"/>
                  </a:lnTo>
                  <a:lnTo>
                    <a:pt x="6890140" y="1236697"/>
                  </a:lnTo>
                  <a:lnTo>
                    <a:pt x="7568305" y="667103"/>
                  </a:lnTo>
                  <a:lnTo>
                    <a:pt x="8502979" y="0"/>
                  </a:lnTo>
                  <a:lnTo>
                    <a:pt x="8856118" y="605946"/>
                  </a:lnTo>
                  <a:lnTo>
                    <a:pt x="9078849" y="1219510"/>
                  </a:lnTo>
                  <a:lnTo>
                    <a:pt x="9086459" y="1767488"/>
                  </a:lnTo>
                  <a:lnTo>
                    <a:pt x="9761321" y="1670342"/>
                  </a:lnTo>
                  <a:lnTo>
                    <a:pt x="10152517" y="2468612"/>
                  </a:lnTo>
                  <a:lnTo>
                    <a:pt x="11109603" y="2840086"/>
                  </a:lnTo>
                  <a:lnTo>
                    <a:pt x="11919572" y="3113608"/>
                  </a:lnTo>
                  <a:lnTo>
                    <a:pt x="12868275" y="2868397"/>
                  </a:lnTo>
                  <a:lnTo>
                    <a:pt x="13844296" y="2266562"/>
                  </a:lnTo>
                  <a:lnTo>
                    <a:pt x="13886291" y="1432194"/>
                  </a:lnTo>
                  <a:lnTo>
                    <a:pt x="14370431" y="1940546"/>
                  </a:lnTo>
                  <a:lnTo>
                    <a:pt x="15323320" y="2038819"/>
                  </a:lnTo>
                  <a:lnTo>
                    <a:pt x="16350939" y="2163678"/>
                  </a:lnTo>
                  <a:lnTo>
                    <a:pt x="16362364" y="2470958"/>
                  </a:lnTo>
                  <a:lnTo>
                    <a:pt x="16682563" y="2908861"/>
                  </a:lnTo>
                  <a:close/>
                </a:path>
              </a:pathLst>
            </a:custGeom>
            <a:solidFill>
              <a:schemeClr val="tx2">
                <a:lumMod val="10000"/>
                <a:lumOff val="90000"/>
              </a:schemeClr>
            </a:solid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11" name="任意多边形 100">
              <a:extLst>
                <a:ext uri="{FF2B5EF4-FFF2-40B4-BE49-F238E27FC236}">
                  <a16:creationId xmlns:a16="http://schemas.microsoft.com/office/drawing/2014/main" id="{4EF7616B-87DA-08EA-A0F9-FC2F88128113}"/>
                </a:ext>
              </a:extLst>
            </p:cNvPr>
            <p:cNvSpPr>
              <a:spLocks/>
            </p:cNvSpPr>
            <p:nvPr/>
          </p:nvSpPr>
          <p:spPr bwMode="auto">
            <a:xfrm>
              <a:off x="9033346" y="1396896"/>
              <a:ext cx="1968177" cy="2589199"/>
            </a:xfrm>
            <a:custGeom>
              <a:avLst/>
              <a:gdLst>
                <a:gd name="connsiteX0" fmla="*/ 477776 w 18447968"/>
                <a:gd name="connsiteY0" fmla="*/ 7436569 h 15946069"/>
                <a:gd name="connsiteX1" fmla="*/ 271294 w 18447968"/>
                <a:gd name="connsiteY1" fmla="*/ 8060457 h 15946069"/>
                <a:gd name="connsiteX2" fmla="*/ 379812 w 18447968"/>
                <a:gd name="connsiteY2" fmla="*/ 8675382 h 15946069"/>
                <a:gd name="connsiteX3" fmla="*/ 759624 w 18447968"/>
                <a:gd name="connsiteY3" fmla="*/ 9217969 h 15946069"/>
                <a:gd name="connsiteX4" fmla="*/ 687278 w 18447968"/>
                <a:gd name="connsiteY4" fmla="*/ 9670126 h 15946069"/>
                <a:gd name="connsiteX5" fmla="*/ 144687 w 18447968"/>
                <a:gd name="connsiteY5" fmla="*/ 9941420 h 15946069"/>
                <a:gd name="connsiteX6" fmla="*/ 343643 w 18447968"/>
                <a:gd name="connsiteY6" fmla="*/ 10592536 h 15946069"/>
                <a:gd name="connsiteX7" fmla="*/ 940487 w 18447968"/>
                <a:gd name="connsiteY7" fmla="*/ 10954252 h 15946069"/>
                <a:gd name="connsiteX8" fmla="*/ 596844 w 18447968"/>
                <a:gd name="connsiteY8" fmla="*/ 11786221 h 15946069"/>
                <a:gd name="connsiteX9" fmla="*/ 633017 w 18447968"/>
                <a:gd name="connsiteY9" fmla="*/ 12780969 h 15946069"/>
                <a:gd name="connsiteX10" fmla="*/ 198944 w 18447968"/>
                <a:gd name="connsiteY10" fmla="*/ 13341645 h 15946069"/>
                <a:gd name="connsiteX11" fmla="*/ 723451 w 18447968"/>
                <a:gd name="connsiteY11" fmla="*/ 13757629 h 15946069"/>
                <a:gd name="connsiteX12" fmla="*/ 1640036 w 18447968"/>
                <a:gd name="connsiteY12" fmla="*/ 13197151 h 15946069"/>
                <a:gd name="connsiteX13" fmla="*/ 1880971 w 18447968"/>
                <a:gd name="connsiteY13" fmla="*/ 13395906 h 15946069"/>
                <a:gd name="connsiteX14" fmla="*/ 2930086 w 18447968"/>
                <a:gd name="connsiteY14" fmla="*/ 12952832 h 15946069"/>
                <a:gd name="connsiteX15" fmla="*/ 3828256 w 18447968"/>
                <a:gd name="connsiteY15" fmla="*/ 13245188 h 15946069"/>
                <a:gd name="connsiteX16" fmla="*/ 4768739 w 18447968"/>
                <a:gd name="connsiteY16" fmla="*/ 13040205 h 15946069"/>
                <a:gd name="connsiteX17" fmla="*/ 5190751 w 18447968"/>
                <a:gd name="connsiteY17" fmla="*/ 13649115 h 15946069"/>
                <a:gd name="connsiteX18" fmla="*/ 5932290 w 18447968"/>
                <a:gd name="connsiteY18" fmla="*/ 13444132 h 15946069"/>
                <a:gd name="connsiteX19" fmla="*/ 6498992 w 18447968"/>
                <a:gd name="connsiteY19" fmla="*/ 12991975 h 15946069"/>
                <a:gd name="connsiteX20" fmla="*/ 7373161 w 18447968"/>
                <a:gd name="connsiteY20" fmla="*/ 13582800 h 15946069"/>
                <a:gd name="connsiteX21" fmla="*/ 8512588 w 18447968"/>
                <a:gd name="connsiteY21" fmla="*/ 13570738 h 15946069"/>
                <a:gd name="connsiteX22" fmla="*/ 9416903 w 18447968"/>
                <a:gd name="connsiteY22" fmla="*/ 13281357 h 15946069"/>
                <a:gd name="connsiteX23" fmla="*/ 9742454 w 18447968"/>
                <a:gd name="connsiteY23" fmla="*/ 14004811 h 15946069"/>
                <a:gd name="connsiteX24" fmla="*/ 10080066 w 18447968"/>
                <a:gd name="connsiteY24" fmla="*/ 14716204 h 15946069"/>
                <a:gd name="connsiteX25" fmla="*/ 10616683 w 18447968"/>
                <a:gd name="connsiteY25" fmla="*/ 15358294 h 15946069"/>
                <a:gd name="connsiteX26" fmla="*/ 11117010 w 18447968"/>
                <a:gd name="connsiteY26" fmla="*/ 15946069 h 15946069"/>
                <a:gd name="connsiteX27" fmla="*/ 11593335 w 18447968"/>
                <a:gd name="connsiteY27" fmla="*/ 15822497 h 15946069"/>
                <a:gd name="connsiteX28" fmla="*/ 11780218 w 18447968"/>
                <a:gd name="connsiteY28" fmla="*/ 13579811 h 15946069"/>
                <a:gd name="connsiteX29" fmla="*/ 11954994 w 18447968"/>
                <a:gd name="connsiteY29" fmla="*/ 12135890 h 15946069"/>
                <a:gd name="connsiteX30" fmla="*/ 12196146 w 18447968"/>
                <a:gd name="connsiteY30" fmla="*/ 11388328 h 15946069"/>
                <a:gd name="connsiteX31" fmla="*/ 13166775 w 18447968"/>
                <a:gd name="connsiteY31" fmla="*/ 11707856 h 15946069"/>
                <a:gd name="connsiteX32" fmla="*/ 14004775 w 18447968"/>
                <a:gd name="connsiteY32" fmla="*/ 11611395 h 15946069"/>
                <a:gd name="connsiteX33" fmla="*/ 14939235 w 18447968"/>
                <a:gd name="connsiteY33" fmla="*/ 11322014 h 15946069"/>
                <a:gd name="connsiteX34" fmla="*/ 15409477 w 18447968"/>
                <a:gd name="connsiteY34" fmla="*/ 11882693 h 15946069"/>
                <a:gd name="connsiteX35" fmla="*/ 15861634 w 18447968"/>
                <a:gd name="connsiteY35" fmla="*/ 11273783 h 15946069"/>
                <a:gd name="connsiteX36" fmla="*/ 16413199 w 18447968"/>
                <a:gd name="connsiteY36" fmla="*/ 10920339 h 15946069"/>
                <a:gd name="connsiteX37" fmla="*/ 16765948 w 18447968"/>
                <a:gd name="connsiteY37" fmla="*/ 10200671 h 15946069"/>
                <a:gd name="connsiteX38" fmla="*/ 16428336 w 18447968"/>
                <a:gd name="connsiteY38" fmla="*/ 9374732 h 15946069"/>
                <a:gd name="connsiteX39" fmla="*/ 15946033 w 18447968"/>
                <a:gd name="connsiteY39" fmla="*/ 8440272 h 15946069"/>
                <a:gd name="connsiteX40" fmla="*/ 16024409 w 18447968"/>
                <a:gd name="connsiteY40" fmla="*/ 7433474 h 15946069"/>
                <a:gd name="connsiteX41" fmla="*/ 16958870 w 18447968"/>
                <a:gd name="connsiteY41" fmla="*/ 6776350 h 15946069"/>
                <a:gd name="connsiteX42" fmla="*/ 17911414 w 18447968"/>
                <a:gd name="connsiteY42" fmla="*/ 6083041 h 15946069"/>
                <a:gd name="connsiteX43" fmla="*/ 17694370 w 18447968"/>
                <a:gd name="connsiteY43" fmla="*/ 5570592 h 15946069"/>
                <a:gd name="connsiteX44" fmla="*/ 17385711 w 18447968"/>
                <a:gd name="connsiteY44" fmla="*/ 5219213 h 15946069"/>
                <a:gd name="connsiteX45" fmla="*/ 17637701 w 18447968"/>
                <a:gd name="connsiteY45" fmla="*/ 4819407 h 15946069"/>
                <a:gd name="connsiteX46" fmla="*/ 18171858 w 18447968"/>
                <a:gd name="connsiteY46" fmla="*/ 4701949 h 15946069"/>
                <a:gd name="connsiteX47" fmla="*/ 18447970 w 18447968"/>
                <a:gd name="connsiteY47" fmla="*/ 4316604 h 15946069"/>
                <a:gd name="connsiteX48" fmla="*/ 17814953 w 18447968"/>
                <a:gd name="connsiteY48" fmla="*/ 4117660 h 15946069"/>
                <a:gd name="connsiteX49" fmla="*/ 17067422 w 18447968"/>
                <a:gd name="connsiteY49" fmla="*/ 3472551 h 15946069"/>
                <a:gd name="connsiteX50" fmla="*/ 16852763 w 18447968"/>
                <a:gd name="connsiteY50" fmla="*/ 3282076 h 15946069"/>
                <a:gd name="connsiteX51" fmla="*/ 16161870 w 18447968"/>
                <a:gd name="connsiteY51" fmla="*/ 4063407 h 15946069"/>
                <a:gd name="connsiteX52" fmla="*/ 14429201 w 18447968"/>
                <a:gd name="connsiteY52" fmla="*/ 4027238 h 15946069"/>
                <a:gd name="connsiteX53" fmla="*/ 13383819 w 18447968"/>
                <a:gd name="connsiteY53" fmla="*/ 2963756 h 15946069"/>
                <a:gd name="connsiteX54" fmla="*/ 12493981 w 18447968"/>
                <a:gd name="connsiteY54" fmla="*/ 2927587 h 15946069"/>
                <a:gd name="connsiteX55" fmla="*/ 11976717 w 18447968"/>
                <a:gd name="connsiteY55" fmla="*/ 2139025 h 15946069"/>
                <a:gd name="connsiteX56" fmla="*/ 11484768 w 18447968"/>
                <a:gd name="connsiteY56" fmla="*/ 1495155 h 15946069"/>
                <a:gd name="connsiteX57" fmla="*/ 10830043 w 18447968"/>
                <a:gd name="connsiteY57" fmla="*/ 1256418 h 15946069"/>
                <a:gd name="connsiteX58" fmla="*/ 10323633 w 18447968"/>
                <a:gd name="connsiteY58" fmla="*/ 1220249 h 15946069"/>
                <a:gd name="connsiteX59" fmla="*/ 9802745 w 18447968"/>
                <a:gd name="connsiteY59" fmla="*/ 1603676 h 15946069"/>
                <a:gd name="connsiteX60" fmla="*/ 9223982 w 18447968"/>
                <a:gd name="connsiteY60" fmla="*/ 1621761 h 15946069"/>
                <a:gd name="connsiteX61" fmla="*/ 8782678 w 18447968"/>
                <a:gd name="connsiteY61" fmla="*/ 2171586 h 15946069"/>
                <a:gd name="connsiteX62" fmla="*/ 8272645 w 18447968"/>
                <a:gd name="connsiteY62" fmla="*/ 2102856 h 15946069"/>
                <a:gd name="connsiteX63" fmla="*/ 7853048 w 18447968"/>
                <a:gd name="connsiteY63" fmla="*/ 2526075 h 15946069"/>
                <a:gd name="connsiteX64" fmla="*/ 7323799 w 18447968"/>
                <a:gd name="connsiteY64" fmla="*/ 2632907 h 15946069"/>
                <a:gd name="connsiteX65" fmla="*/ 6977672 w 18447968"/>
                <a:gd name="connsiteY65" fmla="*/ 2178817 h 15946069"/>
                <a:gd name="connsiteX66" fmla="*/ 6594245 w 18447968"/>
                <a:gd name="connsiteY66" fmla="*/ 2055834 h 15946069"/>
                <a:gd name="connsiteX67" fmla="*/ 6431470 w 18447968"/>
                <a:gd name="connsiteY67" fmla="*/ 1314295 h 15946069"/>
                <a:gd name="connsiteX68" fmla="*/ 5642908 w 18447968"/>
                <a:gd name="connsiteY68" fmla="*/ 1343233 h 15946069"/>
                <a:gd name="connsiteX69" fmla="*/ 5150959 w 18447968"/>
                <a:gd name="connsiteY69" fmla="*/ 1610907 h 15946069"/>
                <a:gd name="connsiteX70" fmla="*/ 5480133 w 18447968"/>
                <a:gd name="connsiteY70" fmla="*/ 2167963 h 15946069"/>
                <a:gd name="connsiteX71" fmla="*/ 4742216 w 18447968"/>
                <a:gd name="connsiteY71" fmla="*/ 2862495 h 15946069"/>
                <a:gd name="connsiteX72" fmla="*/ 2658667 w 18447968"/>
                <a:gd name="connsiteY72" fmla="*/ 0 h 15946069"/>
                <a:gd name="connsiteX73" fmla="*/ 2658682 w 18447968"/>
                <a:gd name="connsiteY73" fmla="*/ 1018890 h 15946069"/>
                <a:gd name="connsiteX74" fmla="*/ 1850829 w 18447968"/>
                <a:gd name="connsiteY74" fmla="*/ 1730283 h 15946069"/>
                <a:gd name="connsiteX75" fmla="*/ 1404694 w 18447968"/>
                <a:gd name="connsiteY75" fmla="*/ 2272862 h 15946069"/>
                <a:gd name="connsiteX76" fmla="*/ 2351216 w 18447968"/>
                <a:gd name="connsiteY76" fmla="*/ 3388182 h 15946069"/>
                <a:gd name="connsiteX77" fmla="*/ 2658682 w 18447968"/>
                <a:gd name="connsiteY77" fmla="*/ 4286458 h 15946069"/>
                <a:gd name="connsiteX78" fmla="*/ 1935228 w 18447968"/>
                <a:gd name="connsiteY78" fmla="*/ 5220918 h 15946069"/>
                <a:gd name="connsiteX79" fmla="*/ 875281 w 18447968"/>
                <a:gd name="connsiteY79" fmla="*/ 5166646 h 15946069"/>
                <a:gd name="connsiteX80" fmla="*/ 0 w 18447968"/>
                <a:gd name="connsiteY80" fmla="*/ 5890112 h 15946069"/>
                <a:gd name="connsiteX81" fmla="*/ 72345 w 18447968"/>
                <a:gd name="connsiteY81" fmla="*/ 6921032 h 15946069"/>
                <a:gd name="connsiteX82" fmla="*/ 477776 w 18447968"/>
                <a:gd name="connsiteY82" fmla="*/ 7436569 h 15946069"/>
                <a:gd name="connsiteX0" fmla="*/ 477776 w 18447968"/>
                <a:gd name="connsiteY0" fmla="*/ 7436569 h 15946069"/>
                <a:gd name="connsiteX1" fmla="*/ 271294 w 18447968"/>
                <a:gd name="connsiteY1" fmla="*/ 8060457 h 15946069"/>
                <a:gd name="connsiteX2" fmla="*/ 379812 w 18447968"/>
                <a:gd name="connsiteY2" fmla="*/ 8675382 h 15946069"/>
                <a:gd name="connsiteX3" fmla="*/ 759624 w 18447968"/>
                <a:gd name="connsiteY3" fmla="*/ 9217969 h 15946069"/>
                <a:gd name="connsiteX4" fmla="*/ 687278 w 18447968"/>
                <a:gd name="connsiteY4" fmla="*/ 9670126 h 15946069"/>
                <a:gd name="connsiteX5" fmla="*/ 144687 w 18447968"/>
                <a:gd name="connsiteY5" fmla="*/ 9941420 h 15946069"/>
                <a:gd name="connsiteX6" fmla="*/ 343643 w 18447968"/>
                <a:gd name="connsiteY6" fmla="*/ 10592536 h 15946069"/>
                <a:gd name="connsiteX7" fmla="*/ 940487 w 18447968"/>
                <a:gd name="connsiteY7" fmla="*/ 10954252 h 15946069"/>
                <a:gd name="connsiteX8" fmla="*/ 596844 w 18447968"/>
                <a:gd name="connsiteY8" fmla="*/ 11786221 h 15946069"/>
                <a:gd name="connsiteX9" fmla="*/ 633017 w 18447968"/>
                <a:gd name="connsiteY9" fmla="*/ 12780969 h 15946069"/>
                <a:gd name="connsiteX10" fmla="*/ 198944 w 18447968"/>
                <a:gd name="connsiteY10" fmla="*/ 13341645 h 15946069"/>
                <a:gd name="connsiteX11" fmla="*/ 723451 w 18447968"/>
                <a:gd name="connsiteY11" fmla="*/ 13757629 h 15946069"/>
                <a:gd name="connsiteX12" fmla="*/ 1640036 w 18447968"/>
                <a:gd name="connsiteY12" fmla="*/ 13197151 h 15946069"/>
                <a:gd name="connsiteX13" fmla="*/ 1880971 w 18447968"/>
                <a:gd name="connsiteY13" fmla="*/ 13395906 h 15946069"/>
                <a:gd name="connsiteX14" fmla="*/ 2930086 w 18447968"/>
                <a:gd name="connsiteY14" fmla="*/ 12952832 h 15946069"/>
                <a:gd name="connsiteX15" fmla="*/ 3828256 w 18447968"/>
                <a:gd name="connsiteY15" fmla="*/ 13245188 h 15946069"/>
                <a:gd name="connsiteX16" fmla="*/ 4768739 w 18447968"/>
                <a:gd name="connsiteY16" fmla="*/ 13040205 h 15946069"/>
                <a:gd name="connsiteX17" fmla="*/ 5190751 w 18447968"/>
                <a:gd name="connsiteY17" fmla="*/ 13649115 h 15946069"/>
                <a:gd name="connsiteX18" fmla="*/ 5932290 w 18447968"/>
                <a:gd name="connsiteY18" fmla="*/ 13444132 h 15946069"/>
                <a:gd name="connsiteX19" fmla="*/ 6498992 w 18447968"/>
                <a:gd name="connsiteY19" fmla="*/ 12991975 h 15946069"/>
                <a:gd name="connsiteX20" fmla="*/ 7373161 w 18447968"/>
                <a:gd name="connsiteY20" fmla="*/ 13582800 h 15946069"/>
                <a:gd name="connsiteX21" fmla="*/ 8512588 w 18447968"/>
                <a:gd name="connsiteY21" fmla="*/ 13570738 h 15946069"/>
                <a:gd name="connsiteX22" fmla="*/ 9416903 w 18447968"/>
                <a:gd name="connsiteY22" fmla="*/ 13281357 h 15946069"/>
                <a:gd name="connsiteX23" fmla="*/ 9742454 w 18447968"/>
                <a:gd name="connsiteY23" fmla="*/ 14004811 h 15946069"/>
                <a:gd name="connsiteX24" fmla="*/ 10080066 w 18447968"/>
                <a:gd name="connsiteY24" fmla="*/ 14716204 h 15946069"/>
                <a:gd name="connsiteX25" fmla="*/ 10616683 w 18447968"/>
                <a:gd name="connsiteY25" fmla="*/ 15358294 h 15946069"/>
                <a:gd name="connsiteX26" fmla="*/ 11117010 w 18447968"/>
                <a:gd name="connsiteY26" fmla="*/ 15946069 h 15946069"/>
                <a:gd name="connsiteX27" fmla="*/ 11593335 w 18447968"/>
                <a:gd name="connsiteY27" fmla="*/ 15822497 h 15946069"/>
                <a:gd name="connsiteX28" fmla="*/ 11780218 w 18447968"/>
                <a:gd name="connsiteY28" fmla="*/ 13579811 h 15946069"/>
                <a:gd name="connsiteX29" fmla="*/ 11954994 w 18447968"/>
                <a:gd name="connsiteY29" fmla="*/ 12135890 h 15946069"/>
                <a:gd name="connsiteX30" fmla="*/ 12196146 w 18447968"/>
                <a:gd name="connsiteY30" fmla="*/ 11388328 h 15946069"/>
                <a:gd name="connsiteX31" fmla="*/ 13166775 w 18447968"/>
                <a:gd name="connsiteY31" fmla="*/ 11707856 h 15946069"/>
                <a:gd name="connsiteX32" fmla="*/ 14004775 w 18447968"/>
                <a:gd name="connsiteY32" fmla="*/ 11611395 h 15946069"/>
                <a:gd name="connsiteX33" fmla="*/ 14939235 w 18447968"/>
                <a:gd name="connsiteY33" fmla="*/ 11322014 h 15946069"/>
                <a:gd name="connsiteX34" fmla="*/ 15409477 w 18447968"/>
                <a:gd name="connsiteY34" fmla="*/ 11882693 h 15946069"/>
                <a:gd name="connsiteX35" fmla="*/ 15861634 w 18447968"/>
                <a:gd name="connsiteY35" fmla="*/ 11273783 h 15946069"/>
                <a:gd name="connsiteX36" fmla="*/ 16413199 w 18447968"/>
                <a:gd name="connsiteY36" fmla="*/ 10920339 h 15946069"/>
                <a:gd name="connsiteX37" fmla="*/ 16765948 w 18447968"/>
                <a:gd name="connsiteY37" fmla="*/ 10200671 h 15946069"/>
                <a:gd name="connsiteX38" fmla="*/ 16428336 w 18447968"/>
                <a:gd name="connsiteY38" fmla="*/ 9374732 h 15946069"/>
                <a:gd name="connsiteX39" fmla="*/ 15946033 w 18447968"/>
                <a:gd name="connsiteY39" fmla="*/ 8440272 h 15946069"/>
                <a:gd name="connsiteX40" fmla="*/ 16024409 w 18447968"/>
                <a:gd name="connsiteY40" fmla="*/ 7433474 h 15946069"/>
                <a:gd name="connsiteX41" fmla="*/ 16958870 w 18447968"/>
                <a:gd name="connsiteY41" fmla="*/ 6776350 h 15946069"/>
                <a:gd name="connsiteX42" fmla="*/ 17911414 w 18447968"/>
                <a:gd name="connsiteY42" fmla="*/ 6083041 h 15946069"/>
                <a:gd name="connsiteX43" fmla="*/ 17694370 w 18447968"/>
                <a:gd name="connsiteY43" fmla="*/ 5570592 h 15946069"/>
                <a:gd name="connsiteX44" fmla="*/ 17385711 w 18447968"/>
                <a:gd name="connsiteY44" fmla="*/ 5219213 h 15946069"/>
                <a:gd name="connsiteX45" fmla="*/ 17637701 w 18447968"/>
                <a:gd name="connsiteY45" fmla="*/ 4819407 h 15946069"/>
                <a:gd name="connsiteX46" fmla="*/ 18171858 w 18447968"/>
                <a:gd name="connsiteY46" fmla="*/ 4701949 h 15946069"/>
                <a:gd name="connsiteX47" fmla="*/ 18447970 w 18447968"/>
                <a:gd name="connsiteY47" fmla="*/ 4316604 h 15946069"/>
                <a:gd name="connsiteX48" fmla="*/ 17814953 w 18447968"/>
                <a:gd name="connsiteY48" fmla="*/ 4117660 h 15946069"/>
                <a:gd name="connsiteX49" fmla="*/ 17067422 w 18447968"/>
                <a:gd name="connsiteY49" fmla="*/ 3472551 h 15946069"/>
                <a:gd name="connsiteX50" fmla="*/ 16852763 w 18447968"/>
                <a:gd name="connsiteY50" fmla="*/ 3282076 h 15946069"/>
                <a:gd name="connsiteX51" fmla="*/ 14429201 w 18447968"/>
                <a:gd name="connsiteY51" fmla="*/ 4027238 h 15946069"/>
                <a:gd name="connsiteX52" fmla="*/ 13383819 w 18447968"/>
                <a:gd name="connsiteY52" fmla="*/ 2963756 h 15946069"/>
                <a:gd name="connsiteX53" fmla="*/ 12493981 w 18447968"/>
                <a:gd name="connsiteY53" fmla="*/ 2927587 h 15946069"/>
                <a:gd name="connsiteX54" fmla="*/ 11976717 w 18447968"/>
                <a:gd name="connsiteY54" fmla="*/ 2139025 h 15946069"/>
                <a:gd name="connsiteX55" fmla="*/ 11484768 w 18447968"/>
                <a:gd name="connsiteY55" fmla="*/ 1495155 h 15946069"/>
                <a:gd name="connsiteX56" fmla="*/ 10830043 w 18447968"/>
                <a:gd name="connsiteY56" fmla="*/ 1256418 h 15946069"/>
                <a:gd name="connsiteX57" fmla="*/ 10323633 w 18447968"/>
                <a:gd name="connsiteY57" fmla="*/ 1220249 h 15946069"/>
                <a:gd name="connsiteX58" fmla="*/ 9802745 w 18447968"/>
                <a:gd name="connsiteY58" fmla="*/ 1603676 h 15946069"/>
                <a:gd name="connsiteX59" fmla="*/ 9223982 w 18447968"/>
                <a:gd name="connsiteY59" fmla="*/ 1621761 h 15946069"/>
                <a:gd name="connsiteX60" fmla="*/ 8782678 w 18447968"/>
                <a:gd name="connsiteY60" fmla="*/ 2171586 h 15946069"/>
                <a:gd name="connsiteX61" fmla="*/ 8272645 w 18447968"/>
                <a:gd name="connsiteY61" fmla="*/ 2102856 h 15946069"/>
                <a:gd name="connsiteX62" fmla="*/ 7853048 w 18447968"/>
                <a:gd name="connsiteY62" fmla="*/ 2526075 h 15946069"/>
                <a:gd name="connsiteX63" fmla="*/ 7323799 w 18447968"/>
                <a:gd name="connsiteY63" fmla="*/ 2632907 h 15946069"/>
                <a:gd name="connsiteX64" fmla="*/ 6977672 w 18447968"/>
                <a:gd name="connsiteY64" fmla="*/ 2178817 h 15946069"/>
                <a:gd name="connsiteX65" fmla="*/ 6594245 w 18447968"/>
                <a:gd name="connsiteY65" fmla="*/ 2055834 h 15946069"/>
                <a:gd name="connsiteX66" fmla="*/ 6431470 w 18447968"/>
                <a:gd name="connsiteY66" fmla="*/ 1314295 h 15946069"/>
                <a:gd name="connsiteX67" fmla="*/ 5642908 w 18447968"/>
                <a:gd name="connsiteY67" fmla="*/ 1343233 h 15946069"/>
                <a:gd name="connsiteX68" fmla="*/ 5150959 w 18447968"/>
                <a:gd name="connsiteY68" fmla="*/ 1610907 h 15946069"/>
                <a:gd name="connsiteX69" fmla="*/ 5480133 w 18447968"/>
                <a:gd name="connsiteY69" fmla="*/ 2167963 h 15946069"/>
                <a:gd name="connsiteX70" fmla="*/ 4742216 w 18447968"/>
                <a:gd name="connsiteY70" fmla="*/ 2862495 h 15946069"/>
                <a:gd name="connsiteX71" fmla="*/ 2658667 w 18447968"/>
                <a:gd name="connsiteY71" fmla="*/ 0 h 15946069"/>
                <a:gd name="connsiteX72" fmla="*/ 2658682 w 18447968"/>
                <a:gd name="connsiteY72" fmla="*/ 1018890 h 15946069"/>
                <a:gd name="connsiteX73" fmla="*/ 1850829 w 18447968"/>
                <a:gd name="connsiteY73" fmla="*/ 1730283 h 15946069"/>
                <a:gd name="connsiteX74" fmla="*/ 1404694 w 18447968"/>
                <a:gd name="connsiteY74" fmla="*/ 2272862 h 15946069"/>
                <a:gd name="connsiteX75" fmla="*/ 2351216 w 18447968"/>
                <a:gd name="connsiteY75" fmla="*/ 3388182 h 15946069"/>
                <a:gd name="connsiteX76" fmla="*/ 2658682 w 18447968"/>
                <a:gd name="connsiteY76" fmla="*/ 4286458 h 15946069"/>
                <a:gd name="connsiteX77" fmla="*/ 1935228 w 18447968"/>
                <a:gd name="connsiteY77" fmla="*/ 5220918 h 15946069"/>
                <a:gd name="connsiteX78" fmla="*/ 875281 w 18447968"/>
                <a:gd name="connsiteY78" fmla="*/ 5166646 h 15946069"/>
                <a:gd name="connsiteX79" fmla="*/ 0 w 18447968"/>
                <a:gd name="connsiteY79" fmla="*/ 5890112 h 15946069"/>
                <a:gd name="connsiteX80" fmla="*/ 72345 w 18447968"/>
                <a:gd name="connsiteY80" fmla="*/ 6921032 h 15946069"/>
                <a:gd name="connsiteX81" fmla="*/ 477776 w 18447968"/>
                <a:gd name="connsiteY81" fmla="*/ 7436569 h 15946069"/>
                <a:gd name="connsiteX0" fmla="*/ 477776 w 18447968"/>
                <a:gd name="connsiteY0" fmla="*/ 7436569 h 15946069"/>
                <a:gd name="connsiteX1" fmla="*/ 271294 w 18447968"/>
                <a:gd name="connsiteY1" fmla="*/ 8060457 h 15946069"/>
                <a:gd name="connsiteX2" fmla="*/ 379812 w 18447968"/>
                <a:gd name="connsiteY2" fmla="*/ 8675382 h 15946069"/>
                <a:gd name="connsiteX3" fmla="*/ 759624 w 18447968"/>
                <a:gd name="connsiteY3" fmla="*/ 9217969 h 15946069"/>
                <a:gd name="connsiteX4" fmla="*/ 687278 w 18447968"/>
                <a:gd name="connsiteY4" fmla="*/ 9670126 h 15946069"/>
                <a:gd name="connsiteX5" fmla="*/ 144687 w 18447968"/>
                <a:gd name="connsiteY5" fmla="*/ 9941420 h 15946069"/>
                <a:gd name="connsiteX6" fmla="*/ 343643 w 18447968"/>
                <a:gd name="connsiteY6" fmla="*/ 10592536 h 15946069"/>
                <a:gd name="connsiteX7" fmla="*/ 940487 w 18447968"/>
                <a:gd name="connsiteY7" fmla="*/ 10954252 h 15946069"/>
                <a:gd name="connsiteX8" fmla="*/ 596844 w 18447968"/>
                <a:gd name="connsiteY8" fmla="*/ 11786221 h 15946069"/>
                <a:gd name="connsiteX9" fmla="*/ 633017 w 18447968"/>
                <a:gd name="connsiteY9" fmla="*/ 12780969 h 15946069"/>
                <a:gd name="connsiteX10" fmla="*/ 198944 w 18447968"/>
                <a:gd name="connsiteY10" fmla="*/ 13341645 h 15946069"/>
                <a:gd name="connsiteX11" fmla="*/ 723451 w 18447968"/>
                <a:gd name="connsiteY11" fmla="*/ 13757629 h 15946069"/>
                <a:gd name="connsiteX12" fmla="*/ 1640036 w 18447968"/>
                <a:gd name="connsiteY12" fmla="*/ 13197151 h 15946069"/>
                <a:gd name="connsiteX13" fmla="*/ 1880971 w 18447968"/>
                <a:gd name="connsiteY13" fmla="*/ 13395906 h 15946069"/>
                <a:gd name="connsiteX14" fmla="*/ 2930086 w 18447968"/>
                <a:gd name="connsiteY14" fmla="*/ 12952832 h 15946069"/>
                <a:gd name="connsiteX15" fmla="*/ 3828256 w 18447968"/>
                <a:gd name="connsiteY15" fmla="*/ 13245188 h 15946069"/>
                <a:gd name="connsiteX16" fmla="*/ 4768739 w 18447968"/>
                <a:gd name="connsiteY16" fmla="*/ 13040205 h 15946069"/>
                <a:gd name="connsiteX17" fmla="*/ 5190751 w 18447968"/>
                <a:gd name="connsiteY17" fmla="*/ 13649115 h 15946069"/>
                <a:gd name="connsiteX18" fmla="*/ 5932290 w 18447968"/>
                <a:gd name="connsiteY18" fmla="*/ 13444132 h 15946069"/>
                <a:gd name="connsiteX19" fmla="*/ 6498992 w 18447968"/>
                <a:gd name="connsiteY19" fmla="*/ 12991975 h 15946069"/>
                <a:gd name="connsiteX20" fmla="*/ 7373161 w 18447968"/>
                <a:gd name="connsiteY20" fmla="*/ 13582800 h 15946069"/>
                <a:gd name="connsiteX21" fmla="*/ 8512588 w 18447968"/>
                <a:gd name="connsiteY21" fmla="*/ 13570738 h 15946069"/>
                <a:gd name="connsiteX22" fmla="*/ 9416903 w 18447968"/>
                <a:gd name="connsiteY22" fmla="*/ 13281357 h 15946069"/>
                <a:gd name="connsiteX23" fmla="*/ 9742454 w 18447968"/>
                <a:gd name="connsiteY23" fmla="*/ 14004811 h 15946069"/>
                <a:gd name="connsiteX24" fmla="*/ 10080066 w 18447968"/>
                <a:gd name="connsiteY24" fmla="*/ 14716204 h 15946069"/>
                <a:gd name="connsiteX25" fmla="*/ 10616683 w 18447968"/>
                <a:gd name="connsiteY25" fmla="*/ 15358294 h 15946069"/>
                <a:gd name="connsiteX26" fmla="*/ 11117010 w 18447968"/>
                <a:gd name="connsiteY26" fmla="*/ 15946069 h 15946069"/>
                <a:gd name="connsiteX27" fmla="*/ 11593335 w 18447968"/>
                <a:gd name="connsiteY27" fmla="*/ 15822497 h 15946069"/>
                <a:gd name="connsiteX28" fmla="*/ 11780218 w 18447968"/>
                <a:gd name="connsiteY28" fmla="*/ 13579811 h 15946069"/>
                <a:gd name="connsiteX29" fmla="*/ 11954994 w 18447968"/>
                <a:gd name="connsiteY29" fmla="*/ 12135890 h 15946069"/>
                <a:gd name="connsiteX30" fmla="*/ 12196146 w 18447968"/>
                <a:gd name="connsiteY30" fmla="*/ 11388328 h 15946069"/>
                <a:gd name="connsiteX31" fmla="*/ 13166775 w 18447968"/>
                <a:gd name="connsiteY31" fmla="*/ 11707856 h 15946069"/>
                <a:gd name="connsiteX32" fmla="*/ 14004775 w 18447968"/>
                <a:gd name="connsiteY32" fmla="*/ 11611395 h 15946069"/>
                <a:gd name="connsiteX33" fmla="*/ 14939235 w 18447968"/>
                <a:gd name="connsiteY33" fmla="*/ 11322014 h 15946069"/>
                <a:gd name="connsiteX34" fmla="*/ 15409477 w 18447968"/>
                <a:gd name="connsiteY34" fmla="*/ 11882693 h 15946069"/>
                <a:gd name="connsiteX35" fmla="*/ 15861634 w 18447968"/>
                <a:gd name="connsiteY35" fmla="*/ 11273783 h 15946069"/>
                <a:gd name="connsiteX36" fmla="*/ 16413199 w 18447968"/>
                <a:gd name="connsiteY36" fmla="*/ 10920339 h 15946069"/>
                <a:gd name="connsiteX37" fmla="*/ 16765948 w 18447968"/>
                <a:gd name="connsiteY37" fmla="*/ 10200671 h 15946069"/>
                <a:gd name="connsiteX38" fmla="*/ 16428336 w 18447968"/>
                <a:gd name="connsiteY38" fmla="*/ 9374732 h 15946069"/>
                <a:gd name="connsiteX39" fmla="*/ 15946033 w 18447968"/>
                <a:gd name="connsiteY39" fmla="*/ 8440272 h 15946069"/>
                <a:gd name="connsiteX40" fmla="*/ 16024409 w 18447968"/>
                <a:gd name="connsiteY40" fmla="*/ 7433474 h 15946069"/>
                <a:gd name="connsiteX41" fmla="*/ 16958870 w 18447968"/>
                <a:gd name="connsiteY41" fmla="*/ 6776350 h 15946069"/>
                <a:gd name="connsiteX42" fmla="*/ 17911414 w 18447968"/>
                <a:gd name="connsiteY42" fmla="*/ 6083041 h 15946069"/>
                <a:gd name="connsiteX43" fmla="*/ 17694370 w 18447968"/>
                <a:gd name="connsiteY43" fmla="*/ 5570592 h 15946069"/>
                <a:gd name="connsiteX44" fmla="*/ 17385711 w 18447968"/>
                <a:gd name="connsiteY44" fmla="*/ 5219213 h 15946069"/>
                <a:gd name="connsiteX45" fmla="*/ 17637701 w 18447968"/>
                <a:gd name="connsiteY45" fmla="*/ 4819407 h 15946069"/>
                <a:gd name="connsiteX46" fmla="*/ 18171858 w 18447968"/>
                <a:gd name="connsiteY46" fmla="*/ 4701949 h 15946069"/>
                <a:gd name="connsiteX47" fmla="*/ 18447970 w 18447968"/>
                <a:gd name="connsiteY47" fmla="*/ 4316604 h 15946069"/>
                <a:gd name="connsiteX48" fmla="*/ 17814953 w 18447968"/>
                <a:gd name="connsiteY48" fmla="*/ 4117660 h 15946069"/>
                <a:gd name="connsiteX49" fmla="*/ 16852763 w 18447968"/>
                <a:gd name="connsiteY49" fmla="*/ 3282076 h 15946069"/>
                <a:gd name="connsiteX50" fmla="*/ 14429201 w 18447968"/>
                <a:gd name="connsiteY50" fmla="*/ 4027238 h 15946069"/>
                <a:gd name="connsiteX51" fmla="*/ 13383819 w 18447968"/>
                <a:gd name="connsiteY51" fmla="*/ 2963756 h 15946069"/>
                <a:gd name="connsiteX52" fmla="*/ 12493981 w 18447968"/>
                <a:gd name="connsiteY52" fmla="*/ 2927587 h 15946069"/>
                <a:gd name="connsiteX53" fmla="*/ 11976717 w 18447968"/>
                <a:gd name="connsiteY53" fmla="*/ 2139025 h 15946069"/>
                <a:gd name="connsiteX54" fmla="*/ 11484768 w 18447968"/>
                <a:gd name="connsiteY54" fmla="*/ 1495155 h 15946069"/>
                <a:gd name="connsiteX55" fmla="*/ 10830043 w 18447968"/>
                <a:gd name="connsiteY55" fmla="*/ 1256418 h 15946069"/>
                <a:gd name="connsiteX56" fmla="*/ 10323633 w 18447968"/>
                <a:gd name="connsiteY56" fmla="*/ 1220249 h 15946069"/>
                <a:gd name="connsiteX57" fmla="*/ 9802745 w 18447968"/>
                <a:gd name="connsiteY57" fmla="*/ 1603676 h 15946069"/>
                <a:gd name="connsiteX58" fmla="*/ 9223982 w 18447968"/>
                <a:gd name="connsiteY58" fmla="*/ 1621761 h 15946069"/>
                <a:gd name="connsiteX59" fmla="*/ 8782678 w 18447968"/>
                <a:gd name="connsiteY59" fmla="*/ 2171586 h 15946069"/>
                <a:gd name="connsiteX60" fmla="*/ 8272645 w 18447968"/>
                <a:gd name="connsiteY60" fmla="*/ 2102856 h 15946069"/>
                <a:gd name="connsiteX61" fmla="*/ 7853048 w 18447968"/>
                <a:gd name="connsiteY61" fmla="*/ 2526075 h 15946069"/>
                <a:gd name="connsiteX62" fmla="*/ 7323799 w 18447968"/>
                <a:gd name="connsiteY62" fmla="*/ 2632907 h 15946069"/>
                <a:gd name="connsiteX63" fmla="*/ 6977672 w 18447968"/>
                <a:gd name="connsiteY63" fmla="*/ 2178817 h 15946069"/>
                <a:gd name="connsiteX64" fmla="*/ 6594245 w 18447968"/>
                <a:gd name="connsiteY64" fmla="*/ 2055834 h 15946069"/>
                <a:gd name="connsiteX65" fmla="*/ 6431470 w 18447968"/>
                <a:gd name="connsiteY65" fmla="*/ 1314295 h 15946069"/>
                <a:gd name="connsiteX66" fmla="*/ 5642908 w 18447968"/>
                <a:gd name="connsiteY66" fmla="*/ 1343233 h 15946069"/>
                <a:gd name="connsiteX67" fmla="*/ 5150959 w 18447968"/>
                <a:gd name="connsiteY67" fmla="*/ 1610907 h 15946069"/>
                <a:gd name="connsiteX68" fmla="*/ 5480133 w 18447968"/>
                <a:gd name="connsiteY68" fmla="*/ 2167963 h 15946069"/>
                <a:gd name="connsiteX69" fmla="*/ 4742216 w 18447968"/>
                <a:gd name="connsiteY69" fmla="*/ 2862495 h 15946069"/>
                <a:gd name="connsiteX70" fmla="*/ 2658667 w 18447968"/>
                <a:gd name="connsiteY70" fmla="*/ 0 h 15946069"/>
                <a:gd name="connsiteX71" fmla="*/ 2658682 w 18447968"/>
                <a:gd name="connsiteY71" fmla="*/ 1018890 h 15946069"/>
                <a:gd name="connsiteX72" fmla="*/ 1850829 w 18447968"/>
                <a:gd name="connsiteY72" fmla="*/ 1730283 h 15946069"/>
                <a:gd name="connsiteX73" fmla="*/ 1404694 w 18447968"/>
                <a:gd name="connsiteY73" fmla="*/ 2272862 h 15946069"/>
                <a:gd name="connsiteX74" fmla="*/ 2351216 w 18447968"/>
                <a:gd name="connsiteY74" fmla="*/ 3388182 h 15946069"/>
                <a:gd name="connsiteX75" fmla="*/ 2658682 w 18447968"/>
                <a:gd name="connsiteY75" fmla="*/ 4286458 h 15946069"/>
                <a:gd name="connsiteX76" fmla="*/ 1935228 w 18447968"/>
                <a:gd name="connsiteY76" fmla="*/ 5220918 h 15946069"/>
                <a:gd name="connsiteX77" fmla="*/ 875281 w 18447968"/>
                <a:gd name="connsiteY77" fmla="*/ 5166646 h 15946069"/>
                <a:gd name="connsiteX78" fmla="*/ 0 w 18447968"/>
                <a:gd name="connsiteY78" fmla="*/ 5890112 h 15946069"/>
                <a:gd name="connsiteX79" fmla="*/ 72345 w 18447968"/>
                <a:gd name="connsiteY79" fmla="*/ 6921032 h 15946069"/>
                <a:gd name="connsiteX80" fmla="*/ 477776 w 18447968"/>
                <a:gd name="connsiteY8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5946033 w 18171859"/>
                <a:gd name="connsiteY39" fmla="*/ 8440272 h 15946069"/>
                <a:gd name="connsiteX40" fmla="*/ 16024409 w 18171859"/>
                <a:gd name="connsiteY40" fmla="*/ 7433474 h 15946069"/>
                <a:gd name="connsiteX41" fmla="*/ 16958870 w 18171859"/>
                <a:gd name="connsiteY41" fmla="*/ 6776350 h 15946069"/>
                <a:gd name="connsiteX42" fmla="*/ 17911414 w 18171859"/>
                <a:gd name="connsiteY42" fmla="*/ 6083041 h 15946069"/>
                <a:gd name="connsiteX43" fmla="*/ 17694370 w 18171859"/>
                <a:gd name="connsiteY43" fmla="*/ 5570592 h 15946069"/>
                <a:gd name="connsiteX44" fmla="*/ 17385711 w 18171859"/>
                <a:gd name="connsiteY44" fmla="*/ 5219213 h 15946069"/>
                <a:gd name="connsiteX45" fmla="*/ 17637701 w 18171859"/>
                <a:gd name="connsiteY45" fmla="*/ 4819407 h 15946069"/>
                <a:gd name="connsiteX46" fmla="*/ 18171858 w 18171859"/>
                <a:gd name="connsiteY46" fmla="*/ 4701949 h 15946069"/>
                <a:gd name="connsiteX47" fmla="*/ 17814953 w 18171859"/>
                <a:gd name="connsiteY47" fmla="*/ 4117660 h 15946069"/>
                <a:gd name="connsiteX48" fmla="*/ 16852763 w 18171859"/>
                <a:gd name="connsiteY48" fmla="*/ 3282076 h 15946069"/>
                <a:gd name="connsiteX49" fmla="*/ 14429201 w 18171859"/>
                <a:gd name="connsiteY49" fmla="*/ 4027238 h 15946069"/>
                <a:gd name="connsiteX50" fmla="*/ 13383819 w 18171859"/>
                <a:gd name="connsiteY50" fmla="*/ 2963756 h 15946069"/>
                <a:gd name="connsiteX51" fmla="*/ 12493981 w 18171859"/>
                <a:gd name="connsiteY51" fmla="*/ 2927587 h 15946069"/>
                <a:gd name="connsiteX52" fmla="*/ 11976717 w 18171859"/>
                <a:gd name="connsiteY52" fmla="*/ 2139025 h 15946069"/>
                <a:gd name="connsiteX53" fmla="*/ 11484768 w 18171859"/>
                <a:gd name="connsiteY53" fmla="*/ 1495155 h 15946069"/>
                <a:gd name="connsiteX54" fmla="*/ 10830043 w 18171859"/>
                <a:gd name="connsiteY54" fmla="*/ 1256418 h 15946069"/>
                <a:gd name="connsiteX55" fmla="*/ 10323633 w 18171859"/>
                <a:gd name="connsiteY55" fmla="*/ 1220249 h 15946069"/>
                <a:gd name="connsiteX56" fmla="*/ 9802745 w 18171859"/>
                <a:gd name="connsiteY56" fmla="*/ 1603676 h 15946069"/>
                <a:gd name="connsiteX57" fmla="*/ 9223982 w 18171859"/>
                <a:gd name="connsiteY57" fmla="*/ 1621761 h 15946069"/>
                <a:gd name="connsiteX58" fmla="*/ 8782678 w 18171859"/>
                <a:gd name="connsiteY58" fmla="*/ 2171586 h 15946069"/>
                <a:gd name="connsiteX59" fmla="*/ 8272645 w 18171859"/>
                <a:gd name="connsiteY59" fmla="*/ 2102856 h 15946069"/>
                <a:gd name="connsiteX60" fmla="*/ 7853048 w 18171859"/>
                <a:gd name="connsiteY60" fmla="*/ 2526075 h 15946069"/>
                <a:gd name="connsiteX61" fmla="*/ 7323799 w 18171859"/>
                <a:gd name="connsiteY61" fmla="*/ 2632907 h 15946069"/>
                <a:gd name="connsiteX62" fmla="*/ 6977672 w 18171859"/>
                <a:gd name="connsiteY62" fmla="*/ 2178817 h 15946069"/>
                <a:gd name="connsiteX63" fmla="*/ 6594245 w 18171859"/>
                <a:gd name="connsiteY63" fmla="*/ 2055834 h 15946069"/>
                <a:gd name="connsiteX64" fmla="*/ 6431470 w 18171859"/>
                <a:gd name="connsiteY64" fmla="*/ 1314295 h 15946069"/>
                <a:gd name="connsiteX65" fmla="*/ 5642908 w 18171859"/>
                <a:gd name="connsiteY65" fmla="*/ 1343233 h 15946069"/>
                <a:gd name="connsiteX66" fmla="*/ 5150959 w 18171859"/>
                <a:gd name="connsiteY66" fmla="*/ 1610907 h 15946069"/>
                <a:gd name="connsiteX67" fmla="*/ 5480133 w 18171859"/>
                <a:gd name="connsiteY67" fmla="*/ 2167963 h 15946069"/>
                <a:gd name="connsiteX68" fmla="*/ 4742216 w 18171859"/>
                <a:gd name="connsiteY68" fmla="*/ 2862495 h 15946069"/>
                <a:gd name="connsiteX69" fmla="*/ 2658667 w 18171859"/>
                <a:gd name="connsiteY69" fmla="*/ 0 h 15946069"/>
                <a:gd name="connsiteX70" fmla="*/ 2658682 w 18171859"/>
                <a:gd name="connsiteY70" fmla="*/ 1018890 h 15946069"/>
                <a:gd name="connsiteX71" fmla="*/ 1850829 w 18171859"/>
                <a:gd name="connsiteY71" fmla="*/ 1730283 h 15946069"/>
                <a:gd name="connsiteX72" fmla="*/ 1404694 w 18171859"/>
                <a:gd name="connsiteY72" fmla="*/ 2272862 h 15946069"/>
                <a:gd name="connsiteX73" fmla="*/ 2351216 w 18171859"/>
                <a:gd name="connsiteY73" fmla="*/ 3388182 h 15946069"/>
                <a:gd name="connsiteX74" fmla="*/ 2658682 w 18171859"/>
                <a:gd name="connsiteY74" fmla="*/ 4286458 h 15946069"/>
                <a:gd name="connsiteX75" fmla="*/ 1935228 w 18171859"/>
                <a:gd name="connsiteY75" fmla="*/ 5220918 h 15946069"/>
                <a:gd name="connsiteX76" fmla="*/ 875281 w 18171859"/>
                <a:gd name="connsiteY76" fmla="*/ 5166646 h 15946069"/>
                <a:gd name="connsiteX77" fmla="*/ 0 w 18171859"/>
                <a:gd name="connsiteY77" fmla="*/ 5890112 h 15946069"/>
                <a:gd name="connsiteX78" fmla="*/ 72345 w 18171859"/>
                <a:gd name="connsiteY78" fmla="*/ 6921032 h 15946069"/>
                <a:gd name="connsiteX79" fmla="*/ 477776 w 18171859"/>
                <a:gd name="connsiteY79"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5946033 w 18171859"/>
                <a:gd name="connsiteY39" fmla="*/ 8440272 h 15946069"/>
                <a:gd name="connsiteX40" fmla="*/ 16024409 w 18171859"/>
                <a:gd name="connsiteY40" fmla="*/ 7433474 h 15946069"/>
                <a:gd name="connsiteX41" fmla="*/ 16958870 w 18171859"/>
                <a:gd name="connsiteY41" fmla="*/ 6776350 h 15946069"/>
                <a:gd name="connsiteX42" fmla="*/ 17911414 w 18171859"/>
                <a:gd name="connsiteY42" fmla="*/ 6083041 h 15946069"/>
                <a:gd name="connsiteX43" fmla="*/ 17694370 w 18171859"/>
                <a:gd name="connsiteY43" fmla="*/ 5570592 h 15946069"/>
                <a:gd name="connsiteX44" fmla="*/ 17385711 w 18171859"/>
                <a:gd name="connsiteY44" fmla="*/ 5219213 h 15946069"/>
                <a:gd name="connsiteX45" fmla="*/ 18171858 w 18171859"/>
                <a:gd name="connsiteY45" fmla="*/ 4701949 h 15946069"/>
                <a:gd name="connsiteX46" fmla="*/ 17814953 w 18171859"/>
                <a:gd name="connsiteY46" fmla="*/ 4117660 h 15946069"/>
                <a:gd name="connsiteX47" fmla="*/ 16852763 w 18171859"/>
                <a:gd name="connsiteY47" fmla="*/ 3282076 h 15946069"/>
                <a:gd name="connsiteX48" fmla="*/ 14429201 w 18171859"/>
                <a:gd name="connsiteY48" fmla="*/ 4027238 h 15946069"/>
                <a:gd name="connsiteX49" fmla="*/ 13383819 w 18171859"/>
                <a:gd name="connsiteY49" fmla="*/ 2963756 h 15946069"/>
                <a:gd name="connsiteX50" fmla="*/ 12493981 w 18171859"/>
                <a:gd name="connsiteY50" fmla="*/ 2927587 h 15946069"/>
                <a:gd name="connsiteX51" fmla="*/ 11976717 w 18171859"/>
                <a:gd name="connsiteY51" fmla="*/ 2139025 h 15946069"/>
                <a:gd name="connsiteX52" fmla="*/ 11484768 w 18171859"/>
                <a:gd name="connsiteY52" fmla="*/ 1495155 h 15946069"/>
                <a:gd name="connsiteX53" fmla="*/ 10830043 w 18171859"/>
                <a:gd name="connsiteY53" fmla="*/ 1256418 h 15946069"/>
                <a:gd name="connsiteX54" fmla="*/ 10323633 w 18171859"/>
                <a:gd name="connsiteY54" fmla="*/ 1220249 h 15946069"/>
                <a:gd name="connsiteX55" fmla="*/ 9802745 w 18171859"/>
                <a:gd name="connsiteY55" fmla="*/ 1603676 h 15946069"/>
                <a:gd name="connsiteX56" fmla="*/ 9223982 w 18171859"/>
                <a:gd name="connsiteY56" fmla="*/ 1621761 h 15946069"/>
                <a:gd name="connsiteX57" fmla="*/ 8782678 w 18171859"/>
                <a:gd name="connsiteY57" fmla="*/ 2171586 h 15946069"/>
                <a:gd name="connsiteX58" fmla="*/ 8272645 w 18171859"/>
                <a:gd name="connsiteY58" fmla="*/ 2102856 h 15946069"/>
                <a:gd name="connsiteX59" fmla="*/ 7853048 w 18171859"/>
                <a:gd name="connsiteY59" fmla="*/ 2526075 h 15946069"/>
                <a:gd name="connsiteX60" fmla="*/ 7323799 w 18171859"/>
                <a:gd name="connsiteY60" fmla="*/ 2632907 h 15946069"/>
                <a:gd name="connsiteX61" fmla="*/ 6977672 w 18171859"/>
                <a:gd name="connsiteY61" fmla="*/ 2178817 h 15946069"/>
                <a:gd name="connsiteX62" fmla="*/ 6594245 w 18171859"/>
                <a:gd name="connsiteY62" fmla="*/ 2055834 h 15946069"/>
                <a:gd name="connsiteX63" fmla="*/ 6431470 w 18171859"/>
                <a:gd name="connsiteY63" fmla="*/ 1314295 h 15946069"/>
                <a:gd name="connsiteX64" fmla="*/ 5642908 w 18171859"/>
                <a:gd name="connsiteY64" fmla="*/ 1343233 h 15946069"/>
                <a:gd name="connsiteX65" fmla="*/ 5150959 w 18171859"/>
                <a:gd name="connsiteY65" fmla="*/ 1610907 h 15946069"/>
                <a:gd name="connsiteX66" fmla="*/ 5480133 w 18171859"/>
                <a:gd name="connsiteY66" fmla="*/ 2167963 h 15946069"/>
                <a:gd name="connsiteX67" fmla="*/ 4742216 w 18171859"/>
                <a:gd name="connsiteY67" fmla="*/ 2862495 h 15946069"/>
                <a:gd name="connsiteX68" fmla="*/ 2658667 w 18171859"/>
                <a:gd name="connsiteY68" fmla="*/ 0 h 15946069"/>
                <a:gd name="connsiteX69" fmla="*/ 2658682 w 18171859"/>
                <a:gd name="connsiteY69" fmla="*/ 1018890 h 15946069"/>
                <a:gd name="connsiteX70" fmla="*/ 1850829 w 18171859"/>
                <a:gd name="connsiteY70" fmla="*/ 1730283 h 15946069"/>
                <a:gd name="connsiteX71" fmla="*/ 1404694 w 18171859"/>
                <a:gd name="connsiteY71" fmla="*/ 2272862 h 15946069"/>
                <a:gd name="connsiteX72" fmla="*/ 2351216 w 18171859"/>
                <a:gd name="connsiteY72" fmla="*/ 3388182 h 15946069"/>
                <a:gd name="connsiteX73" fmla="*/ 2658682 w 18171859"/>
                <a:gd name="connsiteY73" fmla="*/ 4286458 h 15946069"/>
                <a:gd name="connsiteX74" fmla="*/ 1935228 w 18171859"/>
                <a:gd name="connsiteY74" fmla="*/ 5220918 h 15946069"/>
                <a:gd name="connsiteX75" fmla="*/ 875281 w 18171859"/>
                <a:gd name="connsiteY75" fmla="*/ 5166646 h 15946069"/>
                <a:gd name="connsiteX76" fmla="*/ 0 w 18171859"/>
                <a:gd name="connsiteY76" fmla="*/ 5890112 h 15946069"/>
                <a:gd name="connsiteX77" fmla="*/ 72345 w 18171859"/>
                <a:gd name="connsiteY77" fmla="*/ 6921032 h 15946069"/>
                <a:gd name="connsiteX78" fmla="*/ 477776 w 18171859"/>
                <a:gd name="connsiteY78"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5946033 w 18171859"/>
                <a:gd name="connsiteY39" fmla="*/ 8440272 h 15946069"/>
                <a:gd name="connsiteX40" fmla="*/ 16024409 w 18171859"/>
                <a:gd name="connsiteY40" fmla="*/ 7433474 h 15946069"/>
                <a:gd name="connsiteX41" fmla="*/ 16958870 w 18171859"/>
                <a:gd name="connsiteY41" fmla="*/ 6776350 h 15946069"/>
                <a:gd name="connsiteX42" fmla="*/ 17911414 w 18171859"/>
                <a:gd name="connsiteY42" fmla="*/ 6083041 h 15946069"/>
                <a:gd name="connsiteX43" fmla="*/ 17385711 w 18171859"/>
                <a:gd name="connsiteY43" fmla="*/ 5219213 h 15946069"/>
                <a:gd name="connsiteX44" fmla="*/ 18171858 w 18171859"/>
                <a:gd name="connsiteY44" fmla="*/ 4701949 h 15946069"/>
                <a:gd name="connsiteX45" fmla="*/ 17814953 w 18171859"/>
                <a:gd name="connsiteY45" fmla="*/ 4117660 h 15946069"/>
                <a:gd name="connsiteX46" fmla="*/ 16852763 w 18171859"/>
                <a:gd name="connsiteY46" fmla="*/ 3282076 h 15946069"/>
                <a:gd name="connsiteX47" fmla="*/ 14429201 w 18171859"/>
                <a:gd name="connsiteY47" fmla="*/ 4027238 h 15946069"/>
                <a:gd name="connsiteX48" fmla="*/ 13383819 w 18171859"/>
                <a:gd name="connsiteY48" fmla="*/ 2963756 h 15946069"/>
                <a:gd name="connsiteX49" fmla="*/ 12493981 w 18171859"/>
                <a:gd name="connsiteY49" fmla="*/ 2927587 h 15946069"/>
                <a:gd name="connsiteX50" fmla="*/ 11976717 w 18171859"/>
                <a:gd name="connsiteY50" fmla="*/ 2139025 h 15946069"/>
                <a:gd name="connsiteX51" fmla="*/ 11484768 w 18171859"/>
                <a:gd name="connsiteY51" fmla="*/ 1495155 h 15946069"/>
                <a:gd name="connsiteX52" fmla="*/ 10830043 w 18171859"/>
                <a:gd name="connsiteY52" fmla="*/ 1256418 h 15946069"/>
                <a:gd name="connsiteX53" fmla="*/ 10323633 w 18171859"/>
                <a:gd name="connsiteY53" fmla="*/ 1220249 h 15946069"/>
                <a:gd name="connsiteX54" fmla="*/ 9802745 w 18171859"/>
                <a:gd name="connsiteY54" fmla="*/ 1603676 h 15946069"/>
                <a:gd name="connsiteX55" fmla="*/ 9223982 w 18171859"/>
                <a:gd name="connsiteY55" fmla="*/ 1621761 h 15946069"/>
                <a:gd name="connsiteX56" fmla="*/ 8782678 w 18171859"/>
                <a:gd name="connsiteY56" fmla="*/ 2171586 h 15946069"/>
                <a:gd name="connsiteX57" fmla="*/ 8272645 w 18171859"/>
                <a:gd name="connsiteY57" fmla="*/ 2102856 h 15946069"/>
                <a:gd name="connsiteX58" fmla="*/ 7853048 w 18171859"/>
                <a:gd name="connsiteY58" fmla="*/ 2526075 h 15946069"/>
                <a:gd name="connsiteX59" fmla="*/ 7323799 w 18171859"/>
                <a:gd name="connsiteY59" fmla="*/ 2632907 h 15946069"/>
                <a:gd name="connsiteX60" fmla="*/ 6977672 w 18171859"/>
                <a:gd name="connsiteY60" fmla="*/ 2178817 h 15946069"/>
                <a:gd name="connsiteX61" fmla="*/ 6594245 w 18171859"/>
                <a:gd name="connsiteY61" fmla="*/ 2055834 h 15946069"/>
                <a:gd name="connsiteX62" fmla="*/ 6431470 w 18171859"/>
                <a:gd name="connsiteY62" fmla="*/ 1314295 h 15946069"/>
                <a:gd name="connsiteX63" fmla="*/ 5642908 w 18171859"/>
                <a:gd name="connsiteY63" fmla="*/ 1343233 h 15946069"/>
                <a:gd name="connsiteX64" fmla="*/ 5150959 w 18171859"/>
                <a:gd name="connsiteY64" fmla="*/ 1610907 h 15946069"/>
                <a:gd name="connsiteX65" fmla="*/ 5480133 w 18171859"/>
                <a:gd name="connsiteY65" fmla="*/ 2167963 h 15946069"/>
                <a:gd name="connsiteX66" fmla="*/ 4742216 w 18171859"/>
                <a:gd name="connsiteY66" fmla="*/ 2862495 h 15946069"/>
                <a:gd name="connsiteX67" fmla="*/ 2658667 w 18171859"/>
                <a:gd name="connsiteY67" fmla="*/ 0 h 15946069"/>
                <a:gd name="connsiteX68" fmla="*/ 2658682 w 18171859"/>
                <a:gd name="connsiteY68" fmla="*/ 1018890 h 15946069"/>
                <a:gd name="connsiteX69" fmla="*/ 1850829 w 18171859"/>
                <a:gd name="connsiteY69" fmla="*/ 1730283 h 15946069"/>
                <a:gd name="connsiteX70" fmla="*/ 1404694 w 18171859"/>
                <a:gd name="connsiteY70" fmla="*/ 2272862 h 15946069"/>
                <a:gd name="connsiteX71" fmla="*/ 2351216 w 18171859"/>
                <a:gd name="connsiteY71" fmla="*/ 3388182 h 15946069"/>
                <a:gd name="connsiteX72" fmla="*/ 2658682 w 18171859"/>
                <a:gd name="connsiteY72" fmla="*/ 4286458 h 15946069"/>
                <a:gd name="connsiteX73" fmla="*/ 1935228 w 18171859"/>
                <a:gd name="connsiteY73" fmla="*/ 5220918 h 15946069"/>
                <a:gd name="connsiteX74" fmla="*/ 875281 w 18171859"/>
                <a:gd name="connsiteY74" fmla="*/ 5166646 h 15946069"/>
                <a:gd name="connsiteX75" fmla="*/ 0 w 18171859"/>
                <a:gd name="connsiteY75" fmla="*/ 5890112 h 15946069"/>
                <a:gd name="connsiteX76" fmla="*/ 72345 w 18171859"/>
                <a:gd name="connsiteY76" fmla="*/ 6921032 h 15946069"/>
                <a:gd name="connsiteX77" fmla="*/ 477776 w 18171859"/>
                <a:gd name="connsiteY77"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5946033 w 18171859"/>
                <a:gd name="connsiteY39" fmla="*/ 8440272 h 15946069"/>
                <a:gd name="connsiteX40" fmla="*/ 16024409 w 18171859"/>
                <a:gd name="connsiteY40" fmla="*/ 7433474 h 15946069"/>
                <a:gd name="connsiteX41" fmla="*/ 17911414 w 18171859"/>
                <a:gd name="connsiteY41" fmla="*/ 6083041 h 15946069"/>
                <a:gd name="connsiteX42" fmla="*/ 17385711 w 18171859"/>
                <a:gd name="connsiteY42" fmla="*/ 5219213 h 15946069"/>
                <a:gd name="connsiteX43" fmla="*/ 18171858 w 18171859"/>
                <a:gd name="connsiteY43" fmla="*/ 4701949 h 15946069"/>
                <a:gd name="connsiteX44" fmla="*/ 17814953 w 18171859"/>
                <a:gd name="connsiteY44" fmla="*/ 4117660 h 15946069"/>
                <a:gd name="connsiteX45" fmla="*/ 16852763 w 18171859"/>
                <a:gd name="connsiteY45" fmla="*/ 3282076 h 15946069"/>
                <a:gd name="connsiteX46" fmla="*/ 14429201 w 18171859"/>
                <a:gd name="connsiteY46" fmla="*/ 4027238 h 15946069"/>
                <a:gd name="connsiteX47" fmla="*/ 13383819 w 18171859"/>
                <a:gd name="connsiteY47" fmla="*/ 2963756 h 15946069"/>
                <a:gd name="connsiteX48" fmla="*/ 12493981 w 18171859"/>
                <a:gd name="connsiteY48" fmla="*/ 2927587 h 15946069"/>
                <a:gd name="connsiteX49" fmla="*/ 11976717 w 18171859"/>
                <a:gd name="connsiteY49" fmla="*/ 2139025 h 15946069"/>
                <a:gd name="connsiteX50" fmla="*/ 11484768 w 18171859"/>
                <a:gd name="connsiteY50" fmla="*/ 1495155 h 15946069"/>
                <a:gd name="connsiteX51" fmla="*/ 10830043 w 18171859"/>
                <a:gd name="connsiteY51" fmla="*/ 1256418 h 15946069"/>
                <a:gd name="connsiteX52" fmla="*/ 10323633 w 18171859"/>
                <a:gd name="connsiteY52" fmla="*/ 1220249 h 15946069"/>
                <a:gd name="connsiteX53" fmla="*/ 9802745 w 18171859"/>
                <a:gd name="connsiteY53" fmla="*/ 1603676 h 15946069"/>
                <a:gd name="connsiteX54" fmla="*/ 9223982 w 18171859"/>
                <a:gd name="connsiteY54" fmla="*/ 1621761 h 15946069"/>
                <a:gd name="connsiteX55" fmla="*/ 8782678 w 18171859"/>
                <a:gd name="connsiteY55" fmla="*/ 2171586 h 15946069"/>
                <a:gd name="connsiteX56" fmla="*/ 8272645 w 18171859"/>
                <a:gd name="connsiteY56" fmla="*/ 2102856 h 15946069"/>
                <a:gd name="connsiteX57" fmla="*/ 7853048 w 18171859"/>
                <a:gd name="connsiteY57" fmla="*/ 2526075 h 15946069"/>
                <a:gd name="connsiteX58" fmla="*/ 7323799 w 18171859"/>
                <a:gd name="connsiteY58" fmla="*/ 2632907 h 15946069"/>
                <a:gd name="connsiteX59" fmla="*/ 6977672 w 18171859"/>
                <a:gd name="connsiteY59" fmla="*/ 2178817 h 15946069"/>
                <a:gd name="connsiteX60" fmla="*/ 6594245 w 18171859"/>
                <a:gd name="connsiteY60" fmla="*/ 2055834 h 15946069"/>
                <a:gd name="connsiteX61" fmla="*/ 6431470 w 18171859"/>
                <a:gd name="connsiteY61" fmla="*/ 1314295 h 15946069"/>
                <a:gd name="connsiteX62" fmla="*/ 5642908 w 18171859"/>
                <a:gd name="connsiteY62" fmla="*/ 1343233 h 15946069"/>
                <a:gd name="connsiteX63" fmla="*/ 5150959 w 18171859"/>
                <a:gd name="connsiteY63" fmla="*/ 1610907 h 15946069"/>
                <a:gd name="connsiteX64" fmla="*/ 5480133 w 18171859"/>
                <a:gd name="connsiteY64" fmla="*/ 2167963 h 15946069"/>
                <a:gd name="connsiteX65" fmla="*/ 4742216 w 18171859"/>
                <a:gd name="connsiteY65" fmla="*/ 2862495 h 15946069"/>
                <a:gd name="connsiteX66" fmla="*/ 2658667 w 18171859"/>
                <a:gd name="connsiteY66" fmla="*/ 0 h 15946069"/>
                <a:gd name="connsiteX67" fmla="*/ 2658682 w 18171859"/>
                <a:gd name="connsiteY67" fmla="*/ 1018890 h 15946069"/>
                <a:gd name="connsiteX68" fmla="*/ 1850829 w 18171859"/>
                <a:gd name="connsiteY68" fmla="*/ 1730283 h 15946069"/>
                <a:gd name="connsiteX69" fmla="*/ 1404694 w 18171859"/>
                <a:gd name="connsiteY69" fmla="*/ 2272862 h 15946069"/>
                <a:gd name="connsiteX70" fmla="*/ 2351216 w 18171859"/>
                <a:gd name="connsiteY70" fmla="*/ 3388182 h 15946069"/>
                <a:gd name="connsiteX71" fmla="*/ 2658682 w 18171859"/>
                <a:gd name="connsiteY71" fmla="*/ 4286458 h 15946069"/>
                <a:gd name="connsiteX72" fmla="*/ 1935228 w 18171859"/>
                <a:gd name="connsiteY72" fmla="*/ 5220918 h 15946069"/>
                <a:gd name="connsiteX73" fmla="*/ 875281 w 18171859"/>
                <a:gd name="connsiteY73" fmla="*/ 5166646 h 15946069"/>
                <a:gd name="connsiteX74" fmla="*/ 0 w 18171859"/>
                <a:gd name="connsiteY74" fmla="*/ 5890112 h 15946069"/>
                <a:gd name="connsiteX75" fmla="*/ 72345 w 18171859"/>
                <a:gd name="connsiteY75" fmla="*/ 6921032 h 15946069"/>
                <a:gd name="connsiteX76" fmla="*/ 477776 w 18171859"/>
                <a:gd name="connsiteY76"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6024409 w 18171859"/>
                <a:gd name="connsiteY39" fmla="*/ 7433474 h 15946069"/>
                <a:gd name="connsiteX40" fmla="*/ 17911414 w 18171859"/>
                <a:gd name="connsiteY40" fmla="*/ 6083041 h 15946069"/>
                <a:gd name="connsiteX41" fmla="*/ 17385711 w 18171859"/>
                <a:gd name="connsiteY41" fmla="*/ 5219213 h 15946069"/>
                <a:gd name="connsiteX42" fmla="*/ 18171858 w 18171859"/>
                <a:gd name="connsiteY42" fmla="*/ 4701949 h 15946069"/>
                <a:gd name="connsiteX43" fmla="*/ 17814953 w 18171859"/>
                <a:gd name="connsiteY43" fmla="*/ 4117660 h 15946069"/>
                <a:gd name="connsiteX44" fmla="*/ 16852763 w 18171859"/>
                <a:gd name="connsiteY44" fmla="*/ 3282076 h 15946069"/>
                <a:gd name="connsiteX45" fmla="*/ 14429201 w 18171859"/>
                <a:gd name="connsiteY45" fmla="*/ 4027238 h 15946069"/>
                <a:gd name="connsiteX46" fmla="*/ 13383819 w 18171859"/>
                <a:gd name="connsiteY46" fmla="*/ 2963756 h 15946069"/>
                <a:gd name="connsiteX47" fmla="*/ 12493981 w 18171859"/>
                <a:gd name="connsiteY47" fmla="*/ 2927587 h 15946069"/>
                <a:gd name="connsiteX48" fmla="*/ 11976717 w 18171859"/>
                <a:gd name="connsiteY48" fmla="*/ 2139025 h 15946069"/>
                <a:gd name="connsiteX49" fmla="*/ 11484768 w 18171859"/>
                <a:gd name="connsiteY49" fmla="*/ 1495155 h 15946069"/>
                <a:gd name="connsiteX50" fmla="*/ 10830043 w 18171859"/>
                <a:gd name="connsiteY50" fmla="*/ 1256418 h 15946069"/>
                <a:gd name="connsiteX51" fmla="*/ 10323633 w 18171859"/>
                <a:gd name="connsiteY51" fmla="*/ 1220249 h 15946069"/>
                <a:gd name="connsiteX52" fmla="*/ 9802745 w 18171859"/>
                <a:gd name="connsiteY52" fmla="*/ 1603676 h 15946069"/>
                <a:gd name="connsiteX53" fmla="*/ 9223982 w 18171859"/>
                <a:gd name="connsiteY53" fmla="*/ 1621761 h 15946069"/>
                <a:gd name="connsiteX54" fmla="*/ 8782678 w 18171859"/>
                <a:gd name="connsiteY54" fmla="*/ 2171586 h 15946069"/>
                <a:gd name="connsiteX55" fmla="*/ 8272645 w 18171859"/>
                <a:gd name="connsiteY55" fmla="*/ 2102856 h 15946069"/>
                <a:gd name="connsiteX56" fmla="*/ 7853048 w 18171859"/>
                <a:gd name="connsiteY56" fmla="*/ 2526075 h 15946069"/>
                <a:gd name="connsiteX57" fmla="*/ 7323799 w 18171859"/>
                <a:gd name="connsiteY57" fmla="*/ 2632907 h 15946069"/>
                <a:gd name="connsiteX58" fmla="*/ 6977672 w 18171859"/>
                <a:gd name="connsiteY58" fmla="*/ 2178817 h 15946069"/>
                <a:gd name="connsiteX59" fmla="*/ 6594245 w 18171859"/>
                <a:gd name="connsiteY59" fmla="*/ 2055834 h 15946069"/>
                <a:gd name="connsiteX60" fmla="*/ 6431470 w 18171859"/>
                <a:gd name="connsiteY60" fmla="*/ 1314295 h 15946069"/>
                <a:gd name="connsiteX61" fmla="*/ 5642908 w 18171859"/>
                <a:gd name="connsiteY61" fmla="*/ 1343233 h 15946069"/>
                <a:gd name="connsiteX62" fmla="*/ 5150959 w 18171859"/>
                <a:gd name="connsiteY62" fmla="*/ 1610907 h 15946069"/>
                <a:gd name="connsiteX63" fmla="*/ 5480133 w 18171859"/>
                <a:gd name="connsiteY63" fmla="*/ 2167963 h 15946069"/>
                <a:gd name="connsiteX64" fmla="*/ 4742216 w 18171859"/>
                <a:gd name="connsiteY64" fmla="*/ 2862495 h 15946069"/>
                <a:gd name="connsiteX65" fmla="*/ 2658667 w 18171859"/>
                <a:gd name="connsiteY65" fmla="*/ 0 h 15946069"/>
                <a:gd name="connsiteX66" fmla="*/ 2658682 w 18171859"/>
                <a:gd name="connsiteY66" fmla="*/ 1018890 h 15946069"/>
                <a:gd name="connsiteX67" fmla="*/ 1850829 w 18171859"/>
                <a:gd name="connsiteY67" fmla="*/ 1730283 h 15946069"/>
                <a:gd name="connsiteX68" fmla="*/ 1404694 w 18171859"/>
                <a:gd name="connsiteY68" fmla="*/ 2272862 h 15946069"/>
                <a:gd name="connsiteX69" fmla="*/ 2351216 w 18171859"/>
                <a:gd name="connsiteY69" fmla="*/ 3388182 h 15946069"/>
                <a:gd name="connsiteX70" fmla="*/ 2658682 w 18171859"/>
                <a:gd name="connsiteY70" fmla="*/ 4286458 h 15946069"/>
                <a:gd name="connsiteX71" fmla="*/ 1935228 w 18171859"/>
                <a:gd name="connsiteY71" fmla="*/ 5220918 h 15946069"/>
                <a:gd name="connsiteX72" fmla="*/ 875281 w 18171859"/>
                <a:gd name="connsiteY72" fmla="*/ 5166646 h 15946069"/>
                <a:gd name="connsiteX73" fmla="*/ 0 w 18171859"/>
                <a:gd name="connsiteY73" fmla="*/ 5890112 h 15946069"/>
                <a:gd name="connsiteX74" fmla="*/ 72345 w 18171859"/>
                <a:gd name="connsiteY74" fmla="*/ 6921032 h 15946069"/>
                <a:gd name="connsiteX75" fmla="*/ 477776 w 18171859"/>
                <a:gd name="connsiteY75"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428336 w 18171859"/>
                <a:gd name="connsiteY37" fmla="*/ 9374732 h 15946069"/>
                <a:gd name="connsiteX38" fmla="*/ 16024409 w 18171859"/>
                <a:gd name="connsiteY38" fmla="*/ 7433474 h 15946069"/>
                <a:gd name="connsiteX39" fmla="*/ 17911414 w 18171859"/>
                <a:gd name="connsiteY39" fmla="*/ 6083041 h 15946069"/>
                <a:gd name="connsiteX40" fmla="*/ 17385711 w 18171859"/>
                <a:gd name="connsiteY40" fmla="*/ 5219213 h 15946069"/>
                <a:gd name="connsiteX41" fmla="*/ 18171858 w 18171859"/>
                <a:gd name="connsiteY41" fmla="*/ 4701949 h 15946069"/>
                <a:gd name="connsiteX42" fmla="*/ 17814953 w 18171859"/>
                <a:gd name="connsiteY42" fmla="*/ 4117660 h 15946069"/>
                <a:gd name="connsiteX43" fmla="*/ 16852763 w 18171859"/>
                <a:gd name="connsiteY43" fmla="*/ 3282076 h 15946069"/>
                <a:gd name="connsiteX44" fmla="*/ 14429201 w 18171859"/>
                <a:gd name="connsiteY44" fmla="*/ 4027238 h 15946069"/>
                <a:gd name="connsiteX45" fmla="*/ 13383819 w 18171859"/>
                <a:gd name="connsiteY45" fmla="*/ 2963756 h 15946069"/>
                <a:gd name="connsiteX46" fmla="*/ 12493981 w 18171859"/>
                <a:gd name="connsiteY46" fmla="*/ 2927587 h 15946069"/>
                <a:gd name="connsiteX47" fmla="*/ 11976717 w 18171859"/>
                <a:gd name="connsiteY47" fmla="*/ 2139025 h 15946069"/>
                <a:gd name="connsiteX48" fmla="*/ 11484768 w 18171859"/>
                <a:gd name="connsiteY48" fmla="*/ 1495155 h 15946069"/>
                <a:gd name="connsiteX49" fmla="*/ 10830043 w 18171859"/>
                <a:gd name="connsiteY49" fmla="*/ 1256418 h 15946069"/>
                <a:gd name="connsiteX50" fmla="*/ 10323633 w 18171859"/>
                <a:gd name="connsiteY50" fmla="*/ 1220249 h 15946069"/>
                <a:gd name="connsiteX51" fmla="*/ 9802745 w 18171859"/>
                <a:gd name="connsiteY51" fmla="*/ 1603676 h 15946069"/>
                <a:gd name="connsiteX52" fmla="*/ 9223982 w 18171859"/>
                <a:gd name="connsiteY52" fmla="*/ 1621761 h 15946069"/>
                <a:gd name="connsiteX53" fmla="*/ 8782678 w 18171859"/>
                <a:gd name="connsiteY53" fmla="*/ 2171586 h 15946069"/>
                <a:gd name="connsiteX54" fmla="*/ 8272645 w 18171859"/>
                <a:gd name="connsiteY54" fmla="*/ 2102856 h 15946069"/>
                <a:gd name="connsiteX55" fmla="*/ 7853048 w 18171859"/>
                <a:gd name="connsiteY55" fmla="*/ 2526075 h 15946069"/>
                <a:gd name="connsiteX56" fmla="*/ 7323799 w 18171859"/>
                <a:gd name="connsiteY56" fmla="*/ 2632907 h 15946069"/>
                <a:gd name="connsiteX57" fmla="*/ 6977672 w 18171859"/>
                <a:gd name="connsiteY57" fmla="*/ 2178817 h 15946069"/>
                <a:gd name="connsiteX58" fmla="*/ 6594245 w 18171859"/>
                <a:gd name="connsiteY58" fmla="*/ 2055834 h 15946069"/>
                <a:gd name="connsiteX59" fmla="*/ 6431470 w 18171859"/>
                <a:gd name="connsiteY59" fmla="*/ 1314295 h 15946069"/>
                <a:gd name="connsiteX60" fmla="*/ 5642908 w 18171859"/>
                <a:gd name="connsiteY60" fmla="*/ 1343233 h 15946069"/>
                <a:gd name="connsiteX61" fmla="*/ 5150959 w 18171859"/>
                <a:gd name="connsiteY61" fmla="*/ 1610907 h 15946069"/>
                <a:gd name="connsiteX62" fmla="*/ 5480133 w 18171859"/>
                <a:gd name="connsiteY62" fmla="*/ 2167963 h 15946069"/>
                <a:gd name="connsiteX63" fmla="*/ 4742216 w 18171859"/>
                <a:gd name="connsiteY63" fmla="*/ 2862495 h 15946069"/>
                <a:gd name="connsiteX64" fmla="*/ 2658667 w 18171859"/>
                <a:gd name="connsiteY64" fmla="*/ 0 h 15946069"/>
                <a:gd name="connsiteX65" fmla="*/ 2658682 w 18171859"/>
                <a:gd name="connsiteY65" fmla="*/ 1018890 h 15946069"/>
                <a:gd name="connsiteX66" fmla="*/ 1850829 w 18171859"/>
                <a:gd name="connsiteY66" fmla="*/ 1730283 h 15946069"/>
                <a:gd name="connsiteX67" fmla="*/ 1404694 w 18171859"/>
                <a:gd name="connsiteY67" fmla="*/ 2272862 h 15946069"/>
                <a:gd name="connsiteX68" fmla="*/ 2351216 w 18171859"/>
                <a:gd name="connsiteY68" fmla="*/ 3388182 h 15946069"/>
                <a:gd name="connsiteX69" fmla="*/ 2658682 w 18171859"/>
                <a:gd name="connsiteY69" fmla="*/ 4286458 h 15946069"/>
                <a:gd name="connsiteX70" fmla="*/ 1935228 w 18171859"/>
                <a:gd name="connsiteY70" fmla="*/ 5220918 h 15946069"/>
                <a:gd name="connsiteX71" fmla="*/ 875281 w 18171859"/>
                <a:gd name="connsiteY71" fmla="*/ 5166646 h 15946069"/>
                <a:gd name="connsiteX72" fmla="*/ 0 w 18171859"/>
                <a:gd name="connsiteY72" fmla="*/ 5890112 h 15946069"/>
                <a:gd name="connsiteX73" fmla="*/ 72345 w 18171859"/>
                <a:gd name="connsiteY73" fmla="*/ 6921032 h 15946069"/>
                <a:gd name="connsiteX74" fmla="*/ 477776 w 18171859"/>
                <a:gd name="connsiteY74"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6413199 w 18171859"/>
                <a:gd name="connsiteY35" fmla="*/ 10920339 h 15946069"/>
                <a:gd name="connsiteX36" fmla="*/ 16428336 w 18171859"/>
                <a:gd name="connsiteY36" fmla="*/ 9374732 h 15946069"/>
                <a:gd name="connsiteX37" fmla="*/ 16024409 w 18171859"/>
                <a:gd name="connsiteY37" fmla="*/ 7433474 h 15946069"/>
                <a:gd name="connsiteX38" fmla="*/ 17911414 w 18171859"/>
                <a:gd name="connsiteY38" fmla="*/ 6083041 h 15946069"/>
                <a:gd name="connsiteX39" fmla="*/ 17385711 w 18171859"/>
                <a:gd name="connsiteY39" fmla="*/ 5219213 h 15946069"/>
                <a:gd name="connsiteX40" fmla="*/ 18171858 w 18171859"/>
                <a:gd name="connsiteY40" fmla="*/ 4701949 h 15946069"/>
                <a:gd name="connsiteX41" fmla="*/ 17814953 w 18171859"/>
                <a:gd name="connsiteY41" fmla="*/ 4117660 h 15946069"/>
                <a:gd name="connsiteX42" fmla="*/ 16852763 w 18171859"/>
                <a:gd name="connsiteY42" fmla="*/ 3282076 h 15946069"/>
                <a:gd name="connsiteX43" fmla="*/ 14429201 w 18171859"/>
                <a:gd name="connsiteY43" fmla="*/ 4027238 h 15946069"/>
                <a:gd name="connsiteX44" fmla="*/ 13383819 w 18171859"/>
                <a:gd name="connsiteY44" fmla="*/ 2963756 h 15946069"/>
                <a:gd name="connsiteX45" fmla="*/ 12493981 w 18171859"/>
                <a:gd name="connsiteY45" fmla="*/ 2927587 h 15946069"/>
                <a:gd name="connsiteX46" fmla="*/ 11976717 w 18171859"/>
                <a:gd name="connsiteY46" fmla="*/ 2139025 h 15946069"/>
                <a:gd name="connsiteX47" fmla="*/ 11484768 w 18171859"/>
                <a:gd name="connsiteY47" fmla="*/ 1495155 h 15946069"/>
                <a:gd name="connsiteX48" fmla="*/ 10830043 w 18171859"/>
                <a:gd name="connsiteY48" fmla="*/ 1256418 h 15946069"/>
                <a:gd name="connsiteX49" fmla="*/ 10323633 w 18171859"/>
                <a:gd name="connsiteY49" fmla="*/ 1220249 h 15946069"/>
                <a:gd name="connsiteX50" fmla="*/ 9802745 w 18171859"/>
                <a:gd name="connsiteY50" fmla="*/ 1603676 h 15946069"/>
                <a:gd name="connsiteX51" fmla="*/ 9223982 w 18171859"/>
                <a:gd name="connsiteY51" fmla="*/ 1621761 h 15946069"/>
                <a:gd name="connsiteX52" fmla="*/ 8782678 w 18171859"/>
                <a:gd name="connsiteY52" fmla="*/ 2171586 h 15946069"/>
                <a:gd name="connsiteX53" fmla="*/ 8272645 w 18171859"/>
                <a:gd name="connsiteY53" fmla="*/ 2102856 h 15946069"/>
                <a:gd name="connsiteX54" fmla="*/ 7853048 w 18171859"/>
                <a:gd name="connsiteY54" fmla="*/ 2526075 h 15946069"/>
                <a:gd name="connsiteX55" fmla="*/ 7323799 w 18171859"/>
                <a:gd name="connsiteY55" fmla="*/ 2632907 h 15946069"/>
                <a:gd name="connsiteX56" fmla="*/ 6977672 w 18171859"/>
                <a:gd name="connsiteY56" fmla="*/ 2178817 h 15946069"/>
                <a:gd name="connsiteX57" fmla="*/ 6594245 w 18171859"/>
                <a:gd name="connsiteY57" fmla="*/ 2055834 h 15946069"/>
                <a:gd name="connsiteX58" fmla="*/ 6431470 w 18171859"/>
                <a:gd name="connsiteY58" fmla="*/ 1314295 h 15946069"/>
                <a:gd name="connsiteX59" fmla="*/ 5642908 w 18171859"/>
                <a:gd name="connsiteY59" fmla="*/ 1343233 h 15946069"/>
                <a:gd name="connsiteX60" fmla="*/ 5150959 w 18171859"/>
                <a:gd name="connsiteY60" fmla="*/ 1610907 h 15946069"/>
                <a:gd name="connsiteX61" fmla="*/ 5480133 w 18171859"/>
                <a:gd name="connsiteY61" fmla="*/ 2167963 h 15946069"/>
                <a:gd name="connsiteX62" fmla="*/ 4742216 w 18171859"/>
                <a:gd name="connsiteY62" fmla="*/ 2862495 h 15946069"/>
                <a:gd name="connsiteX63" fmla="*/ 2658667 w 18171859"/>
                <a:gd name="connsiteY63" fmla="*/ 0 h 15946069"/>
                <a:gd name="connsiteX64" fmla="*/ 2658682 w 18171859"/>
                <a:gd name="connsiteY64" fmla="*/ 1018890 h 15946069"/>
                <a:gd name="connsiteX65" fmla="*/ 1850829 w 18171859"/>
                <a:gd name="connsiteY65" fmla="*/ 1730283 h 15946069"/>
                <a:gd name="connsiteX66" fmla="*/ 1404694 w 18171859"/>
                <a:gd name="connsiteY66" fmla="*/ 2272862 h 15946069"/>
                <a:gd name="connsiteX67" fmla="*/ 2351216 w 18171859"/>
                <a:gd name="connsiteY67" fmla="*/ 3388182 h 15946069"/>
                <a:gd name="connsiteX68" fmla="*/ 2658682 w 18171859"/>
                <a:gd name="connsiteY68" fmla="*/ 4286458 h 15946069"/>
                <a:gd name="connsiteX69" fmla="*/ 1935228 w 18171859"/>
                <a:gd name="connsiteY69" fmla="*/ 5220918 h 15946069"/>
                <a:gd name="connsiteX70" fmla="*/ 875281 w 18171859"/>
                <a:gd name="connsiteY70" fmla="*/ 5166646 h 15946069"/>
                <a:gd name="connsiteX71" fmla="*/ 0 w 18171859"/>
                <a:gd name="connsiteY71" fmla="*/ 5890112 h 15946069"/>
                <a:gd name="connsiteX72" fmla="*/ 72345 w 18171859"/>
                <a:gd name="connsiteY72" fmla="*/ 6921032 h 15946069"/>
                <a:gd name="connsiteX73" fmla="*/ 477776 w 18171859"/>
                <a:gd name="connsiteY73"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5409477 w 18171859"/>
                <a:gd name="connsiteY33" fmla="*/ 11882693 h 15946069"/>
                <a:gd name="connsiteX34" fmla="*/ 16413199 w 18171859"/>
                <a:gd name="connsiteY34" fmla="*/ 10920339 h 15946069"/>
                <a:gd name="connsiteX35" fmla="*/ 16428336 w 18171859"/>
                <a:gd name="connsiteY35" fmla="*/ 9374732 h 15946069"/>
                <a:gd name="connsiteX36" fmla="*/ 16024409 w 18171859"/>
                <a:gd name="connsiteY36" fmla="*/ 7433474 h 15946069"/>
                <a:gd name="connsiteX37" fmla="*/ 17911414 w 18171859"/>
                <a:gd name="connsiteY37" fmla="*/ 6083041 h 15946069"/>
                <a:gd name="connsiteX38" fmla="*/ 17385711 w 18171859"/>
                <a:gd name="connsiteY38" fmla="*/ 5219213 h 15946069"/>
                <a:gd name="connsiteX39" fmla="*/ 18171858 w 18171859"/>
                <a:gd name="connsiteY39" fmla="*/ 4701949 h 15946069"/>
                <a:gd name="connsiteX40" fmla="*/ 17814953 w 18171859"/>
                <a:gd name="connsiteY40" fmla="*/ 4117660 h 15946069"/>
                <a:gd name="connsiteX41" fmla="*/ 16852763 w 18171859"/>
                <a:gd name="connsiteY41" fmla="*/ 3282076 h 15946069"/>
                <a:gd name="connsiteX42" fmla="*/ 14429201 w 18171859"/>
                <a:gd name="connsiteY42" fmla="*/ 4027238 h 15946069"/>
                <a:gd name="connsiteX43" fmla="*/ 13383819 w 18171859"/>
                <a:gd name="connsiteY43" fmla="*/ 2963756 h 15946069"/>
                <a:gd name="connsiteX44" fmla="*/ 12493981 w 18171859"/>
                <a:gd name="connsiteY44" fmla="*/ 2927587 h 15946069"/>
                <a:gd name="connsiteX45" fmla="*/ 11976717 w 18171859"/>
                <a:gd name="connsiteY45" fmla="*/ 2139025 h 15946069"/>
                <a:gd name="connsiteX46" fmla="*/ 11484768 w 18171859"/>
                <a:gd name="connsiteY46" fmla="*/ 1495155 h 15946069"/>
                <a:gd name="connsiteX47" fmla="*/ 10830043 w 18171859"/>
                <a:gd name="connsiteY47" fmla="*/ 1256418 h 15946069"/>
                <a:gd name="connsiteX48" fmla="*/ 10323633 w 18171859"/>
                <a:gd name="connsiteY48" fmla="*/ 1220249 h 15946069"/>
                <a:gd name="connsiteX49" fmla="*/ 9802745 w 18171859"/>
                <a:gd name="connsiteY49" fmla="*/ 1603676 h 15946069"/>
                <a:gd name="connsiteX50" fmla="*/ 9223982 w 18171859"/>
                <a:gd name="connsiteY50" fmla="*/ 1621761 h 15946069"/>
                <a:gd name="connsiteX51" fmla="*/ 8782678 w 18171859"/>
                <a:gd name="connsiteY51" fmla="*/ 2171586 h 15946069"/>
                <a:gd name="connsiteX52" fmla="*/ 8272645 w 18171859"/>
                <a:gd name="connsiteY52" fmla="*/ 2102856 h 15946069"/>
                <a:gd name="connsiteX53" fmla="*/ 7853048 w 18171859"/>
                <a:gd name="connsiteY53" fmla="*/ 2526075 h 15946069"/>
                <a:gd name="connsiteX54" fmla="*/ 7323799 w 18171859"/>
                <a:gd name="connsiteY54" fmla="*/ 2632907 h 15946069"/>
                <a:gd name="connsiteX55" fmla="*/ 6977672 w 18171859"/>
                <a:gd name="connsiteY55" fmla="*/ 2178817 h 15946069"/>
                <a:gd name="connsiteX56" fmla="*/ 6594245 w 18171859"/>
                <a:gd name="connsiteY56" fmla="*/ 2055834 h 15946069"/>
                <a:gd name="connsiteX57" fmla="*/ 6431470 w 18171859"/>
                <a:gd name="connsiteY57" fmla="*/ 1314295 h 15946069"/>
                <a:gd name="connsiteX58" fmla="*/ 5642908 w 18171859"/>
                <a:gd name="connsiteY58" fmla="*/ 1343233 h 15946069"/>
                <a:gd name="connsiteX59" fmla="*/ 5150959 w 18171859"/>
                <a:gd name="connsiteY59" fmla="*/ 1610907 h 15946069"/>
                <a:gd name="connsiteX60" fmla="*/ 5480133 w 18171859"/>
                <a:gd name="connsiteY60" fmla="*/ 2167963 h 15946069"/>
                <a:gd name="connsiteX61" fmla="*/ 4742216 w 18171859"/>
                <a:gd name="connsiteY61" fmla="*/ 2862495 h 15946069"/>
                <a:gd name="connsiteX62" fmla="*/ 2658667 w 18171859"/>
                <a:gd name="connsiteY62" fmla="*/ 0 h 15946069"/>
                <a:gd name="connsiteX63" fmla="*/ 2658682 w 18171859"/>
                <a:gd name="connsiteY63" fmla="*/ 1018890 h 15946069"/>
                <a:gd name="connsiteX64" fmla="*/ 1850829 w 18171859"/>
                <a:gd name="connsiteY64" fmla="*/ 1730283 h 15946069"/>
                <a:gd name="connsiteX65" fmla="*/ 1404694 w 18171859"/>
                <a:gd name="connsiteY65" fmla="*/ 2272862 h 15946069"/>
                <a:gd name="connsiteX66" fmla="*/ 2351216 w 18171859"/>
                <a:gd name="connsiteY66" fmla="*/ 3388182 h 15946069"/>
                <a:gd name="connsiteX67" fmla="*/ 2658682 w 18171859"/>
                <a:gd name="connsiteY67" fmla="*/ 4286458 h 15946069"/>
                <a:gd name="connsiteX68" fmla="*/ 1935228 w 18171859"/>
                <a:gd name="connsiteY68" fmla="*/ 5220918 h 15946069"/>
                <a:gd name="connsiteX69" fmla="*/ 875281 w 18171859"/>
                <a:gd name="connsiteY69" fmla="*/ 5166646 h 15946069"/>
                <a:gd name="connsiteX70" fmla="*/ 0 w 18171859"/>
                <a:gd name="connsiteY70" fmla="*/ 5890112 h 15946069"/>
                <a:gd name="connsiteX71" fmla="*/ 72345 w 18171859"/>
                <a:gd name="connsiteY71" fmla="*/ 6921032 h 15946069"/>
                <a:gd name="connsiteX72" fmla="*/ 477776 w 18171859"/>
                <a:gd name="connsiteY72"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4004775 w 18171859"/>
                <a:gd name="connsiteY31" fmla="*/ 11611395 h 15946069"/>
                <a:gd name="connsiteX32" fmla="*/ 15409477 w 18171859"/>
                <a:gd name="connsiteY32" fmla="*/ 11882693 h 15946069"/>
                <a:gd name="connsiteX33" fmla="*/ 16413199 w 18171859"/>
                <a:gd name="connsiteY33" fmla="*/ 10920339 h 15946069"/>
                <a:gd name="connsiteX34" fmla="*/ 16428336 w 18171859"/>
                <a:gd name="connsiteY34" fmla="*/ 9374732 h 15946069"/>
                <a:gd name="connsiteX35" fmla="*/ 16024409 w 18171859"/>
                <a:gd name="connsiteY35" fmla="*/ 7433474 h 15946069"/>
                <a:gd name="connsiteX36" fmla="*/ 17911414 w 18171859"/>
                <a:gd name="connsiteY36" fmla="*/ 6083041 h 15946069"/>
                <a:gd name="connsiteX37" fmla="*/ 17385711 w 18171859"/>
                <a:gd name="connsiteY37" fmla="*/ 5219213 h 15946069"/>
                <a:gd name="connsiteX38" fmla="*/ 18171858 w 18171859"/>
                <a:gd name="connsiteY38" fmla="*/ 4701949 h 15946069"/>
                <a:gd name="connsiteX39" fmla="*/ 17814953 w 18171859"/>
                <a:gd name="connsiteY39" fmla="*/ 4117660 h 15946069"/>
                <a:gd name="connsiteX40" fmla="*/ 16852763 w 18171859"/>
                <a:gd name="connsiteY40" fmla="*/ 3282076 h 15946069"/>
                <a:gd name="connsiteX41" fmla="*/ 14429201 w 18171859"/>
                <a:gd name="connsiteY41" fmla="*/ 4027238 h 15946069"/>
                <a:gd name="connsiteX42" fmla="*/ 13383819 w 18171859"/>
                <a:gd name="connsiteY42" fmla="*/ 2963756 h 15946069"/>
                <a:gd name="connsiteX43" fmla="*/ 12493981 w 18171859"/>
                <a:gd name="connsiteY43" fmla="*/ 2927587 h 15946069"/>
                <a:gd name="connsiteX44" fmla="*/ 11976717 w 18171859"/>
                <a:gd name="connsiteY44" fmla="*/ 2139025 h 15946069"/>
                <a:gd name="connsiteX45" fmla="*/ 11484768 w 18171859"/>
                <a:gd name="connsiteY45" fmla="*/ 1495155 h 15946069"/>
                <a:gd name="connsiteX46" fmla="*/ 10830043 w 18171859"/>
                <a:gd name="connsiteY46" fmla="*/ 1256418 h 15946069"/>
                <a:gd name="connsiteX47" fmla="*/ 10323633 w 18171859"/>
                <a:gd name="connsiteY47" fmla="*/ 1220249 h 15946069"/>
                <a:gd name="connsiteX48" fmla="*/ 9802745 w 18171859"/>
                <a:gd name="connsiteY48" fmla="*/ 1603676 h 15946069"/>
                <a:gd name="connsiteX49" fmla="*/ 9223982 w 18171859"/>
                <a:gd name="connsiteY49" fmla="*/ 1621761 h 15946069"/>
                <a:gd name="connsiteX50" fmla="*/ 8782678 w 18171859"/>
                <a:gd name="connsiteY50" fmla="*/ 2171586 h 15946069"/>
                <a:gd name="connsiteX51" fmla="*/ 8272645 w 18171859"/>
                <a:gd name="connsiteY51" fmla="*/ 2102856 h 15946069"/>
                <a:gd name="connsiteX52" fmla="*/ 7853048 w 18171859"/>
                <a:gd name="connsiteY52" fmla="*/ 2526075 h 15946069"/>
                <a:gd name="connsiteX53" fmla="*/ 7323799 w 18171859"/>
                <a:gd name="connsiteY53" fmla="*/ 2632907 h 15946069"/>
                <a:gd name="connsiteX54" fmla="*/ 6977672 w 18171859"/>
                <a:gd name="connsiteY54" fmla="*/ 2178817 h 15946069"/>
                <a:gd name="connsiteX55" fmla="*/ 6594245 w 18171859"/>
                <a:gd name="connsiteY55" fmla="*/ 2055834 h 15946069"/>
                <a:gd name="connsiteX56" fmla="*/ 6431470 w 18171859"/>
                <a:gd name="connsiteY56" fmla="*/ 1314295 h 15946069"/>
                <a:gd name="connsiteX57" fmla="*/ 5642908 w 18171859"/>
                <a:gd name="connsiteY57" fmla="*/ 1343233 h 15946069"/>
                <a:gd name="connsiteX58" fmla="*/ 5150959 w 18171859"/>
                <a:gd name="connsiteY58" fmla="*/ 1610907 h 15946069"/>
                <a:gd name="connsiteX59" fmla="*/ 5480133 w 18171859"/>
                <a:gd name="connsiteY59" fmla="*/ 2167963 h 15946069"/>
                <a:gd name="connsiteX60" fmla="*/ 4742216 w 18171859"/>
                <a:gd name="connsiteY60" fmla="*/ 2862495 h 15946069"/>
                <a:gd name="connsiteX61" fmla="*/ 2658667 w 18171859"/>
                <a:gd name="connsiteY61" fmla="*/ 0 h 15946069"/>
                <a:gd name="connsiteX62" fmla="*/ 2658682 w 18171859"/>
                <a:gd name="connsiteY62" fmla="*/ 1018890 h 15946069"/>
                <a:gd name="connsiteX63" fmla="*/ 1850829 w 18171859"/>
                <a:gd name="connsiteY63" fmla="*/ 1730283 h 15946069"/>
                <a:gd name="connsiteX64" fmla="*/ 1404694 w 18171859"/>
                <a:gd name="connsiteY64" fmla="*/ 2272862 h 15946069"/>
                <a:gd name="connsiteX65" fmla="*/ 2351216 w 18171859"/>
                <a:gd name="connsiteY65" fmla="*/ 3388182 h 15946069"/>
                <a:gd name="connsiteX66" fmla="*/ 2658682 w 18171859"/>
                <a:gd name="connsiteY66" fmla="*/ 4286458 h 15946069"/>
                <a:gd name="connsiteX67" fmla="*/ 1935228 w 18171859"/>
                <a:gd name="connsiteY67" fmla="*/ 5220918 h 15946069"/>
                <a:gd name="connsiteX68" fmla="*/ 875281 w 18171859"/>
                <a:gd name="connsiteY68" fmla="*/ 5166646 h 15946069"/>
                <a:gd name="connsiteX69" fmla="*/ 0 w 18171859"/>
                <a:gd name="connsiteY69" fmla="*/ 5890112 h 15946069"/>
                <a:gd name="connsiteX70" fmla="*/ 72345 w 18171859"/>
                <a:gd name="connsiteY70" fmla="*/ 6921032 h 15946069"/>
                <a:gd name="connsiteX71" fmla="*/ 477776 w 18171859"/>
                <a:gd name="connsiteY7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2196146 w 18171859"/>
                <a:gd name="connsiteY29" fmla="*/ 11388328 h 15946069"/>
                <a:gd name="connsiteX30" fmla="*/ 14004775 w 18171859"/>
                <a:gd name="connsiteY30" fmla="*/ 11611395 h 15946069"/>
                <a:gd name="connsiteX31" fmla="*/ 15409477 w 18171859"/>
                <a:gd name="connsiteY31" fmla="*/ 11882693 h 15946069"/>
                <a:gd name="connsiteX32" fmla="*/ 16413199 w 18171859"/>
                <a:gd name="connsiteY32" fmla="*/ 10920339 h 15946069"/>
                <a:gd name="connsiteX33" fmla="*/ 16428336 w 18171859"/>
                <a:gd name="connsiteY33" fmla="*/ 9374732 h 15946069"/>
                <a:gd name="connsiteX34" fmla="*/ 16024409 w 18171859"/>
                <a:gd name="connsiteY34" fmla="*/ 7433474 h 15946069"/>
                <a:gd name="connsiteX35" fmla="*/ 17911414 w 18171859"/>
                <a:gd name="connsiteY35" fmla="*/ 6083041 h 15946069"/>
                <a:gd name="connsiteX36" fmla="*/ 17385711 w 18171859"/>
                <a:gd name="connsiteY36" fmla="*/ 5219213 h 15946069"/>
                <a:gd name="connsiteX37" fmla="*/ 18171858 w 18171859"/>
                <a:gd name="connsiteY37" fmla="*/ 4701949 h 15946069"/>
                <a:gd name="connsiteX38" fmla="*/ 17814953 w 18171859"/>
                <a:gd name="connsiteY38" fmla="*/ 4117660 h 15946069"/>
                <a:gd name="connsiteX39" fmla="*/ 16852763 w 18171859"/>
                <a:gd name="connsiteY39" fmla="*/ 3282076 h 15946069"/>
                <a:gd name="connsiteX40" fmla="*/ 14429201 w 18171859"/>
                <a:gd name="connsiteY40" fmla="*/ 4027238 h 15946069"/>
                <a:gd name="connsiteX41" fmla="*/ 13383819 w 18171859"/>
                <a:gd name="connsiteY41" fmla="*/ 2963756 h 15946069"/>
                <a:gd name="connsiteX42" fmla="*/ 12493981 w 18171859"/>
                <a:gd name="connsiteY42" fmla="*/ 2927587 h 15946069"/>
                <a:gd name="connsiteX43" fmla="*/ 11976717 w 18171859"/>
                <a:gd name="connsiteY43" fmla="*/ 2139025 h 15946069"/>
                <a:gd name="connsiteX44" fmla="*/ 11484768 w 18171859"/>
                <a:gd name="connsiteY44" fmla="*/ 1495155 h 15946069"/>
                <a:gd name="connsiteX45" fmla="*/ 10830043 w 18171859"/>
                <a:gd name="connsiteY45" fmla="*/ 1256418 h 15946069"/>
                <a:gd name="connsiteX46" fmla="*/ 10323633 w 18171859"/>
                <a:gd name="connsiteY46" fmla="*/ 1220249 h 15946069"/>
                <a:gd name="connsiteX47" fmla="*/ 9802745 w 18171859"/>
                <a:gd name="connsiteY47" fmla="*/ 1603676 h 15946069"/>
                <a:gd name="connsiteX48" fmla="*/ 9223982 w 18171859"/>
                <a:gd name="connsiteY48" fmla="*/ 1621761 h 15946069"/>
                <a:gd name="connsiteX49" fmla="*/ 8782678 w 18171859"/>
                <a:gd name="connsiteY49" fmla="*/ 2171586 h 15946069"/>
                <a:gd name="connsiteX50" fmla="*/ 8272645 w 18171859"/>
                <a:gd name="connsiteY50" fmla="*/ 2102856 h 15946069"/>
                <a:gd name="connsiteX51" fmla="*/ 7853048 w 18171859"/>
                <a:gd name="connsiteY51" fmla="*/ 2526075 h 15946069"/>
                <a:gd name="connsiteX52" fmla="*/ 7323799 w 18171859"/>
                <a:gd name="connsiteY52" fmla="*/ 2632907 h 15946069"/>
                <a:gd name="connsiteX53" fmla="*/ 6977672 w 18171859"/>
                <a:gd name="connsiteY53" fmla="*/ 2178817 h 15946069"/>
                <a:gd name="connsiteX54" fmla="*/ 6594245 w 18171859"/>
                <a:gd name="connsiteY54" fmla="*/ 2055834 h 15946069"/>
                <a:gd name="connsiteX55" fmla="*/ 6431470 w 18171859"/>
                <a:gd name="connsiteY55" fmla="*/ 1314295 h 15946069"/>
                <a:gd name="connsiteX56" fmla="*/ 5642908 w 18171859"/>
                <a:gd name="connsiteY56" fmla="*/ 1343233 h 15946069"/>
                <a:gd name="connsiteX57" fmla="*/ 5150959 w 18171859"/>
                <a:gd name="connsiteY57" fmla="*/ 1610907 h 15946069"/>
                <a:gd name="connsiteX58" fmla="*/ 5480133 w 18171859"/>
                <a:gd name="connsiteY58" fmla="*/ 2167963 h 15946069"/>
                <a:gd name="connsiteX59" fmla="*/ 4742216 w 18171859"/>
                <a:gd name="connsiteY59" fmla="*/ 2862495 h 15946069"/>
                <a:gd name="connsiteX60" fmla="*/ 2658667 w 18171859"/>
                <a:gd name="connsiteY60" fmla="*/ 0 h 15946069"/>
                <a:gd name="connsiteX61" fmla="*/ 2658682 w 18171859"/>
                <a:gd name="connsiteY61" fmla="*/ 1018890 h 15946069"/>
                <a:gd name="connsiteX62" fmla="*/ 1850829 w 18171859"/>
                <a:gd name="connsiteY62" fmla="*/ 1730283 h 15946069"/>
                <a:gd name="connsiteX63" fmla="*/ 1404694 w 18171859"/>
                <a:gd name="connsiteY63" fmla="*/ 2272862 h 15946069"/>
                <a:gd name="connsiteX64" fmla="*/ 2351216 w 18171859"/>
                <a:gd name="connsiteY64" fmla="*/ 3388182 h 15946069"/>
                <a:gd name="connsiteX65" fmla="*/ 2658682 w 18171859"/>
                <a:gd name="connsiteY65" fmla="*/ 4286458 h 15946069"/>
                <a:gd name="connsiteX66" fmla="*/ 1935228 w 18171859"/>
                <a:gd name="connsiteY66" fmla="*/ 5220918 h 15946069"/>
                <a:gd name="connsiteX67" fmla="*/ 875281 w 18171859"/>
                <a:gd name="connsiteY67" fmla="*/ 5166646 h 15946069"/>
                <a:gd name="connsiteX68" fmla="*/ 0 w 18171859"/>
                <a:gd name="connsiteY68" fmla="*/ 5890112 h 15946069"/>
                <a:gd name="connsiteX69" fmla="*/ 72345 w 18171859"/>
                <a:gd name="connsiteY69" fmla="*/ 6921032 h 15946069"/>
                <a:gd name="connsiteX70" fmla="*/ 477776 w 18171859"/>
                <a:gd name="connsiteY7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780218 w 18171859"/>
                <a:gd name="connsiteY27" fmla="*/ 13579811 h 15946069"/>
                <a:gd name="connsiteX28" fmla="*/ 12196146 w 18171859"/>
                <a:gd name="connsiteY28" fmla="*/ 11388328 h 15946069"/>
                <a:gd name="connsiteX29" fmla="*/ 14004775 w 18171859"/>
                <a:gd name="connsiteY29" fmla="*/ 11611395 h 15946069"/>
                <a:gd name="connsiteX30" fmla="*/ 15409477 w 18171859"/>
                <a:gd name="connsiteY30" fmla="*/ 11882693 h 15946069"/>
                <a:gd name="connsiteX31" fmla="*/ 16413199 w 18171859"/>
                <a:gd name="connsiteY31" fmla="*/ 10920339 h 15946069"/>
                <a:gd name="connsiteX32" fmla="*/ 16428336 w 18171859"/>
                <a:gd name="connsiteY32" fmla="*/ 9374732 h 15946069"/>
                <a:gd name="connsiteX33" fmla="*/ 16024409 w 18171859"/>
                <a:gd name="connsiteY33" fmla="*/ 7433474 h 15946069"/>
                <a:gd name="connsiteX34" fmla="*/ 17911414 w 18171859"/>
                <a:gd name="connsiteY34" fmla="*/ 6083041 h 15946069"/>
                <a:gd name="connsiteX35" fmla="*/ 17385711 w 18171859"/>
                <a:gd name="connsiteY35" fmla="*/ 5219213 h 15946069"/>
                <a:gd name="connsiteX36" fmla="*/ 18171858 w 18171859"/>
                <a:gd name="connsiteY36" fmla="*/ 4701949 h 15946069"/>
                <a:gd name="connsiteX37" fmla="*/ 17814953 w 18171859"/>
                <a:gd name="connsiteY37" fmla="*/ 4117660 h 15946069"/>
                <a:gd name="connsiteX38" fmla="*/ 16852763 w 18171859"/>
                <a:gd name="connsiteY38" fmla="*/ 3282076 h 15946069"/>
                <a:gd name="connsiteX39" fmla="*/ 14429201 w 18171859"/>
                <a:gd name="connsiteY39" fmla="*/ 4027238 h 15946069"/>
                <a:gd name="connsiteX40" fmla="*/ 13383819 w 18171859"/>
                <a:gd name="connsiteY40" fmla="*/ 2963756 h 15946069"/>
                <a:gd name="connsiteX41" fmla="*/ 12493981 w 18171859"/>
                <a:gd name="connsiteY41" fmla="*/ 2927587 h 15946069"/>
                <a:gd name="connsiteX42" fmla="*/ 11976717 w 18171859"/>
                <a:gd name="connsiteY42" fmla="*/ 2139025 h 15946069"/>
                <a:gd name="connsiteX43" fmla="*/ 11484768 w 18171859"/>
                <a:gd name="connsiteY43" fmla="*/ 1495155 h 15946069"/>
                <a:gd name="connsiteX44" fmla="*/ 10830043 w 18171859"/>
                <a:gd name="connsiteY44" fmla="*/ 1256418 h 15946069"/>
                <a:gd name="connsiteX45" fmla="*/ 10323633 w 18171859"/>
                <a:gd name="connsiteY45" fmla="*/ 1220249 h 15946069"/>
                <a:gd name="connsiteX46" fmla="*/ 9802745 w 18171859"/>
                <a:gd name="connsiteY46" fmla="*/ 1603676 h 15946069"/>
                <a:gd name="connsiteX47" fmla="*/ 9223982 w 18171859"/>
                <a:gd name="connsiteY47" fmla="*/ 1621761 h 15946069"/>
                <a:gd name="connsiteX48" fmla="*/ 8782678 w 18171859"/>
                <a:gd name="connsiteY48" fmla="*/ 2171586 h 15946069"/>
                <a:gd name="connsiteX49" fmla="*/ 8272645 w 18171859"/>
                <a:gd name="connsiteY49" fmla="*/ 2102856 h 15946069"/>
                <a:gd name="connsiteX50" fmla="*/ 7853048 w 18171859"/>
                <a:gd name="connsiteY50" fmla="*/ 2526075 h 15946069"/>
                <a:gd name="connsiteX51" fmla="*/ 7323799 w 18171859"/>
                <a:gd name="connsiteY51" fmla="*/ 2632907 h 15946069"/>
                <a:gd name="connsiteX52" fmla="*/ 6977672 w 18171859"/>
                <a:gd name="connsiteY52" fmla="*/ 2178817 h 15946069"/>
                <a:gd name="connsiteX53" fmla="*/ 6594245 w 18171859"/>
                <a:gd name="connsiteY53" fmla="*/ 2055834 h 15946069"/>
                <a:gd name="connsiteX54" fmla="*/ 6431470 w 18171859"/>
                <a:gd name="connsiteY54" fmla="*/ 1314295 h 15946069"/>
                <a:gd name="connsiteX55" fmla="*/ 5642908 w 18171859"/>
                <a:gd name="connsiteY55" fmla="*/ 1343233 h 15946069"/>
                <a:gd name="connsiteX56" fmla="*/ 5150959 w 18171859"/>
                <a:gd name="connsiteY56" fmla="*/ 1610907 h 15946069"/>
                <a:gd name="connsiteX57" fmla="*/ 5480133 w 18171859"/>
                <a:gd name="connsiteY57" fmla="*/ 2167963 h 15946069"/>
                <a:gd name="connsiteX58" fmla="*/ 4742216 w 18171859"/>
                <a:gd name="connsiteY58" fmla="*/ 2862495 h 15946069"/>
                <a:gd name="connsiteX59" fmla="*/ 2658667 w 18171859"/>
                <a:gd name="connsiteY59" fmla="*/ 0 h 15946069"/>
                <a:gd name="connsiteX60" fmla="*/ 2658682 w 18171859"/>
                <a:gd name="connsiteY60" fmla="*/ 1018890 h 15946069"/>
                <a:gd name="connsiteX61" fmla="*/ 1850829 w 18171859"/>
                <a:gd name="connsiteY61" fmla="*/ 1730283 h 15946069"/>
                <a:gd name="connsiteX62" fmla="*/ 1404694 w 18171859"/>
                <a:gd name="connsiteY62" fmla="*/ 2272862 h 15946069"/>
                <a:gd name="connsiteX63" fmla="*/ 2351216 w 18171859"/>
                <a:gd name="connsiteY63" fmla="*/ 3388182 h 15946069"/>
                <a:gd name="connsiteX64" fmla="*/ 2658682 w 18171859"/>
                <a:gd name="connsiteY64" fmla="*/ 4286458 h 15946069"/>
                <a:gd name="connsiteX65" fmla="*/ 1935228 w 18171859"/>
                <a:gd name="connsiteY65" fmla="*/ 5220918 h 15946069"/>
                <a:gd name="connsiteX66" fmla="*/ 875281 w 18171859"/>
                <a:gd name="connsiteY66" fmla="*/ 5166646 h 15946069"/>
                <a:gd name="connsiteX67" fmla="*/ 0 w 18171859"/>
                <a:gd name="connsiteY67" fmla="*/ 5890112 h 15946069"/>
                <a:gd name="connsiteX68" fmla="*/ 72345 w 18171859"/>
                <a:gd name="connsiteY68" fmla="*/ 6921032 h 15946069"/>
                <a:gd name="connsiteX69" fmla="*/ 477776 w 18171859"/>
                <a:gd name="connsiteY69"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616683 w 18171859"/>
                <a:gd name="connsiteY24" fmla="*/ 15358294 h 15946069"/>
                <a:gd name="connsiteX25" fmla="*/ 11117010 w 18171859"/>
                <a:gd name="connsiteY25" fmla="*/ 15946069 h 15946069"/>
                <a:gd name="connsiteX26" fmla="*/ 11780218 w 18171859"/>
                <a:gd name="connsiteY26" fmla="*/ 13579811 h 15946069"/>
                <a:gd name="connsiteX27" fmla="*/ 12196146 w 18171859"/>
                <a:gd name="connsiteY27" fmla="*/ 11388328 h 15946069"/>
                <a:gd name="connsiteX28" fmla="*/ 14004775 w 18171859"/>
                <a:gd name="connsiteY28" fmla="*/ 11611395 h 15946069"/>
                <a:gd name="connsiteX29" fmla="*/ 15409477 w 18171859"/>
                <a:gd name="connsiteY29" fmla="*/ 11882693 h 15946069"/>
                <a:gd name="connsiteX30" fmla="*/ 16413199 w 18171859"/>
                <a:gd name="connsiteY30" fmla="*/ 10920339 h 15946069"/>
                <a:gd name="connsiteX31" fmla="*/ 16428336 w 18171859"/>
                <a:gd name="connsiteY31" fmla="*/ 9374732 h 15946069"/>
                <a:gd name="connsiteX32" fmla="*/ 16024409 w 18171859"/>
                <a:gd name="connsiteY32" fmla="*/ 7433474 h 15946069"/>
                <a:gd name="connsiteX33" fmla="*/ 17911414 w 18171859"/>
                <a:gd name="connsiteY33" fmla="*/ 6083041 h 15946069"/>
                <a:gd name="connsiteX34" fmla="*/ 17385711 w 18171859"/>
                <a:gd name="connsiteY34" fmla="*/ 5219213 h 15946069"/>
                <a:gd name="connsiteX35" fmla="*/ 18171858 w 18171859"/>
                <a:gd name="connsiteY35" fmla="*/ 4701949 h 15946069"/>
                <a:gd name="connsiteX36" fmla="*/ 17814953 w 18171859"/>
                <a:gd name="connsiteY36" fmla="*/ 4117660 h 15946069"/>
                <a:gd name="connsiteX37" fmla="*/ 16852763 w 18171859"/>
                <a:gd name="connsiteY37" fmla="*/ 3282076 h 15946069"/>
                <a:gd name="connsiteX38" fmla="*/ 14429201 w 18171859"/>
                <a:gd name="connsiteY38" fmla="*/ 4027238 h 15946069"/>
                <a:gd name="connsiteX39" fmla="*/ 13383819 w 18171859"/>
                <a:gd name="connsiteY39" fmla="*/ 2963756 h 15946069"/>
                <a:gd name="connsiteX40" fmla="*/ 12493981 w 18171859"/>
                <a:gd name="connsiteY40" fmla="*/ 2927587 h 15946069"/>
                <a:gd name="connsiteX41" fmla="*/ 11976717 w 18171859"/>
                <a:gd name="connsiteY41" fmla="*/ 2139025 h 15946069"/>
                <a:gd name="connsiteX42" fmla="*/ 11484768 w 18171859"/>
                <a:gd name="connsiteY42" fmla="*/ 1495155 h 15946069"/>
                <a:gd name="connsiteX43" fmla="*/ 10830043 w 18171859"/>
                <a:gd name="connsiteY43" fmla="*/ 1256418 h 15946069"/>
                <a:gd name="connsiteX44" fmla="*/ 10323633 w 18171859"/>
                <a:gd name="connsiteY44" fmla="*/ 1220249 h 15946069"/>
                <a:gd name="connsiteX45" fmla="*/ 9802745 w 18171859"/>
                <a:gd name="connsiteY45" fmla="*/ 1603676 h 15946069"/>
                <a:gd name="connsiteX46" fmla="*/ 9223982 w 18171859"/>
                <a:gd name="connsiteY46" fmla="*/ 1621761 h 15946069"/>
                <a:gd name="connsiteX47" fmla="*/ 8782678 w 18171859"/>
                <a:gd name="connsiteY47" fmla="*/ 2171586 h 15946069"/>
                <a:gd name="connsiteX48" fmla="*/ 8272645 w 18171859"/>
                <a:gd name="connsiteY48" fmla="*/ 2102856 h 15946069"/>
                <a:gd name="connsiteX49" fmla="*/ 7853048 w 18171859"/>
                <a:gd name="connsiteY49" fmla="*/ 2526075 h 15946069"/>
                <a:gd name="connsiteX50" fmla="*/ 7323799 w 18171859"/>
                <a:gd name="connsiteY50" fmla="*/ 2632907 h 15946069"/>
                <a:gd name="connsiteX51" fmla="*/ 6977672 w 18171859"/>
                <a:gd name="connsiteY51" fmla="*/ 2178817 h 15946069"/>
                <a:gd name="connsiteX52" fmla="*/ 6594245 w 18171859"/>
                <a:gd name="connsiteY52" fmla="*/ 2055834 h 15946069"/>
                <a:gd name="connsiteX53" fmla="*/ 6431470 w 18171859"/>
                <a:gd name="connsiteY53" fmla="*/ 1314295 h 15946069"/>
                <a:gd name="connsiteX54" fmla="*/ 5642908 w 18171859"/>
                <a:gd name="connsiteY54" fmla="*/ 1343233 h 15946069"/>
                <a:gd name="connsiteX55" fmla="*/ 5150959 w 18171859"/>
                <a:gd name="connsiteY55" fmla="*/ 1610907 h 15946069"/>
                <a:gd name="connsiteX56" fmla="*/ 5480133 w 18171859"/>
                <a:gd name="connsiteY56" fmla="*/ 2167963 h 15946069"/>
                <a:gd name="connsiteX57" fmla="*/ 4742216 w 18171859"/>
                <a:gd name="connsiteY57" fmla="*/ 2862495 h 15946069"/>
                <a:gd name="connsiteX58" fmla="*/ 2658667 w 18171859"/>
                <a:gd name="connsiteY58" fmla="*/ 0 h 15946069"/>
                <a:gd name="connsiteX59" fmla="*/ 2658682 w 18171859"/>
                <a:gd name="connsiteY59" fmla="*/ 1018890 h 15946069"/>
                <a:gd name="connsiteX60" fmla="*/ 1850829 w 18171859"/>
                <a:gd name="connsiteY60" fmla="*/ 1730283 h 15946069"/>
                <a:gd name="connsiteX61" fmla="*/ 1404694 w 18171859"/>
                <a:gd name="connsiteY61" fmla="*/ 2272862 h 15946069"/>
                <a:gd name="connsiteX62" fmla="*/ 2351216 w 18171859"/>
                <a:gd name="connsiteY62" fmla="*/ 3388182 h 15946069"/>
                <a:gd name="connsiteX63" fmla="*/ 2658682 w 18171859"/>
                <a:gd name="connsiteY63" fmla="*/ 4286458 h 15946069"/>
                <a:gd name="connsiteX64" fmla="*/ 1935228 w 18171859"/>
                <a:gd name="connsiteY64" fmla="*/ 5220918 h 15946069"/>
                <a:gd name="connsiteX65" fmla="*/ 875281 w 18171859"/>
                <a:gd name="connsiteY65" fmla="*/ 5166646 h 15946069"/>
                <a:gd name="connsiteX66" fmla="*/ 0 w 18171859"/>
                <a:gd name="connsiteY66" fmla="*/ 5890112 h 15946069"/>
                <a:gd name="connsiteX67" fmla="*/ 72345 w 18171859"/>
                <a:gd name="connsiteY67" fmla="*/ 6921032 h 15946069"/>
                <a:gd name="connsiteX68" fmla="*/ 477776 w 18171859"/>
                <a:gd name="connsiteY68"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2493981 w 18171859"/>
                <a:gd name="connsiteY39" fmla="*/ 2927587 h 15946069"/>
                <a:gd name="connsiteX40" fmla="*/ 11976717 w 18171859"/>
                <a:gd name="connsiteY40" fmla="*/ 2139025 h 15946069"/>
                <a:gd name="connsiteX41" fmla="*/ 11484768 w 18171859"/>
                <a:gd name="connsiteY41" fmla="*/ 1495155 h 15946069"/>
                <a:gd name="connsiteX42" fmla="*/ 10830043 w 18171859"/>
                <a:gd name="connsiteY42" fmla="*/ 1256418 h 15946069"/>
                <a:gd name="connsiteX43" fmla="*/ 10323633 w 18171859"/>
                <a:gd name="connsiteY43" fmla="*/ 1220249 h 15946069"/>
                <a:gd name="connsiteX44" fmla="*/ 9802745 w 18171859"/>
                <a:gd name="connsiteY44" fmla="*/ 1603676 h 15946069"/>
                <a:gd name="connsiteX45" fmla="*/ 9223982 w 18171859"/>
                <a:gd name="connsiteY45" fmla="*/ 1621761 h 15946069"/>
                <a:gd name="connsiteX46" fmla="*/ 8782678 w 18171859"/>
                <a:gd name="connsiteY46" fmla="*/ 2171586 h 15946069"/>
                <a:gd name="connsiteX47" fmla="*/ 8272645 w 18171859"/>
                <a:gd name="connsiteY47" fmla="*/ 2102856 h 15946069"/>
                <a:gd name="connsiteX48" fmla="*/ 7853048 w 18171859"/>
                <a:gd name="connsiteY48" fmla="*/ 2526075 h 15946069"/>
                <a:gd name="connsiteX49" fmla="*/ 7323799 w 18171859"/>
                <a:gd name="connsiteY49" fmla="*/ 2632907 h 15946069"/>
                <a:gd name="connsiteX50" fmla="*/ 6977672 w 18171859"/>
                <a:gd name="connsiteY50" fmla="*/ 2178817 h 15946069"/>
                <a:gd name="connsiteX51" fmla="*/ 6594245 w 18171859"/>
                <a:gd name="connsiteY51" fmla="*/ 2055834 h 15946069"/>
                <a:gd name="connsiteX52" fmla="*/ 6431470 w 18171859"/>
                <a:gd name="connsiteY52" fmla="*/ 1314295 h 15946069"/>
                <a:gd name="connsiteX53" fmla="*/ 5642908 w 18171859"/>
                <a:gd name="connsiteY53" fmla="*/ 1343233 h 15946069"/>
                <a:gd name="connsiteX54" fmla="*/ 5150959 w 18171859"/>
                <a:gd name="connsiteY54" fmla="*/ 1610907 h 15946069"/>
                <a:gd name="connsiteX55" fmla="*/ 5480133 w 18171859"/>
                <a:gd name="connsiteY55" fmla="*/ 2167963 h 15946069"/>
                <a:gd name="connsiteX56" fmla="*/ 4742216 w 18171859"/>
                <a:gd name="connsiteY56" fmla="*/ 2862495 h 15946069"/>
                <a:gd name="connsiteX57" fmla="*/ 2658667 w 18171859"/>
                <a:gd name="connsiteY57" fmla="*/ 0 h 15946069"/>
                <a:gd name="connsiteX58" fmla="*/ 2658682 w 18171859"/>
                <a:gd name="connsiteY58" fmla="*/ 1018890 h 15946069"/>
                <a:gd name="connsiteX59" fmla="*/ 1850829 w 18171859"/>
                <a:gd name="connsiteY59" fmla="*/ 1730283 h 15946069"/>
                <a:gd name="connsiteX60" fmla="*/ 1404694 w 18171859"/>
                <a:gd name="connsiteY60" fmla="*/ 2272862 h 15946069"/>
                <a:gd name="connsiteX61" fmla="*/ 2351216 w 18171859"/>
                <a:gd name="connsiteY61" fmla="*/ 3388182 h 15946069"/>
                <a:gd name="connsiteX62" fmla="*/ 2658682 w 18171859"/>
                <a:gd name="connsiteY62" fmla="*/ 4286458 h 15946069"/>
                <a:gd name="connsiteX63" fmla="*/ 1935228 w 18171859"/>
                <a:gd name="connsiteY63" fmla="*/ 5220918 h 15946069"/>
                <a:gd name="connsiteX64" fmla="*/ 875281 w 18171859"/>
                <a:gd name="connsiteY64" fmla="*/ 5166646 h 15946069"/>
                <a:gd name="connsiteX65" fmla="*/ 0 w 18171859"/>
                <a:gd name="connsiteY65" fmla="*/ 5890112 h 15946069"/>
                <a:gd name="connsiteX66" fmla="*/ 72345 w 18171859"/>
                <a:gd name="connsiteY66" fmla="*/ 6921032 h 15946069"/>
                <a:gd name="connsiteX67" fmla="*/ 477776 w 18171859"/>
                <a:gd name="connsiteY67"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1484768 w 18171859"/>
                <a:gd name="connsiteY40" fmla="*/ 1495155 h 15946069"/>
                <a:gd name="connsiteX41" fmla="*/ 10830043 w 18171859"/>
                <a:gd name="connsiteY41" fmla="*/ 1256418 h 15946069"/>
                <a:gd name="connsiteX42" fmla="*/ 10323633 w 18171859"/>
                <a:gd name="connsiteY42" fmla="*/ 1220249 h 15946069"/>
                <a:gd name="connsiteX43" fmla="*/ 9802745 w 18171859"/>
                <a:gd name="connsiteY43" fmla="*/ 1603676 h 15946069"/>
                <a:gd name="connsiteX44" fmla="*/ 9223982 w 18171859"/>
                <a:gd name="connsiteY44" fmla="*/ 1621761 h 15946069"/>
                <a:gd name="connsiteX45" fmla="*/ 8782678 w 18171859"/>
                <a:gd name="connsiteY45" fmla="*/ 2171586 h 15946069"/>
                <a:gd name="connsiteX46" fmla="*/ 8272645 w 18171859"/>
                <a:gd name="connsiteY46" fmla="*/ 2102856 h 15946069"/>
                <a:gd name="connsiteX47" fmla="*/ 7853048 w 18171859"/>
                <a:gd name="connsiteY47" fmla="*/ 2526075 h 15946069"/>
                <a:gd name="connsiteX48" fmla="*/ 7323799 w 18171859"/>
                <a:gd name="connsiteY48" fmla="*/ 2632907 h 15946069"/>
                <a:gd name="connsiteX49" fmla="*/ 6977672 w 18171859"/>
                <a:gd name="connsiteY49" fmla="*/ 2178817 h 15946069"/>
                <a:gd name="connsiteX50" fmla="*/ 6594245 w 18171859"/>
                <a:gd name="connsiteY50" fmla="*/ 2055834 h 15946069"/>
                <a:gd name="connsiteX51" fmla="*/ 6431470 w 18171859"/>
                <a:gd name="connsiteY51" fmla="*/ 1314295 h 15946069"/>
                <a:gd name="connsiteX52" fmla="*/ 5642908 w 18171859"/>
                <a:gd name="connsiteY52" fmla="*/ 1343233 h 15946069"/>
                <a:gd name="connsiteX53" fmla="*/ 5150959 w 18171859"/>
                <a:gd name="connsiteY53" fmla="*/ 1610907 h 15946069"/>
                <a:gd name="connsiteX54" fmla="*/ 5480133 w 18171859"/>
                <a:gd name="connsiteY54" fmla="*/ 2167963 h 15946069"/>
                <a:gd name="connsiteX55" fmla="*/ 4742216 w 18171859"/>
                <a:gd name="connsiteY55" fmla="*/ 2862495 h 15946069"/>
                <a:gd name="connsiteX56" fmla="*/ 2658667 w 18171859"/>
                <a:gd name="connsiteY56" fmla="*/ 0 h 15946069"/>
                <a:gd name="connsiteX57" fmla="*/ 2658682 w 18171859"/>
                <a:gd name="connsiteY57" fmla="*/ 1018890 h 15946069"/>
                <a:gd name="connsiteX58" fmla="*/ 1850829 w 18171859"/>
                <a:gd name="connsiteY58" fmla="*/ 1730283 h 15946069"/>
                <a:gd name="connsiteX59" fmla="*/ 1404694 w 18171859"/>
                <a:gd name="connsiteY59" fmla="*/ 2272862 h 15946069"/>
                <a:gd name="connsiteX60" fmla="*/ 2351216 w 18171859"/>
                <a:gd name="connsiteY60" fmla="*/ 3388182 h 15946069"/>
                <a:gd name="connsiteX61" fmla="*/ 2658682 w 18171859"/>
                <a:gd name="connsiteY61" fmla="*/ 4286458 h 15946069"/>
                <a:gd name="connsiteX62" fmla="*/ 1935228 w 18171859"/>
                <a:gd name="connsiteY62" fmla="*/ 5220918 h 15946069"/>
                <a:gd name="connsiteX63" fmla="*/ 875281 w 18171859"/>
                <a:gd name="connsiteY63" fmla="*/ 5166646 h 15946069"/>
                <a:gd name="connsiteX64" fmla="*/ 0 w 18171859"/>
                <a:gd name="connsiteY64" fmla="*/ 5890112 h 15946069"/>
                <a:gd name="connsiteX65" fmla="*/ 72345 w 18171859"/>
                <a:gd name="connsiteY65" fmla="*/ 6921032 h 15946069"/>
                <a:gd name="connsiteX66" fmla="*/ 477776 w 18171859"/>
                <a:gd name="connsiteY66"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10323633 w 18171859"/>
                <a:gd name="connsiteY41" fmla="*/ 1220249 h 15946069"/>
                <a:gd name="connsiteX42" fmla="*/ 9802745 w 18171859"/>
                <a:gd name="connsiteY42" fmla="*/ 1603676 h 15946069"/>
                <a:gd name="connsiteX43" fmla="*/ 9223982 w 18171859"/>
                <a:gd name="connsiteY43" fmla="*/ 1621761 h 15946069"/>
                <a:gd name="connsiteX44" fmla="*/ 8782678 w 18171859"/>
                <a:gd name="connsiteY44" fmla="*/ 2171586 h 15946069"/>
                <a:gd name="connsiteX45" fmla="*/ 8272645 w 18171859"/>
                <a:gd name="connsiteY45" fmla="*/ 2102856 h 15946069"/>
                <a:gd name="connsiteX46" fmla="*/ 7853048 w 18171859"/>
                <a:gd name="connsiteY46" fmla="*/ 2526075 h 15946069"/>
                <a:gd name="connsiteX47" fmla="*/ 7323799 w 18171859"/>
                <a:gd name="connsiteY47" fmla="*/ 2632907 h 15946069"/>
                <a:gd name="connsiteX48" fmla="*/ 6977672 w 18171859"/>
                <a:gd name="connsiteY48" fmla="*/ 2178817 h 15946069"/>
                <a:gd name="connsiteX49" fmla="*/ 6594245 w 18171859"/>
                <a:gd name="connsiteY49" fmla="*/ 2055834 h 15946069"/>
                <a:gd name="connsiteX50" fmla="*/ 6431470 w 18171859"/>
                <a:gd name="connsiteY50" fmla="*/ 1314295 h 15946069"/>
                <a:gd name="connsiteX51" fmla="*/ 5642908 w 18171859"/>
                <a:gd name="connsiteY51" fmla="*/ 1343233 h 15946069"/>
                <a:gd name="connsiteX52" fmla="*/ 5150959 w 18171859"/>
                <a:gd name="connsiteY52" fmla="*/ 1610907 h 15946069"/>
                <a:gd name="connsiteX53" fmla="*/ 5480133 w 18171859"/>
                <a:gd name="connsiteY53" fmla="*/ 2167963 h 15946069"/>
                <a:gd name="connsiteX54" fmla="*/ 4742216 w 18171859"/>
                <a:gd name="connsiteY54" fmla="*/ 2862495 h 15946069"/>
                <a:gd name="connsiteX55" fmla="*/ 2658667 w 18171859"/>
                <a:gd name="connsiteY55" fmla="*/ 0 h 15946069"/>
                <a:gd name="connsiteX56" fmla="*/ 2658682 w 18171859"/>
                <a:gd name="connsiteY56" fmla="*/ 1018890 h 15946069"/>
                <a:gd name="connsiteX57" fmla="*/ 1850829 w 18171859"/>
                <a:gd name="connsiteY57" fmla="*/ 1730283 h 15946069"/>
                <a:gd name="connsiteX58" fmla="*/ 1404694 w 18171859"/>
                <a:gd name="connsiteY58" fmla="*/ 2272862 h 15946069"/>
                <a:gd name="connsiteX59" fmla="*/ 2351216 w 18171859"/>
                <a:gd name="connsiteY59" fmla="*/ 3388182 h 15946069"/>
                <a:gd name="connsiteX60" fmla="*/ 2658682 w 18171859"/>
                <a:gd name="connsiteY60" fmla="*/ 4286458 h 15946069"/>
                <a:gd name="connsiteX61" fmla="*/ 1935228 w 18171859"/>
                <a:gd name="connsiteY61" fmla="*/ 5220918 h 15946069"/>
                <a:gd name="connsiteX62" fmla="*/ 875281 w 18171859"/>
                <a:gd name="connsiteY62" fmla="*/ 5166646 h 15946069"/>
                <a:gd name="connsiteX63" fmla="*/ 0 w 18171859"/>
                <a:gd name="connsiteY63" fmla="*/ 5890112 h 15946069"/>
                <a:gd name="connsiteX64" fmla="*/ 72345 w 18171859"/>
                <a:gd name="connsiteY64" fmla="*/ 6921032 h 15946069"/>
                <a:gd name="connsiteX65" fmla="*/ 477776 w 18171859"/>
                <a:gd name="connsiteY65"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9223982 w 18171859"/>
                <a:gd name="connsiteY42" fmla="*/ 1621761 h 15946069"/>
                <a:gd name="connsiteX43" fmla="*/ 8782678 w 18171859"/>
                <a:gd name="connsiteY43" fmla="*/ 2171586 h 15946069"/>
                <a:gd name="connsiteX44" fmla="*/ 8272645 w 18171859"/>
                <a:gd name="connsiteY44" fmla="*/ 2102856 h 15946069"/>
                <a:gd name="connsiteX45" fmla="*/ 7853048 w 18171859"/>
                <a:gd name="connsiteY45" fmla="*/ 2526075 h 15946069"/>
                <a:gd name="connsiteX46" fmla="*/ 7323799 w 18171859"/>
                <a:gd name="connsiteY46" fmla="*/ 2632907 h 15946069"/>
                <a:gd name="connsiteX47" fmla="*/ 6977672 w 18171859"/>
                <a:gd name="connsiteY47" fmla="*/ 2178817 h 15946069"/>
                <a:gd name="connsiteX48" fmla="*/ 6594245 w 18171859"/>
                <a:gd name="connsiteY48" fmla="*/ 2055834 h 15946069"/>
                <a:gd name="connsiteX49" fmla="*/ 6431470 w 18171859"/>
                <a:gd name="connsiteY49" fmla="*/ 1314295 h 15946069"/>
                <a:gd name="connsiteX50" fmla="*/ 5642908 w 18171859"/>
                <a:gd name="connsiteY50" fmla="*/ 1343233 h 15946069"/>
                <a:gd name="connsiteX51" fmla="*/ 5150959 w 18171859"/>
                <a:gd name="connsiteY51" fmla="*/ 1610907 h 15946069"/>
                <a:gd name="connsiteX52" fmla="*/ 5480133 w 18171859"/>
                <a:gd name="connsiteY52" fmla="*/ 2167963 h 15946069"/>
                <a:gd name="connsiteX53" fmla="*/ 4742216 w 18171859"/>
                <a:gd name="connsiteY53" fmla="*/ 2862495 h 15946069"/>
                <a:gd name="connsiteX54" fmla="*/ 2658667 w 18171859"/>
                <a:gd name="connsiteY54" fmla="*/ 0 h 15946069"/>
                <a:gd name="connsiteX55" fmla="*/ 2658682 w 18171859"/>
                <a:gd name="connsiteY55" fmla="*/ 1018890 h 15946069"/>
                <a:gd name="connsiteX56" fmla="*/ 1850829 w 18171859"/>
                <a:gd name="connsiteY56" fmla="*/ 1730283 h 15946069"/>
                <a:gd name="connsiteX57" fmla="*/ 1404694 w 18171859"/>
                <a:gd name="connsiteY57" fmla="*/ 2272862 h 15946069"/>
                <a:gd name="connsiteX58" fmla="*/ 2351216 w 18171859"/>
                <a:gd name="connsiteY58" fmla="*/ 3388182 h 15946069"/>
                <a:gd name="connsiteX59" fmla="*/ 2658682 w 18171859"/>
                <a:gd name="connsiteY59" fmla="*/ 4286458 h 15946069"/>
                <a:gd name="connsiteX60" fmla="*/ 1935228 w 18171859"/>
                <a:gd name="connsiteY60" fmla="*/ 5220918 h 15946069"/>
                <a:gd name="connsiteX61" fmla="*/ 875281 w 18171859"/>
                <a:gd name="connsiteY61" fmla="*/ 5166646 h 15946069"/>
                <a:gd name="connsiteX62" fmla="*/ 0 w 18171859"/>
                <a:gd name="connsiteY62" fmla="*/ 5890112 h 15946069"/>
                <a:gd name="connsiteX63" fmla="*/ 72345 w 18171859"/>
                <a:gd name="connsiteY63" fmla="*/ 6921032 h 15946069"/>
                <a:gd name="connsiteX64" fmla="*/ 477776 w 18171859"/>
                <a:gd name="connsiteY64"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782678 w 18171859"/>
                <a:gd name="connsiteY42" fmla="*/ 2171586 h 15946069"/>
                <a:gd name="connsiteX43" fmla="*/ 8272645 w 18171859"/>
                <a:gd name="connsiteY43" fmla="*/ 2102856 h 15946069"/>
                <a:gd name="connsiteX44" fmla="*/ 7853048 w 18171859"/>
                <a:gd name="connsiteY44" fmla="*/ 2526075 h 15946069"/>
                <a:gd name="connsiteX45" fmla="*/ 7323799 w 18171859"/>
                <a:gd name="connsiteY45" fmla="*/ 2632907 h 15946069"/>
                <a:gd name="connsiteX46" fmla="*/ 6977672 w 18171859"/>
                <a:gd name="connsiteY46" fmla="*/ 2178817 h 15946069"/>
                <a:gd name="connsiteX47" fmla="*/ 6594245 w 18171859"/>
                <a:gd name="connsiteY47" fmla="*/ 2055834 h 15946069"/>
                <a:gd name="connsiteX48" fmla="*/ 6431470 w 18171859"/>
                <a:gd name="connsiteY48" fmla="*/ 1314295 h 15946069"/>
                <a:gd name="connsiteX49" fmla="*/ 5642908 w 18171859"/>
                <a:gd name="connsiteY49" fmla="*/ 1343233 h 15946069"/>
                <a:gd name="connsiteX50" fmla="*/ 5150959 w 18171859"/>
                <a:gd name="connsiteY50" fmla="*/ 1610907 h 15946069"/>
                <a:gd name="connsiteX51" fmla="*/ 5480133 w 18171859"/>
                <a:gd name="connsiteY51" fmla="*/ 2167963 h 15946069"/>
                <a:gd name="connsiteX52" fmla="*/ 4742216 w 18171859"/>
                <a:gd name="connsiteY52" fmla="*/ 2862495 h 15946069"/>
                <a:gd name="connsiteX53" fmla="*/ 2658667 w 18171859"/>
                <a:gd name="connsiteY53" fmla="*/ 0 h 15946069"/>
                <a:gd name="connsiteX54" fmla="*/ 2658682 w 18171859"/>
                <a:gd name="connsiteY54" fmla="*/ 1018890 h 15946069"/>
                <a:gd name="connsiteX55" fmla="*/ 1850829 w 18171859"/>
                <a:gd name="connsiteY55" fmla="*/ 1730283 h 15946069"/>
                <a:gd name="connsiteX56" fmla="*/ 1404694 w 18171859"/>
                <a:gd name="connsiteY56" fmla="*/ 2272862 h 15946069"/>
                <a:gd name="connsiteX57" fmla="*/ 2351216 w 18171859"/>
                <a:gd name="connsiteY57" fmla="*/ 3388182 h 15946069"/>
                <a:gd name="connsiteX58" fmla="*/ 2658682 w 18171859"/>
                <a:gd name="connsiteY58" fmla="*/ 4286458 h 15946069"/>
                <a:gd name="connsiteX59" fmla="*/ 1935228 w 18171859"/>
                <a:gd name="connsiteY59" fmla="*/ 5220918 h 15946069"/>
                <a:gd name="connsiteX60" fmla="*/ 875281 w 18171859"/>
                <a:gd name="connsiteY60" fmla="*/ 5166646 h 15946069"/>
                <a:gd name="connsiteX61" fmla="*/ 0 w 18171859"/>
                <a:gd name="connsiteY61" fmla="*/ 5890112 h 15946069"/>
                <a:gd name="connsiteX62" fmla="*/ 72345 w 18171859"/>
                <a:gd name="connsiteY62" fmla="*/ 6921032 h 15946069"/>
                <a:gd name="connsiteX63" fmla="*/ 477776 w 18171859"/>
                <a:gd name="connsiteY63"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782678 w 18171859"/>
                <a:gd name="connsiteY42" fmla="*/ 2171586 h 15946069"/>
                <a:gd name="connsiteX43" fmla="*/ 7853048 w 18171859"/>
                <a:gd name="connsiteY43" fmla="*/ 2526075 h 15946069"/>
                <a:gd name="connsiteX44" fmla="*/ 7323799 w 18171859"/>
                <a:gd name="connsiteY44" fmla="*/ 2632907 h 15946069"/>
                <a:gd name="connsiteX45" fmla="*/ 6977672 w 18171859"/>
                <a:gd name="connsiteY45" fmla="*/ 2178817 h 15946069"/>
                <a:gd name="connsiteX46" fmla="*/ 6594245 w 18171859"/>
                <a:gd name="connsiteY46" fmla="*/ 2055834 h 15946069"/>
                <a:gd name="connsiteX47" fmla="*/ 6431470 w 18171859"/>
                <a:gd name="connsiteY47" fmla="*/ 1314295 h 15946069"/>
                <a:gd name="connsiteX48" fmla="*/ 5642908 w 18171859"/>
                <a:gd name="connsiteY48" fmla="*/ 1343233 h 15946069"/>
                <a:gd name="connsiteX49" fmla="*/ 5150959 w 18171859"/>
                <a:gd name="connsiteY49" fmla="*/ 1610907 h 15946069"/>
                <a:gd name="connsiteX50" fmla="*/ 5480133 w 18171859"/>
                <a:gd name="connsiteY50" fmla="*/ 2167963 h 15946069"/>
                <a:gd name="connsiteX51" fmla="*/ 4742216 w 18171859"/>
                <a:gd name="connsiteY51" fmla="*/ 2862495 h 15946069"/>
                <a:gd name="connsiteX52" fmla="*/ 2658667 w 18171859"/>
                <a:gd name="connsiteY52" fmla="*/ 0 h 15946069"/>
                <a:gd name="connsiteX53" fmla="*/ 2658682 w 18171859"/>
                <a:gd name="connsiteY53" fmla="*/ 1018890 h 15946069"/>
                <a:gd name="connsiteX54" fmla="*/ 1850829 w 18171859"/>
                <a:gd name="connsiteY54" fmla="*/ 1730283 h 15946069"/>
                <a:gd name="connsiteX55" fmla="*/ 1404694 w 18171859"/>
                <a:gd name="connsiteY55" fmla="*/ 2272862 h 15946069"/>
                <a:gd name="connsiteX56" fmla="*/ 2351216 w 18171859"/>
                <a:gd name="connsiteY56" fmla="*/ 3388182 h 15946069"/>
                <a:gd name="connsiteX57" fmla="*/ 2658682 w 18171859"/>
                <a:gd name="connsiteY57" fmla="*/ 4286458 h 15946069"/>
                <a:gd name="connsiteX58" fmla="*/ 1935228 w 18171859"/>
                <a:gd name="connsiteY58" fmla="*/ 5220918 h 15946069"/>
                <a:gd name="connsiteX59" fmla="*/ 875281 w 18171859"/>
                <a:gd name="connsiteY59" fmla="*/ 5166646 h 15946069"/>
                <a:gd name="connsiteX60" fmla="*/ 0 w 18171859"/>
                <a:gd name="connsiteY60" fmla="*/ 5890112 h 15946069"/>
                <a:gd name="connsiteX61" fmla="*/ 72345 w 18171859"/>
                <a:gd name="connsiteY61" fmla="*/ 6921032 h 15946069"/>
                <a:gd name="connsiteX62" fmla="*/ 477776 w 18171859"/>
                <a:gd name="connsiteY62"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782678 w 18171859"/>
                <a:gd name="connsiteY42" fmla="*/ 2171586 h 15946069"/>
                <a:gd name="connsiteX43" fmla="*/ 7853048 w 18171859"/>
                <a:gd name="connsiteY43" fmla="*/ 2526075 h 15946069"/>
                <a:gd name="connsiteX44" fmla="*/ 6977672 w 18171859"/>
                <a:gd name="connsiteY44" fmla="*/ 2178817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878357 w 18171859"/>
                <a:gd name="connsiteY42" fmla="*/ 3865809 h 15946069"/>
                <a:gd name="connsiteX43" fmla="*/ 7853048 w 18171859"/>
                <a:gd name="connsiteY43" fmla="*/ 2526075 h 15946069"/>
                <a:gd name="connsiteX44" fmla="*/ 6977672 w 18171859"/>
                <a:gd name="connsiteY44" fmla="*/ 2178817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878357 w 18171859"/>
                <a:gd name="connsiteY42" fmla="*/ 3865809 h 15946069"/>
                <a:gd name="connsiteX43" fmla="*/ 7446446 w 18171859"/>
                <a:gd name="connsiteY43" fmla="*/ 3504429 h 15946069"/>
                <a:gd name="connsiteX44" fmla="*/ 6977672 w 18171859"/>
                <a:gd name="connsiteY44" fmla="*/ 2178817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878357 w 18171859"/>
                <a:gd name="connsiteY42" fmla="*/ 3865809 h 15946069"/>
                <a:gd name="connsiteX43" fmla="*/ 7446446 w 18171859"/>
                <a:gd name="connsiteY43" fmla="*/ 3504429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878357 w 18171859"/>
                <a:gd name="connsiteY42" fmla="*/ 3865809 h 15946069"/>
                <a:gd name="connsiteX43" fmla="*/ 7637793 w 18171859"/>
                <a:gd name="connsiteY43" fmla="*/ 2526072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7706376 w 18171859"/>
                <a:gd name="connsiteY42" fmla="*/ 4987336 h 15946069"/>
                <a:gd name="connsiteX43" fmla="*/ 7637793 w 18171859"/>
                <a:gd name="connsiteY43" fmla="*/ 2526072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112983 w 18171859"/>
                <a:gd name="connsiteY42" fmla="*/ 3770361 h 15946069"/>
                <a:gd name="connsiteX43" fmla="*/ 7637793 w 18171859"/>
                <a:gd name="connsiteY43" fmla="*/ 2526072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10161509 w 18171859"/>
                <a:gd name="connsiteY41" fmla="*/ 5230746 h 15946069"/>
                <a:gd name="connsiteX42" fmla="*/ 8112983 w 18171859"/>
                <a:gd name="connsiteY42" fmla="*/ 3770361 h 15946069"/>
                <a:gd name="connsiteX43" fmla="*/ 7637793 w 18171859"/>
                <a:gd name="connsiteY43" fmla="*/ 2526072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9801570 w 18171859"/>
                <a:gd name="connsiteY40" fmla="*/ 6243641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6859659 w 18171859"/>
                <a:gd name="connsiteY40" fmla="*/ 6315230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6285626 w 18171859"/>
                <a:gd name="connsiteY40" fmla="*/ 5551639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5998609 w 18171859"/>
                <a:gd name="connsiteY40" fmla="*/ 5074389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6309547 w 18171859"/>
                <a:gd name="connsiteY40" fmla="*/ 5647086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6166035 w 18171859"/>
                <a:gd name="connsiteY40" fmla="*/ 540846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9704505 w 18171859"/>
                <a:gd name="connsiteY39" fmla="*/ 7102384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7982404 w 18171859"/>
                <a:gd name="connsiteY39" fmla="*/ 7508044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6017067 w 18171859"/>
                <a:gd name="connsiteY38" fmla="*/ 9931550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0076123 w 18171859"/>
                <a:gd name="connsiteY37" fmla="*/ 8513358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9844788 w 18171859"/>
                <a:gd name="connsiteY36" fmla="*/ 9748760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9366431 w 18171859"/>
                <a:gd name="connsiteY36" fmla="*/ 5930786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8218364 w 18171859"/>
                <a:gd name="connsiteY36" fmla="*/ 7219350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9318595 w 18171859"/>
                <a:gd name="connsiteY36" fmla="*/ 5859197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0639545 w 18171859"/>
                <a:gd name="connsiteY35" fmla="*/ 7482246 h 15946069"/>
                <a:gd name="connsiteX36" fmla="*/ 9318595 w 18171859"/>
                <a:gd name="connsiteY36" fmla="*/ 5859197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0017677 w 18171859"/>
                <a:gd name="connsiteY35" fmla="*/ 5883475 h 15946069"/>
                <a:gd name="connsiteX36" fmla="*/ 9318595 w 18171859"/>
                <a:gd name="connsiteY36" fmla="*/ 5859197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17385711 w 17911411"/>
                <a:gd name="connsiteY33" fmla="*/ 5219213 h 15946069"/>
                <a:gd name="connsiteX34" fmla="*/ 11259549 w 17911411"/>
                <a:gd name="connsiteY34" fmla="*/ 7947227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17385711 w 17911411"/>
                <a:gd name="connsiteY33" fmla="*/ 5219213 h 15946069"/>
                <a:gd name="connsiteX34" fmla="*/ 8628570 w 17911411"/>
                <a:gd name="connsiteY34" fmla="*/ 7994950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17385711 w 17911411"/>
                <a:gd name="connsiteY33" fmla="*/ 5219213 h 15946069"/>
                <a:gd name="connsiteX34" fmla="*/ 10709437 w 17911411"/>
                <a:gd name="connsiteY34" fmla="*/ 6730245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9779785 w 17911411"/>
                <a:gd name="connsiteY33" fmla="*/ 9514428 h 15946069"/>
                <a:gd name="connsiteX34" fmla="*/ 10709437 w 17911411"/>
                <a:gd name="connsiteY34" fmla="*/ 6730245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9301422 w 17911411"/>
                <a:gd name="connsiteY33" fmla="*/ 7486132 h 15946069"/>
                <a:gd name="connsiteX34" fmla="*/ 10709437 w 17911411"/>
                <a:gd name="connsiteY34" fmla="*/ 6730245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10425568 w 17911411"/>
                <a:gd name="connsiteY33" fmla="*/ 7223642 h 15946069"/>
                <a:gd name="connsiteX34" fmla="*/ 10709437 w 17911411"/>
                <a:gd name="connsiteY34" fmla="*/ 6730245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6024409 w 16428338"/>
                <a:gd name="connsiteY31" fmla="*/ 7433474 h 15946069"/>
                <a:gd name="connsiteX32" fmla="*/ 10161984 w 16428338"/>
                <a:gd name="connsiteY32" fmla="*/ 8636304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6024409 w 16428338"/>
                <a:gd name="connsiteY31" fmla="*/ 7433474 h 15946069"/>
                <a:gd name="connsiteX32" fmla="*/ 11118705 w 16428338"/>
                <a:gd name="connsiteY32" fmla="*/ 7156845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1886591 w 16428338"/>
                <a:gd name="connsiteY31" fmla="*/ 8912940 h 15946069"/>
                <a:gd name="connsiteX32" fmla="*/ 11118705 w 16428338"/>
                <a:gd name="connsiteY32" fmla="*/ 7156845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0451507 w 16428338"/>
                <a:gd name="connsiteY31" fmla="*/ 8889075 h 15946069"/>
                <a:gd name="connsiteX32" fmla="*/ 11118705 w 16428338"/>
                <a:gd name="connsiteY32" fmla="*/ 7156845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2149687 w 16428338"/>
                <a:gd name="connsiteY31" fmla="*/ 8101619 h 15946069"/>
                <a:gd name="connsiteX32" fmla="*/ 11118705 w 16428338"/>
                <a:gd name="connsiteY32" fmla="*/ 7156845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13202"/>
                <a:gd name="connsiteY0" fmla="*/ 7436569 h 15946069"/>
                <a:gd name="connsiteX1" fmla="*/ 271294 w 16413202"/>
                <a:gd name="connsiteY1" fmla="*/ 8060457 h 15946069"/>
                <a:gd name="connsiteX2" fmla="*/ 379812 w 16413202"/>
                <a:gd name="connsiteY2" fmla="*/ 8675382 h 15946069"/>
                <a:gd name="connsiteX3" fmla="*/ 759624 w 16413202"/>
                <a:gd name="connsiteY3" fmla="*/ 9217969 h 15946069"/>
                <a:gd name="connsiteX4" fmla="*/ 687278 w 16413202"/>
                <a:gd name="connsiteY4" fmla="*/ 9670126 h 15946069"/>
                <a:gd name="connsiteX5" fmla="*/ 144687 w 16413202"/>
                <a:gd name="connsiteY5" fmla="*/ 9941420 h 15946069"/>
                <a:gd name="connsiteX6" fmla="*/ 343643 w 16413202"/>
                <a:gd name="connsiteY6" fmla="*/ 10592536 h 15946069"/>
                <a:gd name="connsiteX7" fmla="*/ 940487 w 16413202"/>
                <a:gd name="connsiteY7" fmla="*/ 10954252 h 15946069"/>
                <a:gd name="connsiteX8" fmla="*/ 596844 w 16413202"/>
                <a:gd name="connsiteY8" fmla="*/ 11786221 h 15946069"/>
                <a:gd name="connsiteX9" fmla="*/ 633017 w 16413202"/>
                <a:gd name="connsiteY9" fmla="*/ 12780969 h 15946069"/>
                <a:gd name="connsiteX10" fmla="*/ 198944 w 16413202"/>
                <a:gd name="connsiteY10" fmla="*/ 13341645 h 15946069"/>
                <a:gd name="connsiteX11" fmla="*/ 723451 w 16413202"/>
                <a:gd name="connsiteY11" fmla="*/ 13757629 h 15946069"/>
                <a:gd name="connsiteX12" fmla="*/ 1640036 w 16413202"/>
                <a:gd name="connsiteY12" fmla="*/ 13197151 h 15946069"/>
                <a:gd name="connsiteX13" fmla="*/ 1880971 w 16413202"/>
                <a:gd name="connsiteY13" fmla="*/ 13395906 h 15946069"/>
                <a:gd name="connsiteX14" fmla="*/ 2930086 w 16413202"/>
                <a:gd name="connsiteY14" fmla="*/ 12952832 h 15946069"/>
                <a:gd name="connsiteX15" fmla="*/ 3828256 w 16413202"/>
                <a:gd name="connsiteY15" fmla="*/ 13245188 h 15946069"/>
                <a:gd name="connsiteX16" fmla="*/ 4768739 w 16413202"/>
                <a:gd name="connsiteY16" fmla="*/ 13040205 h 15946069"/>
                <a:gd name="connsiteX17" fmla="*/ 5190751 w 16413202"/>
                <a:gd name="connsiteY17" fmla="*/ 13649115 h 15946069"/>
                <a:gd name="connsiteX18" fmla="*/ 5932290 w 16413202"/>
                <a:gd name="connsiteY18" fmla="*/ 13444132 h 15946069"/>
                <a:gd name="connsiteX19" fmla="*/ 6498992 w 16413202"/>
                <a:gd name="connsiteY19" fmla="*/ 12991975 h 15946069"/>
                <a:gd name="connsiteX20" fmla="*/ 7373161 w 16413202"/>
                <a:gd name="connsiteY20" fmla="*/ 13582800 h 15946069"/>
                <a:gd name="connsiteX21" fmla="*/ 8512588 w 16413202"/>
                <a:gd name="connsiteY21" fmla="*/ 13570738 h 15946069"/>
                <a:gd name="connsiteX22" fmla="*/ 9742454 w 16413202"/>
                <a:gd name="connsiteY22" fmla="*/ 14004811 h 15946069"/>
                <a:gd name="connsiteX23" fmla="*/ 10616683 w 16413202"/>
                <a:gd name="connsiteY23" fmla="*/ 15358294 h 15946069"/>
                <a:gd name="connsiteX24" fmla="*/ 11117010 w 16413202"/>
                <a:gd name="connsiteY24" fmla="*/ 15946069 h 15946069"/>
                <a:gd name="connsiteX25" fmla="*/ 11780218 w 16413202"/>
                <a:gd name="connsiteY25" fmla="*/ 13579811 h 15946069"/>
                <a:gd name="connsiteX26" fmla="*/ 12196146 w 16413202"/>
                <a:gd name="connsiteY26" fmla="*/ 11388328 h 15946069"/>
                <a:gd name="connsiteX27" fmla="*/ 14004775 w 16413202"/>
                <a:gd name="connsiteY27" fmla="*/ 11611395 h 15946069"/>
                <a:gd name="connsiteX28" fmla="*/ 15409477 w 16413202"/>
                <a:gd name="connsiteY28" fmla="*/ 11882693 h 15946069"/>
                <a:gd name="connsiteX29" fmla="*/ 16413199 w 16413202"/>
                <a:gd name="connsiteY29" fmla="*/ 10920339 h 15946069"/>
                <a:gd name="connsiteX30" fmla="*/ 10305329 w 16413202"/>
                <a:gd name="connsiteY30" fmla="*/ 10066739 h 15946069"/>
                <a:gd name="connsiteX31" fmla="*/ 12149687 w 16413202"/>
                <a:gd name="connsiteY31" fmla="*/ 8101619 h 15946069"/>
                <a:gd name="connsiteX32" fmla="*/ 11118705 w 16413202"/>
                <a:gd name="connsiteY32" fmla="*/ 7156845 h 15946069"/>
                <a:gd name="connsiteX33" fmla="*/ 10425568 w 16413202"/>
                <a:gd name="connsiteY33" fmla="*/ 7223642 h 15946069"/>
                <a:gd name="connsiteX34" fmla="*/ 10709437 w 16413202"/>
                <a:gd name="connsiteY34" fmla="*/ 6730245 h 15946069"/>
                <a:gd name="connsiteX35" fmla="*/ 10017677 w 16413202"/>
                <a:gd name="connsiteY35" fmla="*/ 5883475 h 15946069"/>
                <a:gd name="connsiteX36" fmla="*/ 9318595 w 16413202"/>
                <a:gd name="connsiteY36" fmla="*/ 5859197 h 15946069"/>
                <a:gd name="connsiteX37" fmla="*/ 9215073 w 16413202"/>
                <a:gd name="connsiteY37" fmla="*/ 5387392 h 15946069"/>
                <a:gd name="connsiteX38" fmla="*/ 8600211 w 16413202"/>
                <a:gd name="connsiteY38" fmla="*/ 5564744 h 15946069"/>
                <a:gd name="connsiteX39" fmla="*/ 8412926 w 16413202"/>
                <a:gd name="connsiteY39" fmla="*/ 4835463 h 15946069"/>
                <a:gd name="connsiteX40" fmla="*/ 7744624 w 16413202"/>
                <a:gd name="connsiteY40" fmla="*/ 4382387 h 15946069"/>
                <a:gd name="connsiteX41" fmla="*/ 8112983 w 16413202"/>
                <a:gd name="connsiteY41" fmla="*/ 3770361 h 15946069"/>
                <a:gd name="connsiteX42" fmla="*/ 7637793 w 16413202"/>
                <a:gd name="connsiteY42" fmla="*/ 2526072 h 15946069"/>
                <a:gd name="connsiteX43" fmla="*/ 7264687 w 16413202"/>
                <a:gd name="connsiteY43" fmla="*/ 2131091 h 15946069"/>
                <a:gd name="connsiteX44" fmla="*/ 6594245 w 16413202"/>
                <a:gd name="connsiteY44" fmla="*/ 2055834 h 15946069"/>
                <a:gd name="connsiteX45" fmla="*/ 6431470 w 16413202"/>
                <a:gd name="connsiteY45" fmla="*/ 1314295 h 15946069"/>
                <a:gd name="connsiteX46" fmla="*/ 5642908 w 16413202"/>
                <a:gd name="connsiteY46" fmla="*/ 1343233 h 15946069"/>
                <a:gd name="connsiteX47" fmla="*/ 5150959 w 16413202"/>
                <a:gd name="connsiteY47" fmla="*/ 1610907 h 15946069"/>
                <a:gd name="connsiteX48" fmla="*/ 5480133 w 16413202"/>
                <a:gd name="connsiteY48" fmla="*/ 2167963 h 15946069"/>
                <a:gd name="connsiteX49" fmla="*/ 4742216 w 16413202"/>
                <a:gd name="connsiteY49" fmla="*/ 2862495 h 15946069"/>
                <a:gd name="connsiteX50" fmla="*/ 2658667 w 16413202"/>
                <a:gd name="connsiteY50" fmla="*/ 0 h 15946069"/>
                <a:gd name="connsiteX51" fmla="*/ 2658682 w 16413202"/>
                <a:gd name="connsiteY51" fmla="*/ 1018890 h 15946069"/>
                <a:gd name="connsiteX52" fmla="*/ 1850829 w 16413202"/>
                <a:gd name="connsiteY52" fmla="*/ 1730283 h 15946069"/>
                <a:gd name="connsiteX53" fmla="*/ 1404694 w 16413202"/>
                <a:gd name="connsiteY53" fmla="*/ 2272862 h 15946069"/>
                <a:gd name="connsiteX54" fmla="*/ 2351216 w 16413202"/>
                <a:gd name="connsiteY54" fmla="*/ 3388182 h 15946069"/>
                <a:gd name="connsiteX55" fmla="*/ 2658682 w 16413202"/>
                <a:gd name="connsiteY55" fmla="*/ 4286458 h 15946069"/>
                <a:gd name="connsiteX56" fmla="*/ 1935228 w 16413202"/>
                <a:gd name="connsiteY56" fmla="*/ 5220918 h 15946069"/>
                <a:gd name="connsiteX57" fmla="*/ 875281 w 16413202"/>
                <a:gd name="connsiteY57" fmla="*/ 5166646 h 15946069"/>
                <a:gd name="connsiteX58" fmla="*/ 0 w 16413202"/>
                <a:gd name="connsiteY58" fmla="*/ 5890112 h 15946069"/>
                <a:gd name="connsiteX59" fmla="*/ 72345 w 16413202"/>
                <a:gd name="connsiteY59" fmla="*/ 6921032 h 15946069"/>
                <a:gd name="connsiteX60" fmla="*/ 477776 w 16413202"/>
                <a:gd name="connsiteY60" fmla="*/ 7436569 h 15946069"/>
                <a:gd name="connsiteX0" fmla="*/ 477776 w 16413202"/>
                <a:gd name="connsiteY0" fmla="*/ 7436569 h 15946069"/>
                <a:gd name="connsiteX1" fmla="*/ 271294 w 16413202"/>
                <a:gd name="connsiteY1" fmla="*/ 8060457 h 15946069"/>
                <a:gd name="connsiteX2" fmla="*/ 379812 w 16413202"/>
                <a:gd name="connsiteY2" fmla="*/ 8675382 h 15946069"/>
                <a:gd name="connsiteX3" fmla="*/ 759624 w 16413202"/>
                <a:gd name="connsiteY3" fmla="*/ 9217969 h 15946069"/>
                <a:gd name="connsiteX4" fmla="*/ 687278 w 16413202"/>
                <a:gd name="connsiteY4" fmla="*/ 9670126 h 15946069"/>
                <a:gd name="connsiteX5" fmla="*/ 144687 w 16413202"/>
                <a:gd name="connsiteY5" fmla="*/ 9941420 h 15946069"/>
                <a:gd name="connsiteX6" fmla="*/ 343643 w 16413202"/>
                <a:gd name="connsiteY6" fmla="*/ 10592536 h 15946069"/>
                <a:gd name="connsiteX7" fmla="*/ 940487 w 16413202"/>
                <a:gd name="connsiteY7" fmla="*/ 10954252 h 15946069"/>
                <a:gd name="connsiteX8" fmla="*/ 596844 w 16413202"/>
                <a:gd name="connsiteY8" fmla="*/ 11786221 h 15946069"/>
                <a:gd name="connsiteX9" fmla="*/ 633017 w 16413202"/>
                <a:gd name="connsiteY9" fmla="*/ 12780969 h 15946069"/>
                <a:gd name="connsiteX10" fmla="*/ 198944 w 16413202"/>
                <a:gd name="connsiteY10" fmla="*/ 13341645 h 15946069"/>
                <a:gd name="connsiteX11" fmla="*/ 723451 w 16413202"/>
                <a:gd name="connsiteY11" fmla="*/ 13757629 h 15946069"/>
                <a:gd name="connsiteX12" fmla="*/ 1640036 w 16413202"/>
                <a:gd name="connsiteY12" fmla="*/ 13197151 h 15946069"/>
                <a:gd name="connsiteX13" fmla="*/ 1880971 w 16413202"/>
                <a:gd name="connsiteY13" fmla="*/ 13395906 h 15946069"/>
                <a:gd name="connsiteX14" fmla="*/ 2930086 w 16413202"/>
                <a:gd name="connsiteY14" fmla="*/ 12952832 h 15946069"/>
                <a:gd name="connsiteX15" fmla="*/ 3828256 w 16413202"/>
                <a:gd name="connsiteY15" fmla="*/ 13245188 h 15946069"/>
                <a:gd name="connsiteX16" fmla="*/ 4768739 w 16413202"/>
                <a:gd name="connsiteY16" fmla="*/ 13040205 h 15946069"/>
                <a:gd name="connsiteX17" fmla="*/ 5190751 w 16413202"/>
                <a:gd name="connsiteY17" fmla="*/ 13649115 h 15946069"/>
                <a:gd name="connsiteX18" fmla="*/ 5932290 w 16413202"/>
                <a:gd name="connsiteY18" fmla="*/ 13444132 h 15946069"/>
                <a:gd name="connsiteX19" fmla="*/ 6498992 w 16413202"/>
                <a:gd name="connsiteY19" fmla="*/ 12991975 h 15946069"/>
                <a:gd name="connsiteX20" fmla="*/ 7373161 w 16413202"/>
                <a:gd name="connsiteY20" fmla="*/ 13582800 h 15946069"/>
                <a:gd name="connsiteX21" fmla="*/ 8512588 w 16413202"/>
                <a:gd name="connsiteY21" fmla="*/ 13570738 h 15946069"/>
                <a:gd name="connsiteX22" fmla="*/ 9742454 w 16413202"/>
                <a:gd name="connsiteY22" fmla="*/ 14004811 h 15946069"/>
                <a:gd name="connsiteX23" fmla="*/ 10616683 w 16413202"/>
                <a:gd name="connsiteY23" fmla="*/ 15358294 h 15946069"/>
                <a:gd name="connsiteX24" fmla="*/ 11117010 w 16413202"/>
                <a:gd name="connsiteY24" fmla="*/ 15946069 h 15946069"/>
                <a:gd name="connsiteX25" fmla="*/ 11780218 w 16413202"/>
                <a:gd name="connsiteY25" fmla="*/ 13579811 h 15946069"/>
                <a:gd name="connsiteX26" fmla="*/ 12196146 w 16413202"/>
                <a:gd name="connsiteY26" fmla="*/ 11388328 h 15946069"/>
                <a:gd name="connsiteX27" fmla="*/ 14004775 w 16413202"/>
                <a:gd name="connsiteY27" fmla="*/ 11611395 h 15946069"/>
                <a:gd name="connsiteX28" fmla="*/ 15409477 w 16413202"/>
                <a:gd name="connsiteY28" fmla="*/ 11882693 h 15946069"/>
                <a:gd name="connsiteX29" fmla="*/ 16413199 w 16413202"/>
                <a:gd name="connsiteY29" fmla="*/ 10920339 h 15946069"/>
                <a:gd name="connsiteX30" fmla="*/ 9276853 w 16413202"/>
                <a:gd name="connsiteY30" fmla="*/ 9446319 h 15946069"/>
                <a:gd name="connsiteX31" fmla="*/ 12149687 w 16413202"/>
                <a:gd name="connsiteY31" fmla="*/ 8101619 h 15946069"/>
                <a:gd name="connsiteX32" fmla="*/ 11118705 w 16413202"/>
                <a:gd name="connsiteY32" fmla="*/ 7156845 h 15946069"/>
                <a:gd name="connsiteX33" fmla="*/ 10425568 w 16413202"/>
                <a:gd name="connsiteY33" fmla="*/ 7223642 h 15946069"/>
                <a:gd name="connsiteX34" fmla="*/ 10709437 w 16413202"/>
                <a:gd name="connsiteY34" fmla="*/ 6730245 h 15946069"/>
                <a:gd name="connsiteX35" fmla="*/ 10017677 w 16413202"/>
                <a:gd name="connsiteY35" fmla="*/ 5883475 h 15946069"/>
                <a:gd name="connsiteX36" fmla="*/ 9318595 w 16413202"/>
                <a:gd name="connsiteY36" fmla="*/ 5859197 h 15946069"/>
                <a:gd name="connsiteX37" fmla="*/ 9215073 w 16413202"/>
                <a:gd name="connsiteY37" fmla="*/ 5387392 h 15946069"/>
                <a:gd name="connsiteX38" fmla="*/ 8600211 w 16413202"/>
                <a:gd name="connsiteY38" fmla="*/ 5564744 h 15946069"/>
                <a:gd name="connsiteX39" fmla="*/ 8412926 w 16413202"/>
                <a:gd name="connsiteY39" fmla="*/ 4835463 h 15946069"/>
                <a:gd name="connsiteX40" fmla="*/ 7744624 w 16413202"/>
                <a:gd name="connsiteY40" fmla="*/ 4382387 h 15946069"/>
                <a:gd name="connsiteX41" fmla="*/ 8112983 w 16413202"/>
                <a:gd name="connsiteY41" fmla="*/ 3770361 h 15946069"/>
                <a:gd name="connsiteX42" fmla="*/ 7637793 w 16413202"/>
                <a:gd name="connsiteY42" fmla="*/ 2526072 h 15946069"/>
                <a:gd name="connsiteX43" fmla="*/ 7264687 w 16413202"/>
                <a:gd name="connsiteY43" fmla="*/ 2131091 h 15946069"/>
                <a:gd name="connsiteX44" fmla="*/ 6594245 w 16413202"/>
                <a:gd name="connsiteY44" fmla="*/ 2055834 h 15946069"/>
                <a:gd name="connsiteX45" fmla="*/ 6431470 w 16413202"/>
                <a:gd name="connsiteY45" fmla="*/ 1314295 h 15946069"/>
                <a:gd name="connsiteX46" fmla="*/ 5642908 w 16413202"/>
                <a:gd name="connsiteY46" fmla="*/ 1343233 h 15946069"/>
                <a:gd name="connsiteX47" fmla="*/ 5150959 w 16413202"/>
                <a:gd name="connsiteY47" fmla="*/ 1610907 h 15946069"/>
                <a:gd name="connsiteX48" fmla="*/ 5480133 w 16413202"/>
                <a:gd name="connsiteY48" fmla="*/ 2167963 h 15946069"/>
                <a:gd name="connsiteX49" fmla="*/ 4742216 w 16413202"/>
                <a:gd name="connsiteY49" fmla="*/ 2862495 h 15946069"/>
                <a:gd name="connsiteX50" fmla="*/ 2658667 w 16413202"/>
                <a:gd name="connsiteY50" fmla="*/ 0 h 15946069"/>
                <a:gd name="connsiteX51" fmla="*/ 2658682 w 16413202"/>
                <a:gd name="connsiteY51" fmla="*/ 1018890 h 15946069"/>
                <a:gd name="connsiteX52" fmla="*/ 1850829 w 16413202"/>
                <a:gd name="connsiteY52" fmla="*/ 1730283 h 15946069"/>
                <a:gd name="connsiteX53" fmla="*/ 1404694 w 16413202"/>
                <a:gd name="connsiteY53" fmla="*/ 2272862 h 15946069"/>
                <a:gd name="connsiteX54" fmla="*/ 2351216 w 16413202"/>
                <a:gd name="connsiteY54" fmla="*/ 3388182 h 15946069"/>
                <a:gd name="connsiteX55" fmla="*/ 2658682 w 16413202"/>
                <a:gd name="connsiteY55" fmla="*/ 4286458 h 15946069"/>
                <a:gd name="connsiteX56" fmla="*/ 1935228 w 16413202"/>
                <a:gd name="connsiteY56" fmla="*/ 5220918 h 15946069"/>
                <a:gd name="connsiteX57" fmla="*/ 875281 w 16413202"/>
                <a:gd name="connsiteY57" fmla="*/ 5166646 h 15946069"/>
                <a:gd name="connsiteX58" fmla="*/ 0 w 16413202"/>
                <a:gd name="connsiteY58" fmla="*/ 5890112 h 15946069"/>
                <a:gd name="connsiteX59" fmla="*/ 72345 w 16413202"/>
                <a:gd name="connsiteY59" fmla="*/ 6921032 h 15946069"/>
                <a:gd name="connsiteX60" fmla="*/ 477776 w 16413202"/>
                <a:gd name="connsiteY60" fmla="*/ 7436569 h 15946069"/>
                <a:gd name="connsiteX0" fmla="*/ 477776 w 16413202"/>
                <a:gd name="connsiteY0" fmla="*/ 7436569 h 15946069"/>
                <a:gd name="connsiteX1" fmla="*/ 271294 w 16413202"/>
                <a:gd name="connsiteY1" fmla="*/ 8060457 h 15946069"/>
                <a:gd name="connsiteX2" fmla="*/ 379812 w 16413202"/>
                <a:gd name="connsiteY2" fmla="*/ 8675382 h 15946069"/>
                <a:gd name="connsiteX3" fmla="*/ 759624 w 16413202"/>
                <a:gd name="connsiteY3" fmla="*/ 9217969 h 15946069"/>
                <a:gd name="connsiteX4" fmla="*/ 687278 w 16413202"/>
                <a:gd name="connsiteY4" fmla="*/ 9670126 h 15946069"/>
                <a:gd name="connsiteX5" fmla="*/ 144687 w 16413202"/>
                <a:gd name="connsiteY5" fmla="*/ 9941420 h 15946069"/>
                <a:gd name="connsiteX6" fmla="*/ 343643 w 16413202"/>
                <a:gd name="connsiteY6" fmla="*/ 10592536 h 15946069"/>
                <a:gd name="connsiteX7" fmla="*/ 940487 w 16413202"/>
                <a:gd name="connsiteY7" fmla="*/ 10954252 h 15946069"/>
                <a:gd name="connsiteX8" fmla="*/ 596844 w 16413202"/>
                <a:gd name="connsiteY8" fmla="*/ 11786221 h 15946069"/>
                <a:gd name="connsiteX9" fmla="*/ 633017 w 16413202"/>
                <a:gd name="connsiteY9" fmla="*/ 12780969 h 15946069"/>
                <a:gd name="connsiteX10" fmla="*/ 198944 w 16413202"/>
                <a:gd name="connsiteY10" fmla="*/ 13341645 h 15946069"/>
                <a:gd name="connsiteX11" fmla="*/ 723451 w 16413202"/>
                <a:gd name="connsiteY11" fmla="*/ 13757629 h 15946069"/>
                <a:gd name="connsiteX12" fmla="*/ 1640036 w 16413202"/>
                <a:gd name="connsiteY12" fmla="*/ 13197151 h 15946069"/>
                <a:gd name="connsiteX13" fmla="*/ 1880971 w 16413202"/>
                <a:gd name="connsiteY13" fmla="*/ 13395906 h 15946069"/>
                <a:gd name="connsiteX14" fmla="*/ 2930086 w 16413202"/>
                <a:gd name="connsiteY14" fmla="*/ 12952832 h 15946069"/>
                <a:gd name="connsiteX15" fmla="*/ 3828256 w 16413202"/>
                <a:gd name="connsiteY15" fmla="*/ 13245188 h 15946069"/>
                <a:gd name="connsiteX16" fmla="*/ 4768739 w 16413202"/>
                <a:gd name="connsiteY16" fmla="*/ 13040205 h 15946069"/>
                <a:gd name="connsiteX17" fmla="*/ 5190751 w 16413202"/>
                <a:gd name="connsiteY17" fmla="*/ 13649115 h 15946069"/>
                <a:gd name="connsiteX18" fmla="*/ 5932290 w 16413202"/>
                <a:gd name="connsiteY18" fmla="*/ 13444132 h 15946069"/>
                <a:gd name="connsiteX19" fmla="*/ 6498992 w 16413202"/>
                <a:gd name="connsiteY19" fmla="*/ 12991975 h 15946069"/>
                <a:gd name="connsiteX20" fmla="*/ 7373161 w 16413202"/>
                <a:gd name="connsiteY20" fmla="*/ 13582800 h 15946069"/>
                <a:gd name="connsiteX21" fmla="*/ 8512588 w 16413202"/>
                <a:gd name="connsiteY21" fmla="*/ 13570738 h 15946069"/>
                <a:gd name="connsiteX22" fmla="*/ 9742454 w 16413202"/>
                <a:gd name="connsiteY22" fmla="*/ 14004811 h 15946069"/>
                <a:gd name="connsiteX23" fmla="*/ 10616683 w 16413202"/>
                <a:gd name="connsiteY23" fmla="*/ 15358294 h 15946069"/>
                <a:gd name="connsiteX24" fmla="*/ 11117010 w 16413202"/>
                <a:gd name="connsiteY24" fmla="*/ 15946069 h 15946069"/>
                <a:gd name="connsiteX25" fmla="*/ 11780218 w 16413202"/>
                <a:gd name="connsiteY25" fmla="*/ 13579811 h 15946069"/>
                <a:gd name="connsiteX26" fmla="*/ 12196146 w 16413202"/>
                <a:gd name="connsiteY26" fmla="*/ 11388328 h 15946069"/>
                <a:gd name="connsiteX27" fmla="*/ 14004775 w 16413202"/>
                <a:gd name="connsiteY27" fmla="*/ 11611395 h 15946069"/>
                <a:gd name="connsiteX28" fmla="*/ 15409477 w 16413202"/>
                <a:gd name="connsiteY28" fmla="*/ 11882693 h 15946069"/>
                <a:gd name="connsiteX29" fmla="*/ 16413199 w 16413202"/>
                <a:gd name="connsiteY29" fmla="*/ 10920339 h 15946069"/>
                <a:gd name="connsiteX30" fmla="*/ 11668657 w 16413202"/>
                <a:gd name="connsiteY30" fmla="*/ 8754316 h 15946069"/>
                <a:gd name="connsiteX31" fmla="*/ 12149687 w 16413202"/>
                <a:gd name="connsiteY31" fmla="*/ 8101619 h 15946069"/>
                <a:gd name="connsiteX32" fmla="*/ 11118705 w 16413202"/>
                <a:gd name="connsiteY32" fmla="*/ 7156845 h 15946069"/>
                <a:gd name="connsiteX33" fmla="*/ 10425568 w 16413202"/>
                <a:gd name="connsiteY33" fmla="*/ 7223642 h 15946069"/>
                <a:gd name="connsiteX34" fmla="*/ 10709437 w 16413202"/>
                <a:gd name="connsiteY34" fmla="*/ 6730245 h 15946069"/>
                <a:gd name="connsiteX35" fmla="*/ 10017677 w 16413202"/>
                <a:gd name="connsiteY35" fmla="*/ 5883475 h 15946069"/>
                <a:gd name="connsiteX36" fmla="*/ 9318595 w 16413202"/>
                <a:gd name="connsiteY36" fmla="*/ 5859197 h 15946069"/>
                <a:gd name="connsiteX37" fmla="*/ 9215073 w 16413202"/>
                <a:gd name="connsiteY37" fmla="*/ 5387392 h 15946069"/>
                <a:gd name="connsiteX38" fmla="*/ 8600211 w 16413202"/>
                <a:gd name="connsiteY38" fmla="*/ 5564744 h 15946069"/>
                <a:gd name="connsiteX39" fmla="*/ 8412926 w 16413202"/>
                <a:gd name="connsiteY39" fmla="*/ 4835463 h 15946069"/>
                <a:gd name="connsiteX40" fmla="*/ 7744624 w 16413202"/>
                <a:gd name="connsiteY40" fmla="*/ 4382387 h 15946069"/>
                <a:gd name="connsiteX41" fmla="*/ 8112983 w 16413202"/>
                <a:gd name="connsiteY41" fmla="*/ 3770361 h 15946069"/>
                <a:gd name="connsiteX42" fmla="*/ 7637793 w 16413202"/>
                <a:gd name="connsiteY42" fmla="*/ 2526072 h 15946069"/>
                <a:gd name="connsiteX43" fmla="*/ 7264687 w 16413202"/>
                <a:gd name="connsiteY43" fmla="*/ 2131091 h 15946069"/>
                <a:gd name="connsiteX44" fmla="*/ 6594245 w 16413202"/>
                <a:gd name="connsiteY44" fmla="*/ 2055834 h 15946069"/>
                <a:gd name="connsiteX45" fmla="*/ 6431470 w 16413202"/>
                <a:gd name="connsiteY45" fmla="*/ 1314295 h 15946069"/>
                <a:gd name="connsiteX46" fmla="*/ 5642908 w 16413202"/>
                <a:gd name="connsiteY46" fmla="*/ 1343233 h 15946069"/>
                <a:gd name="connsiteX47" fmla="*/ 5150959 w 16413202"/>
                <a:gd name="connsiteY47" fmla="*/ 1610907 h 15946069"/>
                <a:gd name="connsiteX48" fmla="*/ 5480133 w 16413202"/>
                <a:gd name="connsiteY48" fmla="*/ 2167963 h 15946069"/>
                <a:gd name="connsiteX49" fmla="*/ 4742216 w 16413202"/>
                <a:gd name="connsiteY49" fmla="*/ 2862495 h 15946069"/>
                <a:gd name="connsiteX50" fmla="*/ 2658667 w 16413202"/>
                <a:gd name="connsiteY50" fmla="*/ 0 h 15946069"/>
                <a:gd name="connsiteX51" fmla="*/ 2658682 w 16413202"/>
                <a:gd name="connsiteY51" fmla="*/ 1018890 h 15946069"/>
                <a:gd name="connsiteX52" fmla="*/ 1850829 w 16413202"/>
                <a:gd name="connsiteY52" fmla="*/ 1730283 h 15946069"/>
                <a:gd name="connsiteX53" fmla="*/ 1404694 w 16413202"/>
                <a:gd name="connsiteY53" fmla="*/ 2272862 h 15946069"/>
                <a:gd name="connsiteX54" fmla="*/ 2351216 w 16413202"/>
                <a:gd name="connsiteY54" fmla="*/ 3388182 h 15946069"/>
                <a:gd name="connsiteX55" fmla="*/ 2658682 w 16413202"/>
                <a:gd name="connsiteY55" fmla="*/ 4286458 h 15946069"/>
                <a:gd name="connsiteX56" fmla="*/ 1935228 w 16413202"/>
                <a:gd name="connsiteY56" fmla="*/ 5220918 h 15946069"/>
                <a:gd name="connsiteX57" fmla="*/ 875281 w 16413202"/>
                <a:gd name="connsiteY57" fmla="*/ 5166646 h 15946069"/>
                <a:gd name="connsiteX58" fmla="*/ 0 w 16413202"/>
                <a:gd name="connsiteY58" fmla="*/ 5890112 h 15946069"/>
                <a:gd name="connsiteX59" fmla="*/ 72345 w 16413202"/>
                <a:gd name="connsiteY59" fmla="*/ 6921032 h 15946069"/>
                <a:gd name="connsiteX60" fmla="*/ 477776 w 16413202"/>
                <a:gd name="connsiteY60" fmla="*/ 7436569 h 15946069"/>
                <a:gd name="connsiteX0" fmla="*/ 477776 w 15409480"/>
                <a:gd name="connsiteY0" fmla="*/ 7436569 h 15946069"/>
                <a:gd name="connsiteX1" fmla="*/ 271294 w 15409480"/>
                <a:gd name="connsiteY1" fmla="*/ 8060457 h 15946069"/>
                <a:gd name="connsiteX2" fmla="*/ 379812 w 15409480"/>
                <a:gd name="connsiteY2" fmla="*/ 8675382 h 15946069"/>
                <a:gd name="connsiteX3" fmla="*/ 759624 w 15409480"/>
                <a:gd name="connsiteY3" fmla="*/ 9217969 h 15946069"/>
                <a:gd name="connsiteX4" fmla="*/ 687278 w 15409480"/>
                <a:gd name="connsiteY4" fmla="*/ 9670126 h 15946069"/>
                <a:gd name="connsiteX5" fmla="*/ 144687 w 15409480"/>
                <a:gd name="connsiteY5" fmla="*/ 9941420 h 15946069"/>
                <a:gd name="connsiteX6" fmla="*/ 343643 w 15409480"/>
                <a:gd name="connsiteY6" fmla="*/ 10592536 h 15946069"/>
                <a:gd name="connsiteX7" fmla="*/ 940487 w 15409480"/>
                <a:gd name="connsiteY7" fmla="*/ 10954252 h 15946069"/>
                <a:gd name="connsiteX8" fmla="*/ 596844 w 15409480"/>
                <a:gd name="connsiteY8" fmla="*/ 11786221 h 15946069"/>
                <a:gd name="connsiteX9" fmla="*/ 633017 w 15409480"/>
                <a:gd name="connsiteY9" fmla="*/ 12780969 h 15946069"/>
                <a:gd name="connsiteX10" fmla="*/ 198944 w 15409480"/>
                <a:gd name="connsiteY10" fmla="*/ 13341645 h 15946069"/>
                <a:gd name="connsiteX11" fmla="*/ 723451 w 15409480"/>
                <a:gd name="connsiteY11" fmla="*/ 13757629 h 15946069"/>
                <a:gd name="connsiteX12" fmla="*/ 1640036 w 15409480"/>
                <a:gd name="connsiteY12" fmla="*/ 13197151 h 15946069"/>
                <a:gd name="connsiteX13" fmla="*/ 1880971 w 15409480"/>
                <a:gd name="connsiteY13" fmla="*/ 13395906 h 15946069"/>
                <a:gd name="connsiteX14" fmla="*/ 2930086 w 15409480"/>
                <a:gd name="connsiteY14" fmla="*/ 12952832 h 15946069"/>
                <a:gd name="connsiteX15" fmla="*/ 3828256 w 15409480"/>
                <a:gd name="connsiteY15" fmla="*/ 13245188 h 15946069"/>
                <a:gd name="connsiteX16" fmla="*/ 4768739 w 15409480"/>
                <a:gd name="connsiteY16" fmla="*/ 13040205 h 15946069"/>
                <a:gd name="connsiteX17" fmla="*/ 5190751 w 15409480"/>
                <a:gd name="connsiteY17" fmla="*/ 13649115 h 15946069"/>
                <a:gd name="connsiteX18" fmla="*/ 5932290 w 15409480"/>
                <a:gd name="connsiteY18" fmla="*/ 13444132 h 15946069"/>
                <a:gd name="connsiteX19" fmla="*/ 6498992 w 15409480"/>
                <a:gd name="connsiteY19" fmla="*/ 12991975 h 15946069"/>
                <a:gd name="connsiteX20" fmla="*/ 7373161 w 15409480"/>
                <a:gd name="connsiteY20" fmla="*/ 13582800 h 15946069"/>
                <a:gd name="connsiteX21" fmla="*/ 8512588 w 15409480"/>
                <a:gd name="connsiteY21" fmla="*/ 13570738 h 15946069"/>
                <a:gd name="connsiteX22" fmla="*/ 9742454 w 15409480"/>
                <a:gd name="connsiteY22" fmla="*/ 14004811 h 15946069"/>
                <a:gd name="connsiteX23" fmla="*/ 10616683 w 15409480"/>
                <a:gd name="connsiteY23" fmla="*/ 15358294 h 15946069"/>
                <a:gd name="connsiteX24" fmla="*/ 11117010 w 15409480"/>
                <a:gd name="connsiteY24" fmla="*/ 15946069 h 15946069"/>
                <a:gd name="connsiteX25" fmla="*/ 11780218 w 15409480"/>
                <a:gd name="connsiteY25" fmla="*/ 13579811 h 15946069"/>
                <a:gd name="connsiteX26" fmla="*/ 12196146 w 15409480"/>
                <a:gd name="connsiteY26" fmla="*/ 11388328 h 15946069"/>
                <a:gd name="connsiteX27" fmla="*/ 14004775 w 15409480"/>
                <a:gd name="connsiteY27" fmla="*/ 11611395 h 15946069"/>
                <a:gd name="connsiteX28" fmla="*/ 15409477 w 15409480"/>
                <a:gd name="connsiteY28" fmla="*/ 11882693 h 15946069"/>
                <a:gd name="connsiteX29" fmla="*/ 10457619 w 15409480"/>
                <a:gd name="connsiteY29" fmla="*/ 10753303 h 15946069"/>
                <a:gd name="connsiteX30" fmla="*/ 11668657 w 15409480"/>
                <a:gd name="connsiteY30" fmla="*/ 8754316 h 15946069"/>
                <a:gd name="connsiteX31" fmla="*/ 12149687 w 15409480"/>
                <a:gd name="connsiteY31" fmla="*/ 8101619 h 15946069"/>
                <a:gd name="connsiteX32" fmla="*/ 11118705 w 15409480"/>
                <a:gd name="connsiteY32" fmla="*/ 7156845 h 15946069"/>
                <a:gd name="connsiteX33" fmla="*/ 10425568 w 15409480"/>
                <a:gd name="connsiteY33" fmla="*/ 7223642 h 15946069"/>
                <a:gd name="connsiteX34" fmla="*/ 10709437 w 15409480"/>
                <a:gd name="connsiteY34" fmla="*/ 6730245 h 15946069"/>
                <a:gd name="connsiteX35" fmla="*/ 10017677 w 15409480"/>
                <a:gd name="connsiteY35" fmla="*/ 5883475 h 15946069"/>
                <a:gd name="connsiteX36" fmla="*/ 9318595 w 15409480"/>
                <a:gd name="connsiteY36" fmla="*/ 5859197 h 15946069"/>
                <a:gd name="connsiteX37" fmla="*/ 9215073 w 15409480"/>
                <a:gd name="connsiteY37" fmla="*/ 5387392 h 15946069"/>
                <a:gd name="connsiteX38" fmla="*/ 8600211 w 15409480"/>
                <a:gd name="connsiteY38" fmla="*/ 5564744 h 15946069"/>
                <a:gd name="connsiteX39" fmla="*/ 8412926 w 15409480"/>
                <a:gd name="connsiteY39" fmla="*/ 4835463 h 15946069"/>
                <a:gd name="connsiteX40" fmla="*/ 7744624 w 15409480"/>
                <a:gd name="connsiteY40" fmla="*/ 4382387 h 15946069"/>
                <a:gd name="connsiteX41" fmla="*/ 8112983 w 15409480"/>
                <a:gd name="connsiteY41" fmla="*/ 3770361 h 15946069"/>
                <a:gd name="connsiteX42" fmla="*/ 7637793 w 15409480"/>
                <a:gd name="connsiteY42" fmla="*/ 2526072 h 15946069"/>
                <a:gd name="connsiteX43" fmla="*/ 7264687 w 15409480"/>
                <a:gd name="connsiteY43" fmla="*/ 2131091 h 15946069"/>
                <a:gd name="connsiteX44" fmla="*/ 6594245 w 15409480"/>
                <a:gd name="connsiteY44" fmla="*/ 2055834 h 15946069"/>
                <a:gd name="connsiteX45" fmla="*/ 6431470 w 15409480"/>
                <a:gd name="connsiteY45" fmla="*/ 1314295 h 15946069"/>
                <a:gd name="connsiteX46" fmla="*/ 5642908 w 15409480"/>
                <a:gd name="connsiteY46" fmla="*/ 1343233 h 15946069"/>
                <a:gd name="connsiteX47" fmla="*/ 5150959 w 15409480"/>
                <a:gd name="connsiteY47" fmla="*/ 1610907 h 15946069"/>
                <a:gd name="connsiteX48" fmla="*/ 5480133 w 15409480"/>
                <a:gd name="connsiteY48" fmla="*/ 2167963 h 15946069"/>
                <a:gd name="connsiteX49" fmla="*/ 4742216 w 15409480"/>
                <a:gd name="connsiteY49" fmla="*/ 2862495 h 15946069"/>
                <a:gd name="connsiteX50" fmla="*/ 2658667 w 15409480"/>
                <a:gd name="connsiteY50" fmla="*/ 0 h 15946069"/>
                <a:gd name="connsiteX51" fmla="*/ 2658682 w 15409480"/>
                <a:gd name="connsiteY51" fmla="*/ 1018890 h 15946069"/>
                <a:gd name="connsiteX52" fmla="*/ 1850829 w 15409480"/>
                <a:gd name="connsiteY52" fmla="*/ 1730283 h 15946069"/>
                <a:gd name="connsiteX53" fmla="*/ 1404694 w 15409480"/>
                <a:gd name="connsiteY53" fmla="*/ 2272862 h 15946069"/>
                <a:gd name="connsiteX54" fmla="*/ 2351216 w 15409480"/>
                <a:gd name="connsiteY54" fmla="*/ 3388182 h 15946069"/>
                <a:gd name="connsiteX55" fmla="*/ 2658682 w 15409480"/>
                <a:gd name="connsiteY55" fmla="*/ 4286458 h 15946069"/>
                <a:gd name="connsiteX56" fmla="*/ 1935228 w 15409480"/>
                <a:gd name="connsiteY56" fmla="*/ 5220918 h 15946069"/>
                <a:gd name="connsiteX57" fmla="*/ 875281 w 15409480"/>
                <a:gd name="connsiteY57" fmla="*/ 5166646 h 15946069"/>
                <a:gd name="connsiteX58" fmla="*/ 0 w 15409480"/>
                <a:gd name="connsiteY58" fmla="*/ 5890112 h 15946069"/>
                <a:gd name="connsiteX59" fmla="*/ 72345 w 15409480"/>
                <a:gd name="connsiteY59" fmla="*/ 6921032 h 15946069"/>
                <a:gd name="connsiteX60" fmla="*/ 477776 w 15409480"/>
                <a:gd name="connsiteY60" fmla="*/ 7436569 h 15946069"/>
                <a:gd name="connsiteX0" fmla="*/ 477776 w 15409480"/>
                <a:gd name="connsiteY0" fmla="*/ 7436569 h 15946069"/>
                <a:gd name="connsiteX1" fmla="*/ 271294 w 15409480"/>
                <a:gd name="connsiteY1" fmla="*/ 8060457 h 15946069"/>
                <a:gd name="connsiteX2" fmla="*/ 379812 w 15409480"/>
                <a:gd name="connsiteY2" fmla="*/ 8675382 h 15946069"/>
                <a:gd name="connsiteX3" fmla="*/ 759624 w 15409480"/>
                <a:gd name="connsiteY3" fmla="*/ 9217969 h 15946069"/>
                <a:gd name="connsiteX4" fmla="*/ 687278 w 15409480"/>
                <a:gd name="connsiteY4" fmla="*/ 9670126 h 15946069"/>
                <a:gd name="connsiteX5" fmla="*/ 144687 w 15409480"/>
                <a:gd name="connsiteY5" fmla="*/ 9941420 h 15946069"/>
                <a:gd name="connsiteX6" fmla="*/ 343643 w 15409480"/>
                <a:gd name="connsiteY6" fmla="*/ 10592536 h 15946069"/>
                <a:gd name="connsiteX7" fmla="*/ 940487 w 15409480"/>
                <a:gd name="connsiteY7" fmla="*/ 10954252 h 15946069"/>
                <a:gd name="connsiteX8" fmla="*/ 596844 w 15409480"/>
                <a:gd name="connsiteY8" fmla="*/ 11786221 h 15946069"/>
                <a:gd name="connsiteX9" fmla="*/ 633017 w 15409480"/>
                <a:gd name="connsiteY9" fmla="*/ 12780969 h 15946069"/>
                <a:gd name="connsiteX10" fmla="*/ 198944 w 15409480"/>
                <a:gd name="connsiteY10" fmla="*/ 13341645 h 15946069"/>
                <a:gd name="connsiteX11" fmla="*/ 723451 w 15409480"/>
                <a:gd name="connsiteY11" fmla="*/ 13757629 h 15946069"/>
                <a:gd name="connsiteX12" fmla="*/ 1640036 w 15409480"/>
                <a:gd name="connsiteY12" fmla="*/ 13197151 h 15946069"/>
                <a:gd name="connsiteX13" fmla="*/ 1880971 w 15409480"/>
                <a:gd name="connsiteY13" fmla="*/ 13395906 h 15946069"/>
                <a:gd name="connsiteX14" fmla="*/ 2930086 w 15409480"/>
                <a:gd name="connsiteY14" fmla="*/ 12952832 h 15946069"/>
                <a:gd name="connsiteX15" fmla="*/ 3828256 w 15409480"/>
                <a:gd name="connsiteY15" fmla="*/ 13245188 h 15946069"/>
                <a:gd name="connsiteX16" fmla="*/ 4768739 w 15409480"/>
                <a:gd name="connsiteY16" fmla="*/ 13040205 h 15946069"/>
                <a:gd name="connsiteX17" fmla="*/ 5190751 w 15409480"/>
                <a:gd name="connsiteY17" fmla="*/ 13649115 h 15946069"/>
                <a:gd name="connsiteX18" fmla="*/ 5932290 w 15409480"/>
                <a:gd name="connsiteY18" fmla="*/ 13444132 h 15946069"/>
                <a:gd name="connsiteX19" fmla="*/ 6498992 w 15409480"/>
                <a:gd name="connsiteY19" fmla="*/ 12991975 h 15946069"/>
                <a:gd name="connsiteX20" fmla="*/ 7373161 w 15409480"/>
                <a:gd name="connsiteY20" fmla="*/ 13582800 h 15946069"/>
                <a:gd name="connsiteX21" fmla="*/ 8512588 w 15409480"/>
                <a:gd name="connsiteY21" fmla="*/ 13570738 h 15946069"/>
                <a:gd name="connsiteX22" fmla="*/ 9742454 w 15409480"/>
                <a:gd name="connsiteY22" fmla="*/ 14004811 h 15946069"/>
                <a:gd name="connsiteX23" fmla="*/ 10616683 w 15409480"/>
                <a:gd name="connsiteY23" fmla="*/ 15358294 h 15946069"/>
                <a:gd name="connsiteX24" fmla="*/ 11117010 w 15409480"/>
                <a:gd name="connsiteY24" fmla="*/ 15946069 h 15946069"/>
                <a:gd name="connsiteX25" fmla="*/ 11780218 w 15409480"/>
                <a:gd name="connsiteY25" fmla="*/ 13579811 h 15946069"/>
                <a:gd name="connsiteX26" fmla="*/ 12196146 w 15409480"/>
                <a:gd name="connsiteY26" fmla="*/ 11388328 h 15946069"/>
                <a:gd name="connsiteX27" fmla="*/ 14004775 w 15409480"/>
                <a:gd name="connsiteY27" fmla="*/ 11611395 h 15946069"/>
                <a:gd name="connsiteX28" fmla="*/ 15409477 w 15409480"/>
                <a:gd name="connsiteY28" fmla="*/ 11882693 h 15946069"/>
                <a:gd name="connsiteX29" fmla="*/ 10146682 w 15409480"/>
                <a:gd name="connsiteY29" fmla="*/ 10061295 h 15946069"/>
                <a:gd name="connsiteX30" fmla="*/ 11668657 w 15409480"/>
                <a:gd name="connsiteY30" fmla="*/ 8754316 h 15946069"/>
                <a:gd name="connsiteX31" fmla="*/ 12149687 w 15409480"/>
                <a:gd name="connsiteY31" fmla="*/ 8101619 h 15946069"/>
                <a:gd name="connsiteX32" fmla="*/ 11118705 w 15409480"/>
                <a:gd name="connsiteY32" fmla="*/ 7156845 h 15946069"/>
                <a:gd name="connsiteX33" fmla="*/ 10425568 w 15409480"/>
                <a:gd name="connsiteY33" fmla="*/ 7223642 h 15946069"/>
                <a:gd name="connsiteX34" fmla="*/ 10709437 w 15409480"/>
                <a:gd name="connsiteY34" fmla="*/ 6730245 h 15946069"/>
                <a:gd name="connsiteX35" fmla="*/ 10017677 w 15409480"/>
                <a:gd name="connsiteY35" fmla="*/ 5883475 h 15946069"/>
                <a:gd name="connsiteX36" fmla="*/ 9318595 w 15409480"/>
                <a:gd name="connsiteY36" fmla="*/ 5859197 h 15946069"/>
                <a:gd name="connsiteX37" fmla="*/ 9215073 w 15409480"/>
                <a:gd name="connsiteY37" fmla="*/ 5387392 h 15946069"/>
                <a:gd name="connsiteX38" fmla="*/ 8600211 w 15409480"/>
                <a:gd name="connsiteY38" fmla="*/ 5564744 h 15946069"/>
                <a:gd name="connsiteX39" fmla="*/ 8412926 w 15409480"/>
                <a:gd name="connsiteY39" fmla="*/ 4835463 h 15946069"/>
                <a:gd name="connsiteX40" fmla="*/ 7744624 w 15409480"/>
                <a:gd name="connsiteY40" fmla="*/ 4382387 h 15946069"/>
                <a:gd name="connsiteX41" fmla="*/ 8112983 w 15409480"/>
                <a:gd name="connsiteY41" fmla="*/ 3770361 h 15946069"/>
                <a:gd name="connsiteX42" fmla="*/ 7637793 w 15409480"/>
                <a:gd name="connsiteY42" fmla="*/ 2526072 h 15946069"/>
                <a:gd name="connsiteX43" fmla="*/ 7264687 w 15409480"/>
                <a:gd name="connsiteY43" fmla="*/ 2131091 h 15946069"/>
                <a:gd name="connsiteX44" fmla="*/ 6594245 w 15409480"/>
                <a:gd name="connsiteY44" fmla="*/ 2055834 h 15946069"/>
                <a:gd name="connsiteX45" fmla="*/ 6431470 w 15409480"/>
                <a:gd name="connsiteY45" fmla="*/ 1314295 h 15946069"/>
                <a:gd name="connsiteX46" fmla="*/ 5642908 w 15409480"/>
                <a:gd name="connsiteY46" fmla="*/ 1343233 h 15946069"/>
                <a:gd name="connsiteX47" fmla="*/ 5150959 w 15409480"/>
                <a:gd name="connsiteY47" fmla="*/ 1610907 h 15946069"/>
                <a:gd name="connsiteX48" fmla="*/ 5480133 w 15409480"/>
                <a:gd name="connsiteY48" fmla="*/ 2167963 h 15946069"/>
                <a:gd name="connsiteX49" fmla="*/ 4742216 w 15409480"/>
                <a:gd name="connsiteY49" fmla="*/ 2862495 h 15946069"/>
                <a:gd name="connsiteX50" fmla="*/ 2658667 w 15409480"/>
                <a:gd name="connsiteY50" fmla="*/ 0 h 15946069"/>
                <a:gd name="connsiteX51" fmla="*/ 2658682 w 15409480"/>
                <a:gd name="connsiteY51" fmla="*/ 1018890 h 15946069"/>
                <a:gd name="connsiteX52" fmla="*/ 1850829 w 15409480"/>
                <a:gd name="connsiteY52" fmla="*/ 1730283 h 15946069"/>
                <a:gd name="connsiteX53" fmla="*/ 1404694 w 15409480"/>
                <a:gd name="connsiteY53" fmla="*/ 2272862 h 15946069"/>
                <a:gd name="connsiteX54" fmla="*/ 2351216 w 15409480"/>
                <a:gd name="connsiteY54" fmla="*/ 3388182 h 15946069"/>
                <a:gd name="connsiteX55" fmla="*/ 2658682 w 15409480"/>
                <a:gd name="connsiteY55" fmla="*/ 4286458 h 15946069"/>
                <a:gd name="connsiteX56" fmla="*/ 1935228 w 15409480"/>
                <a:gd name="connsiteY56" fmla="*/ 5220918 h 15946069"/>
                <a:gd name="connsiteX57" fmla="*/ 875281 w 15409480"/>
                <a:gd name="connsiteY57" fmla="*/ 5166646 h 15946069"/>
                <a:gd name="connsiteX58" fmla="*/ 0 w 15409480"/>
                <a:gd name="connsiteY58" fmla="*/ 5890112 h 15946069"/>
                <a:gd name="connsiteX59" fmla="*/ 72345 w 15409480"/>
                <a:gd name="connsiteY59" fmla="*/ 6921032 h 15946069"/>
                <a:gd name="connsiteX60" fmla="*/ 477776 w 15409480"/>
                <a:gd name="connsiteY60" fmla="*/ 7436569 h 15946069"/>
                <a:gd name="connsiteX0" fmla="*/ 477776 w 15409480"/>
                <a:gd name="connsiteY0" fmla="*/ 7436569 h 15946069"/>
                <a:gd name="connsiteX1" fmla="*/ 271294 w 15409480"/>
                <a:gd name="connsiteY1" fmla="*/ 8060457 h 15946069"/>
                <a:gd name="connsiteX2" fmla="*/ 379812 w 15409480"/>
                <a:gd name="connsiteY2" fmla="*/ 8675382 h 15946069"/>
                <a:gd name="connsiteX3" fmla="*/ 759624 w 15409480"/>
                <a:gd name="connsiteY3" fmla="*/ 9217969 h 15946069"/>
                <a:gd name="connsiteX4" fmla="*/ 687278 w 15409480"/>
                <a:gd name="connsiteY4" fmla="*/ 9670126 h 15946069"/>
                <a:gd name="connsiteX5" fmla="*/ 144687 w 15409480"/>
                <a:gd name="connsiteY5" fmla="*/ 9941420 h 15946069"/>
                <a:gd name="connsiteX6" fmla="*/ 343643 w 15409480"/>
                <a:gd name="connsiteY6" fmla="*/ 10592536 h 15946069"/>
                <a:gd name="connsiteX7" fmla="*/ 940487 w 15409480"/>
                <a:gd name="connsiteY7" fmla="*/ 10954252 h 15946069"/>
                <a:gd name="connsiteX8" fmla="*/ 596844 w 15409480"/>
                <a:gd name="connsiteY8" fmla="*/ 11786221 h 15946069"/>
                <a:gd name="connsiteX9" fmla="*/ 633017 w 15409480"/>
                <a:gd name="connsiteY9" fmla="*/ 12780969 h 15946069"/>
                <a:gd name="connsiteX10" fmla="*/ 198944 w 15409480"/>
                <a:gd name="connsiteY10" fmla="*/ 13341645 h 15946069"/>
                <a:gd name="connsiteX11" fmla="*/ 723451 w 15409480"/>
                <a:gd name="connsiteY11" fmla="*/ 13757629 h 15946069"/>
                <a:gd name="connsiteX12" fmla="*/ 1640036 w 15409480"/>
                <a:gd name="connsiteY12" fmla="*/ 13197151 h 15946069"/>
                <a:gd name="connsiteX13" fmla="*/ 1880971 w 15409480"/>
                <a:gd name="connsiteY13" fmla="*/ 13395906 h 15946069"/>
                <a:gd name="connsiteX14" fmla="*/ 2930086 w 15409480"/>
                <a:gd name="connsiteY14" fmla="*/ 12952832 h 15946069"/>
                <a:gd name="connsiteX15" fmla="*/ 3828256 w 15409480"/>
                <a:gd name="connsiteY15" fmla="*/ 13245188 h 15946069"/>
                <a:gd name="connsiteX16" fmla="*/ 4768739 w 15409480"/>
                <a:gd name="connsiteY16" fmla="*/ 13040205 h 15946069"/>
                <a:gd name="connsiteX17" fmla="*/ 5190751 w 15409480"/>
                <a:gd name="connsiteY17" fmla="*/ 13649115 h 15946069"/>
                <a:gd name="connsiteX18" fmla="*/ 5932290 w 15409480"/>
                <a:gd name="connsiteY18" fmla="*/ 13444132 h 15946069"/>
                <a:gd name="connsiteX19" fmla="*/ 6498992 w 15409480"/>
                <a:gd name="connsiteY19" fmla="*/ 12991975 h 15946069"/>
                <a:gd name="connsiteX20" fmla="*/ 7373161 w 15409480"/>
                <a:gd name="connsiteY20" fmla="*/ 13582800 h 15946069"/>
                <a:gd name="connsiteX21" fmla="*/ 8512588 w 15409480"/>
                <a:gd name="connsiteY21" fmla="*/ 13570738 h 15946069"/>
                <a:gd name="connsiteX22" fmla="*/ 9742454 w 15409480"/>
                <a:gd name="connsiteY22" fmla="*/ 14004811 h 15946069"/>
                <a:gd name="connsiteX23" fmla="*/ 10616683 w 15409480"/>
                <a:gd name="connsiteY23" fmla="*/ 15358294 h 15946069"/>
                <a:gd name="connsiteX24" fmla="*/ 11117010 w 15409480"/>
                <a:gd name="connsiteY24" fmla="*/ 15946069 h 15946069"/>
                <a:gd name="connsiteX25" fmla="*/ 11780218 w 15409480"/>
                <a:gd name="connsiteY25" fmla="*/ 13579811 h 15946069"/>
                <a:gd name="connsiteX26" fmla="*/ 12196146 w 15409480"/>
                <a:gd name="connsiteY26" fmla="*/ 11388328 h 15946069"/>
                <a:gd name="connsiteX27" fmla="*/ 14004775 w 15409480"/>
                <a:gd name="connsiteY27" fmla="*/ 11611395 h 15946069"/>
                <a:gd name="connsiteX28" fmla="*/ 15409477 w 15409480"/>
                <a:gd name="connsiteY28" fmla="*/ 11882693 h 15946069"/>
                <a:gd name="connsiteX29" fmla="*/ 11533930 w 15409480"/>
                <a:gd name="connsiteY29" fmla="*/ 9393151 h 15946069"/>
                <a:gd name="connsiteX30" fmla="*/ 11668657 w 15409480"/>
                <a:gd name="connsiteY30" fmla="*/ 8754316 h 15946069"/>
                <a:gd name="connsiteX31" fmla="*/ 12149687 w 15409480"/>
                <a:gd name="connsiteY31" fmla="*/ 8101619 h 15946069"/>
                <a:gd name="connsiteX32" fmla="*/ 11118705 w 15409480"/>
                <a:gd name="connsiteY32" fmla="*/ 7156845 h 15946069"/>
                <a:gd name="connsiteX33" fmla="*/ 10425568 w 15409480"/>
                <a:gd name="connsiteY33" fmla="*/ 7223642 h 15946069"/>
                <a:gd name="connsiteX34" fmla="*/ 10709437 w 15409480"/>
                <a:gd name="connsiteY34" fmla="*/ 6730245 h 15946069"/>
                <a:gd name="connsiteX35" fmla="*/ 10017677 w 15409480"/>
                <a:gd name="connsiteY35" fmla="*/ 5883475 h 15946069"/>
                <a:gd name="connsiteX36" fmla="*/ 9318595 w 15409480"/>
                <a:gd name="connsiteY36" fmla="*/ 5859197 h 15946069"/>
                <a:gd name="connsiteX37" fmla="*/ 9215073 w 15409480"/>
                <a:gd name="connsiteY37" fmla="*/ 5387392 h 15946069"/>
                <a:gd name="connsiteX38" fmla="*/ 8600211 w 15409480"/>
                <a:gd name="connsiteY38" fmla="*/ 5564744 h 15946069"/>
                <a:gd name="connsiteX39" fmla="*/ 8412926 w 15409480"/>
                <a:gd name="connsiteY39" fmla="*/ 4835463 h 15946069"/>
                <a:gd name="connsiteX40" fmla="*/ 7744624 w 15409480"/>
                <a:gd name="connsiteY40" fmla="*/ 4382387 h 15946069"/>
                <a:gd name="connsiteX41" fmla="*/ 8112983 w 15409480"/>
                <a:gd name="connsiteY41" fmla="*/ 3770361 h 15946069"/>
                <a:gd name="connsiteX42" fmla="*/ 7637793 w 15409480"/>
                <a:gd name="connsiteY42" fmla="*/ 2526072 h 15946069"/>
                <a:gd name="connsiteX43" fmla="*/ 7264687 w 15409480"/>
                <a:gd name="connsiteY43" fmla="*/ 2131091 h 15946069"/>
                <a:gd name="connsiteX44" fmla="*/ 6594245 w 15409480"/>
                <a:gd name="connsiteY44" fmla="*/ 2055834 h 15946069"/>
                <a:gd name="connsiteX45" fmla="*/ 6431470 w 15409480"/>
                <a:gd name="connsiteY45" fmla="*/ 1314295 h 15946069"/>
                <a:gd name="connsiteX46" fmla="*/ 5642908 w 15409480"/>
                <a:gd name="connsiteY46" fmla="*/ 1343233 h 15946069"/>
                <a:gd name="connsiteX47" fmla="*/ 5150959 w 15409480"/>
                <a:gd name="connsiteY47" fmla="*/ 1610907 h 15946069"/>
                <a:gd name="connsiteX48" fmla="*/ 5480133 w 15409480"/>
                <a:gd name="connsiteY48" fmla="*/ 2167963 h 15946069"/>
                <a:gd name="connsiteX49" fmla="*/ 4742216 w 15409480"/>
                <a:gd name="connsiteY49" fmla="*/ 2862495 h 15946069"/>
                <a:gd name="connsiteX50" fmla="*/ 2658667 w 15409480"/>
                <a:gd name="connsiteY50" fmla="*/ 0 h 15946069"/>
                <a:gd name="connsiteX51" fmla="*/ 2658682 w 15409480"/>
                <a:gd name="connsiteY51" fmla="*/ 1018890 h 15946069"/>
                <a:gd name="connsiteX52" fmla="*/ 1850829 w 15409480"/>
                <a:gd name="connsiteY52" fmla="*/ 1730283 h 15946069"/>
                <a:gd name="connsiteX53" fmla="*/ 1404694 w 15409480"/>
                <a:gd name="connsiteY53" fmla="*/ 2272862 h 15946069"/>
                <a:gd name="connsiteX54" fmla="*/ 2351216 w 15409480"/>
                <a:gd name="connsiteY54" fmla="*/ 3388182 h 15946069"/>
                <a:gd name="connsiteX55" fmla="*/ 2658682 w 15409480"/>
                <a:gd name="connsiteY55" fmla="*/ 4286458 h 15946069"/>
                <a:gd name="connsiteX56" fmla="*/ 1935228 w 15409480"/>
                <a:gd name="connsiteY56" fmla="*/ 5220918 h 15946069"/>
                <a:gd name="connsiteX57" fmla="*/ 875281 w 15409480"/>
                <a:gd name="connsiteY57" fmla="*/ 5166646 h 15946069"/>
                <a:gd name="connsiteX58" fmla="*/ 0 w 15409480"/>
                <a:gd name="connsiteY58" fmla="*/ 5890112 h 15946069"/>
                <a:gd name="connsiteX59" fmla="*/ 72345 w 15409480"/>
                <a:gd name="connsiteY59" fmla="*/ 6921032 h 15946069"/>
                <a:gd name="connsiteX60" fmla="*/ 477776 w 15409480"/>
                <a:gd name="connsiteY60" fmla="*/ 7436569 h 15946069"/>
                <a:gd name="connsiteX0" fmla="*/ 477776 w 14004774"/>
                <a:gd name="connsiteY0" fmla="*/ 7436569 h 15946069"/>
                <a:gd name="connsiteX1" fmla="*/ 271294 w 14004774"/>
                <a:gd name="connsiteY1" fmla="*/ 8060457 h 15946069"/>
                <a:gd name="connsiteX2" fmla="*/ 379812 w 14004774"/>
                <a:gd name="connsiteY2" fmla="*/ 8675382 h 15946069"/>
                <a:gd name="connsiteX3" fmla="*/ 759624 w 14004774"/>
                <a:gd name="connsiteY3" fmla="*/ 9217969 h 15946069"/>
                <a:gd name="connsiteX4" fmla="*/ 687278 w 14004774"/>
                <a:gd name="connsiteY4" fmla="*/ 9670126 h 15946069"/>
                <a:gd name="connsiteX5" fmla="*/ 144687 w 14004774"/>
                <a:gd name="connsiteY5" fmla="*/ 9941420 h 15946069"/>
                <a:gd name="connsiteX6" fmla="*/ 343643 w 14004774"/>
                <a:gd name="connsiteY6" fmla="*/ 10592536 h 15946069"/>
                <a:gd name="connsiteX7" fmla="*/ 940487 w 14004774"/>
                <a:gd name="connsiteY7" fmla="*/ 10954252 h 15946069"/>
                <a:gd name="connsiteX8" fmla="*/ 596844 w 14004774"/>
                <a:gd name="connsiteY8" fmla="*/ 11786221 h 15946069"/>
                <a:gd name="connsiteX9" fmla="*/ 633017 w 14004774"/>
                <a:gd name="connsiteY9" fmla="*/ 12780969 h 15946069"/>
                <a:gd name="connsiteX10" fmla="*/ 198944 w 14004774"/>
                <a:gd name="connsiteY10" fmla="*/ 13341645 h 15946069"/>
                <a:gd name="connsiteX11" fmla="*/ 723451 w 14004774"/>
                <a:gd name="connsiteY11" fmla="*/ 13757629 h 15946069"/>
                <a:gd name="connsiteX12" fmla="*/ 1640036 w 14004774"/>
                <a:gd name="connsiteY12" fmla="*/ 13197151 h 15946069"/>
                <a:gd name="connsiteX13" fmla="*/ 1880971 w 14004774"/>
                <a:gd name="connsiteY13" fmla="*/ 13395906 h 15946069"/>
                <a:gd name="connsiteX14" fmla="*/ 2930086 w 14004774"/>
                <a:gd name="connsiteY14" fmla="*/ 12952832 h 15946069"/>
                <a:gd name="connsiteX15" fmla="*/ 3828256 w 14004774"/>
                <a:gd name="connsiteY15" fmla="*/ 13245188 h 15946069"/>
                <a:gd name="connsiteX16" fmla="*/ 4768739 w 14004774"/>
                <a:gd name="connsiteY16" fmla="*/ 13040205 h 15946069"/>
                <a:gd name="connsiteX17" fmla="*/ 5190751 w 14004774"/>
                <a:gd name="connsiteY17" fmla="*/ 13649115 h 15946069"/>
                <a:gd name="connsiteX18" fmla="*/ 5932290 w 14004774"/>
                <a:gd name="connsiteY18" fmla="*/ 13444132 h 15946069"/>
                <a:gd name="connsiteX19" fmla="*/ 6498992 w 14004774"/>
                <a:gd name="connsiteY19" fmla="*/ 12991975 h 15946069"/>
                <a:gd name="connsiteX20" fmla="*/ 7373161 w 14004774"/>
                <a:gd name="connsiteY20" fmla="*/ 13582800 h 15946069"/>
                <a:gd name="connsiteX21" fmla="*/ 8512588 w 14004774"/>
                <a:gd name="connsiteY21" fmla="*/ 13570738 h 15946069"/>
                <a:gd name="connsiteX22" fmla="*/ 9742454 w 14004774"/>
                <a:gd name="connsiteY22" fmla="*/ 14004811 h 15946069"/>
                <a:gd name="connsiteX23" fmla="*/ 10616683 w 14004774"/>
                <a:gd name="connsiteY23" fmla="*/ 15358294 h 15946069"/>
                <a:gd name="connsiteX24" fmla="*/ 11117010 w 14004774"/>
                <a:gd name="connsiteY24" fmla="*/ 15946069 h 15946069"/>
                <a:gd name="connsiteX25" fmla="*/ 11780218 w 14004774"/>
                <a:gd name="connsiteY25" fmla="*/ 13579811 h 15946069"/>
                <a:gd name="connsiteX26" fmla="*/ 12196146 w 14004774"/>
                <a:gd name="connsiteY26" fmla="*/ 11388328 h 15946069"/>
                <a:gd name="connsiteX27" fmla="*/ 14004775 w 14004774"/>
                <a:gd name="connsiteY27" fmla="*/ 11611395 h 15946069"/>
                <a:gd name="connsiteX28" fmla="*/ 10195350 w 14004774"/>
                <a:gd name="connsiteY28" fmla="*/ 10617991 h 15946069"/>
                <a:gd name="connsiteX29" fmla="*/ 11533930 w 14004774"/>
                <a:gd name="connsiteY29" fmla="*/ 9393151 h 15946069"/>
                <a:gd name="connsiteX30" fmla="*/ 11668657 w 14004774"/>
                <a:gd name="connsiteY30" fmla="*/ 8754316 h 15946069"/>
                <a:gd name="connsiteX31" fmla="*/ 12149687 w 14004774"/>
                <a:gd name="connsiteY31" fmla="*/ 8101619 h 15946069"/>
                <a:gd name="connsiteX32" fmla="*/ 11118705 w 14004774"/>
                <a:gd name="connsiteY32" fmla="*/ 7156845 h 15946069"/>
                <a:gd name="connsiteX33" fmla="*/ 10425568 w 14004774"/>
                <a:gd name="connsiteY33" fmla="*/ 7223642 h 15946069"/>
                <a:gd name="connsiteX34" fmla="*/ 10709437 w 14004774"/>
                <a:gd name="connsiteY34" fmla="*/ 6730245 h 15946069"/>
                <a:gd name="connsiteX35" fmla="*/ 10017677 w 14004774"/>
                <a:gd name="connsiteY35" fmla="*/ 5883475 h 15946069"/>
                <a:gd name="connsiteX36" fmla="*/ 9318595 w 14004774"/>
                <a:gd name="connsiteY36" fmla="*/ 5859197 h 15946069"/>
                <a:gd name="connsiteX37" fmla="*/ 9215073 w 14004774"/>
                <a:gd name="connsiteY37" fmla="*/ 5387392 h 15946069"/>
                <a:gd name="connsiteX38" fmla="*/ 8600211 w 14004774"/>
                <a:gd name="connsiteY38" fmla="*/ 5564744 h 15946069"/>
                <a:gd name="connsiteX39" fmla="*/ 8412926 w 14004774"/>
                <a:gd name="connsiteY39" fmla="*/ 4835463 h 15946069"/>
                <a:gd name="connsiteX40" fmla="*/ 7744624 w 14004774"/>
                <a:gd name="connsiteY40" fmla="*/ 4382387 h 15946069"/>
                <a:gd name="connsiteX41" fmla="*/ 8112983 w 14004774"/>
                <a:gd name="connsiteY41" fmla="*/ 3770361 h 15946069"/>
                <a:gd name="connsiteX42" fmla="*/ 7637793 w 14004774"/>
                <a:gd name="connsiteY42" fmla="*/ 2526072 h 15946069"/>
                <a:gd name="connsiteX43" fmla="*/ 7264687 w 14004774"/>
                <a:gd name="connsiteY43" fmla="*/ 2131091 h 15946069"/>
                <a:gd name="connsiteX44" fmla="*/ 6594245 w 14004774"/>
                <a:gd name="connsiteY44" fmla="*/ 2055834 h 15946069"/>
                <a:gd name="connsiteX45" fmla="*/ 6431470 w 14004774"/>
                <a:gd name="connsiteY45" fmla="*/ 1314295 h 15946069"/>
                <a:gd name="connsiteX46" fmla="*/ 5642908 w 14004774"/>
                <a:gd name="connsiteY46" fmla="*/ 1343233 h 15946069"/>
                <a:gd name="connsiteX47" fmla="*/ 5150959 w 14004774"/>
                <a:gd name="connsiteY47" fmla="*/ 1610907 h 15946069"/>
                <a:gd name="connsiteX48" fmla="*/ 5480133 w 14004774"/>
                <a:gd name="connsiteY48" fmla="*/ 2167963 h 15946069"/>
                <a:gd name="connsiteX49" fmla="*/ 4742216 w 14004774"/>
                <a:gd name="connsiteY49" fmla="*/ 2862495 h 15946069"/>
                <a:gd name="connsiteX50" fmla="*/ 2658667 w 14004774"/>
                <a:gd name="connsiteY50" fmla="*/ 0 h 15946069"/>
                <a:gd name="connsiteX51" fmla="*/ 2658682 w 14004774"/>
                <a:gd name="connsiteY51" fmla="*/ 1018890 h 15946069"/>
                <a:gd name="connsiteX52" fmla="*/ 1850829 w 14004774"/>
                <a:gd name="connsiteY52" fmla="*/ 1730283 h 15946069"/>
                <a:gd name="connsiteX53" fmla="*/ 1404694 w 14004774"/>
                <a:gd name="connsiteY53" fmla="*/ 2272862 h 15946069"/>
                <a:gd name="connsiteX54" fmla="*/ 2351216 w 14004774"/>
                <a:gd name="connsiteY54" fmla="*/ 3388182 h 15946069"/>
                <a:gd name="connsiteX55" fmla="*/ 2658682 w 14004774"/>
                <a:gd name="connsiteY55" fmla="*/ 4286458 h 15946069"/>
                <a:gd name="connsiteX56" fmla="*/ 1935228 w 14004774"/>
                <a:gd name="connsiteY56" fmla="*/ 5220918 h 15946069"/>
                <a:gd name="connsiteX57" fmla="*/ 875281 w 14004774"/>
                <a:gd name="connsiteY57" fmla="*/ 5166646 h 15946069"/>
                <a:gd name="connsiteX58" fmla="*/ 0 w 14004774"/>
                <a:gd name="connsiteY58" fmla="*/ 5890112 h 15946069"/>
                <a:gd name="connsiteX59" fmla="*/ 72345 w 14004774"/>
                <a:gd name="connsiteY59" fmla="*/ 6921032 h 15946069"/>
                <a:gd name="connsiteX60" fmla="*/ 477776 w 14004774"/>
                <a:gd name="connsiteY60" fmla="*/ 7436569 h 15946069"/>
                <a:gd name="connsiteX0" fmla="*/ 477776 w 14004774"/>
                <a:gd name="connsiteY0" fmla="*/ 7436569 h 15946069"/>
                <a:gd name="connsiteX1" fmla="*/ 271294 w 14004774"/>
                <a:gd name="connsiteY1" fmla="*/ 8060457 h 15946069"/>
                <a:gd name="connsiteX2" fmla="*/ 379812 w 14004774"/>
                <a:gd name="connsiteY2" fmla="*/ 8675382 h 15946069"/>
                <a:gd name="connsiteX3" fmla="*/ 759624 w 14004774"/>
                <a:gd name="connsiteY3" fmla="*/ 9217969 h 15946069"/>
                <a:gd name="connsiteX4" fmla="*/ 687278 w 14004774"/>
                <a:gd name="connsiteY4" fmla="*/ 9670126 h 15946069"/>
                <a:gd name="connsiteX5" fmla="*/ 144687 w 14004774"/>
                <a:gd name="connsiteY5" fmla="*/ 9941420 h 15946069"/>
                <a:gd name="connsiteX6" fmla="*/ 343643 w 14004774"/>
                <a:gd name="connsiteY6" fmla="*/ 10592536 h 15946069"/>
                <a:gd name="connsiteX7" fmla="*/ 940487 w 14004774"/>
                <a:gd name="connsiteY7" fmla="*/ 10954252 h 15946069"/>
                <a:gd name="connsiteX8" fmla="*/ 596844 w 14004774"/>
                <a:gd name="connsiteY8" fmla="*/ 11786221 h 15946069"/>
                <a:gd name="connsiteX9" fmla="*/ 633017 w 14004774"/>
                <a:gd name="connsiteY9" fmla="*/ 12780969 h 15946069"/>
                <a:gd name="connsiteX10" fmla="*/ 198944 w 14004774"/>
                <a:gd name="connsiteY10" fmla="*/ 13341645 h 15946069"/>
                <a:gd name="connsiteX11" fmla="*/ 723451 w 14004774"/>
                <a:gd name="connsiteY11" fmla="*/ 13757629 h 15946069"/>
                <a:gd name="connsiteX12" fmla="*/ 1640036 w 14004774"/>
                <a:gd name="connsiteY12" fmla="*/ 13197151 h 15946069"/>
                <a:gd name="connsiteX13" fmla="*/ 1880971 w 14004774"/>
                <a:gd name="connsiteY13" fmla="*/ 13395906 h 15946069"/>
                <a:gd name="connsiteX14" fmla="*/ 2930086 w 14004774"/>
                <a:gd name="connsiteY14" fmla="*/ 12952832 h 15946069"/>
                <a:gd name="connsiteX15" fmla="*/ 3828256 w 14004774"/>
                <a:gd name="connsiteY15" fmla="*/ 13245188 h 15946069"/>
                <a:gd name="connsiteX16" fmla="*/ 4768739 w 14004774"/>
                <a:gd name="connsiteY16" fmla="*/ 13040205 h 15946069"/>
                <a:gd name="connsiteX17" fmla="*/ 5190751 w 14004774"/>
                <a:gd name="connsiteY17" fmla="*/ 13649115 h 15946069"/>
                <a:gd name="connsiteX18" fmla="*/ 5932290 w 14004774"/>
                <a:gd name="connsiteY18" fmla="*/ 13444132 h 15946069"/>
                <a:gd name="connsiteX19" fmla="*/ 6498992 w 14004774"/>
                <a:gd name="connsiteY19" fmla="*/ 12991975 h 15946069"/>
                <a:gd name="connsiteX20" fmla="*/ 7373161 w 14004774"/>
                <a:gd name="connsiteY20" fmla="*/ 13582800 h 15946069"/>
                <a:gd name="connsiteX21" fmla="*/ 8512588 w 14004774"/>
                <a:gd name="connsiteY21" fmla="*/ 13570738 h 15946069"/>
                <a:gd name="connsiteX22" fmla="*/ 9742454 w 14004774"/>
                <a:gd name="connsiteY22" fmla="*/ 14004811 h 15946069"/>
                <a:gd name="connsiteX23" fmla="*/ 10616683 w 14004774"/>
                <a:gd name="connsiteY23" fmla="*/ 15358294 h 15946069"/>
                <a:gd name="connsiteX24" fmla="*/ 11117010 w 14004774"/>
                <a:gd name="connsiteY24" fmla="*/ 15946069 h 15946069"/>
                <a:gd name="connsiteX25" fmla="*/ 11780218 w 14004774"/>
                <a:gd name="connsiteY25" fmla="*/ 13579811 h 15946069"/>
                <a:gd name="connsiteX26" fmla="*/ 12196146 w 14004774"/>
                <a:gd name="connsiteY26" fmla="*/ 11388328 h 15946069"/>
                <a:gd name="connsiteX27" fmla="*/ 14004775 w 14004774"/>
                <a:gd name="connsiteY27" fmla="*/ 11611395 h 15946069"/>
                <a:gd name="connsiteX28" fmla="*/ 11893530 w 14004774"/>
                <a:gd name="connsiteY28" fmla="*/ 10283919 h 15946069"/>
                <a:gd name="connsiteX29" fmla="*/ 11533930 w 14004774"/>
                <a:gd name="connsiteY29" fmla="*/ 9393151 h 15946069"/>
                <a:gd name="connsiteX30" fmla="*/ 11668657 w 14004774"/>
                <a:gd name="connsiteY30" fmla="*/ 8754316 h 15946069"/>
                <a:gd name="connsiteX31" fmla="*/ 12149687 w 14004774"/>
                <a:gd name="connsiteY31" fmla="*/ 8101619 h 15946069"/>
                <a:gd name="connsiteX32" fmla="*/ 11118705 w 14004774"/>
                <a:gd name="connsiteY32" fmla="*/ 7156845 h 15946069"/>
                <a:gd name="connsiteX33" fmla="*/ 10425568 w 14004774"/>
                <a:gd name="connsiteY33" fmla="*/ 7223642 h 15946069"/>
                <a:gd name="connsiteX34" fmla="*/ 10709437 w 14004774"/>
                <a:gd name="connsiteY34" fmla="*/ 6730245 h 15946069"/>
                <a:gd name="connsiteX35" fmla="*/ 10017677 w 14004774"/>
                <a:gd name="connsiteY35" fmla="*/ 5883475 h 15946069"/>
                <a:gd name="connsiteX36" fmla="*/ 9318595 w 14004774"/>
                <a:gd name="connsiteY36" fmla="*/ 5859197 h 15946069"/>
                <a:gd name="connsiteX37" fmla="*/ 9215073 w 14004774"/>
                <a:gd name="connsiteY37" fmla="*/ 5387392 h 15946069"/>
                <a:gd name="connsiteX38" fmla="*/ 8600211 w 14004774"/>
                <a:gd name="connsiteY38" fmla="*/ 5564744 h 15946069"/>
                <a:gd name="connsiteX39" fmla="*/ 8412926 w 14004774"/>
                <a:gd name="connsiteY39" fmla="*/ 4835463 h 15946069"/>
                <a:gd name="connsiteX40" fmla="*/ 7744624 w 14004774"/>
                <a:gd name="connsiteY40" fmla="*/ 4382387 h 15946069"/>
                <a:gd name="connsiteX41" fmla="*/ 8112983 w 14004774"/>
                <a:gd name="connsiteY41" fmla="*/ 3770361 h 15946069"/>
                <a:gd name="connsiteX42" fmla="*/ 7637793 w 14004774"/>
                <a:gd name="connsiteY42" fmla="*/ 2526072 h 15946069"/>
                <a:gd name="connsiteX43" fmla="*/ 7264687 w 14004774"/>
                <a:gd name="connsiteY43" fmla="*/ 2131091 h 15946069"/>
                <a:gd name="connsiteX44" fmla="*/ 6594245 w 14004774"/>
                <a:gd name="connsiteY44" fmla="*/ 2055834 h 15946069"/>
                <a:gd name="connsiteX45" fmla="*/ 6431470 w 14004774"/>
                <a:gd name="connsiteY45" fmla="*/ 1314295 h 15946069"/>
                <a:gd name="connsiteX46" fmla="*/ 5642908 w 14004774"/>
                <a:gd name="connsiteY46" fmla="*/ 1343233 h 15946069"/>
                <a:gd name="connsiteX47" fmla="*/ 5150959 w 14004774"/>
                <a:gd name="connsiteY47" fmla="*/ 1610907 h 15946069"/>
                <a:gd name="connsiteX48" fmla="*/ 5480133 w 14004774"/>
                <a:gd name="connsiteY48" fmla="*/ 2167963 h 15946069"/>
                <a:gd name="connsiteX49" fmla="*/ 4742216 w 14004774"/>
                <a:gd name="connsiteY49" fmla="*/ 2862495 h 15946069"/>
                <a:gd name="connsiteX50" fmla="*/ 2658667 w 14004774"/>
                <a:gd name="connsiteY50" fmla="*/ 0 h 15946069"/>
                <a:gd name="connsiteX51" fmla="*/ 2658682 w 14004774"/>
                <a:gd name="connsiteY51" fmla="*/ 1018890 h 15946069"/>
                <a:gd name="connsiteX52" fmla="*/ 1850829 w 14004774"/>
                <a:gd name="connsiteY52" fmla="*/ 1730283 h 15946069"/>
                <a:gd name="connsiteX53" fmla="*/ 1404694 w 14004774"/>
                <a:gd name="connsiteY53" fmla="*/ 2272862 h 15946069"/>
                <a:gd name="connsiteX54" fmla="*/ 2351216 w 14004774"/>
                <a:gd name="connsiteY54" fmla="*/ 3388182 h 15946069"/>
                <a:gd name="connsiteX55" fmla="*/ 2658682 w 14004774"/>
                <a:gd name="connsiteY55" fmla="*/ 4286458 h 15946069"/>
                <a:gd name="connsiteX56" fmla="*/ 1935228 w 14004774"/>
                <a:gd name="connsiteY56" fmla="*/ 5220918 h 15946069"/>
                <a:gd name="connsiteX57" fmla="*/ 875281 w 14004774"/>
                <a:gd name="connsiteY57" fmla="*/ 5166646 h 15946069"/>
                <a:gd name="connsiteX58" fmla="*/ 0 w 14004774"/>
                <a:gd name="connsiteY58" fmla="*/ 5890112 h 15946069"/>
                <a:gd name="connsiteX59" fmla="*/ 72345 w 14004774"/>
                <a:gd name="connsiteY59" fmla="*/ 6921032 h 15946069"/>
                <a:gd name="connsiteX60" fmla="*/ 477776 w 14004774"/>
                <a:gd name="connsiteY60" fmla="*/ 7436569 h 15946069"/>
                <a:gd name="connsiteX0" fmla="*/ 477776 w 12196146"/>
                <a:gd name="connsiteY0" fmla="*/ 7436569 h 15946069"/>
                <a:gd name="connsiteX1" fmla="*/ 271294 w 12196146"/>
                <a:gd name="connsiteY1" fmla="*/ 8060457 h 15946069"/>
                <a:gd name="connsiteX2" fmla="*/ 379812 w 12196146"/>
                <a:gd name="connsiteY2" fmla="*/ 8675382 h 15946069"/>
                <a:gd name="connsiteX3" fmla="*/ 759624 w 12196146"/>
                <a:gd name="connsiteY3" fmla="*/ 9217969 h 15946069"/>
                <a:gd name="connsiteX4" fmla="*/ 687278 w 12196146"/>
                <a:gd name="connsiteY4" fmla="*/ 9670126 h 15946069"/>
                <a:gd name="connsiteX5" fmla="*/ 144687 w 12196146"/>
                <a:gd name="connsiteY5" fmla="*/ 9941420 h 15946069"/>
                <a:gd name="connsiteX6" fmla="*/ 343643 w 12196146"/>
                <a:gd name="connsiteY6" fmla="*/ 10592536 h 15946069"/>
                <a:gd name="connsiteX7" fmla="*/ 940487 w 12196146"/>
                <a:gd name="connsiteY7" fmla="*/ 10954252 h 15946069"/>
                <a:gd name="connsiteX8" fmla="*/ 596844 w 12196146"/>
                <a:gd name="connsiteY8" fmla="*/ 11786221 h 15946069"/>
                <a:gd name="connsiteX9" fmla="*/ 633017 w 12196146"/>
                <a:gd name="connsiteY9" fmla="*/ 12780969 h 15946069"/>
                <a:gd name="connsiteX10" fmla="*/ 198944 w 12196146"/>
                <a:gd name="connsiteY10" fmla="*/ 13341645 h 15946069"/>
                <a:gd name="connsiteX11" fmla="*/ 723451 w 12196146"/>
                <a:gd name="connsiteY11" fmla="*/ 13757629 h 15946069"/>
                <a:gd name="connsiteX12" fmla="*/ 1640036 w 12196146"/>
                <a:gd name="connsiteY12" fmla="*/ 13197151 h 15946069"/>
                <a:gd name="connsiteX13" fmla="*/ 1880971 w 12196146"/>
                <a:gd name="connsiteY13" fmla="*/ 13395906 h 15946069"/>
                <a:gd name="connsiteX14" fmla="*/ 2930086 w 12196146"/>
                <a:gd name="connsiteY14" fmla="*/ 12952832 h 15946069"/>
                <a:gd name="connsiteX15" fmla="*/ 3828256 w 12196146"/>
                <a:gd name="connsiteY15" fmla="*/ 13245188 h 15946069"/>
                <a:gd name="connsiteX16" fmla="*/ 4768739 w 12196146"/>
                <a:gd name="connsiteY16" fmla="*/ 13040205 h 15946069"/>
                <a:gd name="connsiteX17" fmla="*/ 5190751 w 12196146"/>
                <a:gd name="connsiteY17" fmla="*/ 13649115 h 15946069"/>
                <a:gd name="connsiteX18" fmla="*/ 5932290 w 12196146"/>
                <a:gd name="connsiteY18" fmla="*/ 13444132 h 15946069"/>
                <a:gd name="connsiteX19" fmla="*/ 6498992 w 12196146"/>
                <a:gd name="connsiteY19" fmla="*/ 12991975 h 15946069"/>
                <a:gd name="connsiteX20" fmla="*/ 7373161 w 12196146"/>
                <a:gd name="connsiteY20" fmla="*/ 13582800 h 15946069"/>
                <a:gd name="connsiteX21" fmla="*/ 8512588 w 12196146"/>
                <a:gd name="connsiteY21" fmla="*/ 13570738 h 15946069"/>
                <a:gd name="connsiteX22" fmla="*/ 9742454 w 12196146"/>
                <a:gd name="connsiteY22" fmla="*/ 14004811 h 15946069"/>
                <a:gd name="connsiteX23" fmla="*/ 10616683 w 12196146"/>
                <a:gd name="connsiteY23" fmla="*/ 15358294 h 15946069"/>
                <a:gd name="connsiteX24" fmla="*/ 11117010 w 12196146"/>
                <a:gd name="connsiteY24" fmla="*/ 15946069 h 15946069"/>
                <a:gd name="connsiteX25" fmla="*/ 11780218 w 12196146"/>
                <a:gd name="connsiteY25" fmla="*/ 13579811 h 15946069"/>
                <a:gd name="connsiteX26" fmla="*/ 12196146 w 12196146"/>
                <a:gd name="connsiteY26" fmla="*/ 11388328 h 15946069"/>
                <a:gd name="connsiteX27" fmla="*/ 9651694 w 12196146"/>
                <a:gd name="connsiteY27" fmla="*/ 10609178 h 15946069"/>
                <a:gd name="connsiteX28" fmla="*/ 11893530 w 12196146"/>
                <a:gd name="connsiteY28" fmla="*/ 10283919 h 15946069"/>
                <a:gd name="connsiteX29" fmla="*/ 11533930 w 12196146"/>
                <a:gd name="connsiteY29" fmla="*/ 9393151 h 15946069"/>
                <a:gd name="connsiteX30" fmla="*/ 11668657 w 12196146"/>
                <a:gd name="connsiteY30" fmla="*/ 8754316 h 15946069"/>
                <a:gd name="connsiteX31" fmla="*/ 12149687 w 12196146"/>
                <a:gd name="connsiteY31" fmla="*/ 8101619 h 15946069"/>
                <a:gd name="connsiteX32" fmla="*/ 11118705 w 12196146"/>
                <a:gd name="connsiteY32" fmla="*/ 7156845 h 15946069"/>
                <a:gd name="connsiteX33" fmla="*/ 10425568 w 12196146"/>
                <a:gd name="connsiteY33" fmla="*/ 7223642 h 15946069"/>
                <a:gd name="connsiteX34" fmla="*/ 10709437 w 12196146"/>
                <a:gd name="connsiteY34" fmla="*/ 6730245 h 15946069"/>
                <a:gd name="connsiteX35" fmla="*/ 10017677 w 12196146"/>
                <a:gd name="connsiteY35" fmla="*/ 5883475 h 15946069"/>
                <a:gd name="connsiteX36" fmla="*/ 9318595 w 12196146"/>
                <a:gd name="connsiteY36" fmla="*/ 5859197 h 15946069"/>
                <a:gd name="connsiteX37" fmla="*/ 9215073 w 12196146"/>
                <a:gd name="connsiteY37" fmla="*/ 5387392 h 15946069"/>
                <a:gd name="connsiteX38" fmla="*/ 8600211 w 12196146"/>
                <a:gd name="connsiteY38" fmla="*/ 5564744 h 15946069"/>
                <a:gd name="connsiteX39" fmla="*/ 8412926 w 12196146"/>
                <a:gd name="connsiteY39" fmla="*/ 4835463 h 15946069"/>
                <a:gd name="connsiteX40" fmla="*/ 7744624 w 12196146"/>
                <a:gd name="connsiteY40" fmla="*/ 4382387 h 15946069"/>
                <a:gd name="connsiteX41" fmla="*/ 8112983 w 12196146"/>
                <a:gd name="connsiteY41" fmla="*/ 3770361 h 15946069"/>
                <a:gd name="connsiteX42" fmla="*/ 7637793 w 12196146"/>
                <a:gd name="connsiteY42" fmla="*/ 2526072 h 15946069"/>
                <a:gd name="connsiteX43" fmla="*/ 7264687 w 12196146"/>
                <a:gd name="connsiteY43" fmla="*/ 2131091 h 15946069"/>
                <a:gd name="connsiteX44" fmla="*/ 6594245 w 12196146"/>
                <a:gd name="connsiteY44" fmla="*/ 2055834 h 15946069"/>
                <a:gd name="connsiteX45" fmla="*/ 6431470 w 12196146"/>
                <a:gd name="connsiteY45" fmla="*/ 1314295 h 15946069"/>
                <a:gd name="connsiteX46" fmla="*/ 5642908 w 12196146"/>
                <a:gd name="connsiteY46" fmla="*/ 1343233 h 15946069"/>
                <a:gd name="connsiteX47" fmla="*/ 5150959 w 12196146"/>
                <a:gd name="connsiteY47" fmla="*/ 1610907 h 15946069"/>
                <a:gd name="connsiteX48" fmla="*/ 5480133 w 12196146"/>
                <a:gd name="connsiteY48" fmla="*/ 2167963 h 15946069"/>
                <a:gd name="connsiteX49" fmla="*/ 4742216 w 12196146"/>
                <a:gd name="connsiteY49" fmla="*/ 2862495 h 15946069"/>
                <a:gd name="connsiteX50" fmla="*/ 2658667 w 12196146"/>
                <a:gd name="connsiteY50" fmla="*/ 0 h 15946069"/>
                <a:gd name="connsiteX51" fmla="*/ 2658682 w 12196146"/>
                <a:gd name="connsiteY51" fmla="*/ 1018890 h 15946069"/>
                <a:gd name="connsiteX52" fmla="*/ 1850829 w 12196146"/>
                <a:gd name="connsiteY52" fmla="*/ 1730283 h 15946069"/>
                <a:gd name="connsiteX53" fmla="*/ 1404694 w 12196146"/>
                <a:gd name="connsiteY53" fmla="*/ 2272862 h 15946069"/>
                <a:gd name="connsiteX54" fmla="*/ 2351216 w 12196146"/>
                <a:gd name="connsiteY54" fmla="*/ 3388182 h 15946069"/>
                <a:gd name="connsiteX55" fmla="*/ 2658682 w 12196146"/>
                <a:gd name="connsiteY55" fmla="*/ 4286458 h 15946069"/>
                <a:gd name="connsiteX56" fmla="*/ 1935228 w 12196146"/>
                <a:gd name="connsiteY56" fmla="*/ 5220918 h 15946069"/>
                <a:gd name="connsiteX57" fmla="*/ 875281 w 12196146"/>
                <a:gd name="connsiteY57" fmla="*/ 5166646 h 15946069"/>
                <a:gd name="connsiteX58" fmla="*/ 0 w 12196146"/>
                <a:gd name="connsiteY58" fmla="*/ 5890112 h 15946069"/>
                <a:gd name="connsiteX59" fmla="*/ 72345 w 12196146"/>
                <a:gd name="connsiteY59" fmla="*/ 6921032 h 15946069"/>
                <a:gd name="connsiteX60" fmla="*/ 477776 w 12196146"/>
                <a:gd name="connsiteY60" fmla="*/ 7436569 h 15946069"/>
                <a:gd name="connsiteX0" fmla="*/ 477776 w 12196146"/>
                <a:gd name="connsiteY0" fmla="*/ 7436569 h 15946069"/>
                <a:gd name="connsiteX1" fmla="*/ 271294 w 12196146"/>
                <a:gd name="connsiteY1" fmla="*/ 8060457 h 15946069"/>
                <a:gd name="connsiteX2" fmla="*/ 379812 w 12196146"/>
                <a:gd name="connsiteY2" fmla="*/ 8675382 h 15946069"/>
                <a:gd name="connsiteX3" fmla="*/ 759624 w 12196146"/>
                <a:gd name="connsiteY3" fmla="*/ 9217969 h 15946069"/>
                <a:gd name="connsiteX4" fmla="*/ 687278 w 12196146"/>
                <a:gd name="connsiteY4" fmla="*/ 9670126 h 15946069"/>
                <a:gd name="connsiteX5" fmla="*/ 144687 w 12196146"/>
                <a:gd name="connsiteY5" fmla="*/ 9941420 h 15946069"/>
                <a:gd name="connsiteX6" fmla="*/ 343643 w 12196146"/>
                <a:gd name="connsiteY6" fmla="*/ 10592536 h 15946069"/>
                <a:gd name="connsiteX7" fmla="*/ 940487 w 12196146"/>
                <a:gd name="connsiteY7" fmla="*/ 10954252 h 15946069"/>
                <a:gd name="connsiteX8" fmla="*/ 596844 w 12196146"/>
                <a:gd name="connsiteY8" fmla="*/ 11786221 h 15946069"/>
                <a:gd name="connsiteX9" fmla="*/ 633017 w 12196146"/>
                <a:gd name="connsiteY9" fmla="*/ 12780969 h 15946069"/>
                <a:gd name="connsiteX10" fmla="*/ 198944 w 12196146"/>
                <a:gd name="connsiteY10" fmla="*/ 13341645 h 15946069"/>
                <a:gd name="connsiteX11" fmla="*/ 723451 w 12196146"/>
                <a:gd name="connsiteY11" fmla="*/ 13757629 h 15946069"/>
                <a:gd name="connsiteX12" fmla="*/ 1640036 w 12196146"/>
                <a:gd name="connsiteY12" fmla="*/ 13197151 h 15946069"/>
                <a:gd name="connsiteX13" fmla="*/ 1880971 w 12196146"/>
                <a:gd name="connsiteY13" fmla="*/ 13395906 h 15946069"/>
                <a:gd name="connsiteX14" fmla="*/ 2930086 w 12196146"/>
                <a:gd name="connsiteY14" fmla="*/ 12952832 h 15946069"/>
                <a:gd name="connsiteX15" fmla="*/ 3828256 w 12196146"/>
                <a:gd name="connsiteY15" fmla="*/ 13245188 h 15946069"/>
                <a:gd name="connsiteX16" fmla="*/ 4768739 w 12196146"/>
                <a:gd name="connsiteY16" fmla="*/ 13040205 h 15946069"/>
                <a:gd name="connsiteX17" fmla="*/ 5190751 w 12196146"/>
                <a:gd name="connsiteY17" fmla="*/ 13649115 h 15946069"/>
                <a:gd name="connsiteX18" fmla="*/ 5932290 w 12196146"/>
                <a:gd name="connsiteY18" fmla="*/ 13444132 h 15946069"/>
                <a:gd name="connsiteX19" fmla="*/ 6498992 w 12196146"/>
                <a:gd name="connsiteY19" fmla="*/ 12991975 h 15946069"/>
                <a:gd name="connsiteX20" fmla="*/ 7373161 w 12196146"/>
                <a:gd name="connsiteY20" fmla="*/ 13582800 h 15946069"/>
                <a:gd name="connsiteX21" fmla="*/ 8512588 w 12196146"/>
                <a:gd name="connsiteY21" fmla="*/ 13570738 h 15946069"/>
                <a:gd name="connsiteX22" fmla="*/ 9742454 w 12196146"/>
                <a:gd name="connsiteY22" fmla="*/ 14004811 h 15946069"/>
                <a:gd name="connsiteX23" fmla="*/ 10616683 w 12196146"/>
                <a:gd name="connsiteY23" fmla="*/ 15358294 h 15946069"/>
                <a:gd name="connsiteX24" fmla="*/ 11117010 w 12196146"/>
                <a:gd name="connsiteY24" fmla="*/ 15946069 h 15946069"/>
                <a:gd name="connsiteX25" fmla="*/ 11780218 w 12196146"/>
                <a:gd name="connsiteY25" fmla="*/ 13579811 h 15946069"/>
                <a:gd name="connsiteX26" fmla="*/ 12196146 w 12196146"/>
                <a:gd name="connsiteY26" fmla="*/ 11388328 h 15946069"/>
                <a:gd name="connsiteX27" fmla="*/ 11899987 w 12196146"/>
                <a:gd name="connsiteY27" fmla="*/ 10752355 h 15946069"/>
                <a:gd name="connsiteX28" fmla="*/ 11893530 w 12196146"/>
                <a:gd name="connsiteY28" fmla="*/ 10283919 h 15946069"/>
                <a:gd name="connsiteX29" fmla="*/ 11533930 w 12196146"/>
                <a:gd name="connsiteY29" fmla="*/ 9393151 h 15946069"/>
                <a:gd name="connsiteX30" fmla="*/ 11668657 w 12196146"/>
                <a:gd name="connsiteY30" fmla="*/ 8754316 h 15946069"/>
                <a:gd name="connsiteX31" fmla="*/ 12149687 w 12196146"/>
                <a:gd name="connsiteY31" fmla="*/ 8101619 h 15946069"/>
                <a:gd name="connsiteX32" fmla="*/ 11118705 w 12196146"/>
                <a:gd name="connsiteY32" fmla="*/ 7156845 h 15946069"/>
                <a:gd name="connsiteX33" fmla="*/ 10425568 w 12196146"/>
                <a:gd name="connsiteY33" fmla="*/ 7223642 h 15946069"/>
                <a:gd name="connsiteX34" fmla="*/ 10709437 w 12196146"/>
                <a:gd name="connsiteY34" fmla="*/ 6730245 h 15946069"/>
                <a:gd name="connsiteX35" fmla="*/ 10017677 w 12196146"/>
                <a:gd name="connsiteY35" fmla="*/ 5883475 h 15946069"/>
                <a:gd name="connsiteX36" fmla="*/ 9318595 w 12196146"/>
                <a:gd name="connsiteY36" fmla="*/ 5859197 h 15946069"/>
                <a:gd name="connsiteX37" fmla="*/ 9215073 w 12196146"/>
                <a:gd name="connsiteY37" fmla="*/ 5387392 h 15946069"/>
                <a:gd name="connsiteX38" fmla="*/ 8600211 w 12196146"/>
                <a:gd name="connsiteY38" fmla="*/ 5564744 h 15946069"/>
                <a:gd name="connsiteX39" fmla="*/ 8412926 w 12196146"/>
                <a:gd name="connsiteY39" fmla="*/ 4835463 h 15946069"/>
                <a:gd name="connsiteX40" fmla="*/ 7744624 w 12196146"/>
                <a:gd name="connsiteY40" fmla="*/ 4382387 h 15946069"/>
                <a:gd name="connsiteX41" fmla="*/ 8112983 w 12196146"/>
                <a:gd name="connsiteY41" fmla="*/ 3770361 h 15946069"/>
                <a:gd name="connsiteX42" fmla="*/ 7637793 w 12196146"/>
                <a:gd name="connsiteY42" fmla="*/ 2526072 h 15946069"/>
                <a:gd name="connsiteX43" fmla="*/ 7264687 w 12196146"/>
                <a:gd name="connsiteY43" fmla="*/ 2131091 h 15946069"/>
                <a:gd name="connsiteX44" fmla="*/ 6594245 w 12196146"/>
                <a:gd name="connsiteY44" fmla="*/ 2055834 h 15946069"/>
                <a:gd name="connsiteX45" fmla="*/ 6431470 w 12196146"/>
                <a:gd name="connsiteY45" fmla="*/ 1314295 h 15946069"/>
                <a:gd name="connsiteX46" fmla="*/ 5642908 w 12196146"/>
                <a:gd name="connsiteY46" fmla="*/ 1343233 h 15946069"/>
                <a:gd name="connsiteX47" fmla="*/ 5150959 w 12196146"/>
                <a:gd name="connsiteY47" fmla="*/ 1610907 h 15946069"/>
                <a:gd name="connsiteX48" fmla="*/ 5480133 w 12196146"/>
                <a:gd name="connsiteY48" fmla="*/ 2167963 h 15946069"/>
                <a:gd name="connsiteX49" fmla="*/ 4742216 w 12196146"/>
                <a:gd name="connsiteY49" fmla="*/ 2862495 h 15946069"/>
                <a:gd name="connsiteX50" fmla="*/ 2658667 w 12196146"/>
                <a:gd name="connsiteY50" fmla="*/ 0 h 15946069"/>
                <a:gd name="connsiteX51" fmla="*/ 2658682 w 12196146"/>
                <a:gd name="connsiteY51" fmla="*/ 1018890 h 15946069"/>
                <a:gd name="connsiteX52" fmla="*/ 1850829 w 12196146"/>
                <a:gd name="connsiteY52" fmla="*/ 1730283 h 15946069"/>
                <a:gd name="connsiteX53" fmla="*/ 1404694 w 12196146"/>
                <a:gd name="connsiteY53" fmla="*/ 2272862 h 15946069"/>
                <a:gd name="connsiteX54" fmla="*/ 2351216 w 12196146"/>
                <a:gd name="connsiteY54" fmla="*/ 3388182 h 15946069"/>
                <a:gd name="connsiteX55" fmla="*/ 2658682 w 12196146"/>
                <a:gd name="connsiteY55" fmla="*/ 4286458 h 15946069"/>
                <a:gd name="connsiteX56" fmla="*/ 1935228 w 12196146"/>
                <a:gd name="connsiteY56" fmla="*/ 5220918 h 15946069"/>
                <a:gd name="connsiteX57" fmla="*/ 875281 w 12196146"/>
                <a:gd name="connsiteY57" fmla="*/ 5166646 h 15946069"/>
                <a:gd name="connsiteX58" fmla="*/ 0 w 12196146"/>
                <a:gd name="connsiteY58" fmla="*/ 5890112 h 15946069"/>
                <a:gd name="connsiteX59" fmla="*/ 72345 w 12196146"/>
                <a:gd name="connsiteY59" fmla="*/ 6921032 h 15946069"/>
                <a:gd name="connsiteX60" fmla="*/ 477776 w 12196146"/>
                <a:gd name="connsiteY60" fmla="*/ 7436569 h 15946069"/>
                <a:gd name="connsiteX0" fmla="*/ 477776 w 12149688"/>
                <a:gd name="connsiteY0" fmla="*/ 7436569 h 15946069"/>
                <a:gd name="connsiteX1" fmla="*/ 271294 w 12149688"/>
                <a:gd name="connsiteY1" fmla="*/ 8060457 h 15946069"/>
                <a:gd name="connsiteX2" fmla="*/ 379812 w 12149688"/>
                <a:gd name="connsiteY2" fmla="*/ 8675382 h 15946069"/>
                <a:gd name="connsiteX3" fmla="*/ 759624 w 12149688"/>
                <a:gd name="connsiteY3" fmla="*/ 9217969 h 15946069"/>
                <a:gd name="connsiteX4" fmla="*/ 687278 w 12149688"/>
                <a:gd name="connsiteY4" fmla="*/ 9670126 h 15946069"/>
                <a:gd name="connsiteX5" fmla="*/ 144687 w 12149688"/>
                <a:gd name="connsiteY5" fmla="*/ 9941420 h 15946069"/>
                <a:gd name="connsiteX6" fmla="*/ 343643 w 12149688"/>
                <a:gd name="connsiteY6" fmla="*/ 10592536 h 15946069"/>
                <a:gd name="connsiteX7" fmla="*/ 940487 w 12149688"/>
                <a:gd name="connsiteY7" fmla="*/ 10954252 h 15946069"/>
                <a:gd name="connsiteX8" fmla="*/ 596844 w 12149688"/>
                <a:gd name="connsiteY8" fmla="*/ 11786221 h 15946069"/>
                <a:gd name="connsiteX9" fmla="*/ 633017 w 12149688"/>
                <a:gd name="connsiteY9" fmla="*/ 12780969 h 15946069"/>
                <a:gd name="connsiteX10" fmla="*/ 198944 w 12149688"/>
                <a:gd name="connsiteY10" fmla="*/ 13341645 h 15946069"/>
                <a:gd name="connsiteX11" fmla="*/ 723451 w 12149688"/>
                <a:gd name="connsiteY11" fmla="*/ 13757629 h 15946069"/>
                <a:gd name="connsiteX12" fmla="*/ 1640036 w 12149688"/>
                <a:gd name="connsiteY12" fmla="*/ 13197151 h 15946069"/>
                <a:gd name="connsiteX13" fmla="*/ 1880971 w 12149688"/>
                <a:gd name="connsiteY13" fmla="*/ 13395906 h 15946069"/>
                <a:gd name="connsiteX14" fmla="*/ 2930086 w 12149688"/>
                <a:gd name="connsiteY14" fmla="*/ 12952832 h 15946069"/>
                <a:gd name="connsiteX15" fmla="*/ 3828256 w 12149688"/>
                <a:gd name="connsiteY15" fmla="*/ 13245188 h 15946069"/>
                <a:gd name="connsiteX16" fmla="*/ 4768739 w 12149688"/>
                <a:gd name="connsiteY16" fmla="*/ 13040205 h 15946069"/>
                <a:gd name="connsiteX17" fmla="*/ 5190751 w 12149688"/>
                <a:gd name="connsiteY17" fmla="*/ 13649115 h 15946069"/>
                <a:gd name="connsiteX18" fmla="*/ 5932290 w 12149688"/>
                <a:gd name="connsiteY18" fmla="*/ 13444132 h 15946069"/>
                <a:gd name="connsiteX19" fmla="*/ 6498992 w 12149688"/>
                <a:gd name="connsiteY19" fmla="*/ 12991975 h 15946069"/>
                <a:gd name="connsiteX20" fmla="*/ 7373161 w 12149688"/>
                <a:gd name="connsiteY20" fmla="*/ 13582800 h 15946069"/>
                <a:gd name="connsiteX21" fmla="*/ 8512588 w 12149688"/>
                <a:gd name="connsiteY21" fmla="*/ 13570738 h 15946069"/>
                <a:gd name="connsiteX22" fmla="*/ 9742454 w 12149688"/>
                <a:gd name="connsiteY22" fmla="*/ 14004811 h 15946069"/>
                <a:gd name="connsiteX23" fmla="*/ 10616683 w 12149688"/>
                <a:gd name="connsiteY23" fmla="*/ 15358294 h 15946069"/>
                <a:gd name="connsiteX24" fmla="*/ 11117010 w 12149688"/>
                <a:gd name="connsiteY24" fmla="*/ 15946069 h 15946069"/>
                <a:gd name="connsiteX25" fmla="*/ 11780218 w 12149688"/>
                <a:gd name="connsiteY25" fmla="*/ 13579811 h 15946069"/>
                <a:gd name="connsiteX26" fmla="*/ 8823707 w 12149688"/>
                <a:gd name="connsiteY26" fmla="*/ 11436049 h 15946069"/>
                <a:gd name="connsiteX27" fmla="*/ 11899987 w 12149688"/>
                <a:gd name="connsiteY27" fmla="*/ 10752355 h 15946069"/>
                <a:gd name="connsiteX28" fmla="*/ 11893530 w 12149688"/>
                <a:gd name="connsiteY28" fmla="*/ 10283919 h 15946069"/>
                <a:gd name="connsiteX29" fmla="*/ 11533930 w 12149688"/>
                <a:gd name="connsiteY29" fmla="*/ 9393151 h 15946069"/>
                <a:gd name="connsiteX30" fmla="*/ 11668657 w 12149688"/>
                <a:gd name="connsiteY30" fmla="*/ 8754316 h 15946069"/>
                <a:gd name="connsiteX31" fmla="*/ 12149687 w 12149688"/>
                <a:gd name="connsiteY31" fmla="*/ 8101619 h 15946069"/>
                <a:gd name="connsiteX32" fmla="*/ 11118705 w 12149688"/>
                <a:gd name="connsiteY32" fmla="*/ 7156845 h 15946069"/>
                <a:gd name="connsiteX33" fmla="*/ 10425568 w 12149688"/>
                <a:gd name="connsiteY33" fmla="*/ 7223642 h 15946069"/>
                <a:gd name="connsiteX34" fmla="*/ 10709437 w 12149688"/>
                <a:gd name="connsiteY34" fmla="*/ 6730245 h 15946069"/>
                <a:gd name="connsiteX35" fmla="*/ 10017677 w 12149688"/>
                <a:gd name="connsiteY35" fmla="*/ 5883475 h 15946069"/>
                <a:gd name="connsiteX36" fmla="*/ 9318595 w 12149688"/>
                <a:gd name="connsiteY36" fmla="*/ 5859197 h 15946069"/>
                <a:gd name="connsiteX37" fmla="*/ 9215073 w 12149688"/>
                <a:gd name="connsiteY37" fmla="*/ 5387392 h 15946069"/>
                <a:gd name="connsiteX38" fmla="*/ 8600211 w 12149688"/>
                <a:gd name="connsiteY38" fmla="*/ 5564744 h 15946069"/>
                <a:gd name="connsiteX39" fmla="*/ 8412926 w 12149688"/>
                <a:gd name="connsiteY39" fmla="*/ 4835463 h 15946069"/>
                <a:gd name="connsiteX40" fmla="*/ 7744624 w 12149688"/>
                <a:gd name="connsiteY40" fmla="*/ 4382387 h 15946069"/>
                <a:gd name="connsiteX41" fmla="*/ 8112983 w 12149688"/>
                <a:gd name="connsiteY41" fmla="*/ 3770361 h 15946069"/>
                <a:gd name="connsiteX42" fmla="*/ 7637793 w 12149688"/>
                <a:gd name="connsiteY42" fmla="*/ 2526072 h 15946069"/>
                <a:gd name="connsiteX43" fmla="*/ 7264687 w 12149688"/>
                <a:gd name="connsiteY43" fmla="*/ 2131091 h 15946069"/>
                <a:gd name="connsiteX44" fmla="*/ 6594245 w 12149688"/>
                <a:gd name="connsiteY44" fmla="*/ 2055834 h 15946069"/>
                <a:gd name="connsiteX45" fmla="*/ 6431470 w 12149688"/>
                <a:gd name="connsiteY45" fmla="*/ 1314295 h 15946069"/>
                <a:gd name="connsiteX46" fmla="*/ 5642908 w 12149688"/>
                <a:gd name="connsiteY46" fmla="*/ 1343233 h 15946069"/>
                <a:gd name="connsiteX47" fmla="*/ 5150959 w 12149688"/>
                <a:gd name="connsiteY47" fmla="*/ 1610907 h 15946069"/>
                <a:gd name="connsiteX48" fmla="*/ 5480133 w 12149688"/>
                <a:gd name="connsiteY48" fmla="*/ 2167963 h 15946069"/>
                <a:gd name="connsiteX49" fmla="*/ 4742216 w 12149688"/>
                <a:gd name="connsiteY49" fmla="*/ 2862495 h 15946069"/>
                <a:gd name="connsiteX50" fmla="*/ 2658667 w 12149688"/>
                <a:gd name="connsiteY50" fmla="*/ 0 h 15946069"/>
                <a:gd name="connsiteX51" fmla="*/ 2658682 w 12149688"/>
                <a:gd name="connsiteY51" fmla="*/ 1018890 h 15946069"/>
                <a:gd name="connsiteX52" fmla="*/ 1850829 w 12149688"/>
                <a:gd name="connsiteY52" fmla="*/ 1730283 h 15946069"/>
                <a:gd name="connsiteX53" fmla="*/ 1404694 w 12149688"/>
                <a:gd name="connsiteY53" fmla="*/ 2272862 h 15946069"/>
                <a:gd name="connsiteX54" fmla="*/ 2351216 w 12149688"/>
                <a:gd name="connsiteY54" fmla="*/ 3388182 h 15946069"/>
                <a:gd name="connsiteX55" fmla="*/ 2658682 w 12149688"/>
                <a:gd name="connsiteY55" fmla="*/ 4286458 h 15946069"/>
                <a:gd name="connsiteX56" fmla="*/ 1935228 w 12149688"/>
                <a:gd name="connsiteY56" fmla="*/ 5220918 h 15946069"/>
                <a:gd name="connsiteX57" fmla="*/ 875281 w 12149688"/>
                <a:gd name="connsiteY57" fmla="*/ 5166646 h 15946069"/>
                <a:gd name="connsiteX58" fmla="*/ 0 w 12149688"/>
                <a:gd name="connsiteY58" fmla="*/ 5890112 h 15946069"/>
                <a:gd name="connsiteX59" fmla="*/ 72345 w 12149688"/>
                <a:gd name="connsiteY59" fmla="*/ 6921032 h 15946069"/>
                <a:gd name="connsiteX60" fmla="*/ 477776 w 12149688"/>
                <a:gd name="connsiteY60" fmla="*/ 7436569 h 15946069"/>
                <a:gd name="connsiteX0" fmla="*/ 477776 w 12149688"/>
                <a:gd name="connsiteY0" fmla="*/ 7436569 h 15946069"/>
                <a:gd name="connsiteX1" fmla="*/ 271294 w 12149688"/>
                <a:gd name="connsiteY1" fmla="*/ 8060457 h 15946069"/>
                <a:gd name="connsiteX2" fmla="*/ 379812 w 12149688"/>
                <a:gd name="connsiteY2" fmla="*/ 8675382 h 15946069"/>
                <a:gd name="connsiteX3" fmla="*/ 759624 w 12149688"/>
                <a:gd name="connsiteY3" fmla="*/ 9217969 h 15946069"/>
                <a:gd name="connsiteX4" fmla="*/ 687278 w 12149688"/>
                <a:gd name="connsiteY4" fmla="*/ 9670126 h 15946069"/>
                <a:gd name="connsiteX5" fmla="*/ 144687 w 12149688"/>
                <a:gd name="connsiteY5" fmla="*/ 9941420 h 15946069"/>
                <a:gd name="connsiteX6" fmla="*/ 343643 w 12149688"/>
                <a:gd name="connsiteY6" fmla="*/ 10592536 h 15946069"/>
                <a:gd name="connsiteX7" fmla="*/ 940487 w 12149688"/>
                <a:gd name="connsiteY7" fmla="*/ 10954252 h 15946069"/>
                <a:gd name="connsiteX8" fmla="*/ 596844 w 12149688"/>
                <a:gd name="connsiteY8" fmla="*/ 11786221 h 15946069"/>
                <a:gd name="connsiteX9" fmla="*/ 633017 w 12149688"/>
                <a:gd name="connsiteY9" fmla="*/ 12780969 h 15946069"/>
                <a:gd name="connsiteX10" fmla="*/ 198944 w 12149688"/>
                <a:gd name="connsiteY10" fmla="*/ 13341645 h 15946069"/>
                <a:gd name="connsiteX11" fmla="*/ 723451 w 12149688"/>
                <a:gd name="connsiteY11" fmla="*/ 13757629 h 15946069"/>
                <a:gd name="connsiteX12" fmla="*/ 1640036 w 12149688"/>
                <a:gd name="connsiteY12" fmla="*/ 13197151 h 15946069"/>
                <a:gd name="connsiteX13" fmla="*/ 1880971 w 12149688"/>
                <a:gd name="connsiteY13" fmla="*/ 13395906 h 15946069"/>
                <a:gd name="connsiteX14" fmla="*/ 2930086 w 12149688"/>
                <a:gd name="connsiteY14" fmla="*/ 12952832 h 15946069"/>
                <a:gd name="connsiteX15" fmla="*/ 3828256 w 12149688"/>
                <a:gd name="connsiteY15" fmla="*/ 13245188 h 15946069"/>
                <a:gd name="connsiteX16" fmla="*/ 4768739 w 12149688"/>
                <a:gd name="connsiteY16" fmla="*/ 13040205 h 15946069"/>
                <a:gd name="connsiteX17" fmla="*/ 5190751 w 12149688"/>
                <a:gd name="connsiteY17" fmla="*/ 13649115 h 15946069"/>
                <a:gd name="connsiteX18" fmla="*/ 5932290 w 12149688"/>
                <a:gd name="connsiteY18" fmla="*/ 13444132 h 15946069"/>
                <a:gd name="connsiteX19" fmla="*/ 6498992 w 12149688"/>
                <a:gd name="connsiteY19" fmla="*/ 12991975 h 15946069"/>
                <a:gd name="connsiteX20" fmla="*/ 7373161 w 12149688"/>
                <a:gd name="connsiteY20" fmla="*/ 13582800 h 15946069"/>
                <a:gd name="connsiteX21" fmla="*/ 8512588 w 12149688"/>
                <a:gd name="connsiteY21" fmla="*/ 13570738 h 15946069"/>
                <a:gd name="connsiteX22" fmla="*/ 9742454 w 12149688"/>
                <a:gd name="connsiteY22" fmla="*/ 14004811 h 15946069"/>
                <a:gd name="connsiteX23" fmla="*/ 10616683 w 12149688"/>
                <a:gd name="connsiteY23" fmla="*/ 15358294 h 15946069"/>
                <a:gd name="connsiteX24" fmla="*/ 11117010 w 12149688"/>
                <a:gd name="connsiteY24" fmla="*/ 15946069 h 15946069"/>
                <a:gd name="connsiteX25" fmla="*/ 11780218 w 12149688"/>
                <a:gd name="connsiteY25" fmla="*/ 13579811 h 15946069"/>
                <a:gd name="connsiteX26" fmla="*/ 11980885 w 12149688"/>
                <a:gd name="connsiteY26" fmla="*/ 11483773 h 15946069"/>
                <a:gd name="connsiteX27" fmla="*/ 11899987 w 12149688"/>
                <a:gd name="connsiteY27" fmla="*/ 10752355 h 15946069"/>
                <a:gd name="connsiteX28" fmla="*/ 11893530 w 12149688"/>
                <a:gd name="connsiteY28" fmla="*/ 10283919 h 15946069"/>
                <a:gd name="connsiteX29" fmla="*/ 11533930 w 12149688"/>
                <a:gd name="connsiteY29" fmla="*/ 9393151 h 15946069"/>
                <a:gd name="connsiteX30" fmla="*/ 11668657 w 12149688"/>
                <a:gd name="connsiteY30" fmla="*/ 8754316 h 15946069"/>
                <a:gd name="connsiteX31" fmla="*/ 12149687 w 12149688"/>
                <a:gd name="connsiteY31" fmla="*/ 8101619 h 15946069"/>
                <a:gd name="connsiteX32" fmla="*/ 11118705 w 12149688"/>
                <a:gd name="connsiteY32" fmla="*/ 7156845 h 15946069"/>
                <a:gd name="connsiteX33" fmla="*/ 10425568 w 12149688"/>
                <a:gd name="connsiteY33" fmla="*/ 7223642 h 15946069"/>
                <a:gd name="connsiteX34" fmla="*/ 10709437 w 12149688"/>
                <a:gd name="connsiteY34" fmla="*/ 6730245 h 15946069"/>
                <a:gd name="connsiteX35" fmla="*/ 10017677 w 12149688"/>
                <a:gd name="connsiteY35" fmla="*/ 5883475 h 15946069"/>
                <a:gd name="connsiteX36" fmla="*/ 9318595 w 12149688"/>
                <a:gd name="connsiteY36" fmla="*/ 5859197 h 15946069"/>
                <a:gd name="connsiteX37" fmla="*/ 9215073 w 12149688"/>
                <a:gd name="connsiteY37" fmla="*/ 5387392 h 15946069"/>
                <a:gd name="connsiteX38" fmla="*/ 8600211 w 12149688"/>
                <a:gd name="connsiteY38" fmla="*/ 5564744 h 15946069"/>
                <a:gd name="connsiteX39" fmla="*/ 8412926 w 12149688"/>
                <a:gd name="connsiteY39" fmla="*/ 4835463 h 15946069"/>
                <a:gd name="connsiteX40" fmla="*/ 7744624 w 12149688"/>
                <a:gd name="connsiteY40" fmla="*/ 4382387 h 15946069"/>
                <a:gd name="connsiteX41" fmla="*/ 8112983 w 12149688"/>
                <a:gd name="connsiteY41" fmla="*/ 3770361 h 15946069"/>
                <a:gd name="connsiteX42" fmla="*/ 7637793 w 12149688"/>
                <a:gd name="connsiteY42" fmla="*/ 2526072 h 15946069"/>
                <a:gd name="connsiteX43" fmla="*/ 7264687 w 12149688"/>
                <a:gd name="connsiteY43" fmla="*/ 2131091 h 15946069"/>
                <a:gd name="connsiteX44" fmla="*/ 6594245 w 12149688"/>
                <a:gd name="connsiteY44" fmla="*/ 2055834 h 15946069"/>
                <a:gd name="connsiteX45" fmla="*/ 6431470 w 12149688"/>
                <a:gd name="connsiteY45" fmla="*/ 1314295 h 15946069"/>
                <a:gd name="connsiteX46" fmla="*/ 5642908 w 12149688"/>
                <a:gd name="connsiteY46" fmla="*/ 1343233 h 15946069"/>
                <a:gd name="connsiteX47" fmla="*/ 5150959 w 12149688"/>
                <a:gd name="connsiteY47" fmla="*/ 1610907 h 15946069"/>
                <a:gd name="connsiteX48" fmla="*/ 5480133 w 12149688"/>
                <a:gd name="connsiteY48" fmla="*/ 2167963 h 15946069"/>
                <a:gd name="connsiteX49" fmla="*/ 4742216 w 12149688"/>
                <a:gd name="connsiteY49" fmla="*/ 2862495 h 15946069"/>
                <a:gd name="connsiteX50" fmla="*/ 2658667 w 12149688"/>
                <a:gd name="connsiteY50" fmla="*/ 0 h 15946069"/>
                <a:gd name="connsiteX51" fmla="*/ 2658682 w 12149688"/>
                <a:gd name="connsiteY51" fmla="*/ 1018890 h 15946069"/>
                <a:gd name="connsiteX52" fmla="*/ 1850829 w 12149688"/>
                <a:gd name="connsiteY52" fmla="*/ 1730283 h 15946069"/>
                <a:gd name="connsiteX53" fmla="*/ 1404694 w 12149688"/>
                <a:gd name="connsiteY53" fmla="*/ 2272862 h 15946069"/>
                <a:gd name="connsiteX54" fmla="*/ 2351216 w 12149688"/>
                <a:gd name="connsiteY54" fmla="*/ 3388182 h 15946069"/>
                <a:gd name="connsiteX55" fmla="*/ 2658682 w 12149688"/>
                <a:gd name="connsiteY55" fmla="*/ 4286458 h 15946069"/>
                <a:gd name="connsiteX56" fmla="*/ 1935228 w 12149688"/>
                <a:gd name="connsiteY56" fmla="*/ 5220918 h 15946069"/>
                <a:gd name="connsiteX57" fmla="*/ 875281 w 12149688"/>
                <a:gd name="connsiteY57" fmla="*/ 5166646 h 15946069"/>
                <a:gd name="connsiteX58" fmla="*/ 0 w 12149688"/>
                <a:gd name="connsiteY58" fmla="*/ 5890112 h 15946069"/>
                <a:gd name="connsiteX59" fmla="*/ 72345 w 12149688"/>
                <a:gd name="connsiteY59" fmla="*/ 6921032 h 15946069"/>
                <a:gd name="connsiteX60" fmla="*/ 477776 w 12149688"/>
                <a:gd name="connsiteY60" fmla="*/ 7436569 h 15946069"/>
                <a:gd name="connsiteX0" fmla="*/ 477776 w 12149688"/>
                <a:gd name="connsiteY0" fmla="*/ 7436569 h 15946069"/>
                <a:gd name="connsiteX1" fmla="*/ 271294 w 12149688"/>
                <a:gd name="connsiteY1" fmla="*/ 8060457 h 15946069"/>
                <a:gd name="connsiteX2" fmla="*/ 379812 w 12149688"/>
                <a:gd name="connsiteY2" fmla="*/ 8675382 h 15946069"/>
                <a:gd name="connsiteX3" fmla="*/ 759624 w 12149688"/>
                <a:gd name="connsiteY3" fmla="*/ 9217969 h 15946069"/>
                <a:gd name="connsiteX4" fmla="*/ 687278 w 12149688"/>
                <a:gd name="connsiteY4" fmla="*/ 9670126 h 15946069"/>
                <a:gd name="connsiteX5" fmla="*/ 144687 w 12149688"/>
                <a:gd name="connsiteY5" fmla="*/ 9941420 h 15946069"/>
                <a:gd name="connsiteX6" fmla="*/ 343643 w 12149688"/>
                <a:gd name="connsiteY6" fmla="*/ 10592536 h 15946069"/>
                <a:gd name="connsiteX7" fmla="*/ 940487 w 12149688"/>
                <a:gd name="connsiteY7" fmla="*/ 10954252 h 15946069"/>
                <a:gd name="connsiteX8" fmla="*/ 596844 w 12149688"/>
                <a:gd name="connsiteY8" fmla="*/ 11786221 h 15946069"/>
                <a:gd name="connsiteX9" fmla="*/ 633017 w 12149688"/>
                <a:gd name="connsiteY9" fmla="*/ 12780969 h 15946069"/>
                <a:gd name="connsiteX10" fmla="*/ 198944 w 12149688"/>
                <a:gd name="connsiteY10" fmla="*/ 13341645 h 15946069"/>
                <a:gd name="connsiteX11" fmla="*/ 723451 w 12149688"/>
                <a:gd name="connsiteY11" fmla="*/ 13757629 h 15946069"/>
                <a:gd name="connsiteX12" fmla="*/ 1640036 w 12149688"/>
                <a:gd name="connsiteY12" fmla="*/ 13197151 h 15946069"/>
                <a:gd name="connsiteX13" fmla="*/ 1880971 w 12149688"/>
                <a:gd name="connsiteY13" fmla="*/ 13395906 h 15946069"/>
                <a:gd name="connsiteX14" fmla="*/ 2930086 w 12149688"/>
                <a:gd name="connsiteY14" fmla="*/ 12952832 h 15946069"/>
                <a:gd name="connsiteX15" fmla="*/ 3828256 w 12149688"/>
                <a:gd name="connsiteY15" fmla="*/ 13245188 h 15946069"/>
                <a:gd name="connsiteX16" fmla="*/ 4768739 w 12149688"/>
                <a:gd name="connsiteY16" fmla="*/ 13040205 h 15946069"/>
                <a:gd name="connsiteX17" fmla="*/ 5190751 w 12149688"/>
                <a:gd name="connsiteY17" fmla="*/ 13649115 h 15946069"/>
                <a:gd name="connsiteX18" fmla="*/ 5932290 w 12149688"/>
                <a:gd name="connsiteY18" fmla="*/ 13444132 h 15946069"/>
                <a:gd name="connsiteX19" fmla="*/ 6498992 w 12149688"/>
                <a:gd name="connsiteY19" fmla="*/ 12991975 h 15946069"/>
                <a:gd name="connsiteX20" fmla="*/ 7373161 w 12149688"/>
                <a:gd name="connsiteY20" fmla="*/ 13582800 h 15946069"/>
                <a:gd name="connsiteX21" fmla="*/ 8512588 w 12149688"/>
                <a:gd name="connsiteY21" fmla="*/ 13570738 h 15946069"/>
                <a:gd name="connsiteX22" fmla="*/ 9742454 w 12149688"/>
                <a:gd name="connsiteY22" fmla="*/ 14004811 h 15946069"/>
                <a:gd name="connsiteX23" fmla="*/ 10616683 w 12149688"/>
                <a:gd name="connsiteY23" fmla="*/ 15358294 h 15946069"/>
                <a:gd name="connsiteX24" fmla="*/ 11117010 w 12149688"/>
                <a:gd name="connsiteY24" fmla="*/ 15946069 h 15946069"/>
                <a:gd name="connsiteX25" fmla="*/ 11589945 w 12149688"/>
                <a:gd name="connsiteY25" fmla="*/ 15762811 h 15946069"/>
                <a:gd name="connsiteX26" fmla="*/ 11980885 w 12149688"/>
                <a:gd name="connsiteY26" fmla="*/ 11483773 h 15946069"/>
                <a:gd name="connsiteX27" fmla="*/ 11899987 w 12149688"/>
                <a:gd name="connsiteY27" fmla="*/ 10752355 h 15946069"/>
                <a:gd name="connsiteX28" fmla="*/ 11893530 w 12149688"/>
                <a:gd name="connsiteY28" fmla="*/ 10283919 h 15946069"/>
                <a:gd name="connsiteX29" fmla="*/ 11533930 w 12149688"/>
                <a:gd name="connsiteY29" fmla="*/ 9393151 h 15946069"/>
                <a:gd name="connsiteX30" fmla="*/ 11668657 w 12149688"/>
                <a:gd name="connsiteY30" fmla="*/ 8754316 h 15946069"/>
                <a:gd name="connsiteX31" fmla="*/ 12149687 w 12149688"/>
                <a:gd name="connsiteY31" fmla="*/ 8101619 h 15946069"/>
                <a:gd name="connsiteX32" fmla="*/ 11118705 w 12149688"/>
                <a:gd name="connsiteY32" fmla="*/ 7156845 h 15946069"/>
                <a:gd name="connsiteX33" fmla="*/ 10425568 w 12149688"/>
                <a:gd name="connsiteY33" fmla="*/ 7223642 h 15946069"/>
                <a:gd name="connsiteX34" fmla="*/ 10709437 w 12149688"/>
                <a:gd name="connsiteY34" fmla="*/ 6730245 h 15946069"/>
                <a:gd name="connsiteX35" fmla="*/ 10017677 w 12149688"/>
                <a:gd name="connsiteY35" fmla="*/ 5883475 h 15946069"/>
                <a:gd name="connsiteX36" fmla="*/ 9318595 w 12149688"/>
                <a:gd name="connsiteY36" fmla="*/ 5859197 h 15946069"/>
                <a:gd name="connsiteX37" fmla="*/ 9215073 w 12149688"/>
                <a:gd name="connsiteY37" fmla="*/ 5387392 h 15946069"/>
                <a:gd name="connsiteX38" fmla="*/ 8600211 w 12149688"/>
                <a:gd name="connsiteY38" fmla="*/ 5564744 h 15946069"/>
                <a:gd name="connsiteX39" fmla="*/ 8412926 w 12149688"/>
                <a:gd name="connsiteY39" fmla="*/ 4835463 h 15946069"/>
                <a:gd name="connsiteX40" fmla="*/ 7744624 w 12149688"/>
                <a:gd name="connsiteY40" fmla="*/ 4382387 h 15946069"/>
                <a:gd name="connsiteX41" fmla="*/ 8112983 w 12149688"/>
                <a:gd name="connsiteY41" fmla="*/ 3770361 h 15946069"/>
                <a:gd name="connsiteX42" fmla="*/ 7637793 w 12149688"/>
                <a:gd name="connsiteY42" fmla="*/ 2526072 h 15946069"/>
                <a:gd name="connsiteX43" fmla="*/ 7264687 w 12149688"/>
                <a:gd name="connsiteY43" fmla="*/ 2131091 h 15946069"/>
                <a:gd name="connsiteX44" fmla="*/ 6594245 w 12149688"/>
                <a:gd name="connsiteY44" fmla="*/ 2055834 h 15946069"/>
                <a:gd name="connsiteX45" fmla="*/ 6431470 w 12149688"/>
                <a:gd name="connsiteY45" fmla="*/ 1314295 h 15946069"/>
                <a:gd name="connsiteX46" fmla="*/ 5642908 w 12149688"/>
                <a:gd name="connsiteY46" fmla="*/ 1343233 h 15946069"/>
                <a:gd name="connsiteX47" fmla="*/ 5150959 w 12149688"/>
                <a:gd name="connsiteY47" fmla="*/ 1610907 h 15946069"/>
                <a:gd name="connsiteX48" fmla="*/ 5480133 w 12149688"/>
                <a:gd name="connsiteY48" fmla="*/ 2167963 h 15946069"/>
                <a:gd name="connsiteX49" fmla="*/ 4742216 w 12149688"/>
                <a:gd name="connsiteY49" fmla="*/ 2862495 h 15946069"/>
                <a:gd name="connsiteX50" fmla="*/ 2658667 w 12149688"/>
                <a:gd name="connsiteY50" fmla="*/ 0 h 15946069"/>
                <a:gd name="connsiteX51" fmla="*/ 2658682 w 12149688"/>
                <a:gd name="connsiteY51" fmla="*/ 1018890 h 15946069"/>
                <a:gd name="connsiteX52" fmla="*/ 1850829 w 12149688"/>
                <a:gd name="connsiteY52" fmla="*/ 1730283 h 15946069"/>
                <a:gd name="connsiteX53" fmla="*/ 1404694 w 12149688"/>
                <a:gd name="connsiteY53" fmla="*/ 2272862 h 15946069"/>
                <a:gd name="connsiteX54" fmla="*/ 2351216 w 12149688"/>
                <a:gd name="connsiteY54" fmla="*/ 3388182 h 15946069"/>
                <a:gd name="connsiteX55" fmla="*/ 2658682 w 12149688"/>
                <a:gd name="connsiteY55" fmla="*/ 4286458 h 15946069"/>
                <a:gd name="connsiteX56" fmla="*/ 1935228 w 12149688"/>
                <a:gd name="connsiteY56" fmla="*/ 5220918 h 15946069"/>
                <a:gd name="connsiteX57" fmla="*/ 875281 w 12149688"/>
                <a:gd name="connsiteY57" fmla="*/ 5166646 h 15946069"/>
                <a:gd name="connsiteX58" fmla="*/ 0 w 12149688"/>
                <a:gd name="connsiteY58" fmla="*/ 5890112 h 15946069"/>
                <a:gd name="connsiteX59" fmla="*/ 72345 w 12149688"/>
                <a:gd name="connsiteY59" fmla="*/ 6921032 h 15946069"/>
                <a:gd name="connsiteX60" fmla="*/ 477776 w 12149688"/>
                <a:gd name="connsiteY60" fmla="*/ 7436569 h 15946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2149688" h="15946069">
                  <a:moveTo>
                    <a:pt x="477776" y="7436569"/>
                  </a:moveTo>
                  <a:lnTo>
                    <a:pt x="271294" y="8060457"/>
                  </a:lnTo>
                  <a:lnTo>
                    <a:pt x="379812" y="8675382"/>
                  </a:lnTo>
                  <a:lnTo>
                    <a:pt x="759624" y="9217969"/>
                  </a:lnTo>
                  <a:lnTo>
                    <a:pt x="687278" y="9670126"/>
                  </a:lnTo>
                  <a:lnTo>
                    <a:pt x="144687" y="9941420"/>
                  </a:lnTo>
                  <a:lnTo>
                    <a:pt x="343643" y="10592536"/>
                  </a:lnTo>
                  <a:lnTo>
                    <a:pt x="940487" y="10954252"/>
                  </a:lnTo>
                  <a:lnTo>
                    <a:pt x="596844" y="11786221"/>
                  </a:lnTo>
                  <a:lnTo>
                    <a:pt x="633017" y="12780969"/>
                  </a:lnTo>
                  <a:lnTo>
                    <a:pt x="198944" y="13341645"/>
                  </a:lnTo>
                  <a:lnTo>
                    <a:pt x="723451" y="13757629"/>
                  </a:lnTo>
                  <a:lnTo>
                    <a:pt x="1640036" y="13197151"/>
                  </a:lnTo>
                  <a:lnTo>
                    <a:pt x="1880971" y="13395906"/>
                  </a:lnTo>
                  <a:lnTo>
                    <a:pt x="2930086" y="12952832"/>
                  </a:lnTo>
                  <a:lnTo>
                    <a:pt x="3828256" y="13245188"/>
                  </a:lnTo>
                  <a:lnTo>
                    <a:pt x="4768739" y="13040205"/>
                  </a:lnTo>
                  <a:lnTo>
                    <a:pt x="5190751" y="13649115"/>
                  </a:lnTo>
                  <a:lnTo>
                    <a:pt x="5932290" y="13444132"/>
                  </a:lnTo>
                  <a:lnTo>
                    <a:pt x="6498992" y="12991975"/>
                  </a:lnTo>
                  <a:lnTo>
                    <a:pt x="7373161" y="13582800"/>
                  </a:lnTo>
                  <a:lnTo>
                    <a:pt x="8512588" y="13570738"/>
                  </a:lnTo>
                  <a:lnTo>
                    <a:pt x="9742454" y="14004811"/>
                  </a:lnTo>
                  <a:lnTo>
                    <a:pt x="10616683" y="15358294"/>
                  </a:lnTo>
                  <a:lnTo>
                    <a:pt x="11117010" y="15946069"/>
                  </a:lnTo>
                  <a:lnTo>
                    <a:pt x="11589945" y="15762811"/>
                  </a:lnTo>
                  <a:lnTo>
                    <a:pt x="11980885" y="11483773"/>
                  </a:lnTo>
                  <a:lnTo>
                    <a:pt x="11899987" y="10752355"/>
                  </a:lnTo>
                  <a:cubicBezTo>
                    <a:pt x="11897835" y="10596210"/>
                    <a:pt x="11895682" y="10440064"/>
                    <a:pt x="11893530" y="10283919"/>
                  </a:cubicBezTo>
                  <a:lnTo>
                    <a:pt x="11533930" y="9393151"/>
                  </a:lnTo>
                  <a:lnTo>
                    <a:pt x="11668657" y="8754316"/>
                  </a:lnTo>
                  <a:lnTo>
                    <a:pt x="12149687" y="8101619"/>
                  </a:lnTo>
                  <a:lnTo>
                    <a:pt x="11118705" y="7156845"/>
                  </a:lnTo>
                  <a:lnTo>
                    <a:pt x="10425568" y="7223642"/>
                  </a:lnTo>
                  <a:lnTo>
                    <a:pt x="10709437" y="6730245"/>
                  </a:lnTo>
                  <a:lnTo>
                    <a:pt x="10017677" y="5883475"/>
                  </a:lnTo>
                  <a:lnTo>
                    <a:pt x="9318595" y="5859197"/>
                  </a:lnTo>
                  <a:lnTo>
                    <a:pt x="9215073" y="5387392"/>
                  </a:lnTo>
                  <a:lnTo>
                    <a:pt x="8600211" y="5564744"/>
                  </a:lnTo>
                  <a:lnTo>
                    <a:pt x="8412926" y="4835463"/>
                  </a:lnTo>
                  <a:lnTo>
                    <a:pt x="7744624" y="4382387"/>
                  </a:lnTo>
                  <a:lnTo>
                    <a:pt x="8112983" y="3770361"/>
                  </a:lnTo>
                  <a:lnTo>
                    <a:pt x="7637793" y="2526072"/>
                  </a:lnTo>
                  <a:lnTo>
                    <a:pt x="7264687" y="2131091"/>
                  </a:lnTo>
                  <a:lnTo>
                    <a:pt x="6594245" y="2055834"/>
                  </a:lnTo>
                  <a:lnTo>
                    <a:pt x="6431470" y="1314295"/>
                  </a:lnTo>
                  <a:lnTo>
                    <a:pt x="5642908" y="1343233"/>
                  </a:lnTo>
                  <a:lnTo>
                    <a:pt x="5150959" y="1610907"/>
                  </a:lnTo>
                  <a:lnTo>
                    <a:pt x="5480133" y="2167963"/>
                  </a:lnTo>
                  <a:lnTo>
                    <a:pt x="4742216" y="2862495"/>
                  </a:lnTo>
                  <a:lnTo>
                    <a:pt x="2658667" y="0"/>
                  </a:lnTo>
                  <a:lnTo>
                    <a:pt x="2658682" y="1018890"/>
                  </a:lnTo>
                  <a:lnTo>
                    <a:pt x="1850829" y="1730283"/>
                  </a:lnTo>
                  <a:lnTo>
                    <a:pt x="1404694" y="2272862"/>
                  </a:lnTo>
                  <a:lnTo>
                    <a:pt x="2351216" y="3388182"/>
                  </a:lnTo>
                  <a:lnTo>
                    <a:pt x="2658682" y="4286458"/>
                  </a:lnTo>
                  <a:lnTo>
                    <a:pt x="1935228" y="5220918"/>
                  </a:lnTo>
                  <a:lnTo>
                    <a:pt x="875281" y="5166646"/>
                  </a:lnTo>
                  <a:lnTo>
                    <a:pt x="0" y="5890112"/>
                  </a:lnTo>
                  <a:lnTo>
                    <a:pt x="72345" y="6921032"/>
                  </a:lnTo>
                  <a:lnTo>
                    <a:pt x="477776" y="7436569"/>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12" name="任意多边形 114">
              <a:extLst>
                <a:ext uri="{FF2B5EF4-FFF2-40B4-BE49-F238E27FC236}">
                  <a16:creationId xmlns:a16="http://schemas.microsoft.com/office/drawing/2014/main" id="{04B9F5D8-01A0-6D1C-6F6C-D3ABB7BA4F95}"/>
                </a:ext>
              </a:extLst>
            </p:cNvPr>
            <p:cNvSpPr>
              <a:spLocks/>
            </p:cNvSpPr>
            <p:nvPr/>
          </p:nvSpPr>
          <p:spPr bwMode="auto">
            <a:xfrm>
              <a:off x="8255970" y="3854122"/>
              <a:ext cx="2381346" cy="1737972"/>
            </a:xfrm>
            <a:custGeom>
              <a:avLst/>
              <a:gdLst>
                <a:gd name="connsiteX0" fmla="*/ 0 w 17157070"/>
                <a:gd name="connsiteY0" fmla="*/ 4521645 h 12886678"/>
                <a:gd name="connsiteX1" fmla="*/ 613837 w 17157070"/>
                <a:gd name="connsiteY1" fmla="*/ 6900003 h 12886678"/>
                <a:gd name="connsiteX2" fmla="*/ 1518338 w 17157070"/>
                <a:gd name="connsiteY2" fmla="*/ 7768153 h 12886678"/>
                <a:gd name="connsiteX3" fmla="*/ 1735898 w 17157070"/>
                <a:gd name="connsiteY3" fmla="*/ 8600077 h 12886678"/>
                <a:gd name="connsiteX4" fmla="*/ 3137400 w 17157070"/>
                <a:gd name="connsiteY4" fmla="*/ 9124637 h 12886678"/>
                <a:gd name="connsiteX5" fmla="*/ 3453963 w 17157070"/>
                <a:gd name="connsiteY5" fmla="*/ 10481128 h 12886678"/>
                <a:gd name="connsiteX6" fmla="*/ 4168520 w 17157070"/>
                <a:gd name="connsiteY6" fmla="*/ 11855697 h 12886678"/>
                <a:gd name="connsiteX7" fmla="*/ 4162343 w 17157070"/>
                <a:gd name="connsiteY7" fmla="*/ 12886678 h 12886678"/>
                <a:gd name="connsiteX8" fmla="*/ 4605215 w 17157070"/>
                <a:gd name="connsiteY8" fmla="*/ 12802514 h 12886678"/>
                <a:gd name="connsiteX9" fmla="*/ 4840336 w 17157070"/>
                <a:gd name="connsiteY9" fmla="*/ 12513132 h 12886678"/>
                <a:gd name="connsiteX10" fmla="*/ 6070201 w 17157070"/>
                <a:gd name="connsiteY10" fmla="*/ 12531224 h 12886678"/>
                <a:gd name="connsiteX11" fmla="*/ 6884082 w 17157070"/>
                <a:gd name="connsiteY11" fmla="*/ 11934372 h 12886678"/>
                <a:gd name="connsiteX12" fmla="*/ 7716051 w 17157070"/>
                <a:gd name="connsiteY12" fmla="*/ 12259931 h 12886678"/>
                <a:gd name="connsiteX13" fmla="*/ 8584189 w 17157070"/>
                <a:gd name="connsiteY13" fmla="*/ 12060979 h 12886678"/>
                <a:gd name="connsiteX14" fmla="*/ 9289552 w 17157070"/>
                <a:gd name="connsiteY14" fmla="*/ 12259931 h 12886678"/>
                <a:gd name="connsiteX15" fmla="*/ 10139605 w 17157070"/>
                <a:gd name="connsiteY15" fmla="*/ 11862031 h 12886678"/>
                <a:gd name="connsiteX16" fmla="*/ 10664108 w 17157070"/>
                <a:gd name="connsiteY16" fmla="*/ 12079067 h 12886678"/>
                <a:gd name="connsiteX17" fmla="*/ 11387555 w 17157070"/>
                <a:gd name="connsiteY17" fmla="*/ 11988637 h 12886678"/>
                <a:gd name="connsiteX18" fmla="*/ 11966315 w 17157070"/>
                <a:gd name="connsiteY18" fmla="*/ 12712092 h 12886678"/>
                <a:gd name="connsiteX19" fmla="*/ 12942975 w 17157070"/>
                <a:gd name="connsiteY19" fmla="*/ 12476963 h 12886678"/>
                <a:gd name="connsiteX20" fmla="*/ 13575992 w 17157070"/>
                <a:gd name="connsiteY20" fmla="*/ 12874863 h 12886678"/>
                <a:gd name="connsiteX21" fmla="*/ 13973888 w 17157070"/>
                <a:gd name="connsiteY21" fmla="*/ 12784430 h 12886678"/>
                <a:gd name="connsiteX22" fmla="*/ 14028146 w 17157070"/>
                <a:gd name="connsiteY22" fmla="*/ 12241839 h 12886678"/>
                <a:gd name="connsiteX23" fmla="*/ 13594073 w 17157070"/>
                <a:gd name="connsiteY23" fmla="*/ 12187582 h 12886678"/>
                <a:gd name="connsiteX24" fmla="*/ 13612161 w 17157070"/>
                <a:gd name="connsiteY24" fmla="*/ 11500303 h 12886678"/>
                <a:gd name="connsiteX25" fmla="*/ 14190925 w 17157070"/>
                <a:gd name="connsiteY25" fmla="*/ 11355616 h 12886678"/>
                <a:gd name="connsiteX26" fmla="*/ 13865366 w 17157070"/>
                <a:gd name="connsiteY26" fmla="*/ 10885371 h 12886678"/>
                <a:gd name="connsiteX27" fmla="*/ 14136664 w 17157070"/>
                <a:gd name="connsiteY27" fmla="*/ 10487475 h 12886678"/>
                <a:gd name="connsiteX28" fmla="*/ 14703435 w 17157070"/>
                <a:gd name="connsiteY28" fmla="*/ 10514571 h 12886678"/>
                <a:gd name="connsiteX29" fmla="*/ 14661163 w 17157070"/>
                <a:gd name="connsiteY29" fmla="*/ 10342787 h 12886678"/>
                <a:gd name="connsiteX30" fmla="*/ 14335608 w 17157070"/>
                <a:gd name="connsiteY30" fmla="*/ 10180012 h 12886678"/>
                <a:gd name="connsiteX31" fmla="*/ 14498387 w 17157070"/>
                <a:gd name="connsiteY31" fmla="*/ 9601248 h 12886678"/>
                <a:gd name="connsiteX32" fmla="*/ 13847278 w 17157070"/>
                <a:gd name="connsiteY32" fmla="*/ 8696934 h 12886678"/>
                <a:gd name="connsiteX33" fmla="*/ 13340864 w 17157070"/>
                <a:gd name="connsiteY33" fmla="*/ 7991571 h 12886678"/>
                <a:gd name="connsiteX34" fmla="*/ 13123831 w 17157070"/>
                <a:gd name="connsiteY34" fmla="*/ 6906393 h 12886678"/>
                <a:gd name="connsiteX35" fmla="*/ 13232349 w 17157070"/>
                <a:gd name="connsiteY35" fmla="*/ 6219119 h 12886678"/>
                <a:gd name="connsiteX36" fmla="*/ 12273778 w 17157070"/>
                <a:gd name="connsiteY36" fmla="*/ 6252280 h 12886678"/>
                <a:gd name="connsiteX37" fmla="*/ 12201432 w 17157070"/>
                <a:gd name="connsiteY37" fmla="*/ 5854380 h 12886678"/>
                <a:gd name="connsiteX38" fmla="*/ 12508887 w 17157070"/>
                <a:gd name="connsiteY38" fmla="*/ 5350985 h 12886678"/>
                <a:gd name="connsiteX39" fmla="*/ 13774933 w 17157070"/>
                <a:gd name="connsiteY39" fmla="*/ 4573269 h 12886678"/>
                <a:gd name="connsiteX40" fmla="*/ 15294184 w 17157070"/>
                <a:gd name="connsiteY40" fmla="*/ 4066854 h 12886678"/>
                <a:gd name="connsiteX41" fmla="*/ 15746333 w 17157070"/>
                <a:gd name="connsiteY41" fmla="*/ 4392409 h 12886678"/>
                <a:gd name="connsiteX42" fmla="*/ 16578306 w 17157070"/>
                <a:gd name="connsiteY42" fmla="*/ 4103027 h 12886678"/>
                <a:gd name="connsiteX43" fmla="*/ 17084732 w 17157070"/>
                <a:gd name="connsiteY43" fmla="*/ 4500935 h 12886678"/>
                <a:gd name="connsiteX44" fmla="*/ 17157070 w 17157070"/>
                <a:gd name="connsiteY44" fmla="*/ 3560444 h 12886678"/>
                <a:gd name="connsiteX45" fmla="*/ 16433615 w 17157070"/>
                <a:gd name="connsiteY45" fmla="*/ 3470014 h 12886678"/>
                <a:gd name="connsiteX46" fmla="*/ 16415865 w 17157070"/>
                <a:gd name="connsiteY46" fmla="*/ 2853862 h 12886678"/>
                <a:gd name="connsiteX47" fmla="*/ 15963191 w 17157070"/>
                <a:gd name="connsiteY47" fmla="*/ 2993318 h 12886678"/>
                <a:gd name="connsiteX48" fmla="*/ 14923009 w 17157070"/>
                <a:gd name="connsiteY48" fmla="*/ 1763435 h 12886678"/>
                <a:gd name="connsiteX49" fmla="*/ 14244644 w 17157070"/>
                <a:gd name="connsiteY49" fmla="*/ 325540 h 12886678"/>
                <a:gd name="connsiteX50" fmla="*/ 13367278 w 17157070"/>
                <a:gd name="connsiteY50" fmla="*/ 614945 h 12886678"/>
                <a:gd name="connsiteX51" fmla="*/ 12218563 w 17157070"/>
                <a:gd name="connsiteY51" fmla="*/ 623988 h 12886678"/>
                <a:gd name="connsiteX52" fmla="*/ 11323109 w 17157070"/>
                <a:gd name="connsiteY52" fmla="*/ 36169 h 12886678"/>
                <a:gd name="connsiteX53" fmla="*/ 10780410 w 17157070"/>
                <a:gd name="connsiteY53" fmla="*/ 488337 h 12886678"/>
                <a:gd name="connsiteX54" fmla="*/ 10038717 w 17157070"/>
                <a:gd name="connsiteY54" fmla="*/ 687288 h 12886678"/>
                <a:gd name="connsiteX55" fmla="*/ 9622651 w 17157070"/>
                <a:gd name="connsiteY55" fmla="*/ 81389 h 12886678"/>
                <a:gd name="connsiteX56" fmla="*/ 8672925 w 17157070"/>
                <a:gd name="connsiteY56" fmla="*/ 280344 h 12886678"/>
                <a:gd name="connsiteX57" fmla="*/ 7759379 w 17157070"/>
                <a:gd name="connsiteY57" fmla="*/ 0 h 12886678"/>
                <a:gd name="connsiteX58" fmla="*/ 6729494 w 17157070"/>
                <a:gd name="connsiteY58" fmla="*/ 443189 h 12886678"/>
                <a:gd name="connsiteX59" fmla="*/ 6493079 w 17157070"/>
                <a:gd name="connsiteY59" fmla="*/ 1012843 h 12886678"/>
                <a:gd name="connsiteX60" fmla="*/ 6710175 w 17157070"/>
                <a:gd name="connsiteY60" fmla="*/ 2161345 h 12886678"/>
                <a:gd name="connsiteX61" fmla="*/ 4141784 w 17157070"/>
                <a:gd name="connsiteY61" fmla="*/ 2086470 h 12886678"/>
                <a:gd name="connsiteX62" fmla="*/ 2314296 w 17157070"/>
                <a:gd name="connsiteY62" fmla="*/ 2369327 h 12886678"/>
                <a:gd name="connsiteX63" fmla="*/ 1334589 w 17157070"/>
                <a:gd name="connsiteY63" fmla="*/ 3174199 h 12886678"/>
                <a:gd name="connsiteX64" fmla="*/ 0 w 17157070"/>
                <a:gd name="connsiteY64" fmla="*/ 4521645 h 12886678"/>
                <a:gd name="connsiteX0" fmla="*/ 0 w 17157070"/>
                <a:gd name="connsiteY0" fmla="*/ 4521645 h 12886678"/>
                <a:gd name="connsiteX1" fmla="*/ 613837 w 17157070"/>
                <a:gd name="connsiteY1" fmla="*/ 6900003 h 12886678"/>
                <a:gd name="connsiteX2" fmla="*/ 1518338 w 17157070"/>
                <a:gd name="connsiteY2" fmla="*/ 7768153 h 12886678"/>
                <a:gd name="connsiteX3" fmla="*/ 1735898 w 17157070"/>
                <a:gd name="connsiteY3" fmla="*/ 8600077 h 12886678"/>
                <a:gd name="connsiteX4" fmla="*/ 3137400 w 17157070"/>
                <a:gd name="connsiteY4" fmla="*/ 9124637 h 12886678"/>
                <a:gd name="connsiteX5" fmla="*/ 3453963 w 17157070"/>
                <a:gd name="connsiteY5" fmla="*/ 10481128 h 12886678"/>
                <a:gd name="connsiteX6" fmla="*/ 4168520 w 17157070"/>
                <a:gd name="connsiteY6" fmla="*/ 11855697 h 12886678"/>
                <a:gd name="connsiteX7" fmla="*/ 4162343 w 17157070"/>
                <a:gd name="connsiteY7" fmla="*/ 12886678 h 12886678"/>
                <a:gd name="connsiteX8" fmla="*/ 4605215 w 17157070"/>
                <a:gd name="connsiteY8" fmla="*/ 12802514 h 12886678"/>
                <a:gd name="connsiteX9" fmla="*/ 4840336 w 17157070"/>
                <a:gd name="connsiteY9" fmla="*/ 12513132 h 12886678"/>
                <a:gd name="connsiteX10" fmla="*/ 6070201 w 17157070"/>
                <a:gd name="connsiteY10" fmla="*/ 12531224 h 12886678"/>
                <a:gd name="connsiteX11" fmla="*/ 6884082 w 17157070"/>
                <a:gd name="connsiteY11" fmla="*/ 11934372 h 12886678"/>
                <a:gd name="connsiteX12" fmla="*/ 7716051 w 17157070"/>
                <a:gd name="connsiteY12" fmla="*/ 12259931 h 12886678"/>
                <a:gd name="connsiteX13" fmla="*/ 8584189 w 17157070"/>
                <a:gd name="connsiteY13" fmla="*/ 12060979 h 12886678"/>
                <a:gd name="connsiteX14" fmla="*/ 9289552 w 17157070"/>
                <a:gd name="connsiteY14" fmla="*/ 12259931 h 12886678"/>
                <a:gd name="connsiteX15" fmla="*/ 10139605 w 17157070"/>
                <a:gd name="connsiteY15" fmla="*/ 11862031 h 12886678"/>
                <a:gd name="connsiteX16" fmla="*/ 10664108 w 17157070"/>
                <a:gd name="connsiteY16" fmla="*/ 12079067 h 12886678"/>
                <a:gd name="connsiteX17" fmla="*/ 11387555 w 17157070"/>
                <a:gd name="connsiteY17" fmla="*/ 11988637 h 12886678"/>
                <a:gd name="connsiteX18" fmla="*/ 11966315 w 17157070"/>
                <a:gd name="connsiteY18" fmla="*/ 12712092 h 12886678"/>
                <a:gd name="connsiteX19" fmla="*/ 12942975 w 17157070"/>
                <a:gd name="connsiteY19" fmla="*/ 12476963 h 12886678"/>
                <a:gd name="connsiteX20" fmla="*/ 13575992 w 17157070"/>
                <a:gd name="connsiteY20" fmla="*/ 12874863 h 12886678"/>
                <a:gd name="connsiteX21" fmla="*/ 13973888 w 17157070"/>
                <a:gd name="connsiteY21" fmla="*/ 12784430 h 12886678"/>
                <a:gd name="connsiteX22" fmla="*/ 14028146 w 17157070"/>
                <a:gd name="connsiteY22" fmla="*/ 12241839 h 12886678"/>
                <a:gd name="connsiteX23" fmla="*/ 13594073 w 17157070"/>
                <a:gd name="connsiteY23" fmla="*/ 12187582 h 12886678"/>
                <a:gd name="connsiteX24" fmla="*/ 13612161 w 17157070"/>
                <a:gd name="connsiteY24" fmla="*/ 11500303 h 12886678"/>
                <a:gd name="connsiteX25" fmla="*/ 14190925 w 17157070"/>
                <a:gd name="connsiteY25" fmla="*/ 11355616 h 12886678"/>
                <a:gd name="connsiteX26" fmla="*/ 13865366 w 17157070"/>
                <a:gd name="connsiteY26" fmla="*/ 10885371 h 12886678"/>
                <a:gd name="connsiteX27" fmla="*/ 14136664 w 17157070"/>
                <a:gd name="connsiteY27" fmla="*/ 10487475 h 12886678"/>
                <a:gd name="connsiteX28" fmla="*/ 14703435 w 17157070"/>
                <a:gd name="connsiteY28" fmla="*/ 10514571 h 12886678"/>
                <a:gd name="connsiteX29" fmla="*/ 14661163 w 17157070"/>
                <a:gd name="connsiteY29" fmla="*/ 10342787 h 12886678"/>
                <a:gd name="connsiteX30" fmla="*/ 14335608 w 17157070"/>
                <a:gd name="connsiteY30" fmla="*/ 10180012 h 12886678"/>
                <a:gd name="connsiteX31" fmla="*/ 14498387 w 17157070"/>
                <a:gd name="connsiteY31" fmla="*/ 9601248 h 12886678"/>
                <a:gd name="connsiteX32" fmla="*/ 13847278 w 17157070"/>
                <a:gd name="connsiteY32" fmla="*/ 8696934 h 12886678"/>
                <a:gd name="connsiteX33" fmla="*/ 13340864 w 17157070"/>
                <a:gd name="connsiteY33" fmla="*/ 7991571 h 12886678"/>
                <a:gd name="connsiteX34" fmla="*/ 13123831 w 17157070"/>
                <a:gd name="connsiteY34" fmla="*/ 6906393 h 12886678"/>
                <a:gd name="connsiteX35" fmla="*/ 13232349 w 17157070"/>
                <a:gd name="connsiteY35" fmla="*/ 6219119 h 12886678"/>
                <a:gd name="connsiteX36" fmla="*/ 12273778 w 17157070"/>
                <a:gd name="connsiteY36" fmla="*/ 6252280 h 12886678"/>
                <a:gd name="connsiteX37" fmla="*/ 12201432 w 17157070"/>
                <a:gd name="connsiteY37" fmla="*/ 5854380 h 12886678"/>
                <a:gd name="connsiteX38" fmla="*/ 12508887 w 17157070"/>
                <a:gd name="connsiteY38" fmla="*/ 5350985 h 12886678"/>
                <a:gd name="connsiteX39" fmla="*/ 13774933 w 17157070"/>
                <a:gd name="connsiteY39" fmla="*/ 4573269 h 12886678"/>
                <a:gd name="connsiteX40" fmla="*/ 15294184 w 17157070"/>
                <a:gd name="connsiteY40" fmla="*/ 4066854 h 12886678"/>
                <a:gd name="connsiteX41" fmla="*/ 15746333 w 17157070"/>
                <a:gd name="connsiteY41" fmla="*/ 4392409 h 12886678"/>
                <a:gd name="connsiteX42" fmla="*/ 16578306 w 17157070"/>
                <a:gd name="connsiteY42" fmla="*/ 4103027 h 12886678"/>
                <a:gd name="connsiteX43" fmla="*/ 17084732 w 17157070"/>
                <a:gd name="connsiteY43" fmla="*/ 4500935 h 12886678"/>
                <a:gd name="connsiteX44" fmla="*/ 17157070 w 17157070"/>
                <a:gd name="connsiteY44" fmla="*/ 3560444 h 12886678"/>
                <a:gd name="connsiteX45" fmla="*/ 16433615 w 17157070"/>
                <a:gd name="connsiteY45" fmla="*/ 3470014 h 12886678"/>
                <a:gd name="connsiteX46" fmla="*/ 16415865 w 17157070"/>
                <a:gd name="connsiteY46" fmla="*/ 2853862 h 12886678"/>
                <a:gd name="connsiteX47" fmla="*/ 15963191 w 17157070"/>
                <a:gd name="connsiteY47" fmla="*/ 2993318 h 12886678"/>
                <a:gd name="connsiteX48" fmla="*/ 14923009 w 17157070"/>
                <a:gd name="connsiteY48" fmla="*/ 1763435 h 12886678"/>
                <a:gd name="connsiteX49" fmla="*/ 14244644 w 17157070"/>
                <a:gd name="connsiteY49" fmla="*/ 325540 h 12886678"/>
                <a:gd name="connsiteX50" fmla="*/ 13367278 w 17157070"/>
                <a:gd name="connsiteY50" fmla="*/ 614945 h 12886678"/>
                <a:gd name="connsiteX51" fmla="*/ 12218563 w 17157070"/>
                <a:gd name="connsiteY51" fmla="*/ 623988 h 12886678"/>
                <a:gd name="connsiteX52" fmla="*/ 11323109 w 17157070"/>
                <a:gd name="connsiteY52" fmla="*/ 36169 h 12886678"/>
                <a:gd name="connsiteX53" fmla="*/ 10780410 w 17157070"/>
                <a:gd name="connsiteY53" fmla="*/ 488337 h 12886678"/>
                <a:gd name="connsiteX54" fmla="*/ 10038717 w 17157070"/>
                <a:gd name="connsiteY54" fmla="*/ 687288 h 12886678"/>
                <a:gd name="connsiteX55" fmla="*/ 9622651 w 17157070"/>
                <a:gd name="connsiteY55" fmla="*/ 81389 h 12886678"/>
                <a:gd name="connsiteX56" fmla="*/ 8672925 w 17157070"/>
                <a:gd name="connsiteY56" fmla="*/ 280344 h 12886678"/>
                <a:gd name="connsiteX57" fmla="*/ 7759379 w 17157070"/>
                <a:gd name="connsiteY57" fmla="*/ 0 h 12886678"/>
                <a:gd name="connsiteX58" fmla="*/ 6729494 w 17157070"/>
                <a:gd name="connsiteY58" fmla="*/ 443189 h 12886678"/>
                <a:gd name="connsiteX59" fmla="*/ 6493079 w 17157070"/>
                <a:gd name="connsiteY59" fmla="*/ 1012843 h 12886678"/>
                <a:gd name="connsiteX60" fmla="*/ 4437471 w 17157070"/>
                <a:gd name="connsiteY60" fmla="*/ 2805824 h 12886678"/>
                <a:gd name="connsiteX61" fmla="*/ 4141784 w 17157070"/>
                <a:gd name="connsiteY61" fmla="*/ 2086470 h 12886678"/>
                <a:gd name="connsiteX62" fmla="*/ 2314296 w 17157070"/>
                <a:gd name="connsiteY62" fmla="*/ 2369327 h 12886678"/>
                <a:gd name="connsiteX63" fmla="*/ 1334589 w 17157070"/>
                <a:gd name="connsiteY63" fmla="*/ 3174199 h 12886678"/>
                <a:gd name="connsiteX64" fmla="*/ 0 w 17157070"/>
                <a:gd name="connsiteY64" fmla="*/ 4521645 h 12886678"/>
                <a:gd name="connsiteX0" fmla="*/ 0 w 17157070"/>
                <a:gd name="connsiteY0" fmla="*/ 4521645 h 12886678"/>
                <a:gd name="connsiteX1" fmla="*/ 613837 w 17157070"/>
                <a:gd name="connsiteY1" fmla="*/ 6900003 h 12886678"/>
                <a:gd name="connsiteX2" fmla="*/ 1518338 w 17157070"/>
                <a:gd name="connsiteY2" fmla="*/ 7768153 h 12886678"/>
                <a:gd name="connsiteX3" fmla="*/ 1735898 w 17157070"/>
                <a:gd name="connsiteY3" fmla="*/ 8600077 h 12886678"/>
                <a:gd name="connsiteX4" fmla="*/ 3137400 w 17157070"/>
                <a:gd name="connsiteY4" fmla="*/ 9124637 h 12886678"/>
                <a:gd name="connsiteX5" fmla="*/ 3453963 w 17157070"/>
                <a:gd name="connsiteY5" fmla="*/ 10481128 h 12886678"/>
                <a:gd name="connsiteX6" fmla="*/ 4168520 w 17157070"/>
                <a:gd name="connsiteY6" fmla="*/ 11855697 h 12886678"/>
                <a:gd name="connsiteX7" fmla="*/ 4162343 w 17157070"/>
                <a:gd name="connsiteY7" fmla="*/ 12886678 h 12886678"/>
                <a:gd name="connsiteX8" fmla="*/ 4605215 w 17157070"/>
                <a:gd name="connsiteY8" fmla="*/ 12802514 h 12886678"/>
                <a:gd name="connsiteX9" fmla="*/ 4840336 w 17157070"/>
                <a:gd name="connsiteY9" fmla="*/ 12513132 h 12886678"/>
                <a:gd name="connsiteX10" fmla="*/ 6070201 w 17157070"/>
                <a:gd name="connsiteY10" fmla="*/ 12531224 h 12886678"/>
                <a:gd name="connsiteX11" fmla="*/ 6884082 w 17157070"/>
                <a:gd name="connsiteY11" fmla="*/ 11934372 h 12886678"/>
                <a:gd name="connsiteX12" fmla="*/ 7716051 w 17157070"/>
                <a:gd name="connsiteY12" fmla="*/ 12259931 h 12886678"/>
                <a:gd name="connsiteX13" fmla="*/ 8584189 w 17157070"/>
                <a:gd name="connsiteY13" fmla="*/ 12060979 h 12886678"/>
                <a:gd name="connsiteX14" fmla="*/ 9289552 w 17157070"/>
                <a:gd name="connsiteY14" fmla="*/ 12259931 h 12886678"/>
                <a:gd name="connsiteX15" fmla="*/ 10139605 w 17157070"/>
                <a:gd name="connsiteY15" fmla="*/ 11862031 h 12886678"/>
                <a:gd name="connsiteX16" fmla="*/ 10664108 w 17157070"/>
                <a:gd name="connsiteY16" fmla="*/ 12079067 h 12886678"/>
                <a:gd name="connsiteX17" fmla="*/ 11387555 w 17157070"/>
                <a:gd name="connsiteY17" fmla="*/ 11988637 h 12886678"/>
                <a:gd name="connsiteX18" fmla="*/ 11966315 w 17157070"/>
                <a:gd name="connsiteY18" fmla="*/ 12712092 h 12886678"/>
                <a:gd name="connsiteX19" fmla="*/ 12942975 w 17157070"/>
                <a:gd name="connsiteY19" fmla="*/ 12476963 h 12886678"/>
                <a:gd name="connsiteX20" fmla="*/ 13575992 w 17157070"/>
                <a:gd name="connsiteY20" fmla="*/ 12874863 h 12886678"/>
                <a:gd name="connsiteX21" fmla="*/ 13973888 w 17157070"/>
                <a:gd name="connsiteY21" fmla="*/ 12784430 h 12886678"/>
                <a:gd name="connsiteX22" fmla="*/ 14028146 w 17157070"/>
                <a:gd name="connsiteY22" fmla="*/ 12241839 h 12886678"/>
                <a:gd name="connsiteX23" fmla="*/ 13594073 w 17157070"/>
                <a:gd name="connsiteY23" fmla="*/ 12187582 h 12886678"/>
                <a:gd name="connsiteX24" fmla="*/ 13612161 w 17157070"/>
                <a:gd name="connsiteY24" fmla="*/ 11500303 h 12886678"/>
                <a:gd name="connsiteX25" fmla="*/ 14190925 w 17157070"/>
                <a:gd name="connsiteY25" fmla="*/ 11355616 h 12886678"/>
                <a:gd name="connsiteX26" fmla="*/ 13865366 w 17157070"/>
                <a:gd name="connsiteY26" fmla="*/ 10885371 h 12886678"/>
                <a:gd name="connsiteX27" fmla="*/ 14136664 w 17157070"/>
                <a:gd name="connsiteY27" fmla="*/ 10487475 h 12886678"/>
                <a:gd name="connsiteX28" fmla="*/ 14703435 w 17157070"/>
                <a:gd name="connsiteY28" fmla="*/ 10514571 h 12886678"/>
                <a:gd name="connsiteX29" fmla="*/ 14661163 w 17157070"/>
                <a:gd name="connsiteY29" fmla="*/ 10342787 h 12886678"/>
                <a:gd name="connsiteX30" fmla="*/ 14335608 w 17157070"/>
                <a:gd name="connsiteY30" fmla="*/ 10180012 h 12886678"/>
                <a:gd name="connsiteX31" fmla="*/ 14498387 w 17157070"/>
                <a:gd name="connsiteY31" fmla="*/ 9601248 h 12886678"/>
                <a:gd name="connsiteX32" fmla="*/ 13847278 w 17157070"/>
                <a:gd name="connsiteY32" fmla="*/ 8696934 h 12886678"/>
                <a:gd name="connsiteX33" fmla="*/ 13340864 w 17157070"/>
                <a:gd name="connsiteY33" fmla="*/ 7991571 h 12886678"/>
                <a:gd name="connsiteX34" fmla="*/ 13123831 w 17157070"/>
                <a:gd name="connsiteY34" fmla="*/ 6906393 h 12886678"/>
                <a:gd name="connsiteX35" fmla="*/ 13232349 w 17157070"/>
                <a:gd name="connsiteY35" fmla="*/ 6219119 h 12886678"/>
                <a:gd name="connsiteX36" fmla="*/ 12273778 w 17157070"/>
                <a:gd name="connsiteY36" fmla="*/ 6252280 h 12886678"/>
                <a:gd name="connsiteX37" fmla="*/ 12201432 w 17157070"/>
                <a:gd name="connsiteY37" fmla="*/ 5854380 h 12886678"/>
                <a:gd name="connsiteX38" fmla="*/ 12508887 w 17157070"/>
                <a:gd name="connsiteY38" fmla="*/ 5350985 h 12886678"/>
                <a:gd name="connsiteX39" fmla="*/ 13774933 w 17157070"/>
                <a:gd name="connsiteY39" fmla="*/ 4573269 h 12886678"/>
                <a:gd name="connsiteX40" fmla="*/ 15294184 w 17157070"/>
                <a:gd name="connsiteY40" fmla="*/ 4066854 h 12886678"/>
                <a:gd name="connsiteX41" fmla="*/ 15746333 w 17157070"/>
                <a:gd name="connsiteY41" fmla="*/ 4392409 h 12886678"/>
                <a:gd name="connsiteX42" fmla="*/ 16578306 w 17157070"/>
                <a:gd name="connsiteY42" fmla="*/ 4103027 h 12886678"/>
                <a:gd name="connsiteX43" fmla="*/ 17084732 w 17157070"/>
                <a:gd name="connsiteY43" fmla="*/ 4500935 h 12886678"/>
                <a:gd name="connsiteX44" fmla="*/ 17157070 w 17157070"/>
                <a:gd name="connsiteY44" fmla="*/ 3560444 h 12886678"/>
                <a:gd name="connsiteX45" fmla="*/ 16433615 w 17157070"/>
                <a:gd name="connsiteY45" fmla="*/ 3470014 h 12886678"/>
                <a:gd name="connsiteX46" fmla="*/ 16415865 w 17157070"/>
                <a:gd name="connsiteY46" fmla="*/ 2853862 h 12886678"/>
                <a:gd name="connsiteX47" fmla="*/ 15963191 w 17157070"/>
                <a:gd name="connsiteY47" fmla="*/ 2993318 h 12886678"/>
                <a:gd name="connsiteX48" fmla="*/ 14923009 w 17157070"/>
                <a:gd name="connsiteY48" fmla="*/ 1763435 h 12886678"/>
                <a:gd name="connsiteX49" fmla="*/ 14244644 w 17157070"/>
                <a:gd name="connsiteY49" fmla="*/ 325540 h 12886678"/>
                <a:gd name="connsiteX50" fmla="*/ 13367278 w 17157070"/>
                <a:gd name="connsiteY50" fmla="*/ 614945 h 12886678"/>
                <a:gd name="connsiteX51" fmla="*/ 12218563 w 17157070"/>
                <a:gd name="connsiteY51" fmla="*/ 623988 h 12886678"/>
                <a:gd name="connsiteX52" fmla="*/ 11323109 w 17157070"/>
                <a:gd name="connsiteY52" fmla="*/ 36169 h 12886678"/>
                <a:gd name="connsiteX53" fmla="*/ 10780410 w 17157070"/>
                <a:gd name="connsiteY53" fmla="*/ 488337 h 12886678"/>
                <a:gd name="connsiteX54" fmla="*/ 10038717 w 17157070"/>
                <a:gd name="connsiteY54" fmla="*/ 687288 h 12886678"/>
                <a:gd name="connsiteX55" fmla="*/ 9622651 w 17157070"/>
                <a:gd name="connsiteY55" fmla="*/ 81389 h 12886678"/>
                <a:gd name="connsiteX56" fmla="*/ 8672925 w 17157070"/>
                <a:gd name="connsiteY56" fmla="*/ 280344 h 12886678"/>
                <a:gd name="connsiteX57" fmla="*/ 7759379 w 17157070"/>
                <a:gd name="connsiteY57" fmla="*/ 0 h 12886678"/>
                <a:gd name="connsiteX58" fmla="*/ 6729494 w 17157070"/>
                <a:gd name="connsiteY58" fmla="*/ 443189 h 12886678"/>
                <a:gd name="connsiteX59" fmla="*/ 4437471 w 17157070"/>
                <a:gd name="connsiteY59" fmla="*/ 2805824 h 12886678"/>
                <a:gd name="connsiteX60" fmla="*/ 4141784 w 17157070"/>
                <a:gd name="connsiteY60" fmla="*/ 2086470 h 12886678"/>
                <a:gd name="connsiteX61" fmla="*/ 2314296 w 17157070"/>
                <a:gd name="connsiteY61" fmla="*/ 2369327 h 12886678"/>
                <a:gd name="connsiteX62" fmla="*/ 1334589 w 17157070"/>
                <a:gd name="connsiteY62" fmla="*/ 3174199 h 12886678"/>
                <a:gd name="connsiteX63" fmla="*/ 0 w 17157070"/>
                <a:gd name="connsiteY63" fmla="*/ 4521645 h 12886678"/>
                <a:gd name="connsiteX0" fmla="*/ 0 w 17157070"/>
                <a:gd name="connsiteY0" fmla="*/ 4521645 h 12886678"/>
                <a:gd name="connsiteX1" fmla="*/ 613837 w 17157070"/>
                <a:gd name="connsiteY1" fmla="*/ 6900003 h 12886678"/>
                <a:gd name="connsiteX2" fmla="*/ 1518338 w 17157070"/>
                <a:gd name="connsiteY2" fmla="*/ 7768153 h 12886678"/>
                <a:gd name="connsiteX3" fmla="*/ 1735898 w 17157070"/>
                <a:gd name="connsiteY3" fmla="*/ 8600077 h 12886678"/>
                <a:gd name="connsiteX4" fmla="*/ 3137400 w 17157070"/>
                <a:gd name="connsiteY4" fmla="*/ 9124637 h 12886678"/>
                <a:gd name="connsiteX5" fmla="*/ 3453963 w 17157070"/>
                <a:gd name="connsiteY5" fmla="*/ 10481128 h 12886678"/>
                <a:gd name="connsiteX6" fmla="*/ 4168520 w 17157070"/>
                <a:gd name="connsiteY6" fmla="*/ 11855697 h 12886678"/>
                <a:gd name="connsiteX7" fmla="*/ 4162343 w 17157070"/>
                <a:gd name="connsiteY7" fmla="*/ 12886678 h 12886678"/>
                <a:gd name="connsiteX8" fmla="*/ 4605215 w 17157070"/>
                <a:gd name="connsiteY8" fmla="*/ 12802514 h 12886678"/>
                <a:gd name="connsiteX9" fmla="*/ 4840336 w 17157070"/>
                <a:gd name="connsiteY9" fmla="*/ 12513132 h 12886678"/>
                <a:gd name="connsiteX10" fmla="*/ 6070201 w 17157070"/>
                <a:gd name="connsiteY10" fmla="*/ 12531224 h 12886678"/>
                <a:gd name="connsiteX11" fmla="*/ 6884082 w 17157070"/>
                <a:gd name="connsiteY11" fmla="*/ 11934372 h 12886678"/>
                <a:gd name="connsiteX12" fmla="*/ 7716051 w 17157070"/>
                <a:gd name="connsiteY12" fmla="*/ 12259931 h 12886678"/>
                <a:gd name="connsiteX13" fmla="*/ 8584189 w 17157070"/>
                <a:gd name="connsiteY13" fmla="*/ 12060979 h 12886678"/>
                <a:gd name="connsiteX14" fmla="*/ 9289552 w 17157070"/>
                <a:gd name="connsiteY14" fmla="*/ 12259931 h 12886678"/>
                <a:gd name="connsiteX15" fmla="*/ 10139605 w 17157070"/>
                <a:gd name="connsiteY15" fmla="*/ 11862031 h 12886678"/>
                <a:gd name="connsiteX16" fmla="*/ 10664108 w 17157070"/>
                <a:gd name="connsiteY16" fmla="*/ 12079067 h 12886678"/>
                <a:gd name="connsiteX17" fmla="*/ 11387555 w 17157070"/>
                <a:gd name="connsiteY17" fmla="*/ 11988637 h 12886678"/>
                <a:gd name="connsiteX18" fmla="*/ 11966315 w 17157070"/>
                <a:gd name="connsiteY18" fmla="*/ 12712092 h 12886678"/>
                <a:gd name="connsiteX19" fmla="*/ 12942975 w 17157070"/>
                <a:gd name="connsiteY19" fmla="*/ 12476963 h 12886678"/>
                <a:gd name="connsiteX20" fmla="*/ 13575992 w 17157070"/>
                <a:gd name="connsiteY20" fmla="*/ 12874863 h 12886678"/>
                <a:gd name="connsiteX21" fmla="*/ 13973888 w 17157070"/>
                <a:gd name="connsiteY21" fmla="*/ 12784430 h 12886678"/>
                <a:gd name="connsiteX22" fmla="*/ 14028146 w 17157070"/>
                <a:gd name="connsiteY22" fmla="*/ 12241839 h 12886678"/>
                <a:gd name="connsiteX23" fmla="*/ 13594073 w 17157070"/>
                <a:gd name="connsiteY23" fmla="*/ 12187582 h 12886678"/>
                <a:gd name="connsiteX24" fmla="*/ 13612161 w 17157070"/>
                <a:gd name="connsiteY24" fmla="*/ 11500303 h 12886678"/>
                <a:gd name="connsiteX25" fmla="*/ 14190925 w 17157070"/>
                <a:gd name="connsiteY25" fmla="*/ 11355616 h 12886678"/>
                <a:gd name="connsiteX26" fmla="*/ 13865366 w 17157070"/>
                <a:gd name="connsiteY26" fmla="*/ 10885371 h 12886678"/>
                <a:gd name="connsiteX27" fmla="*/ 14136664 w 17157070"/>
                <a:gd name="connsiteY27" fmla="*/ 10487475 h 12886678"/>
                <a:gd name="connsiteX28" fmla="*/ 14703435 w 17157070"/>
                <a:gd name="connsiteY28" fmla="*/ 10514571 h 12886678"/>
                <a:gd name="connsiteX29" fmla="*/ 14661163 w 17157070"/>
                <a:gd name="connsiteY29" fmla="*/ 10342787 h 12886678"/>
                <a:gd name="connsiteX30" fmla="*/ 14335608 w 17157070"/>
                <a:gd name="connsiteY30" fmla="*/ 10180012 h 12886678"/>
                <a:gd name="connsiteX31" fmla="*/ 14498387 w 17157070"/>
                <a:gd name="connsiteY31" fmla="*/ 9601248 h 12886678"/>
                <a:gd name="connsiteX32" fmla="*/ 13847278 w 17157070"/>
                <a:gd name="connsiteY32" fmla="*/ 8696934 h 12886678"/>
                <a:gd name="connsiteX33" fmla="*/ 13340864 w 17157070"/>
                <a:gd name="connsiteY33" fmla="*/ 7991571 h 12886678"/>
                <a:gd name="connsiteX34" fmla="*/ 13123831 w 17157070"/>
                <a:gd name="connsiteY34" fmla="*/ 6906393 h 12886678"/>
                <a:gd name="connsiteX35" fmla="*/ 13232349 w 17157070"/>
                <a:gd name="connsiteY35" fmla="*/ 6219119 h 12886678"/>
                <a:gd name="connsiteX36" fmla="*/ 12273778 w 17157070"/>
                <a:gd name="connsiteY36" fmla="*/ 6252280 h 12886678"/>
                <a:gd name="connsiteX37" fmla="*/ 12201432 w 17157070"/>
                <a:gd name="connsiteY37" fmla="*/ 5854380 h 12886678"/>
                <a:gd name="connsiteX38" fmla="*/ 12508887 w 17157070"/>
                <a:gd name="connsiteY38" fmla="*/ 5350985 h 12886678"/>
                <a:gd name="connsiteX39" fmla="*/ 13774933 w 17157070"/>
                <a:gd name="connsiteY39" fmla="*/ 4573269 h 12886678"/>
                <a:gd name="connsiteX40" fmla="*/ 15294184 w 17157070"/>
                <a:gd name="connsiteY40" fmla="*/ 4066854 h 12886678"/>
                <a:gd name="connsiteX41" fmla="*/ 15746333 w 17157070"/>
                <a:gd name="connsiteY41" fmla="*/ 4392409 h 12886678"/>
                <a:gd name="connsiteX42" fmla="*/ 16578306 w 17157070"/>
                <a:gd name="connsiteY42" fmla="*/ 4103027 h 12886678"/>
                <a:gd name="connsiteX43" fmla="*/ 17084732 w 17157070"/>
                <a:gd name="connsiteY43" fmla="*/ 4500935 h 12886678"/>
                <a:gd name="connsiteX44" fmla="*/ 17157070 w 17157070"/>
                <a:gd name="connsiteY44" fmla="*/ 3560444 h 12886678"/>
                <a:gd name="connsiteX45" fmla="*/ 16433615 w 17157070"/>
                <a:gd name="connsiteY45" fmla="*/ 3470014 h 12886678"/>
                <a:gd name="connsiteX46" fmla="*/ 16415865 w 17157070"/>
                <a:gd name="connsiteY46" fmla="*/ 2853862 h 12886678"/>
                <a:gd name="connsiteX47" fmla="*/ 15963191 w 17157070"/>
                <a:gd name="connsiteY47" fmla="*/ 2993318 h 12886678"/>
                <a:gd name="connsiteX48" fmla="*/ 14923009 w 17157070"/>
                <a:gd name="connsiteY48" fmla="*/ 1763435 h 12886678"/>
                <a:gd name="connsiteX49" fmla="*/ 14244644 w 17157070"/>
                <a:gd name="connsiteY49" fmla="*/ 325540 h 12886678"/>
                <a:gd name="connsiteX50" fmla="*/ 13367278 w 17157070"/>
                <a:gd name="connsiteY50" fmla="*/ 614945 h 12886678"/>
                <a:gd name="connsiteX51" fmla="*/ 12218563 w 17157070"/>
                <a:gd name="connsiteY51" fmla="*/ 623988 h 12886678"/>
                <a:gd name="connsiteX52" fmla="*/ 11323109 w 17157070"/>
                <a:gd name="connsiteY52" fmla="*/ 36169 h 12886678"/>
                <a:gd name="connsiteX53" fmla="*/ 10780410 w 17157070"/>
                <a:gd name="connsiteY53" fmla="*/ 488337 h 12886678"/>
                <a:gd name="connsiteX54" fmla="*/ 10038717 w 17157070"/>
                <a:gd name="connsiteY54" fmla="*/ 687288 h 12886678"/>
                <a:gd name="connsiteX55" fmla="*/ 9622651 w 17157070"/>
                <a:gd name="connsiteY55" fmla="*/ 81389 h 12886678"/>
                <a:gd name="connsiteX56" fmla="*/ 8672925 w 17157070"/>
                <a:gd name="connsiteY56" fmla="*/ 280344 h 12886678"/>
                <a:gd name="connsiteX57" fmla="*/ 7759379 w 17157070"/>
                <a:gd name="connsiteY57" fmla="*/ 0 h 12886678"/>
                <a:gd name="connsiteX58" fmla="*/ 4432864 w 17157070"/>
                <a:gd name="connsiteY58" fmla="*/ 3474612 h 12886678"/>
                <a:gd name="connsiteX59" fmla="*/ 4437471 w 17157070"/>
                <a:gd name="connsiteY59" fmla="*/ 2805824 h 12886678"/>
                <a:gd name="connsiteX60" fmla="*/ 4141784 w 17157070"/>
                <a:gd name="connsiteY60" fmla="*/ 2086470 h 12886678"/>
                <a:gd name="connsiteX61" fmla="*/ 2314296 w 17157070"/>
                <a:gd name="connsiteY61" fmla="*/ 2369327 h 12886678"/>
                <a:gd name="connsiteX62" fmla="*/ 1334589 w 17157070"/>
                <a:gd name="connsiteY62" fmla="*/ 3174199 h 12886678"/>
                <a:gd name="connsiteX63" fmla="*/ 0 w 17157070"/>
                <a:gd name="connsiteY63" fmla="*/ 4521645 h 12886678"/>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10780410 w 17157070"/>
                <a:gd name="connsiteY53" fmla="*/ 452168 h 12850509"/>
                <a:gd name="connsiteX54" fmla="*/ 10038717 w 17157070"/>
                <a:gd name="connsiteY54" fmla="*/ 651119 h 12850509"/>
                <a:gd name="connsiteX55" fmla="*/ 9622651 w 17157070"/>
                <a:gd name="connsiteY55" fmla="*/ 45220 h 12850509"/>
                <a:gd name="connsiteX56" fmla="*/ 8672925 w 17157070"/>
                <a:gd name="connsiteY56" fmla="*/ 244175 h 12850509"/>
                <a:gd name="connsiteX57" fmla="*/ 4432864 w 17157070"/>
                <a:gd name="connsiteY57" fmla="*/ 3438443 h 12850509"/>
                <a:gd name="connsiteX58" fmla="*/ 4437471 w 17157070"/>
                <a:gd name="connsiteY58" fmla="*/ 2769655 h 12850509"/>
                <a:gd name="connsiteX59" fmla="*/ 4141784 w 17157070"/>
                <a:gd name="connsiteY59" fmla="*/ 2050301 h 12850509"/>
                <a:gd name="connsiteX60" fmla="*/ 2314296 w 17157070"/>
                <a:gd name="connsiteY60" fmla="*/ 2333158 h 12850509"/>
                <a:gd name="connsiteX61" fmla="*/ 1334589 w 17157070"/>
                <a:gd name="connsiteY61" fmla="*/ 3138030 h 12850509"/>
                <a:gd name="connsiteX62" fmla="*/ 0 w 17157070"/>
                <a:gd name="connsiteY62" fmla="*/ 4485476 h 12850509"/>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10780410 w 17157070"/>
                <a:gd name="connsiteY53" fmla="*/ 452168 h 12850509"/>
                <a:gd name="connsiteX54" fmla="*/ 10038717 w 17157070"/>
                <a:gd name="connsiteY54" fmla="*/ 651119 h 12850509"/>
                <a:gd name="connsiteX55" fmla="*/ 9622651 w 17157070"/>
                <a:gd name="connsiteY55" fmla="*/ 45220 h 12850509"/>
                <a:gd name="connsiteX56" fmla="*/ 4653822 w 17157070"/>
                <a:gd name="connsiteY56" fmla="*/ 3991678 h 12850509"/>
                <a:gd name="connsiteX57" fmla="*/ 4432864 w 17157070"/>
                <a:gd name="connsiteY57" fmla="*/ 3438443 h 12850509"/>
                <a:gd name="connsiteX58" fmla="*/ 4437471 w 17157070"/>
                <a:gd name="connsiteY58" fmla="*/ 2769655 h 12850509"/>
                <a:gd name="connsiteX59" fmla="*/ 4141784 w 17157070"/>
                <a:gd name="connsiteY59" fmla="*/ 2050301 h 12850509"/>
                <a:gd name="connsiteX60" fmla="*/ 2314296 w 17157070"/>
                <a:gd name="connsiteY60" fmla="*/ 2333158 h 12850509"/>
                <a:gd name="connsiteX61" fmla="*/ 1334589 w 17157070"/>
                <a:gd name="connsiteY61" fmla="*/ 3138030 h 12850509"/>
                <a:gd name="connsiteX62" fmla="*/ 0 w 17157070"/>
                <a:gd name="connsiteY62" fmla="*/ 4485476 h 12850509"/>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10780410 w 17157070"/>
                <a:gd name="connsiteY53" fmla="*/ 452168 h 12850509"/>
                <a:gd name="connsiteX54" fmla="*/ 10038717 w 17157070"/>
                <a:gd name="connsiteY54" fmla="*/ 651119 h 12850509"/>
                <a:gd name="connsiteX55" fmla="*/ 4653822 w 17157070"/>
                <a:gd name="connsiteY55" fmla="*/ 3991678 h 12850509"/>
                <a:gd name="connsiteX56" fmla="*/ 4432864 w 17157070"/>
                <a:gd name="connsiteY56" fmla="*/ 3438443 h 12850509"/>
                <a:gd name="connsiteX57" fmla="*/ 4437471 w 17157070"/>
                <a:gd name="connsiteY57" fmla="*/ 2769655 h 12850509"/>
                <a:gd name="connsiteX58" fmla="*/ 4141784 w 17157070"/>
                <a:gd name="connsiteY58" fmla="*/ 2050301 h 12850509"/>
                <a:gd name="connsiteX59" fmla="*/ 2314296 w 17157070"/>
                <a:gd name="connsiteY59" fmla="*/ 2333158 h 12850509"/>
                <a:gd name="connsiteX60" fmla="*/ 1334589 w 17157070"/>
                <a:gd name="connsiteY60" fmla="*/ 3138030 h 12850509"/>
                <a:gd name="connsiteX61" fmla="*/ 0 w 17157070"/>
                <a:gd name="connsiteY61" fmla="*/ 4485476 h 12850509"/>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10780410 w 17157070"/>
                <a:gd name="connsiteY53" fmla="*/ 452168 h 12850509"/>
                <a:gd name="connsiteX54" fmla="*/ 4416749 w 17157070"/>
                <a:gd name="connsiteY54" fmla="*/ 4541845 h 12850509"/>
                <a:gd name="connsiteX55" fmla="*/ 4653822 w 17157070"/>
                <a:gd name="connsiteY55" fmla="*/ 3991678 h 12850509"/>
                <a:gd name="connsiteX56" fmla="*/ 4432864 w 17157070"/>
                <a:gd name="connsiteY56" fmla="*/ 3438443 h 12850509"/>
                <a:gd name="connsiteX57" fmla="*/ 4437471 w 17157070"/>
                <a:gd name="connsiteY57" fmla="*/ 2769655 h 12850509"/>
                <a:gd name="connsiteX58" fmla="*/ 4141784 w 17157070"/>
                <a:gd name="connsiteY58" fmla="*/ 2050301 h 12850509"/>
                <a:gd name="connsiteX59" fmla="*/ 2314296 w 17157070"/>
                <a:gd name="connsiteY59" fmla="*/ 2333158 h 12850509"/>
                <a:gd name="connsiteX60" fmla="*/ 1334589 w 17157070"/>
                <a:gd name="connsiteY60" fmla="*/ 3138030 h 12850509"/>
                <a:gd name="connsiteX61" fmla="*/ 0 w 17157070"/>
                <a:gd name="connsiteY61" fmla="*/ 4485476 h 12850509"/>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4416749 w 17157070"/>
                <a:gd name="connsiteY53" fmla="*/ 4541845 h 12850509"/>
                <a:gd name="connsiteX54" fmla="*/ 4653822 w 17157070"/>
                <a:gd name="connsiteY54" fmla="*/ 3991678 h 12850509"/>
                <a:gd name="connsiteX55" fmla="*/ 4432864 w 17157070"/>
                <a:gd name="connsiteY55" fmla="*/ 3438443 h 12850509"/>
                <a:gd name="connsiteX56" fmla="*/ 4437471 w 17157070"/>
                <a:gd name="connsiteY56" fmla="*/ 2769655 h 12850509"/>
                <a:gd name="connsiteX57" fmla="*/ 4141784 w 17157070"/>
                <a:gd name="connsiteY57" fmla="*/ 2050301 h 12850509"/>
                <a:gd name="connsiteX58" fmla="*/ 2314296 w 17157070"/>
                <a:gd name="connsiteY58" fmla="*/ 2333158 h 12850509"/>
                <a:gd name="connsiteX59" fmla="*/ 1334589 w 17157070"/>
                <a:gd name="connsiteY59" fmla="*/ 3138030 h 12850509"/>
                <a:gd name="connsiteX60" fmla="*/ 0 w 17157070"/>
                <a:gd name="connsiteY60" fmla="*/ 4485476 h 12850509"/>
                <a:gd name="connsiteX0" fmla="*/ 0 w 17157070"/>
                <a:gd name="connsiteY0" fmla="*/ 4196103 h 12561136"/>
                <a:gd name="connsiteX1" fmla="*/ 613837 w 17157070"/>
                <a:gd name="connsiteY1" fmla="*/ 6574461 h 12561136"/>
                <a:gd name="connsiteX2" fmla="*/ 1518338 w 17157070"/>
                <a:gd name="connsiteY2" fmla="*/ 7442611 h 12561136"/>
                <a:gd name="connsiteX3" fmla="*/ 1735898 w 17157070"/>
                <a:gd name="connsiteY3" fmla="*/ 8274535 h 12561136"/>
                <a:gd name="connsiteX4" fmla="*/ 3137400 w 17157070"/>
                <a:gd name="connsiteY4" fmla="*/ 8799095 h 12561136"/>
                <a:gd name="connsiteX5" fmla="*/ 3453963 w 17157070"/>
                <a:gd name="connsiteY5" fmla="*/ 10155586 h 12561136"/>
                <a:gd name="connsiteX6" fmla="*/ 4168520 w 17157070"/>
                <a:gd name="connsiteY6" fmla="*/ 11530155 h 12561136"/>
                <a:gd name="connsiteX7" fmla="*/ 4162343 w 17157070"/>
                <a:gd name="connsiteY7" fmla="*/ 12561136 h 12561136"/>
                <a:gd name="connsiteX8" fmla="*/ 4605215 w 17157070"/>
                <a:gd name="connsiteY8" fmla="*/ 12476972 h 12561136"/>
                <a:gd name="connsiteX9" fmla="*/ 4840336 w 17157070"/>
                <a:gd name="connsiteY9" fmla="*/ 12187590 h 12561136"/>
                <a:gd name="connsiteX10" fmla="*/ 6070201 w 17157070"/>
                <a:gd name="connsiteY10" fmla="*/ 12205682 h 12561136"/>
                <a:gd name="connsiteX11" fmla="*/ 6884082 w 17157070"/>
                <a:gd name="connsiteY11" fmla="*/ 11608830 h 12561136"/>
                <a:gd name="connsiteX12" fmla="*/ 7716051 w 17157070"/>
                <a:gd name="connsiteY12" fmla="*/ 11934389 h 12561136"/>
                <a:gd name="connsiteX13" fmla="*/ 8584189 w 17157070"/>
                <a:gd name="connsiteY13" fmla="*/ 11735437 h 12561136"/>
                <a:gd name="connsiteX14" fmla="*/ 9289552 w 17157070"/>
                <a:gd name="connsiteY14" fmla="*/ 11934389 h 12561136"/>
                <a:gd name="connsiteX15" fmla="*/ 10139605 w 17157070"/>
                <a:gd name="connsiteY15" fmla="*/ 11536489 h 12561136"/>
                <a:gd name="connsiteX16" fmla="*/ 10664108 w 17157070"/>
                <a:gd name="connsiteY16" fmla="*/ 11753525 h 12561136"/>
                <a:gd name="connsiteX17" fmla="*/ 11387555 w 17157070"/>
                <a:gd name="connsiteY17" fmla="*/ 11663095 h 12561136"/>
                <a:gd name="connsiteX18" fmla="*/ 11966315 w 17157070"/>
                <a:gd name="connsiteY18" fmla="*/ 12386550 h 12561136"/>
                <a:gd name="connsiteX19" fmla="*/ 12942975 w 17157070"/>
                <a:gd name="connsiteY19" fmla="*/ 12151421 h 12561136"/>
                <a:gd name="connsiteX20" fmla="*/ 13575992 w 17157070"/>
                <a:gd name="connsiteY20" fmla="*/ 12549321 h 12561136"/>
                <a:gd name="connsiteX21" fmla="*/ 13973888 w 17157070"/>
                <a:gd name="connsiteY21" fmla="*/ 12458888 h 12561136"/>
                <a:gd name="connsiteX22" fmla="*/ 14028146 w 17157070"/>
                <a:gd name="connsiteY22" fmla="*/ 11916297 h 12561136"/>
                <a:gd name="connsiteX23" fmla="*/ 13594073 w 17157070"/>
                <a:gd name="connsiteY23" fmla="*/ 11862040 h 12561136"/>
                <a:gd name="connsiteX24" fmla="*/ 13612161 w 17157070"/>
                <a:gd name="connsiteY24" fmla="*/ 11174761 h 12561136"/>
                <a:gd name="connsiteX25" fmla="*/ 14190925 w 17157070"/>
                <a:gd name="connsiteY25" fmla="*/ 11030074 h 12561136"/>
                <a:gd name="connsiteX26" fmla="*/ 13865366 w 17157070"/>
                <a:gd name="connsiteY26" fmla="*/ 10559829 h 12561136"/>
                <a:gd name="connsiteX27" fmla="*/ 14136664 w 17157070"/>
                <a:gd name="connsiteY27" fmla="*/ 10161933 h 12561136"/>
                <a:gd name="connsiteX28" fmla="*/ 14703435 w 17157070"/>
                <a:gd name="connsiteY28" fmla="*/ 10189029 h 12561136"/>
                <a:gd name="connsiteX29" fmla="*/ 14661163 w 17157070"/>
                <a:gd name="connsiteY29" fmla="*/ 10017245 h 12561136"/>
                <a:gd name="connsiteX30" fmla="*/ 14335608 w 17157070"/>
                <a:gd name="connsiteY30" fmla="*/ 9854470 h 12561136"/>
                <a:gd name="connsiteX31" fmla="*/ 14498387 w 17157070"/>
                <a:gd name="connsiteY31" fmla="*/ 9275706 h 12561136"/>
                <a:gd name="connsiteX32" fmla="*/ 13847278 w 17157070"/>
                <a:gd name="connsiteY32" fmla="*/ 8371392 h 12561136"/>
                <a:gd name="connsiteX33" fmla="*/ 13340864 w 17157070"/>
                <a:gd name="connsiteY33" fmla="*/ 7666029 h 12561136"/>
                <a:gd name="connsiteX34" fmla="*/ 13123831 w 17157070"/>
                <a:gd name="connsiteY34" fmla="*/ 6580851 h 12561136"/>
                <a:gd name="connsiteX35" fmla="*/ 13232349 w 17157070"/>
                <a:gd name="connsiteY35" fmla="*/ 5893577 h 12561136"/>
                <a:gd name="connsiteX36" fmla="*/ 12273778 w 17157070"/>
                <a:gd name="connsiteY36" fmla="*/ 5926738 h 12561136"/>
                <a:gd name="connsiteX37" fmla="*/ 12201432 w 17157070"/>
                <a:gd name="connsiteY37" fmla="*/ 5528838 h 12561136"/>
                <a:gd name="connsiteX38" fmla="*/ 12508887 w 17157070"/>
                <a:gd name="connsiteY38" fmla="*/ 5025443 h 12561136"/>
                <a:gd name="connsiteX39" fmla="*/ 13774933 w 17157070"/>
                <a:gd name="connsiteY39" fmla="*/ 4247727 h 12561136"/>
                <a:gd name="connsiteX40" fmla="*/ 15294184 w 17157070"/>
                <a:gd name="connsiteY40" fmla="*/ 3741312 h 12561136"/>
                <a:gd name="connsiteX41" fmla="*/ 15746333 w 17157070"/>
                <a:gd name="connsiteY41" fmla="*/ 4066867 h 12561136"/>
                <a:gd name="connsiteX42" fmla="*/ 16578306 w 17157070"/>
                <a:gd name="connsiteY42" fmla="*/ 3777485 h 12561136"/>
                <a:gd name="connsiteX43" fmla="*/ 17084732 w 17157070"/>
                <a:gd name="connsiteY43" fmla="*/ 4175393 h 12561136"/>
                <a:gd name="connsiteX44" fmla="*/ 17157070 w 17157070"/>
                <a:gd name="connsiteY44" fmla="*/ 3234902 h 12561136"/>
                <a:gd name="connsiteX45" fmla="*/ 16433615 w 17157070"/>
                <a:gd name="connsiteY45" fmla="*/ 3144472 h 12561136"/>
                <a:gd name="connsiteX46" fmla="*/ 16415865 w 17157070"/>
                <a:gd name="connsiteY46" fmla="*/ 2528320 h 12561136"/>
                <a:gd name="connsiteX47" fmla="*/ 15963191 w 17157070"/>
                <a:gd name="connsiteY47" fmla="*/ 2667776 h 12561136"/>
                <a:gd name="connsiteX48" fmla="*/ 14923009 w 17157070"/>
                <a:gd name="connsiteY48" fmla="*/ 1437893 h 12561136"/>
                <a:gd name="connsiteX49" fmla="*/ 14244644 w 17157070"/>
                <a:gd name="connsiteY49" fmla="*/ -2 h 12561136"/>
                <a:gd name="connsiteX50" fmla="*/ 13367278 w 17157070"/>
                <a:gd name="connsiteY50" fmla="*/ 289403 h 12561136"/>
                <a:gd name="connsiteX51" fmla="*/ 12218563 w 17157070"/>
                <a:gd name="connsiteY51" fmla="*/ 298446 h 12561136"/>
                <a:gd name="connsiteX52" fmla="*/ 4600673 w 17157070"/>
                <a:gd name="connsiteY52" fmla="*/ 4675479 h 12561136"/>
                <a:gd name="connsiteX53" fmla="*/ 4416749 w 17157070"/>
                <a:gd name="connsiteY53" fmla="*/ 4252472 h 12561136"/>
                <a:gd name="connsiteX54" fmla="*/ 4653822 w 17157070"/>
                <a:gd name="connsiteY54" fmla="*/ 3702305 h 12561136"/>
                <a:gd name="connsiteX55" fmla="*/ 4432864 w 17157070"/>
                <a:gd name="connsiteY55" fmla="*/ 3149070 h 12561136"/>
                <a:gd name="connsiteX56" fmla="*/ 4437471 w 17157070"/>
                <a:gd name="connsiteY56" fmla="*/ 2480282 h 12561136"/>
                <a:gd name="connsiteX57" fmla="*/ 4141784 w 17157070"/>
                <a:gd name="connsiteY57" fmla="*/ 1760928 h 12561136"/>
                <a:gd name="connsiteX58" fmla="*/ 2314296 w 17157070"/>
                <a:gd name="connsiteY58" fmla="*/ 2043785 h 12561136"/>
                <a:gd name="connsiteX59" fmla="*/ 1334589 w 17157070"/>
                <a:gd name="connsiteY59" fmla="*/ 2848657 h 12561136"/>
                <a:gd name="connsiteX60" fmla="*/ 0 w 17157070"/>
                <a:gd name="connsiteY60" fmla="*/ 4196103 h 12561136"/>
                <a:gd name="connsiteX0" fmla="*/ 0 w 17157070"/>
                <a:gd name="connsiteY0" fmla="*/ 4196103 h 12561136"/>
                <a:gd name="connsiteX1" fmla="*/ 613837 w 17157070"/>
                <a:gd name="connsiteY1" fmla="*/ 6574461 h 12561136"/>
                <a:gd name="connsiteX2" fmla="*/ 1518338 w 17157070"/>
                <a:gd name="connsiteY2" fmla="*/ 7442611 h 12561136"/>
                <a:gd name="connsiteX3" fmla="*/ 1735898 w 17157070"/>
                <a:gd name="connsiteY3" fmla="*/ 8274535 h 12561136"/>
                <a:gd name="connsiteX4" fmla="*/ 3137400 w 17157070"/>
                <a:gd name="connsiteY4" fmla="*/ 8799095 h 12561136"/>
                <a:gd name="connsiteX5" fmla="*/ 3453963 w 17157070"/>
                <a:gd name="connsiteY5" fmla="*/ 10155586 h 12561136"/>
                <a:gd name="connsiteX6" fmla="*/ 4168520 w 17157070"/>
                <a:gd name="connsiteY6" fmla="*/ 11530155 h 12561136"/>
                <a:gd name="connsiteX7" fmla="*/ 4162343 w 17157070"/>
                <a:gd name="connsiteY7" fmla="*/ 12561136 h 12561136"/>
                <a:gd name="connsiteX8" fmla="*/ 4605215 w 17157070"/>
                <a:gd name="connsiteY8" fmla="*/ 12476972 h 12561136"/>
                <a:gd name="connsiteX9" fmla="*/ 4840336 w 17157070"/>
                <a:gd name="connsiteY9" fmla="*/ 12187590 h 12561136"/>
                <a:gd name="connsiteX10" fmla="*/ 6070201 w 17157070"/>
                <a:gd name="connsiteY10" fmla="*/ 12205682 h 12561136"/>
                <a:gd name="connsiteX11" fmla="*/ 6884082 w 17157070"/>
                <a:gd name="connsiteY11" fmla="*/ 11608830 h 12561136"/>
                <a:gd name="connsiteX12" fmla="*/ 7716051 w 17157070"/>
                <a:gd name="connsiteY12" fmla="*/ 11934389 h 12561136"/>
                <a:gd name="connsiteX13" fmla="*/ 8584189 w 17157070"/>
                <a:gd name="connsiteY13" fmla="*/ 11735437 h 12561136"/>
                <a:gd name="connsiteX14" fmla="*/ 9289552 w 17157070"/>
                <a:gd name="connsiteY14" fmla="*/ 11934389 h 12561136"/>
                <a:gd name="connsiteX15" fmla="*/ 10139605 w 17157070"/>
                <a:gd name="connsiteY15" fmla="*/ 11536489 h 12561136"/>
                <a:gd name="connsiteX16" fmla="*/ 10664108 w 17157070"/>
                <a:gd name="connsiteY16" fmla="*/ 11753525 h 12561136"/>
                <a:gd name="connsiteX17" fmla="*/ 11387555 w 17157070"/>
                <a:gd name="connsiteY17" fmla="*/ 11663095 h 12561136"/>
                <a:gd name="connsiteX18" fmla="*/ 11966315 w 17157070"/>
                <a:gd name="connsiteY18" fmla="*/ 12386550 h 12561136"/>
                <a:gd name="connsiteX19" fmla="*/ 12942975 w 17157070"/>
                <a:gd name="connsiteY19" fmla="*/ 12151421 h 12561136"/>
                <a:gd name="connsiteX20" fmla="*/ 13575992 w 17157070"/>
                <a:gd name="connsiteY20" fmla="*/ 12549321 h 12561136"/>
                <a:gd name="connsiteX21" fmla="*/ 13973888 w 17157070"/>
                <a:gd name="connsiteY21" fmla="*/ 12458888 h 12561136"/>
                <a:gd name="connsiteX22" fmla="*/ 14028146 w 17157070"/>
                <a:gd name="connsiteY22" fmla="*/ 11916297 h 12561136"/>
                <a:gd name="connsiteX23" fmla="*/ 13594073 w 17157070"/>
                <a:gd name="connsiteY23" fmla="*/ 11862040 h 12561136"/>
                <a:gd name="connsiteX24" fmla="*/ 13612161 w 17157070"/>
                <a:gd name="connsiteY24" fmla="*/ 11174761 h 12561136"/>
                <a:gd name="connsiteX25" fmla="*/ 14190925 w 17157070"/>
                <a:gd name="connsiteY25" fmla="*/ 11030074 h 12561136"/>
                <a:gd name="connsiteX26" fmla="*/ 13865366 w 17157070"/>
                <a:gd name="connsiteY26" fmla="*/ 10559829 h 12561136"/>
                <a:gd name="connsiteX27" fmla="*/ 14136664 w 17157070"/>
                <a:gd name="connsiteY27" fmla="*/ 10161933 h 12561136"/>
                <a:gd name="connsiteX28" fmla="*/ 14703435 w 17157070"/>
                <a:gd name="connsiteY28" fmla="*/ 10189029 h 12561136"/>
                <a:gd name="connsiteX29" fmla="*/ 14661163 w 17157070"/>
                <a:gd name="connsiteY29" fmla="*/ 10017245 h 12561136"/>
                <a:gd name="connsiteX30" fmla="*/ 14335608 w 17157070"/>
                <a:gd name="connsiteY30" fmla="*/ 9854470 h 12561136"/>
                <a:gd name="connsiteX31" fmla="*/ 14498387 w 17157070"/>
                <a:gd name="connsiteY31" fmla="*/ 9275706 h 12561136"/>
                <a:gd name="connsiteX32" fmla="*/ 13847278 w 17157070"/>
                <a:gd name="connsiteY32" fmla="*/ 8371392 h 12561136"/>
                <a:gd name="connsiteX33" fmla="*/ 13340864 w 17157070"/>
                <a:gd name="connsiteY33" fmla="*/ 7666029 h 12561136"/>
                <a:gd name="connsiteX34" fmla="*/ 13123831 w 17157070"/>
                <a:gd name="connsiteY34" fmla="*/ 6580851 h 12561136"/>
                <a:gd name="connsiteX35" fmla="*/ 13232349 w 17157070"/>
                <a:gd name="connsiteY35" fmla="*/ 5893577 h 12561136"/>
                <a:gd name="connsiteX36" fmla="*/ 12273778 w 17157070"/>
                <a:gd name="connsiteY36" fmla="*/ 5926738 h 12561136"/>
                <a:gd name="connsiteX37" fmla="*/ 12201432 w 17157070"/>
                <a:gd name="connsiteY37" fmla="*/ 5528838 h 12561136"/>
                <a:gd name="connsiteX38" fmla="*/ 12508887 w 17157070"/>
                <a:gd name="connsiteY38" fmla="*/ 5025443 h 12561136"/>
                <a:gd name="connsiteX39" fmla="*/ 13774933 w 17157070"/>
                <a:gd name="connsiteY39" fmla="*/ 4247727 h 12561136"/>
                <a:gd name="connsiteX40" fmla="*/ 15294184 w 17157070"/>
                <a:gd name="connsiteY40" fmla="*/ 3741312 h 12561136"/>
                <a:gd name="connsiteX41" fmla="*/ 15746333 w 17157070"/>
                <a:gd name="connsiteY41" fmla="*/ 4066867 h 12561136"/>
                <a:gd name="connsiteX42" fmla="*/ 16578306 w 17157070"/>
                <a:gd name="connsiteY42" fmla="*/ 3777485 h 12561136"/>
                <a:gd name="connsiteX43" fmla="*/ 17084732 w 17157070"/>
                <a:gd name="connsiteY43" fmla="*/ 4175393 h 12561136"/>
                <a:gd name="connsiteX44" fmla="*/ 17157070 w 17157070"/>
                <a:gd name="connsiteY44" fmla="*/ 3234902 h 12561136"/>
                <a:gd name="connsiteX45" fmla="*/ 16433615 w 17157070"/>
                <a:gd name="connsiteY45" fmla="*/ 3144472 h 12561136"/>
                <a:gd name="connsiteX46" fmla="*/ 16415865 w 17157070"/>
                <a:gd name="connsiteY46" fmla="*/ 2528320 h 12561136"/>
                <a:gd name="connsiteX47" fmla="*/ 15963191 w 17157070"/>
                <a:gd name="connsiteY47" fmla="*/ 2667776 h 12561136"/>
                <a:gd name="connsiteX48" fmla="*/ 14923009 w 17157070"/>
                <a:gd name="connsiteY48" fmla="*/ 1437893 h 12561136"/>
                <a:gd name="connsiteX49" fmla="*/ 14244644 w 17157070"/>
                <a:gd name="connsiteY49" fmla="*/ -2 h 12561136"/>
                <a:gd name="connsiteX50" fmla="*/ 13367278 w 17157070"/>
                <a:gd name="connsiteY50" fmla="*/ 289403 h 12561136"/>
                <a:gd name="connsiteX51" fmla="*/ 4600673 w 17157070"/>
                <a:gd name="connsiteY51" fmla="*/ 4675479 h 12561136"/>
                <a:gd name="connsiteX52" fmla="*/ 4416749 w 17157070"/>
                <a:gd name="connsiteY52" fmla="*/ 4252472 h 12561136"/>
                <a:gd name="connsiteX53" fmla="*/ 4653822 w 17157070"/>
                <a:gd name="connsiteY53" fmla="*/ 3702305 h 12561136"/>
                <a:gd name="connsiteX54" fmla="*/ 4432864 w 17157070"/>
                <a:gd name="connsiteY54" fmla="*/ 3149070 h 12561136"/>
                <a:gd name="connsiteX55" fmla="*/ 4437471 w 17157070"/>
                <a:gd name="connsiteY55" fmla="*/ 2480282 h 12561136"/>
                <a:gd name="connsiteX56" fmla="*/ 4141784 w 17157070"/>
                <a:gd name="connsiteY56" fmla="*/ 1760928 h 12561136"/>
                <a:gd name="connsiteX57" fmla="*/ 2314296 w 17157070"/>
                <a:gd name="connsiteY57" fmla="*/ 2043785 h 12561136"/>
                <a:gd name="connsiteX58" fmla="*/ 1334589 w 17157070"/>
                <a:gd name="connsiteY58" fmla="*/ 2848657 h 12561136"/>
                <a:gd name="connsiteX59" fmla="*/ 0 w 17157070"/>
                <a:gd name="connsiteY59" fmla="*/ 4196103 h 12561136"/>
                <a:gd name="connsiteX0" fmla="*/ 0 w 17157070"/>
                <a:gd name="connsiteY0" fmla="*/ 4196103 h 12561136"/>
                <a:gd name="connsiteX1" fmla="*/ 613837 w 17157070"/>
                <a:gd name="connsiteY1" fmla="*/ 6574461 h 12561136"/>
                <a:gd name="connsiteX2" fmla="*/ 1518338 w 17157070"/>
                <a:gd name="connsiteY2" fmla="*/ 7442611 h 12561136"/>
                <a:gd name="connsiteX3" fmla="*/ 1735898 w 17157070"/>
                <a:gd name="connsiteY3" fmla="*/ 8274535 h 12561136"/>
                <a:gd name="connsiteX4" fmla="*/ 3137400 w 17157070"/>
                <a:gd name="connsiteY4" fmla="*/ 8799095 h 12561136"/>
                <a:gd name="connsiteX5" fmla="*/ 3453963 w 17157070"/>
                <a:gd name="connsiteY5" fmla="*/ 10155586 h 12561136"/>
                <a:gd name="connsiteX6" fmla="*/ 4168520 w 17157070"/>
                <a:gd name="connsiteY6" fmla="*/ 11530155 h 12561136"/>
                <a:gd name="connsiteX7" fmla="*/ 4162343 w 17157070"/>
                <a:gd name="connsiteY7" fmla="*/ 12561136 h 12561136"/>
                <a:gd name="connsiteX8" fmla="*/ 4605215 w 17157070"/>
                <a:gd name="connsiteY8" fmla="*/ 12476972 h 12561136"/>
                <a:gd name="connsiteX9" fmla="*/ 4840336 w 17157070"/>
                <a:gd name="connsiteY9" fmla="*/ 12187590 h 12561136"/>
                <a:gd name="connsiteX10" fmla="*/ 6070201 w 17157070"/>
                <a:gd name="connsiteY10" fmla="*/ 12205682 h 12561136"/>
                <a:gd name="connsiteX11" fmla="*/ 6884082 w 17157070"/>
                <a:gd name="connsiteY11" fmla="*/ 11608830 h 12561136"/>
                <a:gd name="connsiteX12" fmla="*/ 7716051 w 17157070"/>
                <a:gd name="connsiteY12" fmla="*/ 11934389 h 12561136"/>
                <a:gd name="connsiteX13" fmla="*/ 8584189 w 17157070"/>
                <a:gd name="connsiteY13" fmla="*/ 11735437 h 12561136"/>
                <a:gd name="connsiteX14" fmla="*/ 9289552 w 17157070"/>
                <a:gd name="connsiteY14" fmla="*/ 11934389 h 12561136"/>
                <a:gd name="connsiteX15" fmla="*/ 10139605 w 17157070"/>
                <a:gd name="connsiteY15" fmla="*/ 11536489 h 12561136"/>
                <a:gd name="connsiteX16" fmla="*/ 10664108 w 17157070"/>
                <a:gd name="connsiteY16" fmla="*/ 11753525 h 12561136"/>
                <a:gd name="connsiteX17" fmla="*/ 11387555 w 17157070"/>
                <a:gd name="connsiteY17" fmla="*/ 11663095 h 12561136"/>
                <a:gd name="connsiteX18" fmla="*/ 11966315 w 17157070"/>
                <a:gd name="connsiteY18" fmla="*/ 12386550 h 12561136"/>
                <a:gd name="connsiteX19" fmla="*/ 12942975 w 17157070"/>
                <a:gd name="connsiteY19" fmla="*/ 12151421 h 12561136"/>
                <a:gd name="connsiteX20" fmla="*/ 13575992 w 17157070"/>
                <a:gd name="connsiteY20" fmla="*/ 12549321 h 12561136"/>
                <a:gd name="connsiteX21" fmla="*/ 13973888 w 17157070"/>
                <a:gd name="connsiteY21" fmla="*/ 12458888 h 12561136"/>
                <a:gd name="connsiteX22" fmla="*/ 14028146 w 17157070"/>
                <a:gd name="connsiteY22" fmla="*/ 11916297 h 12561136"/>
                <a:gd name="connsiteX23" fmla="*/ 13594073 w 17157070"/>
                <a:gd name="connsiteY23" fmla="*/ 11862040 h 12561136"/>
                <a:gd name="connsiteX24" fmla="*/ 13612161 w 17157070"/>
                <a:gd name="connsiteY24" fmla="*/ 11174761 h 12561136"/>
                <a:gd name="connsiteX25" fmla="*/ 14190925 w 17157070"/>
                <a:gd name="connsiteY25" fmla="*/ 11030074 h 12561136"/>
                <a:gd name="connsiteX26" fmla="*/ 13865366 w 17157070"/>
                <a:gd name="connsiteY26" fmla="*/ 10559829 h 12561136"/>
                <a:gd name="connsiteX27" fmla="*/ 14136664 w 17157070"/>
                <a:gd name="connsiteY27" fmla="*/ 10161933 h 12561136"/>
                <a:gd name="connsiteX28" fmla="*/ 14703435 w 17157070"/>
                <a:gd name="connsiteY28" fmla="*/ 10189029 h 12561136"/>
                <a:gd name="connsiteX29" fmla="*/ 14661163 w 17157070"/>
                <a:gd name="connsiteY29" fmla="*/ 10017245 h 12561136"/>
                <a:gd name="connsiteX30" fmla="*/ 14335608 w 17157070"/>
                <a:gd name="connsiteY30" fmla="*/ 9854470 h 12561136"/>
                <a:gd name="connsiteX31" fmla="*/ 14498387 w 17157070"/>
                <a:gd name="connsiteY31" fmla="*/ 9275706 h 12561136"/>
                <a:gd name="connsiteX32" fmla="*/ 13847278 w 17157070"/>
                <a:gd name="connsiteY32" fmla="*/ 8371392 h 12561136"/>
                <a:gd name="connsiteX33" fmla="*/ 13340864 w 17157070"/>
                <a:gd name="connsiteY33" fmla="*/ 7666029 h 12561136"/>
                <a:gd name="connsiteX34" fmla="*/ 13123831 w 17157070"/>
                <a:gd name="connsiteY34" fmla="*/ 6580851 h 12561136"/>
                <a:gd name="connsiteX35" fmla="*/ 13232349 w 17157070"/>
                <a:gd name="connsiteY35" fmla="*/ 5893577 h 12561136"/>
                <a:gd name="connsiteX36" fmla="*/ 12273778 w 17157070"/>
                <a:gd name="connsiteY36" fmla="*/ 5926738 h 12561136"/>
                <a:gd name="connsiteX37" fmla="*/ 12201432 w 17157070"/>
                <a:gd name="connsiteY37" fmla="*/ 5528838 h 12561136"/>
                <a:gd name="connsiteX38" fmla="*/ 12508887 w 17157070"/>
                <a:gd name="connsiteY38" fmla="*/ 5025443 h 12561136"/>
                <a:gd name="connsiteX39" fmla="*/ 13774933 w 17157070"/>
                <a:gd name="connsiteY39" fmla="*/ 4247727 h 12561136"/>
                <a:gd name="connsiteX40" fmla="*/ 15294184 w 17157070"/>
                <a:gd name="connsiteY40" fmla="*/ 3741312 h 12561136"/>
                <a:gd name="connsiteX41" fmla="*/ 15746333 w 17157070"/>
                <a:gd name="connsiteY41" fmla="*/ 4066867 h 12561136"/>
                <a:gd name="connsiteX42" fmla="*/ 16578306 w 17157070"/>
                <a:gd name="connsiteY42" fmla="*/ 3777485 h 12561136"/>
                <a:gd name="connsiteX43" fmla="*/ 17084732 w 17157070"/>
                <a:gd name="connsiteY43" fmla="*/ 4175393 h 12561136"/>
                <a:gd name="connsiteX44" fmla="*/ 17157070 w 17157070"/>
                <a:gd name="connsiteY44" fmla="*/ 3234902 h 12561136"/>
                <a:gd name="connsiteX45" fmla="*/ 16433615 w 17157070"/>
                <a:gd name="connsiteY45" fmla="*/ 3144472 h 12561136"/>
                <a:gd name="connsiteX46" fmla="*/ 16415865 w 17157070"/>
                <a:gd name="connsiteY46" fmla="*/ 2528320 h 12561136"/>
                <a:gd name="connsiteX47" fmla="*/ 15963191 w 17157070"/>
                <a:gd name="connsiteY47" fmla="*/ 2667776 h 12561136"/>
                <a:gd name="connsiteX48" fmla="*/ 14923009 w 17157070"/>
                <a:gd name="connsiteY48" fmla="*/ 1437893 h 12561136"/>
                <a:gd name="connsiteX49" fmla="*/ 14244644 w 17157070"/>
                <a:gd name="connsiteY49" fmla="*/ -2 h 12561136"/>
                <a:gd name="connsiteX50" fmla="*/ 4898441 w 17157070"/>
                <a:gd name="connsiteY50" fmla="*/ 4943950 h 12561136"/>
                <a:gd name="connsiteX51" fmla="*/ 4600673 w 17157070"/>
                <a:gd name="connsiteY51" fmla="*/ 4675479 h 12561136"/>
                <a:gd name="connsiteX52" fmla="*/ 4416749 w 17157070"/>
                <a:gd name="connsiteY52" fmla="*/ 4252472 h 12561136"/>
                <a:gd name="connsiteX53" fmla="*/ 4653822 w 17157070"/>
                <a:gd name="connsiteY53" fmla="*/ 3702305 h 12561136"/>
                <a:gd name="connsiteX54" fmla="*/ 4432864 w 17157070"/>
                <a:gd name="connsiteY54" fmla="*/ 3149070 h 12561136"/>
                <a:gd name="connsiteX55" fmla="*/ 4437471 w 17157070"/>
                <a:gd name="connsiteY55" fmla="*/ 2480282 h 12561136"/>
                <a:gd name="connsiteX56" fmla="*/ 4141784 w 17157070"/>
                <a:gd name="connsiteY56" fmla="*/ 1760928 h 12561136"/>
                <a:gd name="connsiteX57" fmla="*/ 2314296 w 17157070"/>
                <a:gd name="connsiteY57" fmla="*/ 2043785 h 12561136"/>
                <a:gd name="connsiteX58" fmla="*/ 1334589 w 17157070"/>
                <a:gd name="connsiteY58" fmla="*/ 2848657 h 12561136"/>
                <a:gd name="connsiteX59" fmla="*/ 0 w 17157070"/>
                <a:gd name="connsiteY59" fmla="*/ 4196103 h 12561136"/>
                <a:gd name="connsiteX0" fmla="*/ 0 w 17157070"/>
                <a:gd name="connsiteY0" fmla="*/ 2758209 h 11123242"/>
                <a:gd name="connsiteX1" fmla="*/ 613837 w 17157070"/>
                <a:gd name="connsiteY1" fmla="*/ 5136567 h 11123242"/>
                <a:gd name="connsiteX2" fmla="*/ 1518338 w 17157070"/>
                <a:gd name="connsiteY2" fmla="*/ 6004717 h 11123242"/>
                <a:gd name="connsiteX3" fmla="*/ 1735898 w 17157070"/>
                <a:gd name="connsiteY3" fmla="*/ 6836641 h 11123242"/>
                <a:gd name="connsiteX4" fmla="*/ 3137400 w 17157070"/>
                <a:gd name="connsiteY4" fmla="*/ 7361201 h 11123242"/>
                <a:gd name="connsiteX5" fmla="*/ 3453963 w 17157070"/>
                <a:gd name="connsiteY5" fmla="*/ 8717692 h 11123242"/>
                <a:gd name="connsiteX6" fmla="*/ 4168520 w 17157070"/>
                <a:gd name="connsiteY6" fmla="*/ 10092261 h 11123242"/>
                <a:gd name="connsiteX7" fmla="*/ 4162343 w 17157070"/>
                <a:gd name="connsiteY7" fmla="*/ 11123242 h 11123242"/>
                <a:gd name="connsiteX8" fmla="*/ 4605215 w 17157070"/>
                <a:gd name="connsiteY8" fmla="*/ 11039078 h 11123242"/>
                <a:gd name="connsiteX9" fmla="*/ 4840336 w 17157070"/>
                <a:gd name="connsiteY9" fmla="*/ 10749696 h 11123242"/>
                <a:gd name="connsiteX10" fmla="*/ 6070201 w 17157070"/>
                <a:gd name="connsiteY10" fmla="*/ 10767788 h 11123242"/>
                <a:gd name="connsiteX11" fmla="*/ 6884082 w 17157070"/>
                <a:gd name="connsiteY11" fmla="*/ 10170936 h 11123242"/>
                <a:gd name="connsiteX12" fmla="*/ 7716051 w 17157070"/>
                <a:gd name="connsiteY12" fmla="*/ 10496495 h 11123242"/>
                <a:gd name="connsiteX13" fmla="*/ 8584189 w 17157070"/>
                <a:gd name="connsiteY13" fmla="*/ 10297543 h 11123242"/>
                <a:gd name="connsiteX14" fmla="*/ 9289552 w 17157070"/>
                <a:gd name="connsiteY14" fmla="*/ 10496495 h 11123242"/>
                <a:gd name="connsiteX15" fmla="*/ 10139605 w 17157070"/>
                <a:gd name="connsiteY15" fmla="*/ 10098595 h 11123242"/>
                <a:gd name="connsiteX16" fmla="*/ 10664108 w 17157070"/>
                <a:gd name="connsiteY16" fmla="*/ 10315631 h 11123242"/>
                <a:gd name="connsiteX17" fmla="*/ 11387555 w 17157070"/>
                <a:gd name="connsiteY17" fmla="*/ 10225201 h 11123242"/>
                <a:gd name="connsiteX18" fmla="*/ 11966315 w 17157070"/>
                <a:gd name="connsiteY18" fmla="*/ 10948656 h 11123242"/>
                <a:gd name="connsiteX19" fmla="*/ 12942975 w 17157070"/>
                <a:gd name="connsiteY19" fmla="*/ 10713527 h 11123242"/>
                <a:gd name="connsiteX20" fmla="*/ 13575992 w 17157070"/>
                <a:gd name="connsiteY20" fmla="*/ 11111427 h 11123242"/>
                <a:gd name="connsiteX21" fmla="*/ 13973888 w 17157070"/>
                <a:gd name="connsiteY21" fmla="*/ 11020994 h 11123242"/>
                <a:gd name="connsiteX22" fmla="*/ 14028146 w 17157070"/>
                <a:gd name="connsiteY22" fmla="*/ 10478403 h 11123242"/>
                <a:gd name="connsiteX23" fmla="*/ 13594073 w 17157070"/>
                <a:gd name="connsiteY23" fmla="*/ 10424146 h 11123242"/>
                <a:gd name="connsiteX24" fmla="*/ 13612161 w 17157070"/>
                <a:gd name="connsiteY24" fmla="*/ 9736867 h 11123242"/>
                <a:gd name="connsiteX25" fmla="*/ 14190925 w 17157070"/>
                <a:gd name="connsiteY25" fmla="*/ 9592180 h 11123242"/>
                <a:gd name="connsiteX26" fmla="*/ 13865366 w 17157070"/>
                <a:gd name="connsiteY26" fmla="*/ 9121935 h 11123242"/>
                <a:gd name="connsiteX27" fmla="*/ 14136664 w 17157070"/>
                <a:gd name="connsiteY27" fmla="*/ 8724039 h 11123242"/>
                <a:gd name="connsiteX28" fmla="*/ 14703435 w 17157070"/>
                <a:gd name="connsiteY28" fmla="*/ 8751135 h 11123242"/>
                <a:gd name="connsiteX29" fmla="*/ 14661163 w 17157070"/>
                <a:gd name="connsiteY29" fmla="*/ 8579351 h 11123242"/>
                <a:gd name="connsiteX30" fmla="*/ 14335608 w 17157070"/>
                <a:gd name="connsiteY30" fmla="*/ 8416576 h 11123242"/>
                <a:gd name="connsiteX31" fmla="*/ 14498387 w 17157070"/>
                <a:gd name="connsiteY31" fmla="*/ 7837812 h 11123242"/>
                <a:gd name="connsiteX32" fmla="*/ 13847278 w 17157070"/>
                <a:gd name="connsiteY32" fmla="*/ 6933498 h 11123242"/>
                <a:gd name="connsiteX33" fmla="*/ 13340864 w 17157070"/>
                <a:gd name="connsiteY33" fmla="*/ 6228135 h 11123242"/>
                <a:gd name="connsiteX34" fmla="*/ 13123831 w 17157070"/>
                <a:gd name="connsiteY34" fmla="*/ 5142957 h 11123242"/>
                <a:gd name="connsiteX35" fmla="*/ 13232349 w 17157070"/>
                <a:gd name="connsiteY35" fmla="*/ 4455683 h 11123242"/>
                <a:gd name="connsiteX36" fmla="*/ 12273778 w 17157070"/>
                <a:gd name="connsiteY36" fmla="*/ 4488844 h 11123242"/>
                <a:gd name="connsiteX37" fmla="*/ 12201432 w 17157070"/>
                <a:gd name="connsiteY37" fmla="*/ 4090944 h 11123242"/>
                <a:gd name="connsiteX38" fmla="*/ 12508887 w 17157070"/>
                <a:gd name="connsiteY38" fmla="*/ 3587549 h 11123242"/>
                <a:gd name="connsiteX39" fmla="*/ 13774933 w 17157070"/>
                <a:gd name="connsiteY39" fmla="*/ 2809833 h 11123242"/>
                <a:gd name="connsiteX40" fmla="*/ 15294184 w 17157070"/>
                <a:gd name="connsiteY40" fmla="*/ 2303418 h 11123242"/>
                <a:gd name="connsiteX41" fmla="*/ 15746333 w 17157070"/>
                <a:gd name="connsiteY41" fmla="*/ 2628973 h 11123242"/>
                <a:gd name="connsiteX42" fmla="*/ 16578306 w 17157070"/>
                <a:gd name="connsiteY42" fmla="*/ 2339591 h 11123242"/>
                <a:gd name="connsiteX43" fmla="*/ 17084732 w 17157070"/>
                <a:gd name="connsiteY43" fmla="*/ 2737499 h 11123242"/>
                <a:gd name="connsiteX44" fmla="*/ 17157070 w 17157070"/>
                <a:gd name="connsiteY44" fmla="*/ 1797008 h 11123242"/>
                <a:gd name="connsiteX45" fmla="*/ 16433615 w 17157070"/>
                <a:gd name="connsiteY45" fmla="*/ 1706578 h 11123242"/>
                <a:gd name="connsiteX46" fmla="*/ 16415865 w 17157070"/>
                <a:gd name="connsiteY46" fmla="*/ 1090426 h 11123242"/>
                <a:gd name="connsiteX47" fmla="*/ 15963191 w 17157070"/>
                <a:gd name="connsiteY47" fmla="*/ 1229882 h 11123242"/>
                <a:gd name="connsiteX48" fmla="*/ 14923009 w 17157070"/>
                <a:gd name="connsiteY48" fmla="*/ -1 h 11123242"/>
                <a:gd name="connsiteX49" fmla="*/ 5153802 w 17157070"/>
                <a:gd name="connsiteY49" fmla="*/ 3455348 h 11123242"/>
                <a:gd name="connsiteX50" fmla="*/ 4898441 w 17157070"/>
                <a:gd name="connsiteY50" fmla="*/ 3506056 h 11123242"/>
                <a:gd name="connsiteX51" fmla="*/ 4600673 w 17157070"/>
                <a:gd name="connsiteY51" fmla="*/ 3237585 h 11123242"/>
                <a:gd name="connsiteX52" fmla="*/ 4416749 w 17157070"/>
                <a:gd name="connsiteY52" fmla="*/ 2814578 h 11123242"/>
                <a:gd name="connsiteX53" fmla="*/ 4653822 w 17157070"/>
                <a:gd name="connsiteY53" fmla="*/ 2264411 h 11123242"/>
                <a:gd name="connsiteX54" fmla="*/ 4432864 w 17157070"/>
                <a:gd name="connsiteY54" fmla="*/ 1711176 h 11123242"/>
                <a:gd name="connsiteX55" fmla="*/ 4437471 w 17157070"/>
                <a:gd name="connsiteY55" fmla="*/ 1042388 h 11123242"/>
                <a:gd name="connsiteX56" fmla="*/ 4141784 w 17157070"/>
                <a:gd name="connsiteY56" fmla="*/ 323034 h 11123242"/>
                <a:gd name="connsiteX57" fmla="*/ 2314296 w 17157070"/>
                <a:gd name="connsiteY57" fmla="*/ 605891 h 11123242"/>
                <a:gd name="connsiteX58" fmla="*/ 1334589 w 17157070"/>
                <a:gd name="connsiteY58" fmla="*/ 1410763 h 11123242"/>
                <a:gd name="connsiteX59" fmla="*/ 0 w 17157070"/>
                <a:gd name="connsiteY59" fmla="*/ 2758209 h 11123242"/>
                <a:gd name="connsiteX0" fmla="*/ 0 w 17157070"/>
                <a:gd name="connsiteY0" fmla="*/ 2435175 h 10800208"/>
                <a:gd name="connsiteX1" fmla="*/ 613837 w 17157070"/>
                <a:gd name="connsiteY1" fmla="*/ 4813533 h 10800208"/>
                <a:gd name="connsiteX2" fmla="*/ 1518338 w 17157070"/>
                <a:gd name="connsiteY2" fmla="*/ 5681683 h 10800208"/>
                <a:gd name="connsiteX3" fmla="*/ 1735898 w 17157070"/>
                <a:gd name="connsiteY3" fmla="*/ 6513607 h 10800208"/>
                <a:gd name="connsiteX4" fmla="*/ 3137400 w 17157070"/>
                <a:gd name="connsiteY4" fmla="*/ 7038167 h 10800208"/>
                <a:gd name="connsiteX5" fmla="*/ 3453963 w 17157070"/>
                <a:gd name="connsiteY5" fmla="*/ 8394658 h 10800208"/>
                <a:gd name="connsiteX6" fmla="*/ 4168520 w 17157070"/>
                <a:gd name="connsiteY6" fmla="*/ 9769227 h 10800208"/>
                <a:gd name="connsiteX7" fmla="*/ 4162343 w 17157070"/>
                <a:gd name="connsiteY7" fmla="*/ 10800208 h 10800208"/>
                <a:gd name="connsiteX8" fmla="*/ 4605215 w 17157070"/>
                <a:gd name="connsiteY8" fmla="*/ 10716044 h 10800208"/>
                <a:gd name="connsiteX9" fmla="*/ 4840336 w 17157070"/>
                <a:gd name="connsiteY9" fmla="*/ 10426662 h 10800208"/>
                <a:gd name="connsiteX10" fmla="*/ 6070201 w 17157070"/>
                <a:gd name="connsiteY10" fmla="*/ 10444754 h 10800208"/>
                <a:gd name="connsiteX11" fmla="*/ 6884082 w 17157070"/>
                <a:gd name="connsiteY11" fmla="*/ 9847902 h 10800208"/>
                <a:gd name="connsiteX12" fmla="*/ 7716051 w 17157070"/>
                <a:gd name="connsiteY12" fmla="*/ 10173461 h 10800208"/>
                <a:gd name="connsiteX13" fmla="*/ 8584189 w 17157070"/>
                <a:gd name="connsiteY13" fmla="*/ 9974509 h 10800208"/>
                <a:gd name="connsiteX14" fmla="*/ 9289552 w 17157070"/>
                <a:gd name="connsiteY14" fmla="*/ 10173461 h 10800208"/>
                <a:gd name="connsiteX15" fmla="*/ 10139605 w 17157070"/>
                <a:gd name="connsiteY15" fmla="*/ 9775561 h 10800208"/>
                <a:gd name="connsiteX16" fmla="*/ 10664108 w 17157070"/>
                <a:gd name="connsiteY16" fmla="*/ 9992597 h 10800208"/>
                <a:gd name="connsiteX17" fmla="*/ 11387555 w 17157070"/>
                <a:gd name="connsiteY17" fmla="*/ 9902167 h 10800208"/>
                <a:gd name="connsiteX18" fmla="*/ 11966315 w 17157070"/>
                <a:gd name="connsiteY18" fmla="*/ 10625622 h 10800208"/>
                <a:gd name="connsiteX19" fmla="*/ 12942975 w 17157070"/>
                <a:gd name="connsiteY19" fmla="*/ 10390493 h 10800208"/>
                <a:gd name="connsiteX20" fmla="*/ 13575992 w 17157070"/>
                <a:gd name="connsiteY20" fmla="*/ 10788393 h 10800208"/>
                <a:gd name="connsiteX21" fmla="*/ 13973888 w 17157070"/>
                <a:gd name="connsiteY21" fmla="*/ 10697960 h 10800208"/>
                <a:gd name="connsiteX22" fmla="*/ 14028146 w 17157070"/>
                <a:gd name="connsiteY22" fmla="*/ 10155369 h 10800208"/>
                <a:gd name="connsiteX23" fmla="*/ 13594073 w 17157070"/>
                <a:gd name="connsiteY23" fmla="*/ 10101112 h 10800208"/>
                <a:gd name="connsiteX24" fmla="*/ 13612161 w 17157070"/>
                <a:gd name="connsiteY24" fmla="*/ 9413833 h 10800208"/>
                <a:gd name="connsiteX25" fmla="*/ 14190925 w 17157070"/>
                <a:gd name="connsiteY25" fmla="*/ 9269146 h 10800208"/>
                <a:gd name="connsiteX26" fmla="*/ 13865366 w 17157070"/>
                <a:gd name="connsiteY26" fmla="*/ 8798901 h 10800208"/>
                <a:gd name="connsiteX27" fmla="*/ 14136664 w 17157070"/>
                <a:gd name="connsiteY27" fmla="*/ 8401005 h 10800208"/>
                <a:gd name="connsiteX28" fmla="*/ 14703435 w 17157070"/>
                <a:gd name="connsiteY28" fmla="*/ 8428101 h 10800208"/>
                <a:gd name="connsiteX29" fmla="*/ 14661163 w 17157070"/>
                <a:gd name="connsiteY29" fmla="*/ 8256317 h 10800208"/>
                <a:gd name="connsiteX30" fmla="*/ 14335608 w 17157070"/>
                <a:gd name="connsiteY30" fmla="*/ 8093542 h 10800208"/>
                <a:gd name="connsiteX31" fmla="*/ 14498387 w 17157070"/>
                <a:gd name="connsiteY31" fmla="*/ 7514778 h 10800208"/>
                <a:gd name="connsiteX32" fmla="*/ 13847278 w 17157070"/>
                <a:gd name="connsiteY32" fmla="*/ 6610464 h 10800208"/>
                <a:gd name="connsiteX33" fmla="*/ 13340864 w 17157070"/>
                <a:gd name="connsiteY33" fmla="*/ 5905101 h 10800208"/>
                <a:gd name="connsiteX34" fmla="*/ 13123831 w 17157070"/>
                <a:gd name="connsiteY34" fmla="*/ 4819923 h 10800208"/>
                <a:gd name="connsiteX35" fmla="*/ 13232349 w 17157070"/>
                <a:gd name="connsiteY35" fmla="*/ 4132649 h 10800208"/>
                <a:gd name="connsiteX36" fmla="*/ 12273778 w 17157070"/>
                <a:gd name="connsiteY36" fmla="*/ 4165810 h 10800208"/>
                <a:gd name="connsiteX37" fmla="*/ 12201432 w 17157070"/>
                <a:gd name="connsiteY37" fmla="*/ 3767910 h 10800208"/>
                <a:gd name="connsiteX38" fmla="*/ 12508887 w 17157070"/>
                <a:gd name="connsiteY38" fmla="*/ 3264515 h 10800208"/>
                <a:gd name="connsiteX39" fmla="*/ 13774933 w 17157070"/>
                <a:gd name="connsiteY39" fmla="*/ 2486799 h 10800208"/>
                <a:gd name="connsiteX40" fmla="*/ 15294184 w 17157070"/>
                <a:gd name="connsiteY40" fmla="*/ 1980384 h 10800208"/>
                <a:gd name="connsiteX41" fmla="*/ 15746333 w 17157070"/>
                <a:gd name="connsiteY41" fmla="*/ 2305939 h 10800208"/>
                <a:gd name="connsiteX42" fmla="*/ 16578306 w 17157070"/>
                <a:gd name="connsiteY42" fmla="*/ 2016557 h 10800208"/>
                <a:gd name="connsiteX43" fmla="*/ 17084732 w 17157070"/>
                <a:gd name="connsiteY43" fmla="*/ 2414465 h 10800208"/>
                <a:gd name="connsiteX44" fmla="*/ 17157070 w 17157070"/>
                <a:gd name="connsiteY44" fmla="*/ 1473974 h 10800208"/>
                <a:gd name="connsiteX45" fmla="*/ 16433615 w 17157070"/>
                <a:gd name="connsiteY45" fmla="*/ 1383544 h 10800208"/>
                <a:gd name="connsiteX46" fmla="*/ 16415865 w 17157070"/>
                <a:gd name="connsiteY46" fmla="*/ 767392 h 10800208"/>
                <a:gd name="connsiteX47" fmla="*/ 15963191 w 17157070"/>
                <a:gd name="connsiteY47" fmla="*/ 906848 h 10800208"/>
                <a:gd name="connsiteX48" fmla="*/ 5153802 w 17157070"/>
                <a:gd name="connsiteY48" fmla="*/ 3132314 h 10800208"/>
                <a:gd name="connsiteX49" fmla="*/ 4898441 w 17157070"/>
                <a:gd name="connsiteY49" fmla="*/ 3183022 h 10800208"/>
                <a:gd name="connsiteX50" fmla="*/ 4600673 w 17157070"/>
                <a:gd name="connsiteY50" fmla="*/ 2914551 h 10800208"/>
                <a:gd name="connsiteX51" fmla="*/ 4416749 w 17157070"/>
                <a:gd name="connsiteY51" fmla="*/ 2491544 h 10800208"/>
                <a:gd name="connsiteX52" fmla="*/ 4653822 w 17157070"/>
                <a:gd name="connsiteY52" fmla="*/ 1941377 h 10800208"/>
                <a:gd name="connsiteX53" fmla="*/ 4432864 w 17157070"/>
                <a:gd name="connsiteY53" fmla="*/ 1388142 h 10800208"/>
                <a:gd name="connsiteX54" fmla="*/ 4437471 w 17157070"/>
                <a:gd name="connsiteY54" fmla="*/ 719354 h 10800208"/>
                <a:gd name="connsiteX55" fmla="*/ 4141784 w 17157070"/>
                <a:gd name="connsiteY55" fmla="*/ 0 h 10800208"/>
                <a:gd name="connsiteX56" fmla="*/ 2314296 w 17157070"/>
                <a:gd name="connsiteY56" fmla="*/ 282857 h 10800208"/>
                <a:gd name="connsiteX57" fmla="*/ 1334589 w 17157070"/>
                <a:gd name="connsiteY57" fmla="*/ 1087729 h 10800208"/>
                <a:gd name="connsiteX58" fmla="*/ 0 w 17157070"/>
                <a:gd name="connsiteY58" fmla="*/ 2435175 h 10800208"/>
                <a:gd name="connsiteX0" fmla="*/ 0 w 17157070"/>
                <a:gd name="connsiteY0" fmla="*/ 2435175 h 10800208"/>
                <a:gd name="connsiteX1" fmla="*/ 613837 w 17157070"/>
                <a:gd name="connsiteY1" fmla="*/ 4813533 h 10800208"/>
                <a:gd name="connsiteX2" fmla="*/ 1518338 w 17157070"/>
                <a:gd name="connsiteY2" fmla="*/ 5681683 h 10800208"/>
                <a:gd name="connsiteX3" fmla="*/ 1735898 w 17157070"/>
                <a:gd name="connsiteY3" fmla="*/ 6513607 h 10800208"/>
                <a:gd name="connsiteX4" fmla="*/ 3137400 w 17157070"/>
                <a:gd name="connsiteY4" fmla="*/ 7038167 h 10800208"/>
                <a:gd name="connsiteX5" fmla="*/ 3453963 w 17157070"/>
                <a:gd name="connsiteY5" fmla="*/ 8394658 h 10800208"/>
                <a:gd name="connsiteX6" fmla="*/ 4168520 w 17157070"/>
                <a:gd name="connsiteY6" fmla="*/ 9769227 h 10800208"/>
                <a:gd name="connsiteX7" fmla="*/ 4162343 w 17157070"/>
                <a:gd name="connsiteY7" fmla="*/ 10800208 h 10800208"/>
                <a:gd name="connsiteX8" fmla="*/ 4605215 w 17157070"/>
                <a:gd name="connsiteY8" fmla="*/ 10716044 h 10800208"/>
                <a:gd name="connsiteX9" fmla="*/ 4840336 w 17157070"/>
                <a:gd name="connsiteY9" fmla="*/ 10426662 h 10800208"/>
                <a:gd name="connsiteX10" fmla="*/ 6070201 w 17157070"/>
                <a:gd name="connsiteY10" fmla="*/ 10444754 h 10800208"/>
                <a:gd name="connsiteX11" fmla="*/ 6884082 w 17157070"/>
                <a:gd name="connsiteY11" fmla="*/ 9847902 h 10800208"/>
                <a:gd name="connsiteX12" fmla="*/ 7716051 w 17157070"/>
                <a:gd name="connsiteY12" fmla="*/ 10173461 h 10800208"/>
                <a:gd name="connsiteX13" fmla="*/ 8584189 w 17157070"/>
                <a:gd name="connsiteY13" fmla="*/ 9974509 h 10800208"/>
                <a:gd name="connsiteX14" fmla="*/ 9289552 w 17157070"/>
                <a:gd name="connsiteY14" fmla="*/ 10173461 h 10800208"/>
                <a:gd name="connsiteX15" fmla="*/ 10139605 w 17157070"/>
                <a:gd name="connsiteY15" fmla="*/ 9775561 h 10800208"/>
                <a:gd name="connsiteX16" fmla="*/ 10664108 w 17157070"/>
                <a:gd name="connsiteY16" fmla="*/ 9992597 h 10800208"/>
                <a:gd name="connsiteX17" fmla="*/ 11387555 w 17157070"/>
                <a:gd name="connsiteY17" fmla="*/ 9902167 h 10800208"/>
                <a:gd name="connsiteX18" fmla="*/ 11966315 w 17157070"/>
                <a:gd name="connsiteY18" fmla="*/ 10625622 h 10800208"/>
                <a:gd name="connsiteX19" fmla="*/ 12942975 w 17157070"/>
                <a:gd name="connsiteY19" fmla="*/ 10390493 h 10800208"/>
                <a:gd name="connsiteX20" fmla="*/ 13575992 w 17157070"/>
                <a:gd name="connsiteY20" fmla="*/ 10788393 h 10800208"/>
                <a:gd name="connsiteX21" fmla="*/ 13973888 w 17157070"/>
                <a:gd name="connsiteY21" fmla="*/ 10697960 h 10800208"/>
                <a:gd name="connsiteX22" fmla="*/ 14028146 w 17157070"/>
                <a:gd name="connsiteY22" fmla="*/ 10155369 h 10800208"/>
                <a:gd name="connsiteX23" fmla="*/ 13594073 w 17157070"/>
                <a:gd name="connsiteY23" fmla="*/ 10101112 h 10800208"/>
                <a:gd name="connsiteX24" fmla="*/ 13612161 w 17157070"/>
                <a:gd name="connsiteY24" fmla="*/ 9413833 h 10800208"/>
                <a:gd name="connsiteX25" fmla="*/ 14190925 w 17157070"/>
                <a:gd name="connsiteY25" fmla="*/ 9269146 h 10800208"/>
                <a:gd name="connsiteX26" fmla="*/ 13865366 w 17157070"/>
                <a:gd name="connsiteY26" fmla="*/ 8798901 h 10800208"/>
                <a:gd name="connsiteX27" fmla="*/ 14136664 w 17157070"/>
                <a:gd name="connsiteY27" fmla="*/ 8401005 h 10800208"/>
                <a:gd name="connsiteX28" fmla="*/ 14703435 w 17157070"/>
                <a:gd name="connsiteY28" fmla="*/ 8428101 h 10800208"/>
                <a:gd name="connsiteX29" fmla="*/ 14661163 w 17157070"/>
                <a:gd name="connsiteY29" fmla="*/ 8256317 h 10800208"/>
                <a:gd name="connsiteX30" fmla="*/ 14335608 w 17157070"/>
                <a:gd name="connsiteY30" fmla="*/ 8093542 h 10800208"/>
                <a:gd name="connsiteX31" fmla="*/ 14498387 w 17157070"/>
                <a:gd name="connsiteY31" fmla="*/ 7514778 h 10800208"/>
                <a:gd name="connsiteX32" fmla="*/ 13847278 w 17157070"/>
                <a:gd name="connsiteY32" fmla="*/ 6610464 h 10800208"/>
                <a:gd name="connsiteX33" fmla="*/ 13340864 w 17157070"/>
                <a:gd name="connsiteY33" fmla="*/ 5905101 h 10800208"/>
                <a:gd name="connsiteX34" fmla="*/ 13123831 w 17157070"/>
                <a:gd name="connsiteY34" fmla="*/ 4819923 h 10800208"/>
                <a:gd name="connsiteX35" fmla="*/ 13232349 w 17157070"/>
                <a:gd name="connsiteY35" fmla="*/ 4132649 h 10800208"/>
                <a:gd name="connsiteX36" fmla="*/ 12273778 w 17157070"/>
                <a:gd name="connsiteY36" fmla="*/ 4165810 h 10800208"/>
                <a:gd name="connsiteX37" fmla="*/ 12201432 w 17157070"/>
                <a:gd name="connsiteY37" fmla="*/ 3767910 h 10800208"/>
                <a:gd name="connsiteX38" fmla="*/ 12508887 w 17157070"/>
                <a:gd name="connsiteY38" fmla="*/ 3264515 h 10800208"/>
                <a:gd name="connsiteX39" fmla="*/ 13774933 w 17157070"/>
                <a:gd name="connsiteY39" fmla="*/ 2486799 h 10800208"/>
                <a:gd name="connsiteX40" fmla="*/ 15294184 w 17157070"/>
                <a:gd name="connsiteY40" fmla="*/ 1980384 h 10800208"/>
                <a:gd name="connsiteX41" fmla="*/ 15746333 w 17157070"/>
                <a:gd name="connsiteY41" fmla="*/ 2305939 h 10800208"/>
                <a:gd name="connsiteX42" fmla="*/ 16578306 w 17157070"/>
                <a:gd name="connsiteY42" fmla="*/ 2016557 h 10800208"/>
                <a:gd name="connsiteX43" fmla="*/ 17084732 w 17157070"/>
                <a:gd name="connsiteY43" fmla="*/ 2414465 h 10800208"/>
                <a:gd name="connsiteX44" fmla="*/ 17157070 w 17157070"/>
                <a:gd name="connsiteY44" fmla="*/ 1473974 h 10800208"/>
                <a:gd name="connsiteX45" fmla="*/ 16433615 w 17157070"/>
                <a:gd name="connsiteY45" fmla="*/ 1383544 h 10800208"/>
                <a:gd name="connsiteX46" fmla="*/ 16415865 w 17157070"/>
                <a:gd name="connsiteY46" fmla="*/ 767392 h 10800208"/>
                <a:gd name="connsiteX47" fmla="*/ 5365184 w 17157070"/>
                <a:gd name="connsiteY47" fmla="*/ 3460880 h 10800208"/>
                <a:gd name="connsiteX48" fmla="*/ 5153802 w 17157070"/>
                <a:gd name="connsiteY48" fmla="*/ 3132314 h 10800208"/>
                <a:gd name="connsiteX49" fmla="*/ 4898441 w 17157070"/>
                <a:gd name="connsiteY49" fmla="*/ 3183022 h 10800208"/>
                <a:gd name="connsiteX50" fmla="*/ 4600673 w 17157070"/>
                <a:gd name="connsiteY50" fmla="*/ 2914551 h 10800208"/>
                <a:gd name="connsiteX51" fmla="*/ 4416749 w 17157070"/>
                <a:gd name="connsiteY51" fmla="*/ 2491544 h 10800208"/>
                <a:gd name="connsiteX52" fmla="*/ 4653822 w 17157070"/>
                <a:gd name="connsiteY52" fmla="*/ 1941377 h 10800208"/>
                <a:gd name="connsiteX53" fmla="*/ 4432864 w 17157070"/>
                <a:gd name="connsiteY53" fmla="*/ 1388142 h 10800208"/>
                <a:gd name="connsiteX54" fmla="*/ 4437471 w 17157070"/>
                <a:gd name="connsiteY54" fmla="*/ 719354 h 10800208"/>
                <a:gd name="connsiteX55" fmla="*/ 4141784 w 17157070"/>
                <a:gd name="connsiteY55" fmla="*/ 0 h 10800208"/>
                <a:gd name="connsiteX56" fmla="*/ 2314296 w 17157070"/>
                <a:gd name="connsiteY56" fmla="*/ 282857 h 10800208"/>
                <a:gd name="connsiteX57" fmla="*/ 1334589 w 17157070"/>
                <a:gd name="connsiteY57" fmla="*/ 1087729 h 10800208"/>
                <a:gd name="connsiteX58" fmla="*/ 0 w 17157070"/>
                <a:gd name="connsiteY58" fmla="*/ 2435175 h 10800208"/>
                <a:gd name="connsiteX0" fmla="*/ 0 w 17157070"/>
                <a:gd name="connsiteY0" fmla="*/ 2435175 h 10800208"/>
                <a:gd name="connsiteX1" fmla="*/ 613837 w 17157070"/>
                <a:gd name="connsiteY1" fmla="*/ 4813533 h 10800208"/>
                <a:gd name="connsiteX2" fmla="*/ 1518338 w 17157070"/>
                <a:gd name="connsiteY2" fmla="*/ 5681683 h 10800208"/>
                <a:gd name="connsiteX3" fmla="*/ 1735898 w 17157070"/>
                <a:gd name="connsiteY3" fmla="*/ 6513607 h 10800208"/>
                <a:gd name="connsiteX4" fmla="*/ 3137400 w 17157070"/>
                <a:gd name="connsiteY4" fmla="*/ 7038167 h 10800208"/>
                <a:gd name="connsiteX5" fmla="*/ 3453963 w 17157070"/>
                <a:gd name="connsiteY5" fmla="*/ 8394658 h 10800208"/>
                <a:gd name="connsiteX6" fmla="*/ 4168520 w 17157070"/>
                <a:gd name="connsiteY6" fmla="*/ 9769227 h 10800208"/>
                <a:gd name="connsiteX7" fmla="*/ 4162343 w 17157070"/>
                <a:gd name="connsiteY7" fmla="*/ 10800208 h 10800208"/>
                <a:gd name="connsiteX8" fmla="*/ 4605215 w 17157070"/>
                <a:gd name="connsiteY8" fmla="*/ 10716044 h 10800208"/>
                <a:gd name="connsiteX9" fmla="*/ 4840336 w 17157070"/>
                <a:gd name="connsiteY9" fmla="*/ 10426662 h 10800208"/>
                <a:gd name="connsiteX10" fmla="*/ 6070201 w 17157070"/>
                <a:gd name="connsiteY10" fmla="*/ 10444754 h 10800208"/>
                <a:gd name="connsiteX11" fmla="*/ 6884082 w 17157070"/>
                <a:gd name="connsiteY11" fmla="*/ 9847902 h 10800208"/>
                <a:gd name="connsiteX12" fmla="*/ 7716051 w 17157070"/>
                <a:gd name="connsiteY12" fmla="*/ 10173461 h 10800208"/>
                <a:gd name="connsiteX13" fmla="*/ 8584189 w 17157070"/>
                <a:gd name="connsiteY13" fmla="*/ 9974509 h 10800208"/>
                <a:gd name="connsiteX14" fmla="*/ 9289552 w 17157070"/>
                <a:gd name="connsiteY14" fmla="*/ 10173461 h 10800208"/>
                <a:gd name="connsiteX15" fmla="*/ 10139605 w 17157070"/>
                <a:gd name="connsiteY15" fmla="*/ 9775561 h 10800208"/>
                <a:gd name="connsiteX16" fmla="*/ 10664108 w 17157070"/>
                <a:gd name="connsiteY16" fmla="*/ 9992597 h 10800208"/>
                <a:gd name="connsiteX17" fmla="*/ 11387555 w 17157070"/>
                <a:gd name="connsiteY17" fmla="*/ 9902167 h 10800208"/>
                <a:gd name="connsiteX18" fmla="*/ 11966315 w 17157070"/>
                <a:gd name="connsiteY18" fmla="*/ 10625622 h 10800208"/>
                <a:gd name="connsiteX19" fmla="*/ 12942975 w 17157070"/>
                <a:gd name="connsiteY19" fmla="*/ 10390493 h 10800208"/>
                <a:gd name="connsiteX20" fmla="*/ 13575992 w 17157070"/>
                <a:gd name="connsiteY20" fmla="*/ 10788393 h 10800208"/>
                <a:gd name="connsiteX21" fmla="*/ 13973888 w 17157070"/>
                <a:gd name="connsiteY21" fmla="*/ 10697960 h 10800208"/>
                <a:gd name="connsiteX22" fmla="*/ 14028146 w 17157070"/>
                <a:gd name="connsiteY22" fmla="*/ 10155369 h 10800208"/>
                <a:gd name="connsiteX23" fmla="*/ 13594073 w 17157070"/>
                <a:gd name="connsiteY23" fmla="*/ 10101112 h 10800208"/>
                <a:gd name="connsiteX24" fmla="*/ 13612161 w 17157070"/>
                <a:gd name="connsiteY24" fmla="*/ 9413833 h 10800208"/>
                <a:gd name="connsiteX25" fmla="*/ 14190925 w 17157070"/>
                <a:gd name="connsiteY25" fmla="*/ 9269146 h 10800208"/>
                <a:gd name="connsiteX26" fmla="*/ 13865366 w 17157070"/>
                <a:gd name="connsiteY26" fmla="*/ 8798901 h 10800208"/>
                <a:gd name="connsiteX27" fmla="*/ 14136664 w 17157070"/>
                <a:gd name="connsiteY27" fmla="*/ 8401005 h 10800208"/>
                <a:gd name="connsiteX28" fmla="*/ 14703435 w 17157070"/>
                <a:gd name="connsiteY28" fmla="*/ 8428101 h 10800208"/>
                <a:gd name="connsiteX29" fmla="*/ 14661163 w 17157070"/>
                <a:gd name="connsiteY29" fmla="*/ 8256317 h 10800208"/>
                <a:gd name="connsiteX30" fmla="*/ 14335608 w 17157070"/>
                <a:gd name="connsiteY30" fmla="*/ 8093542 h 10800208"/>
                <a:gd name="connsiteX31" fmla="*/ 14498387 w 17157070"/>
                <a:gd name="connsiteY31" fmla="*/ 7514778 h 10800208"/>
                <a:gd name="connsiteX32" fmla="*/ 13847278 w 17157070"/>
                <a:gd name="connsiteY32" fmla="*/ 6610464 h 10800208"/>
                <a:gd name="connsiteX33" fmla="*/ 13340864 w 17157070"/>
                <a:gd name="connsiteY33" fmla="*/ 5905101 h 10800208"/>
                <a:gd name="connsiteX34" fmla="*/ 13123831 w 17157070"/>
                <a:gd name="connsiteY34" fmla="*/ 4819923 h 10800208"/>
                <a:gd name="connsiteX35" fmla="*/ 13232349 w 17157070"/>
                <a:gd name="connsiteY35" fmla="*/ 4132649 h 10800208"/>
                <a:gd name="connsiteX36" fmla="*/ 12273778 w 17157070"/>
                <a:gd name="connsiteY36" fmla="*/ 4165810 h 10800208"/>
                <a:gd name="connsiteX37" fmla="*/ 12201432 w 17157070"/>
                <a:gd name="connsiteY37" fmla="*/ 3767910 h 10800208"/>
                <a:gd name="connsiteX38" fmla="*/ 12508887 w 17157070"/>
                <a:gd name="connsiteY38" fmla="*/ 3264515 h 10800208"/>
                <a:gd name="connsiteX39" fmla="*/ 13774933 w 17157070"/>
                <a:gd name="connsiteY39" fmla="*/ 2486799 h 10800208"/>
                <a:gd name="connsiteX40" fmla="*/ 15294184 w 17157070"/>
                <a:gd name="connsiteY40" fmla="*/ 1980384 h 10800208"/>
                <a:gd name="connsiteX41" fmla="*/ 15746333 w 17157070"/>
                <a:gd name="connsiteY41" fmla="*/ 2305939 h 10800208"/>
                <a:gd name="connsiteX42" fmla="*/ 16578306 w 17157070"/>
                <a:gd name="connsiteY42" fmla="*/ 2016557 h 10800208"/>
                <a:gd name="connsiteX43" fmla="*/ 17084732 w 17157070"/>
                <a:gd name="connsiteY43" fmla="*/ 2414465 h 10800208"/>
                <a:gd name="connsiteX44" fmla="*/ 17157070 w 17157070"/>
                <a:gd name="connsiteY44" fmla="*/ 1473974 h 10800208"/>
                <a:gd name="connsiteX45" fmla="*/ 16433615 w 17157070"/>
                <a:gd name="connsiteY45" fmla="*/ 1383544 h 10800208"/>
                <a:gd name="connsiteX46" fmla="*/ 5365184 w 17157070"/>
                <a:gd name="connsiteY46" fmla="*/ 3460880 h 10800208"/>
                <a:gd name="connsiteX47" fmla="*/ 5153802 w 17157070"/>
                <a:gd name="connsiteY47" fmla="*/ 3132314 h 10800208"/>
                <a:gd name="connsiteX48" fmla="*/ 4898441 w 17157070"/>
                <a:gd name="connsiteY48" fmla="*/ 3183022 h 10800208"/>
                <a:gd name="connsiteX49" fmla="*/ 4600673 w 17157070"/>
                <a:gd name="connsiteY49" fmla="*/ 2914551 h 10800208"/>
                <a:gd name="connsiteX50" fmla="*/ 4416749 w 17157070"/>
                <a:gd name="connsiteY50" fmla="*/ 2491544 h 10800208"/>
                <a:gd name="connsiteX51" fmla="*/ 4653822 w 17157070"/>
                <a:gd name="connsiteY51" fmla="*/ 1941377 h 10800208"/>
                <a:gd name="connsiteX52" fmla="*/ 4432864 w 17157070"/>
                <a:gd name="connsiteY52" fmla="*/ 1388142 h 10800208"/>
                <a:gd name="connsiteX53" fmla="*/ 4437471 w 17157070"/>
                <a:gd name="connsiteY53" fmla="*/ 719354 h 10800208"/>
                <a:gd name="connsiteX54" fmla="*/ 4141784 w 17157070"/>
                <a:gd name="connsiteY54" fmla="*/ 0 h 10800208"/>
                <a:gd name="connsiteX55" fmla="*/ 2314296 w 17157070"/>
                <a:gd name="connsiteY55" fmla="*/ 282857 h 10800208"/>
                <a:gd name="connsiteX56" fmla="*/ 1334589 w 17157070"/>
                <a:gd name="connsiteY56" fmla="*/ 1087729 h 10800208"/>
                <a:gd name="connsiteX57" fmla="*/ 0 w 17157070"/>
                <a:gd name="connsiteY57" fmla="*/ 2435175 h 10800208"/>
                <a:gd name="connsiteX0" fmla="*/ 0 w 17157070"/>
                <a:gd name="connsiteY0" fmla="*/ 2435175 h 10800208"/>
                <a:gd name="connsiteX1" fmla="*/ 613837 w 17157070"/>
                <a:gd name="connsiteY1" fmla="*/ 4813533 h 10800208"/>
                <a:gd name="connsiteX2" fmla="*/ 1518338 w 17157070"/>
                <a:gd name="connsiteY2" fmla="*/ 5681683 h 10800208"/>
                <a:gd name="connsiteX3" fmla="*/ 1735898 w 17157070"/>
                <a:gd name="connsiteY3" fmla="*/ 6513607 h 10800208"/>
                <a:gd name="connsiteX4" fmla="*/ 3137400 w 17157070"/>
                <a:gd name="connsiteY4" fmla="*/ 7038167 h 10800208"/>
                <a:gd name="connsiteX5" fmla="*/ 3453963 w 17157070"/>
                <a:gd name="connsiteY5" fmla="*/ 8394658 h 10800208"/>
                <a:gd name="connsiteX6" fmla="*/ 4168520 w 17157070"/>
                <a:gd name="connsiteY6" fmla="*/ 9769227 h 10800208"/>
                <a:gd name="connsiteX7" fmla="*/ 4162343 w 17157070"/>
                <a:gd name="connsiteY7" fmla="*/ 10800208 h 10800208"/>
                <a:gd name="connsiteX8" fmla="*/ 4605215 w 17157070"/>
                <a:gd name="connsiteY8" fmla="*/ 10716044 h 10800208"/>
                <a:gd name="connsiteX9" fmla="*/ 4840336 w 17157070"/>
                <a:gd name="connsiteY9" fmla="*/ 10426662 h 10800208"/>
                <a:gd name="connsiteX10" fmla="*/ 6070201 w 17157070"/>
                <a:gd name="connsiteY10" fmla="*/ 10444754 h 10800208"/>
                <a:gd name="connsiteX11" fmla="*/ 6884082 w 17157070"/>
                <a:gd name="connsiteY11" fmla="*/ 9847902 h 10800208"/>
                <a:gd name="connsiteX12" fmla="*/ 7716051 w 17157070"/>
                <a:gd name="connsiteY12" fmla="*/ 10173461 h 10800208"/>
                <a:gd name="connsiteX13" fmla="*/ 8584189 w 17157070"/>
                <a:gd name="connsiteY13" fmla="*/ 9974509 h 10800208"/>
                <a:gd name="connsiteX14" fmla="*/ 9289552 w 17157070"/>
                <a:gd name="connsiteY14" fmla="*/ 10173461 h 10800208"/>
                <a:gd name="connsiteX15" fmla="*/ 10139605 w 17157070"/>
                <a:gd name="connsiteY15" fmla="*/ 9775561 h 10800208"/>
                <a:gd name="connsiteX16" fmla="*/ 10664108 w 17157070"/>
                <a:gd name="connsiteY16" fmla="*/ 9992597 h 10800208"/>
                <a:gd name="connsiteX17" fmla="*/ 11387555 w 17157070"/>
                <a:gd name="connsiteY17" fmla="*/ 9902167 h 10800208"/>
                <a:gd name="connsiteX18" fmla="*/ 11966315 w 17157070"/>
                <a:gd name="connsiteY18" fmla="*/ 10625622 h 10800208"/>
                <a:gd name="connsiteX19" fmla="*/ 12942975 w 17157070"/>
                <a:gd name="connsiteY19" fmla="*/ 10390493 h 10800208"/>
                <a:gd name="connsiteX20" fmla="*/ 13575992 w 17157070"/>
                <a:gd name="connsiteY20" fmla="*/ 10788393 h 10800208"/>
                <a:gd name="connsiteX21" fmla="*/ 13973888 w 17157070"/>
                <a:gd name="connsiteY21" fmla="*/ 10697960 h 10800208"/>
                <a:gd name="connsiteX22" fmla="*/ 14028146 w 17157070"/>
                <a:gd name="connsiteY22" fmla="*/ 10155369 h 10800208"/>
                <a:gd name="connsiteX23" fmla="*/ 13594073 w 17157070"/>
                <a:gd name="connsiteY23" fmla="*/ 10101112 h 10800208"/>
                <a:gd name="connsiteX24" fmla="*/ 13612161 w 17157070"/>
                <a:gd name="connsiteY24" fmla="*/ 9413833 h 10800208"/>
                <a:gd name="connsiteX25" fmla="*/ 14190925 w 17157070"/>
                <a:gd name="connsiteY25" fmla="*/ 9269146 h 10800208"/>
                <a:gd name="connsiteX26" fmla="*/ 13865366 w 17157070"/>
                <a:gd name="connsiteY26" fmla="*/ 8798901 h 10800208"/>
                <a:gd name="connsiteX27" fmla="*/ 14136664 w 17157070"/>
                <a:gd name="connsiteY27" fmla="*/ 8401005 h 10800208"/>
                <a:gd name="connsiteX28" fmla="*/ 14703435 w 17157070"/>
                <a:gd name="connsiteY28" fmla="*/ 8428101 h 10800208"/>
                <a:gd name="connsiteX29" fmla="*/ 14661163 w 17157070"/>
                <a:gd name="connsiteY29" fmla="*/ 8256317 h 10800208"/>
                <a:gd name="connsiteX30" fmla="*/ 14335608 w 17157070"/>
                <a:gd name="connsiteY30" fmla="*/ 8093542 h 10800208"/>
                <a:gd name="connsiteX31" fmla="*/ 14498387 w 17157070"/>
                <a:gd name="connsiteY31" fmla="*/ 7514778 h 10800208"/>
                <a:gd name="connsiteX32" fmla="*/ 13847278 w 17157070"/>
                <a:gd name="connsiteY32" fmla="*/ 6610464 h 10800208"/>
                <a:gd name="connsiteX33" fmla="*/ 13340864 w 17157070"/>
                <a:gd name="connsiteY33" fmla="*/ 5905101 h 10800208"/>
                <a:gd name="connsiteX34" fmla="*/ 13123831 w 17157070"/>
                <a:gd name="connsiteY34" fmla="*/ 4819923 h 10800208"/>
                <a:gd name="connsiteX35" fmla="*/ 13232349 w 17157070"/>
                <a:gd name="connsiteY35" fmla="*/ 4132649 h 10800208"/>
                <a:gd name="connsiteX36" fmla="*/ 12273778 w 17157070"/>
                <a:gd name="connsiteY36" fmla="*/ 4165810 h 10800208"/>
                <a:gd name="connsiteX37" fmla="*/ 12201432 w 17157070"/>
                <a:gd name="connsiteY37" fmla="*/ 3767910 h 10800208"/>
                <a:gd name="connsiteX38" fmla="*/ 12508887 w 17157070"/>
                <a:gd name="connsiteY38" fmla="*/ 3264515 h 10800208"/>
                <a:gd name="connsiteX39" fmla="*/ 13774933 w 17157070"/>
                <a:gd name="connsiteY39" fmla="*/ 2486799 h 10800208"/>
                <a:gd name="connsiteX40" fmla="*/ 15294184 w 17157070"/>
                <a:gd name="connsiteY40" fmla="*/ 1980384 h 10800208"/>
                <a:gd name="connsiteX41" fmla="*/ 15746333 w 17157070"/>
                <a:gd name="connsiteY41" fmla="*/ 2305939 h 10800208"/>
                <a:gd name="connsiteX42" fmla="*/ 16578306 w 17157070"/>
                <a:gd name="connsiteY42" fmla="*/ 2016557 h 10800208"/>
                <a:gd name="connsiteX43" fmla="*/ 17084732 w 17157070"/>
                <a:gd name="connsiteY43" fmla="*/ 2414465 h 10800208"/>
                <a:gd name="connsiteX44" fmla="*/ 17157070 w 17157070"/>
                <a:gd name="connsiteY44" fmla="*/ 1473974 h 10800208"/>
                <a:gd name="connsiteX45" fmla="*/ 5596373 w 17157070"/>
                <a:gd name="connsiteY45" fmla="*/ 4033059 h 10800208"/>
                <a:gd name="connsiteX46" fmla="*/ 5365184 w 17157070"/>
                <a:gd name="connsiteY46" fmla="*/ 3460880 h 10800208"/>
                <a:gd name="connsiteX47" fmla="*/ 5153802 w 17157070"/>
                <a:gd name="connsiteY47" fmla="*/ 3132314 h 10800208"/>
                <a:gd name="connsiteX48" fmla="*/ 4898441 w 17157070"/>
                <a:gd name="connsiteY48" fmla="*/ 3183022 h 10800208"/>
                <a:gd name="connsiteX49" fmla="*/ 4600673 w 17157070"/>
                <a:gd name="connsiteY49" fmla="*/ 2914551 h 10800208"/>
                <a:gd name="connsiteX50" fmla="*/ 4416749 w 17157070"/>
                <a:gd name="connsiteY50" fmla="*/ 2491544 h 10800208"/>
                <a:gd name="connsiteX51" fmla="*/ 4653822 w 17157070"/>
                <a:gd name="connsiteY51" fmla="*/ 1941377 h 10800208"/>
                <a:gd name="connsiteX52" fmla="*/ 4432864 w 17157070"/>
                <a:gd name="connsiteY52" fmla="*/ 1388142 h 10800208"/>
                <a:gd name="connsiteX53" fmla="*/ 4437471 w 17157070"/>
                <a:gd name="connsiteY53" fmla="*/ 719354 h 10800208"/>
                <a:gd name="connsiteX54" fmla="*/ 4141784 w 17157070"/>
                <a:gd name="connsiteY54" fmla="*/ 0 h 10800208"/>
                <a:gd name="connsiteX55" fmla="*/ 2314296 w 17157070"/>
                <a:gd name="connsiteY55" fmla="*/ 282857 h 10800208"/>
                <a:gd name="connsiteX56" fmla="*/ 1334589 w 17157070"/>
                <a:gd name="connsiteY56" fmla="*/ 1087729 h 10800208"/>
                <a:gd name="connsiteX57" fmla="*/ 0 w 17157070"/>
                <a:gd name="connsiteY57" fmla="*/ 2435175 h 10800208"/>
                <a:gd name="connsiteX0" fmla="*/ 0 w 17084730"/>
                <a:gd name="connsiteY0" fmla="*/ 2435175 h 10800208"/>
                <a:gd name="connsiteX1" fmla="*/ 613837 w 17084730"/>
                <a:gd name="connsiteY1" fmla="*/ 4813533 h 10800208"/>
                <a:gd name="connsiteX2" fmla="*/ 1518338 w 17084730"/>
                <a:gd name="connsiteY2" fmla="*/ 5681683 h 10800208"/>
                <a:gd name="connsiteX3" fmla="*/ 1735898 w 17084730"/>
                <a:gd name="connsiteY3" fmla="*/ 6513607 h 10800208"/>
                <a:gd name="connsiteX4" fmla="*/ 3137400 w 17084730"/>
                <a:gd name="connsiteY4" fmla="*/ 7038167 h 10800208"/>
                <a:gd name="connsiteX5" fmla="*/ 3453963 w 17084730"/>
                <a:gd name="connsiteY5" fmla="*/ 8394658 h 10800208"/>
                <a:gd name="connsiteX6" fmla="*/ 4168520 w 17084730"/>
                <a:gd name="connsiteY6" fmla="*/ 9769227 h 10800208"/>
                <a:gd name="connsiteX7" fmla="*/ 4162343 w 17084730"/>
                <a:gd name="connsiteY7" fmla="*/ 10800208 h 10800208"/>
                <a:gd name="connsiteX8" fmla="*/ 4605215 w 17084730"/>
                <a:gd name="connsiteY8" fmla="*/ 10716044 h 10800208"/>
                <a:gd name="connsiteX9" fmla="*/ 4840336 w 17084730"/>
                <a:gd name="connsiteY9" fmla="*/ 10426662 h 10800208"/>
                <a:gd name="connsiteX10" fmla="*/ 6070201 w 17084730"/>
                <a:gd name="connsiteY10" fmla="*/ 10444754 h 10800208"/>
                <a:gd name="connsiteX11" fmla="*/ 6884082 w 17084730"/>
                <a:gd name="connsiteY11" fmla="*/ 9847902 h 10800208"/>
                <a:gd name="connsiteX12" fmla="*/ 7716051 w 17084730"/>
                <a:gd name="connsiteY12" fmla="*/ 10173461 h 10800208"/>
                <a:gd name="connsiteX13" fmla="*/ 8584189 w 17084730"/>
                <a:gd name="connsiteY13" fmla="*/ 9974509 h 10800208"/>
                <a:gd name="connsiteX14" fmla="*/ 9289552 w 17084730"/>
                <a:gd name="connsiteY14" fmla="*/ 10173461 h 10800208"/>
                <a:gd name="connsiteX15" fmla="*/ 10139605 w 17084730"/>
                <a:gd name="connsiteY15" fmla="*/ 9775561 h 10800208"/>
                <a:gd name="connsiteX16" fmla="*/ 10664108 w 17084730"/>
                <a:gd name="connsiteY16" fmla="*/ 9992597 h 10800208"/>
                <a:gd name="connsiteX17" fmla="*/ 11387555 w 17084730"/>
                <a:gd name="connsiteY17" fmla="*/ 9902167 h 10800208"/>
                <a:gd name="connsiteX18" fmla="*/ 11966315 w 17084730"/>
                <a:gd name="connsiteY18" fmla="*/ 10625622 h 10800208"/>
                <a:gd name="connsiteX19" fmla="*/ 12942975 w 17084730"/>
                <a:gd name="connsiteY19" fmla="*/ 10390493 h 10800208"/>
                <a:gd name="connsiteX20" fmla="*/ 13575992 w 17084730"/>
                <a:gd name="connsiteY20" fmla="*/ 10788393 h 10800208"/>
                <a:gd name="connsiteX21" fmla="*/ 13973888 w 17084730"/>
                <a:gd name="connsiteY21" fmla="*/ 10697960 h 10800208"/>
                <a:gd name="connsiteX22" fmla="*/ 14028146 w 17084730"/>
                <a:gd name="connsiteY22" fmla="*/ 10155369 h 10800208"/>
                <a:gd name="connsiteX23" fmla="*/ 13594073 w 17084730"/>
                <a:gd name="connsiteY23" fmla="*/ 10101112 h 10800208"/>
                <a:gd name="connsiteX24" fmla="*/ 13612161 w 17084730"/>
                <a:gd name="connsiteY24" fmla="*/ 9413833 h 10800208"/>
                <a:gd name="connsiteX25" fmla="*/ 14190925 w 17084730"/>
                <a:gd name="connsiteY25" fmla="*/ 9269146 h 10800208"/>
                <a:gd name="connsiteX26" fmla="*/ 13865366 w 17084730"/>
                <a:gd name="connsiteY26" fmla="*/ 8798901 h 10800208"/>
                <a:gd name="connsiteX27" fmla="*/ 14136664 w 17084730"/>
                <a:gd name="connsiteY27" fmla="*/ 8401005 h 10800208"/>
                <a:gd name="connsiteX28" fmla="*/ 14703435 w 17084730"/>
                <a:gd name="connsiteY28" fmla="*/ 8428101 h 10800208"/>
                <a:gd name="connsiteX29" fmla="*/ 14661163 w 17084730"/>
                <a:gd name="connsiteY29" fmla="*/ 8256317 h 10800208"/>
                <a:gd name="connsiteX30" fmla="*/ 14335608 w 17084730"/>
                <a:gd name="connsiteY30" fmla="*/ 8093542 h 10800208"/>
                <a:gd name="connsiteX31" fmla="*/ 14498387 w 17084730"/>
                <a:gd name="connsiteY31" fmla="*/ 7514778 h 10800208"/>
                <a:gd name="connsiteX32" fmla="*/ 13847278 w 17084730"/>
                <a:gd name="connsiteY32" fmla="*/ 6610464 h 10800208"/>
                <a:gd name="connsiteX33" fmla="*/ 13340864 w 17084730"/>
                <a:gd name="connsiteY33" fmla="*/ 5905101 h 10800208"/>
                <a:gd name="connsiteX34" fmla="*/ 13123831 w 17084730"/>
                <a:gd name="connsiteY34" fmla="*/ 4819923 h 10800208"/>
                <a:gd name="connsiteX35" fmla="*/ 13232349 w 17084730"/>
                <a:gd name="connsiteY35" fmla="*/ 4132649 h 10800208"/>
                <a:gd name="connsiteX36" fmla="*/ 12273778 w 17084730"/>
                <a:gd name="connsiteY36" fmla="*/ 4165810 h 10800208"/>
                <a:gd name="connsiteX37" fmla="*/ 12201432 w 17084730"/>
                <a:gd name="connsiteY37" fmla="*/ 3767910 h 10800208"/>
                <a:gd name="connsiteX38" fmla="*/ 12508887 w 17084730"/>
                <a:gd name="connsiteY38" fmla="*/ 3264515 h 10800208"/>
                <a:gd name="connsiteX39" fmla="*/ 13774933 w 17084730"/>
                <a:gd name="connsiteY39" fmla="*/ 2486799 h 10800208"/>
                <a:gd name="connsiteX40" fmla="*/ 15294184 w 17084730"/>
                <a:gd name="connsiteY40" fmla="*/ 1980384 h 10800208"/>
                <a:gd name="connsiteX41" fmla="*/ 15746333 w 17084730"/>
                <a:gd name="connsiteY41" fmla="*/ 2305939 h 10800208"/>
                <a:gd name="connsiteX42" fmla="*/ 16578306 w 17084730"/>
                <a:gd name="connsiteY42" fmla="*/ 2016557 h 10800208"/>
                <a:gd name="connsiteX43" fmla="*/ 17084732 w 17084730"/>
                <a:gd name="connsiteY43" fmla="*/ 2414465 h 10800208"/>
                <a:gd name="connsiteX44" fmla="*/ 5596373 w 17084730"/>
                <a:gd name="connsiteY44" fmla="*/ 4033059 h 10800208"/>
                <a:gd name="connsiteX45" fmla="*/ 5365184 w 17084730"/>
                <a:gd name="connsiteY45" fmla="*/ 3460880 h 10800208"/>
                <a:gd name="connsiteX46" fmla="*/ 5153802 w 17084730"/>
                <a:gd name="connsiteY46" fmla="*/ 3132314 h 10800208"/>
                <a:gd name="connsiteX47" fmla="*/ 4898441 w 17084730"/>
                <a:gd name="connsiteY47" fmla="*/ 3183022 h 10800208"/>
                <a:gd name="connsiteX48" fmla="*/ 4600673 w 17084730"/>
                <a:gd name="connsiteY48" fmla="*/ 2914551 h 10800208"/>
                <a:gd name="connsiteX49" fmla="*/ 4416749 w 17084730"/>
                <a:gd name="connsiteY49" fmla="*/ 2491544 h 10800208"/>
                <a:gd name="connsiteX50" fmla="*/ 4653822 w 17084730"/>
                <a:gd name="connsiteY50" fmla="*/ 1941377 h 10800208"/>
                <a:gd name="connsiteX51" fmla="*/ 4432864 w 17084730"/>
                <a:gd name="connsiteY51" fmla="*/ 1388142 h 10800208"/>
                <a:gd name="connsiteX52" fmla="*/ 4437471 w 17084730"/>
                <a:gd name="connsiteY52" fmla="*/ 719354 h 10800208"/>
                <a:gd name="connsiteX53" fmla="*/ 4141784 w 17084730"/>
                <a:gd name="connsiteY53" fmla="*/ 0 h 10800208"/>
                <a:gd name="connsiteX54" fmla="*/ 2314296 w 17084730"/>
                <a:gd name="connsiteY54" fmla="*/ 282857 h 10800208"/>
                <a:gd name="connsiteX55" fmla="*/ 1334589 w 17084730"/>
                <a:gd name="connsiteY55" fmla="*/ 1087729 h 10800208"/>
                <a:gd name="connsiteX56" fmla="*/ 0 w 17084730"/>
                <a:gd name="connsiteY56" fmla="*/ 2435175 h 10800208"/>
                <a:gd name="connsiteX0" fmla="*/ 0 w 16578304"/>
                <a:gd name="connsiteY0" fmla="*/ 2435175 h 10800208"/>
                <a:gd name="connsiteX1" fmla="*/ 613837 w 16578304"/>
                <a:gd name="connsiteY1" fmla="*/ 4813533 h 10800208"/>
                <a:gd name="connsiteX2" fmla="*/ 1518338 w 16578304"/>
                <a:gd name="connsiteY2" fmla="*/ 5681683 h 10800208"/>
                <a:gd name="connsiteX3" fmla="*/ 1735898 w 16578304"/>
                <a:gd name="connsiteY3" fmla="*/ 6513607 h 10800208"/>
                <a:gd name="connsiteX4" fmla="*/ 3137400 w 16578304"/>
                <a:gd name="connsiteY4" fmla="*/ 7038167 h 10800208"/>
                <a:gd name="connsiteX5" fmla="*/ 3453963 w 16578304"/>
                <a:gd name="connsiteY5" fmla="*/ 8394658 h 10800208"/>
                <a:gd name="connsiteX6" fmla="*/ 4168520 w 16578304"/>
                <a:gd name="connsiteY6" fmla="*/ 9769227 h 10800208"/>
                <a:gd name="connsiteX7" fmla="*/ 4162343 w 16578304"/>
                <a:gd name="connsiteY7" fmla="*/ 10800208 h 10800208"/>
                <a:gd name="connsiteX8" fmla="*/ 4605215 w 16578304"/>
                <a:gd name="connsiteY8" fmla="*/ 10716044 h 10800208"/>
                <a:gd name="connsiteX9" fmla="*/ 4840336 w 16578304"/>
                <a:gd name="connsiteY9" fmla="*/ 10426662 h 10800208"/>
                <a:gd name="connsiteX10" fmla="*/ 6070201 w 16578304"/>
                <a:gd name="connsiteY10" fmla="*/ 10444754 h 10800208"/>
                <a:gd name="connsiteX11" fmla="*/ 6884082 w 16578304"/>
                <a:gd name="connsiteY11" fmla="*/ 9847902 h 10800208"/>
                <a:gd name="connsiteX12" fmla="*/ 7716051 w 16578304"/>
                <a:gd name="connsiteY12" fmla="*/ 10173461 h 10800208"/>
                <a:gd name="connsiteX13" fmla="*/ 8584189 w 16578304"/>
                <a:gd name="connsiteY13" fmla="*/ 9974509 h 10800208"/>
                <a:gd name="connsiteX14" fmla="*/ 9289552 w 16578304"/>
                <a:gd name="connsiteY14" fmla="*/ 10173461 h 10800208"/>
                <a:gd name="connsiteX15" fmla="*/ 10139605 w 16578304"/>
                <a:gd name="connsiteY15" fmla="*/ 9775561 h 10800208"/>
                <a:gd name="connsiteX16" fmla="*/ 10664108 w 16578304"/>
                <a:gd name="connsiteY16" fmla="*/ 9992597 h 10800208"/>
                <a:gd name="connsiteX17" fmla="*/ 11387555 w 16578304"/>
                <a:gd name="connsiteY17" fmla="*/ 9902167 h 10800208"/>
                <a:gd name="connsiteX18" fmla="*/ 11966315 w 16578304"/>
                <a:gd name="connsiteY18" fmla="*/ 10625622 h 10800208"/>
                <a:gd name="connsiteX19" fmla="*/ 12942975 w 16578304"/>
                <a:gd name="connsiteY19" fmla="*/ 10390493 h 10800208"/>
                <a:gd name="connsiteX20" fmla="*/ 13575992 w 16578304"/>
                <a:gd name="connsiteY20" fmla="*/ 10788393 h 10800208"/>
                <a:gd name="connsiteX21" fmla="*/ 13973888 w 16578304"/>
                <a:gd name="connsiteY21" fmla="*/ 10697960 h 10800208"/>
                <a:gd name="connsiteX22" fmla="*/ 14028146 w 16578304"/>
                <a:gd name="connsiteY22" fmla="*/ 10155369 h 10800208"/>
                <a:gd name="connsiteX23" fmla="*/ 13594073 w 16578304"/>
                <a:gd name="connsiteY23" fmla="*/ 10101112 h 10800208"/>
                <a:gd name="connsiteX24" fmla="*/ 13612161 w 16578304"/>
                <a:gd name="connsiteY24" fmla="*/ 9413833 h 10800208"/>
                <a:gd name="connsiteX25" fmla="*/ 14190925 w 16578304"/>
                <a:gd name="connsiteY25" fmla="*/ 9269146 h 10800208"/>
                <a:gd name="connsiteX26" fmla="*/ 13865366 w 16578304"/>
                <a:gd name="connsiteY26" fmla="*/ 8798901 h 10800208"/>
                <a:gd name="connsiteX27" fmla="*/ 14136664 w 16578304"/>
                <a:gd name="connsiteY27" fmla="*/ 8401005 h 10800208"/>
                <a:gd name="connsiteX28" fmla="*/ 14703435 w 16578304"/>
                <a:gd name="connsiteY28" fmla="*/ 8428101 h 10800208"/>
                <a:gd name="connsiteX29" fmla="*/ 14661163 w 16578304"/>
                <a:gd name="connsiteY29" fmla="*/ 8256317 h 10800208"/>
                <a:gd name="connsiteX30" fmla="*/ 14335608 w 16578304"/>
                <a:gd name="connsiteY30" fmla="*/ 8093542 h 10800208"/>
                <a:gd name="connsiteX31" fmla="*/ 14498387 w 16578304"/>
                <a:gd name="connsiteY31" fmla="*/ 7514778 h 10800208"/>
                <a:gd name="connsiteX32" fmla="*/ 13847278 w 16578304"/>
                <a:gd name="connsiteY32" fmla="*/ 6610464 h 10800208"/>
                <a:gd name="connsiteX33" fmla="*/ 13340864 w 16578304"/>
                <a:gd name="connsiteY33" fmla="*/ 5905101 h 10800208"/>
                <a:gd name="connsiteX34" fmla="*/ 13123831 w 16578304"/>
                <a:gd name="connsiteY34" fmla="*/ 4819923 h 10800208"/>
                <a:gd name="connsiteX35" fmla="*/ 13232349 w 16578304"/>
                <a:gd name="connsiteY35" fmla="*/ 4132649 h 10800208"/>
                <a:gd name="connsiteX36" fmla="*/ 12273778 w 16578304"/>
                <a:gd name="connsiteY36" fmla="*/ 4165810 h 10800208"/>
                <a:gd name="connsiteX37" fmla="*/ 12201432 w 16578304"/>
                <a:gd name="connsiteY37" fmla="*/ 3767910 h 10800208"/>
                <a:gd name="connsiteX38" fmla="*/ 12508887 w 16578304"/>
                <a:gd name="connsiteY38" fmla="*/ 3264515 h 10800208"/>
                <a:gd name="connsiteX39" fmla="*/ 13774933 w 16578304"/>
                <a:gd name="connsiteY39" fmla="*/ 2486799 h 10800208"/>
                <a:gd name="connsiteX40" fmla="*/ 15294184 w 16578304"/>
                <a:gd name="connsiteY40" fmla="*/ 1980384 h 10800208"/>
                <a:gd name="connsiteX41" fmla="*/ 15746333 w 16578304"/>
                <a:gd name="connsiteY41" fmla="*/ 2305939 h 10800208"/>
                <a:gd name="connsiteX42" fmla="*/ 16578306 w 16578304"/>
                <a:gd name="connsiteY42" fmla="*/ 2016557 h 10800208"/>
                <a:gd name="connsiteX43" fmla="*/ 6319261 w 16578304"/>
                <a:gd name="connsiteY43" fmla="*/ 4419497 h 10800208"/>
                <a:gd name="connsiteX44" fmla="*/ 5596373 w 16578304"/>
                <a:gd name="connsiteY44" fmla="*/ 4033059 h 10800208"/>
                <a:gd name="connsiteX45" fmla="*/ 5365184 w 16578304"/>
                <a:gd name="connsiteY45" fmla="*/ 3460880 h 10800208"/>
                <a:gd name="connsiteX46" fmla="*/ 5153802 w 16578304"/>
                <a:gd name="connsiteY46" fmla="*/ 3132314 h 10800208"/>
                <a:gd name="connsiteX47" fmla="*/ 4898441 w 16578304"/>
                <a:gd name="connsiteY47" fmla="*/ 3183022 h 10800208"/>
                <a:gd name="connsiteX48" fmla="*/ 4600673 w 16578304"/>
                <a:gd name="connsiteY48" fmla="*/ 2914551 h 10800208"/>
                <a:gd name="connsiteX49" fmla="*/ 4416749 w 16578304"/>
                <a:gd name="connsiteY49" fmla="*/ 2491544 h 10800208"/>
                <a:gd name="connsiteX50" fmla="*/ 4653822 w 16578304"/>
                <a:gd name="connsiteY50" fmla="*/ 1941377 h 10800208"/>
                <a:gd name="connsiteX51" fmla="*/ 4432864 w 16578304"/>
                <a:gd name="connsiteY51" fmla="*/ 1388142 h 10800208"/>
                <a:gd name="connsiteX52" fmla="*/ 4437471 w 16578304"/>
                <a:gd name="connsiteY52" fmla="*/ 719354 h 10800208"/>
                <a:gd name="connsiteX53" fmla="*/ 4141784 w 16578304"/>
                <a:gd name="connsiteY53" fmla="*/ 0 h 10800208"/>
                <a:gd name="connsiteX54" fmla="*/ 2314296 w 16578304"/>
                <a:gd name="connsiteY54" fmla="*/ 282857 h 10800208"/>
                <a:gd name="connsiteX55" fmla="*/ 1334589 w 16578304"/>
                <a:gd name="connsiteY55" fmla="*/ 1087729 h 10800208"/>
                <a:gd name="connsiteX56" fmla="*/ 0 w 16578304"/>
                <a:gd name="connsiteY56" fmla="*/ 2435175 h 10800208"/>
                <a:gd name="connsiteX0" fmla="*/ 0 w 15746332"/>
                <a:gd name="connsiteY0" fmla="*/ 2435175 h 10800208"/>
                <a:gd name="connsiteX1" fmla="*/ 613837 w 15746332"/>
                <a:gd name="connsiteY1" fmla="*/ 4813533 h 10800208"/>
                <a:gd name="connsiteX2" fmla="*/ 1518338 w 15746332"/>
                <a:gd name="connsiteY2" fmla="*/ 5681683 h 10800208"/>
                <a:gd name="connsiteX3" fmla="*/ 1735898 w 15746332"/>
                <a:gd name="connsiteY3" fmla="*/ 6513607 h 10800208"/>
                <a:gd name="connsiteX4" fmla="*/ 3137400 w 15746332"/>
                <a:gd name="connsiteY4" fmla="*/ 7038167 h 10800208"/>
                <a:gd name="connsiteX5" fmla="*/ 3453963 w 15746332"/>
                <a:gd name="connsiteY5" fmla="*/ 8394658 h 10800208"/>
                <a:gd name="connsiteX6" fmla="*/ 4168520 w 15746332"/>
                <a:gd name="connsiteY6" fmla="*/ 9769227 h 10800208"/>
                <a:gd name="connsiteX7" fmla="*/ 4162343 w 15746332"/>
                <a:gd name="connsiteY7" fmla="*/ 10800208 h 10800208"/>
                <a:gd name="connsiteX8" fmla="*/ 4605215 w 15746332"/>
                <a:gd name="connsiteY8" fmla="*/ 10716044 h 10800208"/>
                <a:gd name="connsiteX9" fmla="*/ 4840336 w 15746332"/>
                <a:gd name="connsiteY9" fmla="*/ 10426662 h 10800208"/>
                <a:gd name="connsiteX10" fmla="*/ 6070201 w 15746332"/>
                <a:gd name="connsiteY10" fmla="*/ 10444754 h 10800208"/>
                <a:gd name="connsiteX11" fmla="*/ 6884082 w 15746332"/>
                <a:gd name="connsiteY11" fmla="*/ 9847902 h 10800208"/>
                <a:gd name="connsiteX12" fmla="*/ 7716051 w 15746332"/>
                <a:gd name="connsiteY12" fmla="*/ 10173461 h 10800208"/>
                <a:gd name="connsiteX13" fmla="*/ 8584189 w 15746332"/>
                <a:gd name="connsiteY13" fmla="*/ 9974509 h 10800208"/>
                <a:gd name="connsiteX14" fmla="*/ 9289552 w 15746332"/>
                <a:gd name="connsiteY14" fmla="*/ 10173461 h 10800208"/>
                <a:gd name="connsiteX15" fmla="*/ 10139605 w 15746332"/>
                <a:gd name="connsiteY15" fmla="*/ 9775561 h 10800208"/>
                <a:gd name="connsiteX16" fmla="*/ 10664108 w 15746332"/>
                <a:gd name="connsiteY16" fmla="*/ 9992597 h 10800208"/>
                <a:gd name="connsiteX17" fmla="*/ 11387555 w 15746332"/>
                <a:gd name="connsiteY17" fmla="*/ 9902167 h 10800208"/>
                <a:gd name="connsiteX18" fmla="*/ 11966315 w 15746332"/>
                <a:gd name="connsiteY18" fmla="*/ 10625622 h 10800208"/>
                <a:gd name="connsiteX19" fmla="*/ 12942975 w 15746332"/>
                <a:gd name="connsiteY19" fmla="*/ 10390493 h 10800208"/>
                <a:gd name="connsiteX20" fmla="*/ 13575992 w 15746332"/>
                <a:gd name="connsiteY20" fmla="*/ 10788393 h 10800208"/>
                <a:gd name="connsiteX21" fmla="*/ 13973888 w 15746332"/>
                <a:gd name="connsiteY21" fmla="*/ 10697960 h 10800208"/>
                <a:gd name="connsiteX22" fmla="*/ 14028146 w 15746332"/>
                <a:gd name="connsiteY22" fmla="*/ 10155369 h 10800208"/>
                <a:gd name="connsiteX23" fmla="*/ 13594073 w 15746332"/>
                <a:gd name="connsiteY23" fmla="*/ 10101112 h 10800208"/>
                <a:gd name="connsiteX24" fmla="*/ 13612161 w 15746332"/>
                <a:gd name="connsiteY24" fmla="*/ 9413833 h 10800208"/>
                <a:gd name="connsiteX25" fmla="*/ 14190925 w 15746332"/>
                <a:gd name="connsiteY25" fmla="*/ 9269146 h 10800208"/>
                <a:gd name="connsiteX26" fmla="*/ 13865366 w 15746332"/>
                <a:gd name="connsiteY26" fmla="*/ 8798901 h 10800208"/>
                <a:gd name="connsiteX27" fmla="*/ 14136664 w 15746332"/>
                <a:gd name="connsiteY27" fmla="*/ 8401005 h 10800208"/>
                <a:gd name="connsiteX28" fmla="*/ 14703435 w 15746332"/>
                <a:gd name="connsiteY28" fmla="*/ 8428101 h 10800208"/>
                <a:gd name="connsiteX29" fmla="*/ 14661163 w 15746332"/>
                <a:gd name="connsiteY29" fmla="*/ 8256317 h 10800208"/>
                <a:gd name="connsiteX30" fmla="*/ 14335608 w 15746332"/>
                <a:gd name="connsiteY30" fmla="*/ 8093542 h 10800208"/>
                <a:gd name="connsiteX31" fmla="*/ 14498387 w 15746332"/>
                <a:gd name="connsiteY31" fmla="*/ 7514778 h 10800208"/>
                <a:gd name="connsiteX32" fmla="*/ 13847278 w 15746332"/>
                <a:gd name="connsiteY32" fmla="*/ 6610464 h 10800208"/>
                <a:gd name="connsiteX33" fmla="*/ 13340864 w 15746332"/>
                <a:gd name="connsiteY33" fmla="*/ 5905101 h 10800208"/>
                <a:gd name="connsiteX34" fmla="*/ 13123831 w 15746332"/>
                <a:gd name="connsiteY34" fmla="*/ 4819923 h 10800208"/>
                <a:gd name="connsiteX35" fmla="*/ 13232349 w 15746332"/>
                <a:gd name="connsiteY35" fmla="*/ 4132649 h 10800208"/>
                <a:gd name="connsiteX36" fmla="*/ 12273778 w 15746332"/>
                <a:gd name="connsiteY36" fmla="*/ 4165810 h 10800208"/>
                <a:gd name="connsiteX37" fmla="*/ 12201432 w 15746332"/>
                <a:gd name="connsiteY37" fmla="*/ 3767910 h 10800208"/>
                <a:gd name="connsiteX38" fmla="*/ 12508887 w 15746332"/>
                <a:gd name="connsiteY38" fmla="*/ 3264515 h 10800208"/>
                <a:gd name="connsiteX39" fmla="*/ 13774933 w 15746332"/>
                <a:gd name="connsiteY39" fmla="*/ 2486799 h 10800208"/>
                <a:gd name="connsiteX40" fmla="*/ 15294184 w 15746332"/>
                <a:gd name="connsiteY40" fmla="*/ 1980384 h 10800208"/>
                <a:gd name="connsiteX41" fmla="*/ 15746333 w 15746332"/>
                <a:gd name="connsiteY41" fmla="*/ 2305939 h 10800208"/>
                <a:gd name="connsiteX42" fmla="*/ 6319261 w 15746332"/>
                <a:gd name="connsiteY42" fmla="*/ 4419497 h 10800208"/>
                <a:gd name="connsiteX43" fmla="*/ 5596373 w 15746332"/>
                <a:gd name="connsiteY43" fmla="*/ 4033059 h 10800208"/>
                <a:gd name="connsiteX44" fmla="*/ 5365184 w 15746332"/>
                <a:gd name="connsiteY44" fmla="*/ 3460880 h 10800208"/>
                <a:gd name="connsiteX45" fmla="*/ 5153802 w 15746332"/>
                <a:gd name="connsiteY45" fmla="*/ 3132314 h 10800208"/>
                <a:gd name="connsiteX46" fmla="*/ 4898441 w 15746332"/>
                <a:gd name="connsiteY46" fmla="*/ 3183022 h 10800208"/>
                <a:gd name="connsiteX47" fmla="*/ 4600673 w 15746332"/>
                <a:gd name="connsiteY47" fmla="*/ 2914551 h 10800208"/>
                <a:gd name="connsiteX48" fmla="*/ 4416749 w 15746332"/>
                <a:gd name="connsiteY48" fmla="*/ 2491544 h 10800208"/>
                <a:gd name="connsiteX49" fmla="*/ 4653822 w 15746332"/>
                <a:gd name="connsiteY49" fmla="*/ 1941377 h 10800208"/>
                <a:gd name="connsiteX50" fmla="*/ 4432864 w 15746332"/>
                <a:gd name="connsiteY50" fmla="*/ 1388142 h 10800208"/>
                <a:gd name="connsiteX51" fmla="*/ 4437471 w 15746332"/>
                <a:gd name="connsiteY51" fmla="*/ 719354 h 10800208"/>
                <a:gd name="connsiteX52" fmla="*/ 4141784 w 15746332"/>
                <a:gd name="connsiteY52" fmla="*/ 0 h 10800208"/>
                <a:gd name="connsiteX53" fmla="*/ 2314296 w 15746332"/>
                <a:gd name="connsiteY53" fmla="*/ 282857 h 10800208"/>
                <a:gd name="connsiteX54" fmla="*/ 1334589 w 15746332"/>
                <a:gd name="connsiteY54" fmla="*/ 1087729 h 10800208"/>
                <a:gd name="connsiteX55" fmla="*/ 0 w 15746332"/>
                <a:gd name="connsiteY55" fmla="*/ 2435175 h 10800208"/>
                <a:gd name="connsiteX0" fmla="*/ 0 w 15294185"/>
                <a:gd name="connsiteY0" fmla="*/ 2435175 h 10800208"/>
                <a:gd name="connsiteX1" fmla="*/ 613837 w 15294185"/>
                <a:gd name="connsiteY1" fmla="*/ 4813533 h 10800208"/>
                <a:gd name="connsiteX2" fmla="*/ 1518338 w 15294185"/>
                <a:gd name="connsiteY2" fmla="*/ 5681683 h 10800208"/>
                <a:gd name="connsiteX3" fmla="*/ 1735898 w 15294185"/>
                <a:gd name="connsiteY3" fmla="*/ 6513607 h 10800208"/>
                <a:gd name="connsiteX4" fmla="*/ 3137400 w 15294185"/>
                <a:gd name="connsiteY4" fmla="*/ 7038167 h 10800208"/>
                <a:gd name="connsiteX5" fmla="*/ 3453963 w 15294185"/>
                <a:gd name="connsiteY5" fmla="*/ 8394658 h 10800208"/>
                <a:gd name="connsiteX6" fmla="*/ 4168520 w 15294185"/>
                <a:gd name="connsiteY6" fmla="*/ 9769227 h 10800208"/>
                <a:gd name="connsiteX7" fmla="*/ 4162343 w 15294185"/>
                <a:gd name="connsiteY7" fmla="*/ 10800208 h 10800208"/>
                <a:gd name="connsiteX8" fmla="*/ 4605215 w 15294185"/>
                <a:gd name="connsiteY8" fmla="*/ 10716044 h 10800208"/>
                <a:gd name="connsiteX9" fmla="*/ 4840336 w 15294185"/>
                <a:gd name="connsiteY9" fmla="*/ 10426662 h 10800208"/>
                <a:gd name="connsiteX10" fmla="*/ 6070201 w 15294185"/>
                <a:gd name="connsiteY10" fmla="*/ 10444754 h 10800208"/>
                <a:gd name="connsiteX11" fmla="*/ 6884082 w 15294185"/>
                <a:gd name="connsiteY11" fmla="*/ 9847902 h 10800208"/>
                <a:gd name="connsiteX12" fmla="*/ 7716051 w 15294185"/>
                <a:gd name="connsiteY12" fmla="*/ 10173461 h 10800208"/>
                <a:gd name="connsiteX13" fmla="*/ 8584189 w 15294185"/>
                <a:gd name="connsiteY13" fmla="*/ 9974509 h 10800208"/>
                <a:gd name="connsiteX14" fmla="*/ 9289552 w 15294185"/>
                <a:gd name="connsiteY14" fmla="*/ 10173461 h 10800208"/>
                <a:gd name="connsiteX15" fmla="*/ 10139605 w 15294185"/>
                <a:gd name="connsiteY15" fmla="*/ 9775561 h 10800208"/>
                <a:gd name="connsiteX16" fmla="*/ 10664108 w 15294185"/>
                <a:gd name="connsiteY16" fmla="*/ 9992597 h 10800208"/>
                <a:gd name="connsiteX17" fmla="*/ 11387555 w 15294185"/>
                <a:gd name="connsiteY17" fmla="*/ 9902167 h 10800208"/>
                <a:gd name="connsiteX18" fmla="*/ 11966315 w 15294185"/>
                <a:gd name="connsiteY18" fmla="*/ 10625622 h 10800208"/>
                <a:gd name="connsiteX19" fmla="*/ 12942975 w 15294185"/>
                <a:gd name="connsiteY19" fmla="*/ 10390493 h 10800208"/>
                <a:gd name="connsiteX20" fmla="*/ 13575992 w 15294185"/>
                <a:gd name="connsiteY20" fmla="*/ 10788393 h 10800208"/>
                <a:gd name="connsiteX21" fmla="*/ 13973888 w 15294185"/>
                <a:gd name="connsiteY21" fmla="*/ 10697960 h 10800208"/>
                <a:gd name="connsiteX22" fmla="*/ 14028146 w 15294185"/>
                <a:gd name="connsiteY22" fmla="*/ 10155369 h 10800208"/>
                <a:gd name="connsiteX23" fmla="*/ 13594073 w 15294185"/>
                <a:gd name="connsiteY23" fmla="*/ 10101112 h 10800208"/>
                <a:gd name="connsiteX24" fmla="*/ 13612161 w 15294185"/>
                <a:gd name="connsiteY24" fmla="*/ 9413833 h 10800208"/>
                <a:gd name="connsiteX25" fmla="*/ 14190925 w 15294185"/>
                <a:gd name="connsiteY25" fmla="*/ 9269146 h 10800208"/>
                <a:gd name="connsiteX26" fmla="*/ 13865366 w 15294185"/>
                <a:gd name="connsiteY26" fmla="*/ 8798901 h 10800208"/>
                <a:gd name="connsiteX27" fmla="*/ 14136664 w 15294185"/>
                <a:gd name="connsiteY27" fmla="*/ 8401005 h 10800208"/>
                <a:gd name="connsiteX28" fmla="*/ 14703435 w 15294185"/>
                <a:gd name="connsiteY28" fmla="*/ 8428101 h 10800208"/>
                <a:gd name="connsiteX29" fmla="*/ 14661163 w 15294185"/>
                <a:gd name="connsiteY29" fmla="*/ 8256317 h 10800208"/>
                <a:gd name="connsiteX30" fmla="*/ 14335608 w 15294185"/>
                <a:gd name="connsiteY30" fmla="*/ 8093542 h 10800208"/>
                <a:gd name="connsiteX31" fmla="*/ 14498387 w 15294185"/>
                <a:gd name="connsiteY31" fmla="*/ 7514778 h 10800208"/>
                <a:gd name="connsiteX32" fmla="*/ 13847278 w 15294185"/>
                <a:gd name="connsiteY32" fmla="*/ 6610464 h 10800208"/>
                <a:gd name="connsiteX33" fmla="*/ 13340864 w 15294185"/>
                <a:gd name="connsiteY33" fmla="*/ 5905101 h 10800208"/>
                <a:gd name="connsiteX34" fmla="*/ 13123831 w 15294185"/>
                <a:gd name="connsiteY34" fmla="*/ 4819923 h 10800208"/>
                <a:gd name="connsiteX35" fmla="*/ 13232349 w 15294185"/>
                <a:gd name="connsiteY35" fmla="*/ 4132649 h 10800208"/>
                <a:gd name="connsiteX36" fmla="*/ 12273778 w 15294185"/>
                <a:gd name="connsiteY36" fmla="*/ 4165810 h 10800208"/>
                <a:gd name="connsiteX37" fmla="*/ 12201432 w 15294185"/>
                <a:gd name="connsiteY37" fmla="*/ 3767910 h 10800208"/>
                <a:gd name="connsiteX38" fmla="*/ 12508887 w 15294185"/>
                <a:gd name="connsiteY38" fmla="*/ 3264515 h 10800208"/>
                <a:gd name="connsiteX39" fmla="*/ 13774933 w 15294185"/>
                <a:gd name="connsiteY39" fmla="*/ 2486799 h 10800208"/>
                <a:gd name="connsiteX40" fmla="*/ 15294184 w 15294185"/>
                <a:gd name="connsiteY40" fmla="*/ 1980384 h 10800208"/>
                <a:gd name="connsiteX41" fmla="*/ 6319261 w 15294185"/>
                <a:gd name="connsiteY41" fmla="*/ 4419497 h 10800208"/>
                <a:gd name="connsiteX42" fmla="*/ 5596373 w 15294185"/>
                <a:gd name="connsiteY42" fmla="*/ 4033059 h 10800208"/>
                <a:gd name="connsiteX43" fmla="*/ 5365184 w 15294185"/>
                <a:gd name="connsiteY43" fmla="*/ 3460880 h 10800208"/>
                <a:gd name="connsiteX44" fmla="*/ 5153802 w 15294185"/>
                <a:gd name="connsiteY44" fmla="*/ 3132314 h 10800208"/>
                <a:gd name="connsiteX45" fmla="*/ 4898441 w 15294185"/>
                <a:gd name="connsiteY45" fmla="*/ 3183022 h 10800208"/>
                <a:gd name="connsiteX46" fmla="*/ 4600673 w 15294185"/>
                <a:gd name="connsiteY46" fmla="*/ 2914551 h 10800208"/>
                <a:gd name="connsiteX47" fmla="*/ 4416749 w 15294185"/>
                <a:gd name="connsiteY47" fmla="*/ 2491544 h 10800208"/>
                <a:gd name="connsiteX48" fmla="*/ 4653822 w 15294185"/>
                <a:gd name="connsiteY48" fmla="*/ 1941377 h 10800208"/>
                <a:gd name="connsiteX49" fmla="*/ 4432864 w 15294185"/>
                <a:gd name="connsiteY49" fmla="*/ 1388142 h 10800208"/>
                <a:gd name="connsiteX50" fmla="*/ 4437471 w 15294185"/>
                <a:gd name="connsiteY50" fmla="*/ 719354 h 10800208"/>
                <a:gd name="connsiteX51" fmla="*/ 4141784 w 15294185"/>
                <a:gd name="connsiteY51" fmla="*/ 0 h 10800208"/>
                <a:gd name="connsiteX52" fmla="*/ 2314296 w 15294185"/>
                <a:gd name="connsiteY52" fmla="*/ 282857 h 10800208"/>
                <a:gd name="connsiteX53" fmla="*/ 1334589 w 15294185"/>
                <a:gd name="connsiteY53" fmla="*/ 1087729 h 10800208"/>
                <a:gd name="connsiteX54" fmla="*/ 0 w 15294185"/>
                <a:gd name="connsiteY54"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12273778 w 14703435"/>
                <a:gd name="connsiteY36" fmla="*/ 4165810 h 10800208"/>
                <a:gd name="connsiteX37" fmla="*/ 12201432 w 14703435"/>
                <a:gd name="connsiteY37" fmla="*/ 3767910 h 10800208"/>
                <a:gd name="connsiteX38" fmla="*/ 12508887 w 14703435"/>
                <a:gd name="connsiteY38" fmla="*/ 3264515 h 10800208"/>
                <a:gd name="connsiteX39" fmla="*/ 13774933 w 14703435"/>
                <a:gd name="connsiteY39" fmla="*/ 2486799 h 10800208"/>
                <a:gd name="connsiteX40" fmla="*/ 6319261 w 14703435"/>
                <a:gd name="connsiteY40" fmla="*/ 4419497 h 10800208"/>
                <a:gd name="connsiteX41" fmla="*/ 5596373 w 14703435"/>
                <a:gd name="connsiteY41" fmla="*/ 4033059 h 10800208"/>
                <a:gd name="connsiteX42" fmla="*/ 5365184 w 14703435"/>
                <a:gd name="connsiteY42" fmla="*/ 3460880 h 10800208"/>
                <a:gd name="connsiteX43" fmla="*/ 5153802 w 14703435"/>
                <a:gd name="connsiteY43" fmla="*/ 3132314 h 10800208"/>
                <a:gd name="connsiteX44" fmla="*/ 4898441 w 14703435"/>
                <a:gd name="connsiteY44" fmla="*/ 3183022 h 10800208"/>
                <a:gd name="connsiteX45" fmla="*/ 4600673 w 14703435"/>
                <a:gd name="connsiteY45" fmla="*/ 2914551 h 10800208"/>
                <a:gd name="connsiteX46" fmla="*/ 4416749 w 14703435"/>
                <a:gd name="connsiteY46" fmla="*/ 2491544 h 10800208"/>
                <a:gd name="connsiteX47" fmla="*/ 4653822 w 14703435"/>
                <a:gd name="connsiteY47" fmla="*/ 1941377 h 10800208"/>
                <a:gd name="connsiteX48" fmla="*/ 4432864 w 14703435"/>
                <a:gd name="connsiteY48" fmla="*/ 1388142 h 10800208"/>
                <a:gd name="connsiteX49" fmla="*/ 4437471 w 14703435"/>
                <a:gd name="connsiteY49" fmla="*/ 719354 h 10800208"/>
                <a:gd name="connsiteX50" fmla="*/ 4141784 w 14703435"/>
                <a:gd name="connsiteY50" fmla="*/ 0 h 10800208"/>
                <a:gd name="connsiteX51" fmla="*/ 2314296 w 14703435"/>
                <a:gd name="connsiteY51" fmla="*/ 282857 h 10800208"/>
                <a:gd name="connsiteX52" fmla="*/ 1334589 w 14703435"/>
                <a:gd name="connsiteY52" fmla="*/ 1087729 h 10800208"/>
                <a:gd name="connsiteX53" fmla="*/ 0 w 14703435"/>
                <a:gd name="connsiteY53"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12273778 w 14703435"/>
                <a:gd name="connsiteY36" fmla="*/ 4165810 h 10800208"/>
                <a:gd name="connsiteX37" fmla="*/ 12201432 w 14703435"/>
                <a:gd name="connsiteY37" fmla="*/ 3767910 h 10800208"/>
                <a:gd name="connsiteX38" fmla="*/ 12508887 w 14703435"/>
                <a:gd name="connsiteY38" fmla="*/ 32645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12273778 w 14703435"/>
                <a:gd name="connsiteY36" fmla="*/ 4165810 h 10800208"/>
                <a:gd name="connsiteX37" fmla="*/ 12201432 w 14703435"/>
                <a:gd name="connsiteY37" fmla="*/ 3767910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12273778 w 14703435"/>
                <a:gd name="connsiteY36" fmla="*/ 4165810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9824147 w 14703435"/>
                <a:gd name="connsiteY33" fmla="*/ 6931488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1909491 w 14703435"/>
                <a:gd name="connsiteY32" fmla="*/ 6300156 h 10800208"/>
                <a:gd name="connsiteX33" fmla="*/ 9824147 w 14703435"/>
                <a:gd name="connsiteY33" fmla="*/ 6931488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3924235 w 14703435"/>
                <a:gd name="connsiteY31" fmla="*/ 6560001 h 10800208"/>
                <a:gd name="connsiteX32" fmla="*/ 11909491 w 14703435"/>
                <a:gd name="connsiteY32" fmla="*/ 6300156 h 10800208"/>
                <a:gd name="connsiteX33" fmla="*/ 9824147 w 14703435"/>
                <a:gd name="connsiteY33" fmla="*/ 6931488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407378 w 14703435"/>
                <a:gd name="connsiteY30" fmla="*/ 7544542 h 10800208"/>
                <a:gd name="connsiteX31" fmla="*/ 13924235 w 14703435"/>
                <a:gd name="connsiteY31" fmla="*/ 6560001 h 10800208"/>
                <a:gd name="connsiteX32" fmla="*/ 11909491 w 14703435"/>
                <a:gd name="connsiteY32" fmla="*/ 6300156 h 10800208"/>
                <a:gd name="connsiteX33" fmla="*/ 9824147 w 14703435"/>
                <a:gd name="connsiteY33" fmla="*/ 6931488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341812 h 10706845"/>
                <a:gd name="connsiteX1" fmla="*/ 613837 w 14703435"/>
                <a:gd name="connsiteY1" fmla="*/ 4720170 h 10706845"/>
                <a:gd name="connsiteX2" fmla="*/ 1518338 w 14703435"/>
                <a:gd name="connsiteY2" fmla="*/ 5588320 h 10706845"/>
                <a:gd name="connsiteX3" fmla="*/ 1735898 w 14703435"/>
                <a:gd name="connsiteY3" fmla="*/ 6420244 h 10706845"/>
                <a:gd name="connsiteX4" fmla="*/ 3137400 w 14703435"/>
                <a:gd name="connsiteY4" fmla="*/ 6944804 h 10706845"/>
                <a:gd name="connsiteX5" fmla="*/ 3453963 w 14703435"/>
                <a:gd name="connsiteY5" fmla="*/ 8301295 h 10706845"/>
                <a:gd name="connsiteX6" fmla="*/ 4168520 w 14703435"/>
                <a:gd name="connsiteY6" fmla="*/ 9675864 h 10706845"/>
                <a:gd name="connsiteX7" fmla="*/ 4162343 w 14703435"/>
                <a:gd name="connsiteY7" fmla="*/ 10706845 h 10706845"/>
                <a:gd name="connsiteX8" fmla="*/ 4605215 w 14703435"/>
                <a:gd name="connsiteY8" fmla="*/ 10622681 h 10706845"/>
                <a:gd name="connsiteX9" fmla="*/ 4840336 w 14703435"/>
                <a:gd name="connsiteY9" fmla="*/ 10333299 h 10706845"/>
                <a:gd name="connsiteX10" fmla="*/ 6070201 w 14703435"/>
                <a:gd name="connsiteY10" fmla="*/ 10351391 h 10706845"/>
                <a:gd name="connsiteX11" fmla="*/ 6884082 w 14703435"/>
                <a:gd name="connsiteY11" fmla="*/ 9754539 h 10706845"/>
                <a:gd name="connsiteX12" fmla="*/ 7716051 w 14703435"/>
                <a:gd name="connsiteY12" fmla="*/ 10080098 h 10706845"/>
                <a:gd name="connsiteX13" fmla="*/ 8584189 w 14703435"/>
                <a:gd name="connsiteY13" fmla="*/ 9881146 h 10706845"/>
                <a:gd name="connsiteX14" fmla="*/ 9289552 w 14703435"/>
                <a:gd name="connsiteY14" fmla="*/ 10080098 h 10706845"/>
                <a:gd name="connsiteX15" fmla="*/ 10139605 w 14703435"/>
                <a:gd name="connsiteY15" fmla="*/ 9682198 h 10706845"/>
                <a:gd name="connsiteX16" fmla="*/ 10664108 w 14703435"/>
                <a:gd name="connsiteY16" fmla="*/ 9899234 h 10706845"/>
                <a:gd name="connsiteX17" fmla="*/ 11387555 w 14703435"/>
                <a:gd name="connsiteY17" fmla="*/ 9808804 h 10706845"/>
                <a:gd name="connsiteX18" fmla="*/ 11966315 w 14703435"/>
                <a:gd name="connsiteY18" fmla="*/ 10532259 h 10706845"/>
                <a:gd name="connsiteX19" fmla="*/ 12942975 w 14703435"/>
                <a:gd name="connsiteY19" fmla="*/ 10297130 h 10706845"/>
                <a:gd name="connsiteX20" fmla="*/ 13575992 w 14703435"/>
                <a:gd name="connsiteY20" fmla="*/ 10695030 h 10706845"/>
                <a:gd name="connsiteX21" fmla="*/ 13973888 w 14703435"/>
                <a:gd name="connsiteY21" fmla="*/ 10604597 h 10706845"/>
                <a:gd name="connsiteX22" fmla="*/ 14028146 w 14703435"/>
                <a:gd name="connsiteY22" fmla="*/ 10062006 h 10706845"/>
                <a:gd name="connsiteX23" fmla="*/ 13594073 w 14703435"/>
                <a:gd name="connsiteY23" fmla="*/ 10007749 h 10706845"/>
                <a:gd name="connsiteX24" fmla="*/ 13612161 w 14703435"/>
                <a:gd name="connsiteY24" fmla="*/ 9320470 h 10706845"/>
                <a:gd name="connsiteX25" fmla="*/ 14190925 w 14703435"/>
                <a:gd name="connsiteY25" fmla="*/ 9175783 h 10706845"/>
                <a:gd name="connsiteX26" fmla="*/ 13865366 w 14703435"/>
                <a:gd name="connsiteY26" fmla="*/ 8705538 h 10706845"/>
                <a:gd name="connsiteX27" fmla="*/ 14136664 w 14703435"/>
                <a:gd name="connsiteY27" fmla="*/ 8307642 h 10706845"/>
                <a:gd name="connsiteX28" fmla="*/ 14703435 w 14703435"/>
                <a:gd name="connsiteY28" fmla="*/ 8334738 h 10706845"/>
                <a:gd name="connsiteX29" fmla="*/ 14661163 w 14703435"/>
                <a:gd name="connsiteY29" fmla="*/ 8162954 h 10706845"/>
                <a:gd name="connsiteX30" fmla="*/ 14407378 w 14703435"/>
                <a:gd name="connsiteY30" fmla="*/ 7451179 h 10706845"/>
                <a:gd name="connsiteX31" fmla="*/ 13924235 w 14703435"/>
                <a:gd name="connsiteY31" fmla="*/ 6466638 h 10706845"/>
                <a:gd name="connsiteX32" fmla="*/ 11909491 w 14703435"/>
                <a:gd name="connsiteY32" fmla="*/ 6206793 h 10706845"/>
                <a:gd name="connsiteX33" fmla="*/ 9824147 w 14703435"/>
                <a:gd name="connsiteY33" fmla="*/ 6838125 h 10706845"/>
                <a:gd name="connsiteX34" fmla="*/ 8482717 w 14703435"/>
                <a:gd name="connsiteY34" fmla="*/ 6994165 h 10706845"/>
                <a:gd name="connsiteX35" fmla="*/ 8328079 w 14703435"/>
                <a:gd name="connsiteY35" fmla="*/ 6569451 h 10706845"/>
                <a:gd name="connsiteX36" fmla="*/ 7632672 w 14703435"/>
                <a:gd name="connsiteY36" fmla="*/ 6387789 h 10706845"/>
                <a:gd name="connsiteX37" fmla="*/ 7081852 w 14703435"/>
                <a:gd name="connsiteY37" fmla="*/ 5966020 h 10706845"/>
                <a:gd name="connsiteX38" fmla="*/ 6336686 w 14703435"/>
                <a:gd name="connsiteY38" fmla="*/ 5128452 h 10706845"/>
                <a:gd name="connsiteX39" fmla="*/ 6319261 w 14703435"/>
                <a:gd name="connsiteY39" fmla="*/ 4326134 h 10706845"/>
                <a:gd name="connsiteX40" fmla="*/ 5596373 w 14703435"/>
                <a:gd name="connsiteY40" fmla="*/ 3939696 h 10706845"/>
                <a:gd name="connsiteX41" fmla="*/ 5365184 w 14703435"/>
                <a:gd name="connsiteY41" fmla="*/ 3367517 h 10706845"/>
                <a:gd name="connsiteX42" fmla="*/ 5153802 w 14703435"/>
                <a:gd name="connsiteY42" fmla="*/ 3038951 h 10706845"/>
                <a:gd name="connsiteX43" fmla="*/ 4898441 w 14703435"/>
                <a:gd name="connsiteY43" fmla="*/ 3089659 h 10706845"/>
                <a:gd name="connsiteX44" fmla="*/ 4600673 w 14703435"/>
                <a:gd name="connsiteY44" fmla="*/ 2821188 h 10706845"/>
                <a:gd name="connsiteX45" fmla="*/ 4416749 w 14703435"/>
                <a:gd name="connsiteY45" fmla="*/ 2398181 h 10706845"/>
                <a:gd name="connsiteX46" fmla="*/ 4653822 w 14703435"/>
                <a:gd name="connsiteY46" fmla="*/ 1848014 h 10706845"/>
                <a:gd name="connsiteX47" fmla="*/ 4432864 w 14703435"/>
                <a:gd name="connsiteY47" fmla="*/ 1294779 h 10706845"/>
                <a:gd name="connsiteX48" fmla="*/ 4437471 w 14703435"/>
                <a:gd name="connsiteY48" fmla="*/ 625991 h 10706845"/>
                <a:gd name="connsiteX49" fmla="*/ 4141784 w 14703435"/>
                <a:gd name="connsiteY49" fmla="*/ 0 h 10706845"/>
                <a:gd name="connsiteX50" fmla="*/ 2314296 w 14703435"/>
                <a:gd name="connsiteY50" fmla="*/ 189494 h 10706845"/>
                <a:gd name="connsiteX51" fmla="*/ 1334589 w 14703435"/>
                <a:gd name="connsiteY51" fmla="*/ 994366 h 10706845"/>
                <a:gd name="connsiteX52" fmla="*/ 0 w 14703435"/>
                <a:gd name="connsiteY52" fmla="*/ 2341812 h 10706845"/>
                <a:gd name="connsiteX0" fmla="*/ 0 w 14703435"/>
                <a:gd name="connsiteY0" fmla="*/ 2341812 h 10706845"/>
                <a:gd name="connsiteX1" fmla="*/ 613837 w 14703435"/>
                <a:gd name="connsiteY1" fmla="*/ 4720170 h 10706845"/>
                <a:gd name="connsiteX2" fmla="*/ 1518338 w 14703435"/>
                <a:gd name="connsiteY2" fmla="*/ 5588320 h 10706845"/>
                <a:gd name="connsiteX3" fmla="*/ 1735898 w 14703435"/>
                <a:gd name="connsiteY3" fmla="*/ 6420244 h 10706845"/>
                <a:gd name="connsiteX4" fmla="*/ 3137400 w 14703435"/>
                <a:gd name="connsiteY4" fmla="*/ 6944804 h 10706845"/>
                <a:gd name="connsiteX5" fmla="*/ 3453963 w 14703435"/>
                <a:gd name="connsiteY5" fmla="*/ 8301295 h 10706845"/>
                <a:gd name="connsiteX6" fmla="*/ 4168520 w 14703435"/>
                <a:gd name="connsiteY6" fmla="*/ 9675864 h 10706845"/>
                <a:gd name="connsiteX7" fmla="*/ 4162343 w 14703435"/>
                <a:gd name="connsiteY7" fmla="*/ 10706845 h 10706845"/>
                <a:gd name="connsiteX8" fmla="*/ 4605215 w 14703435"/>
                <a:gd name="connsiteY8" fmla="*/ 10622681 h 10706845"/>
                <a:gd name="connsiteX9" fmla="*/ 4840336 w 14703435"/>
                <a:gd name="connsiteY9" fmla="*/ 10333299 h 10706845"/>
                <a:gd name="connsiteX10" fmla="*/ 6070201 w 14703435"/>
                <a:gd name="connsiteY10" fmla="*/ 10351391 h 10706845"/>
                <a:gd name="connsiteX11" fmla="*/ 6884082 w 14703435"/>
                <a:gd name="connsiteY11" fmla="*/ 9754539 h 10706845"/>
                <a:gd name="connsiteX12" fmla="*/ 7716051 w 14703435"/>
                <a:gd name="connsiteY12" fmla="*/ 10080098 h 10706845"/>
                <a:gd name="connsiteX13" fmla="*/ 8584189 w 14703435"/>
                <a:gd name="connsiteY13" fmla="*/ 9881146 h 10706845"/>
                <a:gd name="connsiteX14" fmla="*/ 9289552 w 14703435"/>
                <a:gd name="connsiteY14" fmla="*/ 10080098 h 10706845"/>
                <a:gd name="connsiteX15" fmla="*/ 10139605 w 14703435"/>
                <a:gd name="connsiteY15" fmla="*/ 9682198 h 10706845"/>
                <a:gd name="connsiteX16" fmla="*/ 10664108 w 14703435"/>
                <a:gd name="connsiteY16" fmla="*/ 9899234 h 10706845"/>
                <a:gd name="connsiteX17" fmla="*/ 11387555 w 14703435"/>
                <a:gd name="connsiteY17" fmla="*/ 9808804 h 10706845"/>
                <a:gd name="connsiteX18" fmla="*/ 11966315 w 14703435"/>
                <a:gd name="connsiteY18" fmla="*/ 10532259 h 10706845"/>
                <a:gd name="connsiteX19" fmla="*/ 12942975 w 14703435"/>
                <a:gd name="connsiteY19" fmla="*/ 10297130 h 10706845"/>
                <a:gd name="connsiteX20" fmla="*/ 13575992 w 14703435"/>
                <a:gd name="connsiteY20" fmla="*/ 10695030 h 10706845"/>
                <a:gd name="connsiteX21" fmla="*/ 13973888 w 14703435"/>
                <a:gd name="connsiteY21" fmla="*/ 10604597 h 10706845"/>
                <a:gd name="connsiteX22" fmla="*/ 14028146 w 14703435"/>
                <a:gd name="connsiteY22" fmla="*/ 10062006 h 10706845"/>
                <a:gd name="connsiteX23" fmla="*/ 13594073 w 14703435"/>
                <a:gd name="connsiteY23" fmla="*/ 10007749 h 10706845"/>
                <a:gd name="connsiteX24" fmla="*/ 13612161 w 14703435"/>
                <a:gd name="connsiteY24" fmla="*/ 9320470 h 10706845"/>
                <a:gd name="connsiteX25" fmla="*/ 14190925 w 14703435"/>
                <a:gd name="connsiteY25" fmla="*/ 9175783 h 10706845"/>
                <a:gd name="connsiteX26" fmla="*/ 13865366 w 14703435"/>
                <a:gd name="connsiteY26" fmla="*/ 8705538 h 10706845"/>
                <a:gd name="connsiteX27" fmla="*/ 14136664 w 14703435"/>
                <a:gd name="connsiteY27" fmla="*/ 8307642 h 10706845"/>
                <a:gd name="connsiteX28" fmla="*/ 14703435 w 14703435"/>
                <a:gd name="connsiteY28" fmla="*/ 8334738 h 10706845"/>
                <a:gd name="connsiteX29" fmla="*/ 14255660 w 14703435"/>
                <a:gd name="connsiteY29" fmla="*/ 8007340 h 10706845"/>
                <a:gd name="connsiteX30" fmla="*/ 14407378 w 14703435"/>
                <a:gd name="connsiteY30" fmla="*/ 7451179 h 10706845"/>
                <a:gd name="connsiteX31" fmla="*/ 13924235 w 14703435"/>
                <a:gd name="connsiteY31" fmla="*/ 6466638 h 10706845"/>
                <a:gd name="connsiteX32" fmla="*/ 11909491 w 14703435"/>
                <a:gd name="connsiteY32" fmla="*/ 6206793 h 10706845"/>
                <a:gd name="connsiteX33" fmla="*/ 9824147 w 14703435"/>
                <a:gd name="connsiteY33" fmla="*/ 6838125 h 10706845"/>
                <a:gd name="connsiteX34" fmla="*/ 8482717 w 14703435"/>
                <a:gd name="connsiteY34" fmla="*/ 6994165 h 10706845"/>
                <a:gd name="connsiteX35" fmla="*/ 8328079 w 14703435"/>
                <a:gd name="connsiteY35" fmla="*/ 6569451 h 10706845"/>
                <a:gd name="connsiteX36" fmla="*/ 7632672 w 14703435"/>
                <a:gd name="connsiteY36" fmla="*/ 6387789 h 10706845"/>
                <a:gd name="connsiteX37" fmla="*/ 7081852 w 14703435"/>
                <a:gd name="connsiteY37" fmla="*/ 5966020 h 10706845"/>
                <a:gd name="connsiteX38" fmla="*/ 6336686 w 14703435"/>
                <a:gd name="connsiteY38" fmla="*/ 5128452 h 10706845"/>
                <a:gd name="connsiteX39" fmla="*/ 6319261 w 14703435"/>
                <a:gd name="connsiteY39" fmla="*/ 4326134 h 10706845"/>
                <a:gd name="connsiteX40" fmla="*/ 5596373 w 14703435"/>
                <a:gd name="connsiteY40" fmla="*/ 3939696 h 10706845"/>
                <a:gd name="connsiteX41" fmla="*/ 5365184 w 14703435"/>
                <a:gd name="connsiteY41" fmla="*/ 3367517 h 10706845"/>
                <a:gd name="connsiteX42" fmla="*/ 5153802 w 14703435"/>
                <a:gd name="connsiteY42" fmla="*/ 3038951 h 10706845"/>
                <a:gd name="connsiteX43" fmla="*/ 4898441 w 14703435"/>
                <a:gd name="connsiteY43" fmla="*/ 3089659 h 10706845"/>
                <a:gd name="connsiteX44" fmla="*/ 4600673 w 14703435"/>
                <a:gd name="connsiteY44" fmla="*/ 2821188 h 10706845"/>
                <a:gd name="connsiteX45" fmla="*/ 4416749 w 14703435"/>
                <a:gd name="connsiteY45" fmla="*/ 2398181 h 10706845"/>
                <a:gd name="connsiteX46" fmla="*/ 4653822 w 14703435"/>
                <a:gd name="connsiteY46" fmla="*/ 1848014 h 10706845"/>
                <a:gd name="connsiteX47" fmla="*/ 4432864 w 14703435"/>
                <a:gd name="connsiteY47" fmla="*/ 1294779 h 10706845"/>
                <a:gd name="connsiteX48" fmla="*/ 4437471 w 14703435"/>
                <a:gd name="connsiteY48" fmla="*/ 625991 h 10706845"/>
                <a:gd name="connsiteX49" fmla="*/ 4141784 w 14703435"/>
                <a:gd name="connsiteY49" fmla="*/ 0 h 10706845"/>
                <a:gd name="connsiteX50" fmla="*/ 2314296 w 14703435"/>
                <a:gd name="connsiteY50" fmla="*/ 189494 h 10706845"/>
                <a:gd name="connsiteX51" fmla="*/ 1334589 w 14703435"/>
                <a:gd name="connsiteY51" fmla="*/ 994366 h 10706845"/>
                <a:gd name="connsiteX52" fmla="*/ 0 w 14703435"/>
                <a:gd name="connsiteY52" fmla="*/ 2341812 h 10706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4703435" h="10706845">
                  <a:moveTo>
                    <a:pt x="0" y="2341812"/>
                  </a:moveTo>
                  <a:lnTo>
                    <a:pt x="613837" y="4720170"/>
                  </a:lnTo>
                  <a:lnTo>
                    <a:pt x="1518338" y="5588320"/>
                  </a:lnTo>
                  <a:lnTo>
                    <a:pt x="1735898" y="6420244"/>
                  </a:lnTo>
                  <a:lnTo>
                    <a:pt x="3137400" y="6944804"/>
                  </a:lnTo>
                  <a:lnTo>
                    <a:pt x="3453963" y="8301295"/>
                  </a:lnTo>
                  <a:lnTo>
                    <a:pt x="4168520" y="9675864"/>
                  </a:lnTo>
                  <a:lnTo>
                    <a:pt x="4162343" y="10706845"/>
                  </a:lnTo>
                  <a:lnTo>
                    <a:pt x="4605215" y="10622681"/>
                  </a:lnTo>
                  <a:lnTo>
                    <a:pt x="4840336" y="10333299"/>
                  </a:lnTo>
                  <a:lnTo>
                    <a:pt x="6070201" y="10351391"/>
                  </a:lnTo>
                  <a:lnTo>
                    <a:pt x="6884082" y="9754539"/>
                  </a:lnTo>
                  <a:lnTo>
                    <a:pt x="7716051" y="10080098"/>
                  </a:lnTo>
                  <a:lnTo>
                    <a:pt x="8584189" y="9881146"/>
                  </a:lnTo>
                  <a:lnTo>
                    <a:pt x="9289552" y="10080098"/>
                  </a:lnTo>
                  <a:lnTo>
                    <a:pt x="10139605" y="9682198"/>
                  </a:lnTo>
                  <a:lnTo>
                    <a:pt x="10664108" y="9899234"/>
                  </a:lnTo>
                  <a:lnTo>
                    <a:pt x="11387555" y="9808804"/>
                  </a:lnTo>
                  <a:lnTo>
                    <a:pt x="11966315" y="10532259"/>
                  </a:lnTo>
                  <a:lnTo>
                    <a:pt x="12942975" y="10297130"/>
                  </a:lnTo>
                  <a:lnTo>
                    <a:pt x="13575992" y="10695030"/>
                  </a:lnTo>
                  <a:lnTo>
                    <a:pt x="13973888" y="10604597"/>
                  </a:lnTo>
                  <a:lnTo>
                    <a:pt x="14028146" y="10062006"/>
                  </a:lnTo>
                  <a:lnTo>
                    <a:pt x="13594073" y="10007749"/>
                  </a:lnTo>
                  <a:lnTo>
                    <a:pt x="13612161" y="9320470"/>
                  </a:lnTo>
                  <a:lnTo>
                    <a:pt x="14190925" y="9175783"/>
                  </a:lnTo>
                  <a:lnTo>
                    <a:pt x="13865366" y="8705538"/>
                  </a:lnTo>
                  <a:lnTo>
                    <a:pt x="14136664" y="8307642"/>
                  </a:lnTo>
                  <a:lnTo>
                    <a:pt x="14703435" y="8334738"/>
                  </a:lnTo>
                  <a:lnTo>
                    <a:pt x="14255660" y="8007340"/>
                  </a:lnTo>
                  <a:lnTo>
                    <a:pt x="14407378" y="7451179"/>
                  </a:lnTo>
                  <a:lnTo>
                    <a:pt x="13924235" y="6466638"/>
                  </a:lnTo>
                  <a:lnTo>
                    <a:pt x="11909491" y="6206793"/>
                  </a:lnTo>
                  <a:lnTo>
                    <a:pt x="9824147" y="6838125"/>
                  </a:lnTo>
                  <a:lnTo>
                    <a:pt x="8482717" y="6994165"/>
                  </a:lnTo>
                  <a:lnTo>
                    <a:pt x="8328079" y="6569451"/>
                  </a:lnTo>
                  <a:lnTo>
                    <a:pt x="7632672" y="6387789"/>
                  </a:lnTo>
                  <a:lnTo>
                    <a:pt x="7081852" y="5966020"/>
                  </a:lnTo>
                  <a:lnTo>
                    <a:pt x="6336686" y="5128452"/>
                  </a:lnTo>
                  <a:lnTo>
                    <a:pt x="6319261" y="4326134"/>
                  </a:lnTo>
                  <a:lnTo>
                    <a:pt x="5596373" y="3939696"/>
                  </a:lnTo>
                  <a:lnTo>
                    <a:pt x="5365184" y="3367517"/>
                  </a:lnTo>
                  <a:lnTo>
                    <a:pt x="5153802" y="3038951"/>
                  </a:lnTo>
                  <a:lnTo>
                    <a:pt x="4898441" y="3089659"/>
                  </a:lnTo>
                  <a:lnTo>
                    <a:pt x="4600673" y="2821188"/>
                  </a:lnTo>
                  <a:lnTo>
                    <a:pt x="4416749" y="2398181"/>
                  </a:lnTo>
                  <a:lnTo>
                    <a:pt x="4653822" y="1848014"/>
                  </a:lnTo>
                  <a:lnTo>
                    <a:pt x="4432864" y="1294779"/>
                  </a:lnTo>
                  <a:cubicBezTo>
                    <a:pt x="4434400" y="1071850"/>
                    <a:pt x="4435935" y="848920"/>
                    <a:pt x="4437471" y="625991"/>
                  </a:cubicBezTo>
                  <a:lnTo>
                    <a:pt x="4141784" y="0"/>
                  </a:lnTo>
                  <a:lnTo>
                    <a:pt x="2314296" y="189494"/>
                  </a:lnTo>
                  <a:lnTo>
                    <a:pt x="1334589" y="994366"/>
                  </a:lnTo>
                  <a:lnTo>
                    <a:pt x="0" y="2341812"/>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grpSp>
      <p:sp>
        <p:nvSpPr>
          <p:cNvPr id="3" name="Прямоугольник 2">
            <a:extLst>
              <a:ext uri="{FF2B5EF4-FFF2-40B4-BE49-F238E27FC236}">
                <a16:creationId xmlns:a16="http://schemas.microsoft.com/office/drawing/2014/main" id="{895D1ABD-7C20-80F6-07DB-99D52BAAC6A3}"/>
              </a:ext>
            </a:extLst>
          </p:cNvPr>
          <p:cNvSpPr/>
          <p:nvPr/>
        </p:nvSpPr>
        <p:spPr>
          <a:xfrm>
            <a:off x="297685" y="82544"/>
            <a:ext cx="12028602" cy="523220"/>
          </a:xfrm>
          <a:prstGeom prst="rect">
            <a:avLst/>
          </a:prstGeom>
        </p:spPr>
        <p:txBody>
          <a:bodyPr wrap="square">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US" sz="28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mn-cs"/>
              </a:rPr>
              <a:t>MAP OF AGROCHEMICAL SOIL CONDITIONS</a:t>
            </a:r>
            <a:endParaRPr kumimoji="0" lang="ru-RU" sz="28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mn-cs"/>
            </a:endParaRPr>
          </a:p>
        </p:txBody>
      </p:sp>
      <p:sp>
        <p:nvSpPr>
          <p:cNvPr id="77" name="TextBox 76">
            <a:extLst>
              <a:ext uri="{FF2B5EF4-FFF2-40B4-BE49-F238E27FC236}">
                <a16:creationId xmlns:a16="http://schemas.microsoft.com/office/drawing/2014/main" id="{EF43659D-424D-0567-4DCE-F15C12E5683B}"/>
              </a:ext>
            </a:extLst>
          </p:cNvPr>
          <p:cNvSpPr txBox="1"/>
          <p:nvPr/>
        </p:nvSpPr>
        <p:spPr>
          <a:xfrm>
            <a:off x="32427" y="6626899"/>
            <a:ext cx="567690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Source: S. </a:t>
            </a:r>
            <a:r>
              <a:rPr kumimoji="0" lang="en-US" sz="8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Seifullin</a:t>
            </a: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Kazakh </a:t>
            </a:r>
            <a:r>
              <a:rPr kumimoji="0" lang="en-US" sz="8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Agrotechnical</a:t>
            </a: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Research University (KATRU)</a:t>
            </a:r>
            <a:endParaRPr kumimoji="0" lang="ru-RU"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11" name="TextBox 110">
            <a:extLst>
              <a:ext uri="{FF2B5EF4-FFF2-40B4-BE49-F238E27FC236}">
                <a16:creationId xmlns:a16="http://schemas.microsoft.com/office/drawing/2014/main" id="{7CEDF362-60AD-11DB-C89D-2F2153DA57DD}"/>
              </a:ext>
            </a:extLst>
          </p:cNvPr>
          <p:cNvSpPr txBox="1"/>
          <p:nvPr/>
        </p:nvSpPr>
        <p:spPr>
          <a:xfrm>
            <a:off x="9548483" y="4404472"/>
            <a:ext cx="2209623"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portion of regions with low nitrogen (N) and phosphorus (P) content, %</a:t>
            </a:r>
            <a:endParaRPr kumimoji="0" lang="en-US" sz="100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56" name="Прямоугольник 55">
            <a:extLst>
              <a:ext uri="{FF2B5EF4-FFF2-40B4-BE49-F238E27FC236}">
                <a16:creationId xmlns:a16="http://schemas.microsoft.com/office/drawing/2014/main" id="{5523F916-C16F-2FC8-263F-2AF89B683D41}"/>
              </a:ext>
            </a:extLst>
          </p:cNvPr>
          <p:cNvSpPr/>
          <p:nvPr/>
        </p:nvSpPr>
        <p:spPr>
          <a:xfrm>
            <a:off x="281396" y="736710"/>
            <a:ext cx="11578592" cy="738664"/>
          </a:xfrm>
          <a:prstGeom prst="rect">
            <a:avLst/>
          </a:prstGeom>
          <a:noFill/>
          <a:ln w="19050">
            <a:solidFill>
              <a:schemeClr val="accent1"/>
            </a:solidFill>
            <a:prstDash val="sysDot"/>
          </a:ln>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Over 60% of Kazakhstan's agricultural land suffers from phosphorus and nitrogen deficiency, especially in central, southern, and western regions. At the same time, mineral fertilizers meet only 14% of total nutrient demand. This highlights the urgency of localizing </a:t>
            </a:r>
            <a:r>
              <a:rPr kumimoji="0" lang="en-US" sz="14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biofertilizer</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production tailored to the specific agrochemical profiles of each region.</a:t>
            </a: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graphicFrame>
        <p:nvGraphicFramePr>
          <p:cNvPr id="5" name="Диаграмма 4"/>
          <p:cNvGraphicFramePr/>
          <p:nvPr/>
        </p:nvGraphicFramePr>
        <p:xfrm>
          <a:off x="8994143" y="1851300"/>
          <a:ext cx="2394867" cy="2303243"/>
        </p:xfrm>
        <a:graphic>
          <a:graphicData uri="http://schemas.openxmlformats.org/drawingml/2006/chart">
            <c:chart xmlns:c="http://schemas.openxmlformats.org/drawingml/2006/chart" xmlns:r="http://schemas.openxmlformats.org/officeDocument/2006/relationships" r:id="rId3"/>
          </a:graphicData>
        </a:graphic>
      </p:graphicFrame>
      <p:sp>
        <p:nvSpPr>
          <p:cNvPr id="6" name="Блок-схема: узел 5"/>
          <p:cNvSpPr/>
          <p:nvPr/>
        </p:nvSpPr>
        <p:spPr>
          <a:xfrm>
            <a:off x="9164483" y="5263267"/>
            <a:ext cx="202223" cy="208922"/>
          </a:xfrm>
          <a:prstGeom prst="flowChartConnector">
            <a:avLst/>
          </a:prstGeom>
          <a:solidFill>
            <a:schemeClr val="tx2">
              <a:lumMod val="10000"/>
              <a:lumOff val="90000"/>
            </a:schemeClr>
          </a:solidFill>
          <a:ln>
            <a:solidFill>
              <a:schemeClr val="tx2">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71" name="Блок-схема: узел 70"/>
          <p:cNvSpPr/>
          <p:nvPr/>
        </p:nvSpPr>
        <p:spPr>
          <a:xfrm>
            <a:off x="9164483" y="5855761"/>
            <a:ext cx="202223" cy="208922"/>
          </a:xfrm>
          <a:prstGeom prst="flowChartConnector">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72" name="TextBox 71">
            <a:extLst>
              <a:ext uri="{FF2B5EF4-FFF2-40B4-BE49-F238E27FC236}">
                <a16:creationId xmlns:a16="http://schemas.microsoft.com/office/drawing/2014/main" id="{7CEDF362-60AD-11DB-C89D-2F2153DA57DD}"/>
              </a:ext>
            </a:extLst>
          </p:cNvPr>
          <p:cNvSpPr txBox="1"/>
          <p:nvPr/>
        </p:nvSpPr>
        <p:spPr>
          <a:xfrm>
            <a:off x="9557543" y="5239964"/>
            <a:ext cx="223657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low phosphorus regions</a:t>
            </a:r>
          </a:p>
        </p:txBody>
      </p:sp>
      <p:sp>
        <p:nvSpPr>
          <p:cNvPr id="73" name="TextBox 72">
            <a:extLst>
              <a:ext uri="{FF2B5EF4-FFF2-40B4-BE49-F238E27FC236}">
                <a16:creationId xmlns:a16="http://schemas.microsoft.com/office/drawing/2014/main" id="{7CEDF362-60AD-11DB-C89D-2F2153DA57DD}"/>
              </a:ext>
            </a:extLst>
          </p:cNvPr>
          <p:cNvSpPr txBox="1"/>
          <p:nvPr/>
        </p:nvSpPr>
        <p:spPr>
          <a:xfrm>
            <a:off x="9557543" y="5812069"/>
            <a:ext cx="2140778"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low nitrogen regions</a:t>
            </a:r>
          </a:p>
        </p:txBody>
      </p:sp>
      <p:sp>
        <p:nvSpPr>
          <p:cNvPr id="31" name="Прямоугольник 30"/>
          <p:cNvSpPr/>
          <p:nvPr/>
        </p:nvSpPr>
        <p:spPr>
          <a:xfrm>
            <a:off x="9121281" y="4522370"/>
            <a:ext cx="127143" cy="380222"/>
          </a:xfrm>
          <a:prstGeom prst="rect">
            <a:avLst/>
          </a:prstGeom>
          <a:solidFill>
            <a:schemeClr val="tx2">
              <a:lumMod val="75000"/>
              <a:lumOff val="25000"/>
            </a:schemeClr>
          </a:solidFill>
          <a:ln>
            <a:solidFill>
              <a:schemeClr val="tx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N</a:t>
            </a:r>
            <a:endParaRPr kumimoji="0" lang="ru-RU"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88" name="Прямоугольник 87"/>
          <p:cNvSpPr/>
          <p:nvPr/>
        </p:nvSpPr>
        <p:spPr>
          <a:xfrm>
            <a:off x="9297943" y="4719201"/>
            <a:ext cx="135935" cy="182692"/>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P</a:t>
            </a:r>
            <a:endParaRPr kumimoji="0" lang="ru-RU"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32" name="TextBox 31"/>
          <p:cNvSpPr txBox="1"/>
          <p:nvPr/>
        </p:nvSpPr>
        <p:spPr>
          <a:xfrm>
            <a:off x="8994143" y="4291584"/>
            <a:ext cx="369096"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54</a:t>
            </a:r>
            <a:endParaRPr kumimoji="0" lang="ru-RU"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89" name="TextBox 88"/>
          <p:cNvSpPr txBox="1"/>
          <p:nvPr/>
        </p:nvSpPr>
        <p:spPr>
          <a:xfrm>
            <a:off x="9179387" y="4476238"/>
            <a:ext cx="369096"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48</a:t>
            </a:r>
            <a:endParaRPr kumimoji="0" lang="ru-RU"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90" name="Прямоугольник 89"/>
          <p:cNvSpPr/>
          <p:nvPr/>
        </p:nvSpPr>
        <p:spPr>
          <a:xfrm>
            <a:off x="5028108" y="4141129"/>
            <a:ext cx="127143" cy="114555"/>
          </a:xfrm>
          <a:prstGeom prst="rect">
            <a:avLst/>
          </a:prstGeom>
          <a:solidFill>
            <a:schemeClr val="tx2">
              <a:lumMod val="75000"/>
              <a:lumOff val="25000"/>
            </a:schemeClr>
          </a:solidFill>
          <a:ln>
            <a:solidFill>
              <a:schemeClr val="tx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91" name="Прямоугольник 90"/>
          <p:cNvSpPr/>
          <p:nvPr/>
        </p:nvSpPr>
        <p:spPr>
          <a:xfrm>
            <a:off x="5204770" y="4028269"/>
            <a:ext cx="135935" cy="226717"/>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92" name="TextBox 91"/>
          <p:cNvSpPr txBox="1"/>
          <p:nvPr/>
        </p:nvSpPr>
        <p:spPr>
          <a:xfrm>
            <a:off x="4900970" y="3959019"/>
            <a:ext cx="369096"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41</a:t>
            </a:r>
            <a:endParaRPr kumimoji="0" lang="ru-RU"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93" name="TextBox 92"/>
          <p:cNvSpPr txBox="1"/>
          <p:nvPr/>
        </p:nvSpPr>
        <p:spPr>
          <a:xfrm>
            <a:off x="5086214" y="3843620"/>
            <a:ext cx="369096"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66</a:t>
            </a:r>
            <a:endParaRPr kumimoji="0" lang="ru-RU"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94" name="Прямоугольник 93"/>
          <p:cNvSpPr/>
          <p:nvPr/>
        </p:nvSpPr>
        <p:spPr>
          <a:xfrm>
            <a:off x="7242948" y="3497338"/>
            <a:ext cx="127143" cy="327471"/>
          </a:xfrm>
          <a:prstGeom prst="rect">
            <a:avLst/>
          </a:prstGeom>
          <a:solidFill>
            <a:schemeClr val="tx2">
              <a:lumMod val="75000"/>
              <a:lumOff val="25000"/>
            </a:schemeClr>
          </a:solidFill>
          <a:ln>
            <a:solidFill>
              <a:schemeClr val="tx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95" name="Прямоугольник 94"/>
          <p:cNvSpPr/>
          <p:nvPr/>
        </p:nvSpPr>
        <p:spPr>
          <a:xfrm>
            <a:off x="7419610" y="3690809"/>
            <a:ext cx="135935" cy="133302"/>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96" name="TextBox 95"/>
          <p:cNvSpPr txBox="1"/>
          <p:nvPr/>
        </p:nvSpPr>
        <p:spPr>
          <a:xfrm>
            <a:off x="7115810" y="3313825"/>
            <a:ext cx="369096"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80</a:t>
            </a:r>
            <a:endParaRPr kumimoji="0" lang="ru-RU"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97" name="TextBox 96"/>
          <p:cNvSpPr txBox="1"/>
          <p:nvPr/>
        </p:nvSpPr>
        <p:spPr>
          <a:xfrm>
            <a:off x="7301054" y="3508003"/>
            <a:ext cx="369096"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46</a:t>
            </a:r>
            <a:endParaRPr kumimoji="0" lang="ru-RU"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12" name="Прямоугольник 111"/>
          <p:cNvSpPr/>
          <p:nvPr/>
        </p:nvSpPr>
        <p:spPr>
          <a:xfrm>
            <a:off x="5141552" y="5261442"/>
            <a:ext cx="127143" cy="380222"/>
          </a:xfrm>
          <a:prstGeom prst="rect">
            <a:avLst/>
          </a:prstGeom>
          <a:solidFill>
            <a:schemeClr val="tx2">
              <a:lumMod val="75000"/>
              <a:lumOff val="25000"/>
            </a:schemeClr>
          </a:solidFill>
          <a:ln>
            <a:solidFill>
              <a:schemeClr val="tx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14" name="Прямоугольник 113"/>
          <p:cNvSpPr/>
          <p:nvPr/>
        </p:nvSpPr>
        <p:spPr>
          <a:xfrm>
            <a:off x="5318214" y="5540361"/>
            <a:ext cx="135935" cy="100604"/>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15" name="TextBox 114"/>
          <p:cNvSpPr txBox="1"/>
          <p:nvPr/>
        </p:nvSpPr>
        <p:spPr>
          <a:xfrm>
            <a:off x="5014414" y="5083048"/>
            <a:ext cx="369096"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95</a:t>
            </a:r>
            <a:endParaRPr kumimoji="0" lang="ru-RU"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16" name="TextBox 115"/>
          <p:cNvSpPr txBox="1"/>
          <p:nvPr/>
        </p:nvSpPr>
        <p:spPr>
          <a:xfrm>
            <a:off x="5199658" y="5367722"/>
            <a:ext cx="369096"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21</a:t>
            </a:r>
            <a:endParaRPr kumimoji="0" lang="ru-RU"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17" name="Прямоугольник 116"/>
          <p:cNvSpPr/>
          <p:nvPr/>
        </p:nvSpPr>
        <p:spPr>
          <a:xfrm>
            <a:off x="4626425" y="5734208"/>
            <a:ext cx="127143" cy="380222"/>
          </a:xfrm>
          <a:prstGeom prst="rect">
            <a:avLst/>
          </a:prstGeom>
          <a:solidFill>
            <a:schemeClr val="tx2">
              <a:lumMod val="75000"/>
              <a:lumOff val="25000"/>
            </a:schemeClr>
          </a:solidFill>
          <a:ln>
            <a:solidFill>
              <a:schemeClr val="tx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18" name="Прямоугольник 117"/>
          <p:cNvSpPr/>
          <p:nvPr/>
        </p:nvSpPr>
        <p:spPr>
          <a:xfrm>
            <a:off x="4803087" y="5993029"/>
            <a:ext cx="135935" cy="120701"/>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19" name="TextBox 118"/>
          <p:cNvSpPr txBox="1"/>
          <p:nvPr/>
        </p:nvSpPr>
        <p:spPr>
          <a:xfrm>
            <a:off x="4482252" y="5551052"/>
            <a:ext cx="405183"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100</a:t>
            </a:r>
            <a:endParaRPr kumimoji="0" lang="ru-RU"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20" name="TextBox 119"/>
          <p:cNvSpPr txBox="1"/>
          <p:nvPr/>
        </p:nvSpPr>
        <p:spPr>
          <a:xfrm>
            <a:off x="4684531" y="5816674"/>
            <a:ext cx="369096"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38</a:t>
            </a:r>
            <a:endParaRPr kumimoji="0" lang="ru-RU"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21" name="Прямоугольник 120"/>
          <p:cNvSpPr/>
          <p:nvPr/>
        </p:nvSpPr>
        <p:spPr>
          <a:xfrm>
            <a:off x="4022753" y="5115638"/>
            <a:ext cx="127143" cy="286646"/>
          </a:xfrm>
          <a:prstGeom prst="rect">
            <a:avLst/>
          </a:prstGeom>
          <a:solidFill>
            <a:schemeClr val="tx2">
              <a:lumMod val="75000"/>
              <a:lumOff val="25000"/>
            </a:schemeClr>
          </a:solidFill>
          <a:ln>
            <a:solidFill>
              <a:schemeClr val="tx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22" name="Прямоугольник 121"/>
          <p:cNvSpPr/>
          <p:nvPr/>
        </p:nvSpPr>
        <p:spPr>
          <a:xfrm>
            <a:off x="4199415" y="5234327"/>
            <a:ext cx="135935" cy="167257"/>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23" name="TextBox 122"/>
          <p:cNvSpPr txBox="1"/>
          <p:nvPr/>
        </p:nvSpPr>
        <p:spPr>
          <a:xfrm>
            <a:off x="3895615" y="4934166"/>
            <a:ext cx="369096"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55</a:t>
            </a:r>
            <a:endParaRPr kumimoji="0" lang="ru-RU"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24" name="TextBox 123"/>
          <p:cNvSpPr txBox="1"/>
          <p:nvPr/>
        </p:nvSpPr>
        <p:spPr>
          <a:xfrm>
            <a:off x="4080859" y="5061664"/>
            <a:ext cx="369096"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33</a:t>
            </a:r>
            <a:endParaRPr kumimoji="0" lang="ru-RU"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25" name="Прямоугольник 124"/>
          <p:cNvSpPr/>
          <p:nvPr/>
        </p:nvSpPr>
        <p:spPr>
          <a:xfrm>
            <a:off x="2425548" y="3822511"/>
            <a:ext cx="127143" cy="380222"/>
          </a:xfrm>
          <a:prstGeom prst="rect">
            <a:avLst/>
          </a:prstGeom>
          <a:solidFill>
            <a:schemeClr val="tx2">
              <a:lumMod val="75000"/>
              <a:lumOff val="25000"/>
            </a:schemeClr>
          </a:solidFill>
          <a:ln>
            <a:solidFill>
              <a:schemeClr val="tx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26" name="Прямоугольник 125"/>
          <p:cNvSpPr/>
          <p:nvPr/>
        </p:nvSpPr>
        <p:spPr>
          <a:xfrm>
            <a:off x="2602210" y="4156314"/>
            <a:ext cx="135935" cy="45719"/>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27" name="TextBox 126"/>
          <p:cNvSpPr txBox="1"/>
          <p:nvPr/>
        </p:nvSpPr>
        <p:spPr>
          <a:xfrm>
            <a:off x="2298410" y="3625066"/>
            <a:ext cx="369096"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81</a:t>
            </a:r>
            <a:endParaRPr kumimoji="0" lang="ru-RU"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28" name="TextBox 127"/>
          <p:cNvSpPr txBox="1"/>
          <p:nvPr/>
        </p:nvSpPr>
        <p:spPr>
          <a:xfrm>
            <a:off x="2483654" y="3966893"/>
            <a:ext cx="369096"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7</a:t>
            </a:r>
            <a:endParaRPr kumimoji="0" lang="ru-RU"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29" name="Прямоугольник 128"/>
          <p:cNvSpPr/>
          <p:nvPr/>
        </p:nvSpPr>
        <p:spPr>
          <a:xfrm>
            <a:off x="1494910" y="3053910"/>
            <a:ext cx="127143" cy="380222"/>
          </a:xfrm>
          <a:prstGeom prst="rect">
            <a:avLst/>
          </a:prstGeom>
          <a:solidFill>
            <a:schemeClr val="tx2">
              <a:lumMod val="75000"/>
              <a:lumOff val="25000"/>
            </a:schemeClr>
          </a:solidFill>
          <a:ln>
            <a:solidFill>
              <a:schemeClr val="tx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30" name="Прямоугольник 129"/>
          <p:cNvSpPr/>
          <p:nvPr/>
        </p:nvSpPr>
        <p:spPr>
          <a:xfrm>
            <a:off x="1671572" y="3339047"/>
            <a:ext cx="135935" cy="94386"/>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31" name="TextBox 130"/>
          <p:cNvSpPr txBox="1"/>
          <p:nvPr/>
        </p:nvSpPr>
        <p:spPr>
          <a:xfrm>
            <a:off x="1367772" y="2875517"/>
            <a:ext cx="369096"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77</a:t>
            </a:r>
            <a:endParaRPr kumimoji="0" lang="ru-RU"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32" name="TextBox 131"/>
          <p:cNvSpPr txBox="1"/>
          <p:nvPr/>
        </p:nvSpPr>
        <p:spPr>
          <a:xfrm>
            <a:off x="1553016" y="3160192"/>
            <a:ext cx="369096"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15</a:t>
            </a:r>
            <a:endParaRPr kumimoji="0" lang="ru-RU"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33" name="Прямоугольник 132"/>
          <p:cNvSpPr/>
          <p:nvPr/>
        </p:nvSpPr>
        <p:spPr>
          <a:xfrm>
            <a:off x="3753276" y="3279702"/>
            <a:ext cx="127143" cy="263182"/>
          </a:xfrm>
          <a:prstGeom prst="rect">
            <a:avLst/>
          </a:prstGeom>
          <a:solidFill>
            <a:schemeClr val="tx2">
              <a:lumMod val="75000"/>
              <a:lumOff val="25000"/>
            </a:schemeClr>
          </a:solidFill>
          <a:ln>
            <a:solidFill>
              <a:schemeClr val="tx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34" name="Прямоугольник 133"/>
          <p:cNvSpPr/>
          <p:nvPr/>
        </p:nvSpPr>
        <p:spPr>
          <a:xfrm>
            <a:off x="3929938" y="3387392"/>
            <a:ext cx="135935" cy="154794"/>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35" name="TextBox 134"/>
          <p:cNvSpPr txBox="1"/>
          <p:nvPr/>
        </p:nvSpPr>
        <p:spPr>
          <a:xfrm>
            <a:off x="3626138" y="3089050"/>
            <a:ext cx="369096"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56</a:t>
            </a:r>
            <a:endParaRPr kumimoji="0" lang="ru-RU"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36" name="TextBox 135"/>
          <p:cNvSpPr txBox="1"/>
          <p:nvPr/>
        </p:nvSpPr>
        <p:spPr>
          <a:xfrm>
            <a:off x="3811382" y="3202265"/>
            <a:ext cx="369096"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37</a:t>
            </a:r>
            <a:endParaRPr kumimoji="0" lang="ru-RU"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37" name="Прямоугольник 136"/>
          <p:cNvSpPr/>
          <p:nvPr/>
        </p:nvSpPr>
        <p:spPr>
          <a:xfrm>
            <a:off x="4420104" y="2303870"/>
            <a:ext cx="127143" cy="96066"/>
          </a:xfrm>
          <a:prstGeom prst="rect">
            <a:avLst/>
          </a:prstGeom>
          <a:solidFill>
            <a:schemeClr val="tx2">
              <a:lumMod val="75000"/>
              <a:lumOff val="25000"/>
            </a:schemeClr>
          </a:solidFill>
          <a:ln>
            <a:solidFill>
              <a:schemeClr val="tx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38" name="Прямоугольник 137"/>
          <p:cNvSpPr/>
          <p:nvPr/>
        </p:nvSpPr>
        <p:spPr>
          <a:xfrm>
            <a:off x="4596766" y="2216545"/>
            <a:ext cx="135935" cy="182692"/>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39" name="TextBox 138"/>
          <p:cNvSpPr txBox="1"/>
          <p:nvPr/>
        </p:nvSpPr>
        <p:spPr>
          <a:xfrm>
            <a:off x="4292966" y="2122318"/>
            <a:ext cx="369096"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29</a:t>
            </a:r>
            <a:endParaRPr kumimoji="0" lang="ru-RU"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40" name="TextBox 139"/>
          <p:cNvSpPr txBox="1"/>
          <p:nvPr/>
        </p:nvSpPr>
        <p:spPr>
          <a:xfrm>
            <a:off x="4478210" y="2021212"/>
            <a:ext cx="369096"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54</a:t>
            </a:r>
            <a:endParaRPr kumimoji="0" lang="ru-RU"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41" name="Прямоугольник 140"/>
          <p:cNvSpPr/>
          <p:nvPr/>
        </p:nvSpPr>
        <p:spPr>
          <a:xfrm>
            <a:off x="4580769" y="3061907"/>
            <a:ext cx="127143" cy="124305"/>
          </a:xfrm>
          <a:prstGeom prst="rect">
            <a:avLst/>
          </a:prstGeom>
          <a:solidFill>
            <a:schemeClr val="tx2">
              <a:lumMod val="75000"/>
              <a:lumOff val="25000"/>
            </a:schemeClr>
          </a:solidFill>
          <a:ln>
            <a:solidFill>
              <a:schemeClr val="tx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42" name="Прямоугольник 141"/>
          <p:cNvSpPr/>
          <p:nvPr/>
        </p:nvSpPr>
        <p:spPr>
          <a:xfrm>
            <a:off x="4757431" y="2965186"/>
            <a:ext cx="135935" cy="220328"/>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43" name="TextBox 142"/>
          <p:cNvSpPr txBox="1"/>
          <p:nvPr/>
        </p:nvSpPr>
        <p:spPr>
          <a:xfrm>
            <a:off x="4453631" y="2889545"/>
            <a:ext cx="369096"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32</a:t>
            </a:r>
            <a:endParaRPr kumimoji="0" lang="ru-RU"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44" name="TextBox 143"/>
          <p:cNvSpPr txBox="1"/>
          <p:nvPr/>
        </p:nvSpPr>
        <p:spPr>
          <a:xfrm>
            <a:off x="4638875" y="2793200"/>
            <a:ext cx="369096"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66</a:t>
            </a:r>
            <a:endParaRPr kumimoji="0" lang="ru-RU"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45" name="Прямоугольник 144"/>
          <p:cNvSpPr/>
          <p:nvPr/>
        </p:nvSpPr>
        <p:spPr>
          <a:xfrm>
            <a:off x="5809365" y="2904284"/>
            <a:ext cx="127143" cy="339204"/>
          </a:xfrm>
          <a:prstGeom prst="rect">
            <a:avLst/>
          </a:prstGeom>
          <a:solidFill>
            <a:schemeClr val="tx2">
              <a:lumMod val="75000"/>
              <a:lumOff val="25000"/>
            </a:schemeClr>
          </a:solidFill>
          <a:ln>
            <a:solidFill>
              <a:schemeClr val="tx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46" name="Прямоугольник 145"/>
          <p:cNvSpPr/>
          <p:nvPr/>
        </p:nvSpPr>
        <p:spPr>
          <a:xfrm>
            <a:off x="5986027" y="3031560"/>
            <a:ext cx="135935" cy="211229"/>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47" name="TextBox 146"/>
          <p:cNvSpPr txBox="1"/>
          <p:nvPr/>
        </p:nvSpPr>
        <p:spPr>
          <a:xfrm>
            <a:off x="5682227" y="2732503"/>
            <a:ext cx="369096"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85</a:t>
            </a:r>
            <a:endParaRPr kumimoji="0" lang="ru-RU"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48" name="TextBox 147"/>
          <p:cNvSpPr txBox="1"/>
          <p:nvPr/>
        </p:nvSpPr>
        <p:spPr>
          <a:xfrm>
            <a:off x="5867471" y="2850479"/>
            <a:ext cx="369096"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66</a:t>
            </a:r>
            <a:endParaRPr kumimoji="0" lang="ru-RU"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49" name="Прямоугольник 148"/>
          <p:cNvSpPr/>
          <p:nvPr/>
        </p:nvSpPr>
        <p:spPr>
          <a:xfrm>
            <a:off x="6335432" y="4994937"/>
            <a:ext cx="127143" cy="380222"/>
          </a:xfrm>
          <a:prstGeom prst="rect">
            <a:avLst/>
          </a:prstGeom>
          <a:solidFill>
            <a:schemeClr val="tx2">
              <a:lumMod val="75000"/>
              <a:lumOff val="25000"/>
            </a:schemeClr>
          </a:solidFill>
          <a:ln>
            <a:solidFill>
              <a:schemeClr val="tx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50" name="Прямоугольник 149"/>
          <p:cNvSpPr/>
          <p:nvPr/>
        </p:nvSpPr>
        <p:spPr>
          <a:xfrm>
            <a:off x="6512094" y="5251518"/>
            <a:ext cx="135935" cy="122941"/>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51" name="TextBox 150"/>
          <p:cNvSpPr txBox="1"/>
          <p:nvPr/>
        </p:nvSpPr>
        <p:spPr>
          <a:xfrm>
            <a:off x="6208294" y="4811781"/>
            <a:ext cx="369096"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95</a:t>
            </a:r>
            <a:endParaRPr kumimoji="0" lang="ru-RU"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52" name="TextBox 151"/>
          <p:cNvSpPr txBox="1"/>
          <p:nvPr/>
        </p:nvSpPr>
        <p:spPr>
          <a:xfrm>
            <a:off x="6393538" y="5072641"/>
            <a:ext cx="369096"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33</a:t>
            </a:r>
            <a:endParaRPr kumimoji="0" lang="ru-RU"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graphicFrame>
        <p:nvGraphicFramePr>
          <p:cNvPr id="153" name="Диаграмма 152"/>
          <p:cNvGraphicFramePr/>
          <p:nvPr/>
        </p:nvGraphicFramePr>
        <p:xfrm>
          <a:off x="6376761" y="3365692"/>
          <a:ext cx="953400" cy="65382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4" name="Диаграмма 153"/>
          <p:cNvGraphicFramePr/>
          <p:nvPr/>
        </p:nvGraphicFramePr>
        <p:xfrm>
          <a:off x="5652847" y="2223587"/>
          <a:ext cx="953400" cy="65382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55" name="Диаграмма 154"/>
          <p:cNvGraphicFramePr/>
          <p:nvPr/>
        </p:nvGraphicFramePr>
        <p:xfrm>
          <a:off x="4699447" y="2615043"/>
          <a:ext cx="953400" cy="65382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56" name="Диаграмма 155"/>
          <p:cNvGraphicFramePr/>
          <p:nvPr/>
        </p:nvGraphicFramePr>
        <p:xfrm>
          <a:off x="4662342" y="1860711"/>
          <a:ext cx="953400" cy="65382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7" name="Диаграмма 156"/>
          <p:cNvGraphicFramePr/>
          <p:nvPr/>
        </p:nvGraphicFramePr>
        <p:xfrm>
          <a:off x="3378686" y="2331341"/>
          <a:ext cx="953400" cy="653822"/>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8" name="Диаграмма 157"/>
          <p:cNvGraphicFramePr/>
          <p:nvPr/>
        </p:nvGraphicFramePr>
        <p:xfrm>
          <a:off x="5224010" y="3551258"/>
          <a:ext cx="953400" cy="653822"/>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59" name="Диаграмма 158"/>
          <p:cNvGraphicFramePr/>
          <p:nvPr/>
        </p:nvGraphicFramePr>
        <p:xfrm>
          <a:off x="6362574" y="4397139"/>
          <a:ext cx="953400" cy="653822"/>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60" name="Диаграмма 159"/>
          <p:cNvGraphicFramePr/>
          <p:nvPr/>
        </p:nvGraphicFramePr>
        <p:xfrm>
          <a:off x="5129737" y="4823457"/>
          <a:ext cx="953400" cy="653822"/>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1" name="Диаграмма 160"/>
          <p:cNvGraphicFramePr/>
          <p:nvPr/>
        </p:nvGraphicFramePr>
        <p:xfrm>
          <a:off x="4269840" y="4866815"/>
          <a:ext cx="953400" cy="653822"/>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162" name="Диаграмма 161"/>
          <p:cNvGraphicFramePr/>
          <p:nvPr/>
        </p:nvGraphicFramePr>
        <p:xfrm>
          <a:off x="3149873" y="4543944"/>
          <a:ext cx="953400" cy="653822"/>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63" name="Диаграмма 162"/>
          <p:cNvGraphicFramePr/>
          <p:nvPr/>
        </p:nvGraphicFramePr>
        <p:xfrm>
          <a:off x="2648091" y="3427899"/>
          <a:ext cx="953400" cy="653822"/>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164" name="Диаграмма 163"/>
          <p:cNvGraphicFramePr/>
          <p:nvPr/>
        </p:nvGraphicFramePr>
        <p:xfrm>
          <a:off x="1233205" y="3684472"/>
          <a:ext cx="953400" cy="653822"/>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65" name="Диаграмма 164"/>
          <p:cNvGraphicFramePr/>
          <p:nvPr/>
        </p:nvGraphicFramePr>
        <p:xfrm>
          <a:off x="1067154" y="4957413"/>
          <a:ext cx="953400" cy="653822"/>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66" name="Диаграмма 165"/>
          <p:cNvGraphicFramePr/>
          <p:nvPr/>
        </p:nvGraphicFramePr>
        <p:xfrm>
          <a:off x="717257" y="3018880"/>
          <a:ext cx="953400" cy="653822"/>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68210188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0" y="0"/>
            <a:ext cx="12192000"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3"/>
            <a:stretch>
              <a:fillRect t="-18518"/>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reeform 5"/>
          <p:cNvSpPr/>
          <p:nvPr/>
        </p:nvSpPr>
        <p:spPr>
          <a:xfrm flipH="1">
            <a:off x="9980296" y="4114800"/>
            <a:ext cx="2211705" cy="2743200"/>
          </a:xfrm>
          <a:custGeom>
            <a:avLst/>
            <a:gdLst/>
            <a:ahLst/>
            <a:cxnLst/>
            <a:rect l="l" t="t" r="r" b="b"/>
            <a:pathLst>
              <a:path w="3317557" h="4114800">
                <a:moveTo>
                  <a:pt x="3317557" y="0"/>
                </a:moveTo>
                <a:lnTo>
                  <a:pt x="0" y="0"/>
                </a:lnTo>
                <a:lnTo>
                  <a:pt x="0" y="4114800"/>
                </a:lnTo>
                <a:lnTo>
                  <a:pt x="3317557" y="4114800"/>
                </a:lnTo>
                <a:lnTo>
                  <a:pt x="3317557" y="0"/>
                </a:lnTo>
                <a:close/>
              </a:path>
            </a:pathLst>
          </a:custGeom>
          <a:blipFill>
            <a:blip r:embed="rId4"/>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8" name="TextBox 7"/>
          <p:cNvSpPr txBox="1"/>
          <p:nvPr/>
        </p:nvSpPr>
        <p:spPr>
          <a:xfrm>
            <a:off x="659396" y="2924944"/>
            <a:ext cx="10873208" cy="1508105"/>
          </a:xfrm>
          <a:prstGeom prst="rect">
            <a:avLst/>
          </a:prstGeom>
          <a:noFill/>
        </p:spPr>
        <p:txBody>
          <a:bodyPr wrap="square" rtlCol="0">
            <a:spAutoFit/>
          </a:bodyPr>
          <a:lstStyle/>
          <a:p>
            <a:pPr marL="0" marR="0" lvl="0" indent="0" algn="ctr" defTabSz="1100639" rtl="0" eaLnBrk="1" fontAlgn="auto" latinLnBrk="0" hangingPunct="0">
              <a:lnSpc>
                <a:spcPct val="100000"/>
              </a:lnSpc>
              <a:spcBef>
                <a:spcPts val="0"/>
              </a:spcBef>
              <a:spcAft>
                <a:spcPts val="0"/>
              </a:spcAft>
              <a:buClrTx/>
              <a:buSzTx/>
              <a:buFontTx/>
              <a:buNone/>
              <a:tabLst/>
              <a:defRPr/>
            </a:pPr>
            <a:r>
              <a:rPr kumimoji="0" lang="en-US" sz="3600" b="1" i="0" u="none" strike="noStrike" kern="0" cap="none" spc="0" normalizeH="0" baseline="0" noProof="0" dirty="0">
                <a:ln>
                  <a:noFill/>
                </a:ln>
                <a:solidFill>
                  <a:srgbClr val="5B9BD5"/>
                </a:solidFill>
                <a:effectLst/>
                <a:uLnTx/>
                <a:uFillTx/>
                <a:latin typeface="Century Gothic" panose="020B0502020202020204" pitchFamily="34" charset="0"/>
                <a:ea typeface="Tahoma" panose="020B0604030504040204" pitchFamily="34" charset="0"/>
                <a:cs typeface="Arial" pitchFamily="34" charset="0"/>
                <a:sym typeface="Helvetica Neue Medium"/>
              </a:rPr>
              <a:t>Investment Opportunities </a:t>
            </a:r>
          </a:p>
          <a:p>
            <a:pPr marL="0" marR="0" lvl="0" indent="0" algn="ctr" defTabSz="1100639" rtl="0" eaLnBrk="1" fontAlgn="auto" latinLnBrk="0" hangingPunct="0">
              <a:lnSpc>
                <a:spcPct val="100000"/>
              </a:lnSpc>
              <a:spcBef>
                <a:spcPts val="0"/>
              </a:spcBef>
              <a:spcAft>
                <a:spcPts val="0"/>
              </a:spcAft>
              <a:buClrTx/>
              <a:buSzTx/>
              <a:buFontTx/>
              <a:buNone/>
              <a:tabLst/>
              <a:defRPr/>
            </a:pPr>
            <a:r>
              <a:rPr kumimoji="0" lang="en-US" sz="3600" b="1" i="0" u="none" strike="noStrike" kern="0" cap="none" spc="0" normalizeH="0" baseline="0" noProof="0" dirty="0">
                <a:ln>
                  <a:noFill/>
                </a:ln>
                <a:solidFill>
                  <a:srgbClr val="5B9BD5"/>
                </a:solidFill>
                <a:effectLst/>
                <a:uLnTx/>
                <a:uFillTx/>
                <a:latin typeface="Century Gothic" panose="020B0502020202020204" pitchFamily="34" charset="0"/>
                <a:ea typeface="Tahoma" panose="020B0604030504040204" pitchFamily="34" charset="0"/>
                <a:cs typeface="Arial" pitchFamily="34" charset="0"/>
                <a:sym typeface="Helvetica Neue Medium"/>
              </a:rPr>
              <a:t>at the Heart of Eurasia</a:t>
            </a:r>
            <a:endParaRPr kumimoji="0" lang="ru-RU" sz="3600" b="1" i="0" u="none" strike="noStrike" kern="0" cap="none" spc="0" normalizeH="0" baseline="0" noProof="0" dirty="0">
              <a:ln>
                <a:noFill/>
              </a:ln>
              <a:solidFill>
                <a:srgbClr val="5B9BD5"/>
              </a:solidFill>
              <a:effectLst/>
              <a:uLnTx/>
              <a:uFillTx/>
              <a:latin typeface="Century Gothic" panose="020B0502020202020204" pitchFamily="34" charset="0"/>
              <a:ea typeface="Tahoma" panose="020B0604030504040204" pitchFamily="34" charset="0"/>
              <a:cs typeface="Arial" pitchFamily="34" charset="0"/>
              <a:sym typeface="Helvetica Neue Medium"/>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ru-RU" sz="2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Arial" pitchFamily="34" charset="0"/>
            </a:endParaRPr>
          </a:p>
        </p:txBody>
      </p:sp>
      <p:pic>
        <p:nvPicPr>
          <p:cNvPr id="9" name="Picture 2" descr="Комитет по инвестициям - Kazakh Invest"/>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58836" y="548680"/>
            <a:ext cx="2874328" cy="1644879"/>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A6816036-C2BB-A7C6-8827-3993F77F749C}"/>
              </a:ext>
            </a:extLst>
          </p:cNvPr>
          <p:cNvSpPr txBox="1"/>
          <p:nvPr/>
        </p:nvSpPr>
        <p:spPr>
          <a:xfrm>
            <a:off x="223700" y="5371470"/>
            <a:ext cx="11468191" cy="1261884"/>
          </a:xfrm>
          <a:prstGeom prst="rect">
            <a:avLst/>
          </a:prstGeom>
          <a:noFill/>
        </p:spPr>
        <p:txBody>
          <a:bodyPr wrap="square">
            <a:spAutoFit/>
          </a:bodyPr>
          <a:lstStyle/>
          <a:p>
            <a:pPr marL="0" marR="0" lvl="0" indent="0" algn="l" defTabSz="1100639" rtl="0" eaLnBrk="1" fontAlgn="auto" latinLnBrk="0" hangingPunct="0">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Tahoma" panose="020B0604030504040204" pitchFamily="34" charset="0"/>
                <a:cs typeface="Rubik Bold" panose="020B0604020202020204"/>
                <a:sym typeface="Helvetica Neue Medium"/>
              </a:rPr>
              <a:t>ATTRACTION OF FOREIGN DIRECT INVESTMENT AND PROMISING SECTORAL MARKETS IN SOUTHEAST ASIA</a:t>
            </a:r>
          </a:p>
          <a:p>
            <a:pPr marL="0" marR="0" lvl="0" indent="0" algn="l" defTabSz="1100639" rtl="0" eaLnBrk="1" fontAlgn="auto" latinLnBrk="0" hangingPunct="0">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Tahoma" panose="020B0604030504040204" pitchFamily="34" charset="0"/>
                <a:cs typeface="Rubik Bold" panose="020B0604020202020204"/>
                <a:sym typeface="Helvetica Neue Medium"/>
              </a:rPr>
              <a:t>October</a:t>
            </a:r>
            <a:r>
              <a:rPr kumimoji="0" lang="ru-RU" sz="2000" b="0" i="0"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Tahoma" panose="020B0604030504040204" pitchFamily="34" charset="0"/>
                <a:cs typeface="Rubik Bold" panose="020B0604020202020204"/>
                <a:sym typeface="Helvetica Neue Medium"/>
              </a:rPr>
              <a:t> 2025 </a:t>
            </a:r>
            <a:endParaRPr kumimoji="0" lang="en-US" sz="2000" b="0" i="0"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Tahoma" panose="020B0604030504040204" pitchFamily="34" charset="0"/>
              <a:cs typeface="Rubik Bold" panose="020B0604020202020204"/>
              <a:sym typeface="Helvetica Neue Medium"/>
            </a:endParaRPr>
          </a:p>
        </p:txBody>
      </p:sp>
    </p:spTree>
    <p:extLst>
      <p:ext uri="{BB962C8B-B14F-4D97-AF65-F5344CB8AC3E}">
        <p14:creationId xmlns:p14="http://schemas.microsoft.com/office/powerpoint/2010/main" val="120585296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Диаграмма 7">
            <a:extLst>
              <a:ext uri="{FF2B5EF4-FFF2-40B4-BE49-F238E27FC236}">
                <a16:creationId xmlns:a16="http://schemas.microsoft.com/office/drawing/2014/main" id="{A8C7FB5B-598A-C93D-EB89-C8583252761A}"/>
              </a:ext>
            </a:extLst>
          </p:cNvPr>
          <p:cNvGraphicFramePr>
            <a:graphicFrameLocks/>
          </p:cNvGraphicFramePr>
          <p:nvPr/>
        </p:nvGraphicFramePr>
        <p:xfrm>
          <a:off x="0" y="3709868"/>
          <a:ext cx="6019060" cy="2905218"/>
        </p:xfrm>
        <a:graphic>
          <a:graphicData uri="http://schemas.openxmlformats.org/drawingml/2006/chart">
            <c:chart xmlns:c="http://schemas.openxmlformats.org/drawingml/2006/chart" xmlns:r="http://schemas.openxmlformats.org/officeDocument/2006/relationships" r:id="rId3"/>
          </a:graphicData>
        </a:graphic>
      </p:graphicFrame>
      <p:grpSp>
        <p:nvGrpSpPr>
          <p:cNvPr id="65" name="Группа 64">
            <a:extLst>
              <a:ext uri="{FF2B5EF4-FFF2-40B4-BE49-F238E27FC236}">
                <a16:creationId xmlns:a16="http://schemas.microsoft.com/office/drawing/2014/main" id="{5DC1E7B1-B9ED-437A-A90F-523F11CDDAEF}"/>
              </a:ext>
            </a:extLst>
          </p:cNvPr>
          <p:cNvGrpSpPr/>
          <p:nvPr/>
        </p:nvGrpSpPr>
        <p:grpSpPr>
          <a:xfrm>
            <a:off x="6331501" y="3587865"/>
            <a:ext cx="5764003" cy="3178847"/>
            <a:chOff x="1455738" y="1058863"/>
            <a:chExt cx="8785225" cy="4845050"/>
          </a:xfrm>
          <a:noFill/>
        </p:grpSpPr>
        <p:sp>
          <p:nvSpPr>
            <p:cNvPr id="66" name="Freeform 122">
              <a:extLst>
                <a:ext uri="{FF2B5EF4-FFF2-40B4-BE49-F238E27FC236}">
                  <a16:creationId xmlns:a16="http://schemas.microsoft.com/office/drawing/2014/main" id="{1B185A07-4926-4D88-9313-92429964524B}"/>
                </a:ext>
              </a:extLst>
            </p:cNvPr>
            <p:cNvSpPr>
              <a:spLocks/>
            </p:cNvSpPr>
            <p:nvPr/>
          </p:nvSpPr>
          <p:spPr bwMode="auto">
            <a:xfrm>
              <a:off x="2652713" y="2193925"/>
              <a:ext cx="454025" cy="331788"/>
            </a:xfrm>
            <a:custGeom>
              <a:avLst/>
              <a:gdLst>
                <a:gd name="T0" fmla="*/ 0 w 237"/>
                <a:gd name="T1" fmla="*/ 2147483647 h 203"/>
                <a:gd name="T2" fmla="*/ 2147483647 w 237"/>
                <a:gd name="T3" fmla="*/ 2147483647 h 203"/>
                <a:gd name="T4" fmla="*/ 2147483647 w 237"/>
                <a:gd name="T5" fmla="*/ 2147483647 h 203"/>
                <a:gd name="T6" fmla="*/ 2147483647 w 237"/>
                <a:gd name="T7" fmla="*/ 2147483647 h 203"/>
                <a:gd name="T8" fmla="*/ 2147483647 w 237"/>
                <a:gd name="T9" fmla="*/ 2147483647 h 203"/>
                <a:gd name="T10" fmla="*/ 2147483647 w 237"/>
                <a:gd name="T11" fmla="*/ 2147483647 h 203"/>
                <a:gd name="T12" fmla="*/ 2147483647 w 237"/>
                <a:gd name="T13" fmla="*/ 2147483647 h 203"/>
                <a:gd name="T14" fmla="*/ 2147483647 w 237"/>
                <a:gd name="T15" fmla="*/ 2147483647 h 203"/>
                <a:gd name="T16" fmla="*/ 2147483647 w 237"/>
                <a:gd name="T17" fmla="*/ 2147483647 h 203"/>
                <a:gd name="T18" fmla="*/ 2147483647 w 237"/>
                <a:gd name="T19" fmla="*/ 2147483647 h 203"/>
                <a:gd name="T20" fmla="*/ 2147483647 w 237"/>
                <a:gd name="T21" fmla="*/ 2147483647 h 203"/>
                <a:gd name="T22" fmla="*/ 2147483647 w 237"/>
                <a:gd name="T23" fmla="*/ 2147483647 h 203"/>
                <a:gd name="T24" fmla="*/ 2147483647 w 237"/>
                <a:gd name="T25" fmla="*/ 2147483647 h 203"/>
                <a:gd name="T26" fmla="*/ 2147483647 w 237"/>
                <a:gd name="T27" fmla="*/ 2147483647 h 203"/>
                <a:gd name="T28" fmla="*/ 2147483647 w 237"/>
                <a:gd name="T29" fmla="*/ 2147483647 h 203"/>
                <a:gd name="T30" fmla="*/ 2147483647 w 237"/>
                <a:gd name="T31" fmla="*/ 2147483647 h 203"/>
                <a:gd name="T32" fmla="*/ 2147483647 w 237"/>
                <a:gd name="T33" fmla="*/ 2147483647 h 203"/>
                <a:gd name="T34" fmla="*/ 2147483647 w 237"/>
                <a:gd name="T35" fmla="*/ 2147483647 h 203"/>
                <a:gd name="T36" fmla="*/ 2147483647 w 237"/>
                <a:gd name="T37" fmla="*/ 2147483647 h 203"/>
                <a:gd name="T38" fmla="*/ 2147483647 w 237"/>
                <a:gd name="T39" fmla="*/ 2147483647 h 203"/>
                <a:gd name="T40" fmla="*/ 2147483647 w 237"/>
                <a:gd name="T41" fmla="*/ 2147483647 h 203"/>
                <a:gd name="T42" fmla="*/ 2147483647 w 237"/>
                <a:gd name="T43" fmla="*/ 2147483647 h 203"/>
                <a:gd name="T44" fmla="*/ 2147483647 w 237"/>
                <a:gd name="T45" fmla="*/ 2147483647 h 203"/>
                <a:gd name="T46" fmla="*/ 2147483647 w 237"/>
                <a:gd name="T47" fmla="*/ 2147483647 h 203"/>
                <a:gd name="T48" fmla="*/ 2147483647 w 237"/>
                <a:gd name="T49" fmla="*/ 2147483647 h 203"/>
                <a:gd name="T50" fmla="*/ 2147483647 w 237"/>
                <a:gd name="T51" fmla="*/ 2147483647 h 203"/>
                <a:gd name="T52" fmla="*/ 2147483647 w 237"/>
                <a:gd name="T53" fmla="*/ 0 h 203"/>
                <a:gd name="T54" fmla="*/ 2147483647 w 237"/>
                <a:gd name="T55" fmla="*/ 0 h 203"/>
                <a:gd name="T56" fmla="*/ 2147483647 w 237"/>
                <a:gd name="T57" fmla="*/ 2147483647 h 203"/>
                <a:gd name="T58" fmla="*/ 2147483647 w 237"/>
                <a:gd name="T59" fmla="*/ 2147483647 h 203"/>
                <a:gd name="T60" fmla="*/ 2147483647 w 237"/>
                <a:gd name="T61" fmla="*/ 2147483647 h 203"/>
                <a:gd name="T62" fmla="*/ 2147483647 w 237"/>
                <a:gd name="T63" fmla="*/ 2147483647 h 203"/>
                <a:gd name="T64" fmla="*/ 2147483647 w 237"/>
                <a:gd name="T65" fmla="*/ 2147483647 h 203"/>
                <a:gd name="T66" fmla="*/ 2147483647 w 237"/>
                <a:gd name="T67" fmla="*/ 2147483647 h 203"/>
                <a:gd name="T68" fmla="*/ 2147483647 w 237"/>
                <a:gd name="T69" fmla="*/ 2147483647 h 203"/>
                <a:gd name="T70" fmla="*/ 2147483647 w 237"/>
                <a:gd name="T71" fmla="*/ 2147483647 h 203"/>
                <a:gd name="T72" fmla="*/ 2147483647 w 237"/>
                <a:gd name="T73" fmla="*/ 2147483647 h 203"/>
                <a:gd name="T74" fmla="*/ 0 w 237"/>
                <a:gd name="T75" fmla="*/ 2147483647 h 203"/>
                <a:gd name="T76" fmla="*/ 0 w 237"/>
                <a:gd name="T77" fmla="*/ 2147483647 h 203"/>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37"/>
                <a:gd name="T118" fmla="*/ 0 h 203"/>
                <a:gd name="T119" fmla="*/ 237 w 237"/>
                <a:gd name="T120" fmla="*/ 203 h 203"/>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37" h="203">
                  <a:moveTo>
                    <a:pt x="0" y="89"/>
                  </a:moveTo>
                  <a:lnTo>
                    <a:pt x="16" y="97"/>
                  </a:lnTo>
                  <a:lnTo>
                    <a:pt x="9" y="114"/>
                  </a:lnTo>
                  <a:lnTo>
                    <a:pt x="25" y="121"/>
                  </a:lnTo>
                  <a:lnTo>
                    <a:pt x="65" y="121"/>
                  </a:lnTo>
                  <a:lnTo>
                    <a:pt x="81" y="139"/>
                  </a:lnTo>
                  <a:lnTo>
                    <a:pt x="65" y="146"/>
                  </a:lnTo>
                  <a:lnTo>
                    <a:pt x="25" y="146"/>
                  </a:lnTo>
                  <a:lnTo>
                    <a:pt x="34" y="170"/>
                  </a:lnTo>
                  <a:lnTo>
                    <a:pt x="49" y="177"/>
                  </a:lnTo>
                  <a:lnTo>
                    <a:pt x="65" y="177"/>
                  </a:lnTo>
                  <a:lnTo>
                    <a:pt x="74" y="202"/>
                  </a:lnTo>
                  <a:lnTo>
                    <a:pt x="114" y="195"/>
                  </a:lnTo>
                  <a:lnTo>
                    <a:pt x="155" y="177"/>
                  </a:lnTo>
                  <a:lnTo>
                    <a:pt x="162" y="170"/>
                  </a:lnTo>
                  <a:lnTo>
                    <a:pt x="196" y="195"/>
                  </a:lnTo>
                  <a:lnTo>
                    <a:pt x="211" y="186"/>
                  </a:lnTo>
                  <a:lnTo>
                    <a:pt x="220" y="177"/>
                  </a:lnTo>
                  <a:lnTo>
                    <a:pt x="220" y="162"/>
                  </a:lnTo>
                  <a:lnTo>
                    <a:pt x="227" y="162"/>
                  </a:lnTo>
                  <a:lnTo>
                    <a:pt x="236" y="146"/>
                  </a:lnTo>
                  <a:lnTo>
                    <a:pt x="196" y="121"/>
                  </a:lnTo>
                  <a:lnTo>
                    <a:pt x="180" y="114"/>
                  </a:lnTo>
                  <a:lnTo>
                    <a:pt x="180" y="89"/>
                  </a:lnTo>
                  <a:lnTo>
                    <a:pt x="171" y="49"/>
                  </a:lnTo>
                  <a:lnTo>
                    <a:pt x="186" y="8"/>
                  </a:lnTo>
                  <a:lnTo>
                    <a:pt x="180" y="0"/>
                  </a:lnTo>
                  <a:lnTo>
                    <a:pt x="155" y="0"/>
                  </a:lnTo>
                  <a:lnTo>
                    <a:pt x="139" y="40"/>
                  </a:lnTo>
                  <a:lnTo>
                    <a:pt x="121" y="33"/>
                  </a:lnTo>
                  <a:lnTo>
                    <a:pt x="106" y="33"/>
                  </a:lnTo>
                  <a:lnTo>
                    <a:pt x="89" y="25"/>
                  </a:lnTo>
                  <a:lnTo>
                    <a:pt x="74" y="40"/>
                  </a:lnTo>
                  <a:lnTo>
                    <a:pt x="65" y="15"/>
                  </a:lnTo>
                  <a:lnTo>
                    <a:pt x="49" y="15"/>
                  </a:lnTo>
                  <a:lnTo>
                    <a:pt x="9" y="49"/>
                  </a:lnTo>
                  <a:lnTo>
                    <a:pt x="9" y="56"/>
                  </a:lnTo>
                  <a:lnTo>
                    <a:pt x="0" y="74"/>
                  </a:lnTo>
                  <a:lnTo>
                    <a:pt x="0" y="89"/>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7" name="Freeform 123">
              <a:extLst>
                <a:ext uri="{FF2B5EF4-FFF2-40B4-BE49-F238E27FC236}">
                  <a16:creationId xmlns:a16="http://schemas.microsoft.com/office/drawing/2014/main" id="{99A895A9-5BF7-44FC-86C4-3DB0D7469B6F}"/>
                </a:ext>
              </a:extLst>
            </p:cNvPr>
            <p:cNvSpPr>
              <a:spLocks/>
            </p:cNvSpPr>
            <p:nvPr/>
          </p:nvSpPr>
          <p:spPr bwMode="auto">
            <a:xfrm>
              <a:off x="3368675" y="2179638"/>
              <a:ext cx="701675" cy="674687"/>
            </a:xfrm>
            <a:custGeom>
              <a:avLst/>
              <a:gdLst>
                <a:gd name="T0" fmla="*/ 2147483647 w 367"/>
                <a:gd name="T1" fmla="*/ 2147483647 h 414"/>
                <a:gd name="T2" fmla="*/ 2147483647 w 367"/>
                <a:gd name="T3" fmla="*/ 2147483647 h 414"/>
                <a:gd name="T4" fmla="*/ 2147483647 w 367"/>
                <a:gd name="T5" fmla="*/ 2147483647 h 414"/>
                <a:gd name="T6" fmla="*/ 2147483647 w 367"/>
                <a:gd name="T7" fmla="*/ 2147483647 h 414"/>
                <a:gd name="T8" fmla="*/ 2147483647 w 367"/>
                <a:gd name="T9" fmla="*/ 2147483647 h 414"/>
                <a:gd name="T10" fmla="*/ 2147483647 w 367"/>
                <a:gd name="T11" fmla="*/ 2147483647 h 414"/>
                <a:gd name="T12" fmla="*/ 2147483647 w 367"/>
                <a:gd name="T13" fmla="*/ 2147483647 h 414"/>
                <a:gd name="T14" fmla="*/ 2147483647 w 367"/>
                <a:gd name="T15" fmla="*/ 2147483647 h 414"/>
                <a:gd name="T16" fmla="*/ 2147483647 w 367"/>
                <a:gd name="T17" fmla="*/ 2147483647 h 414"/>
                <a:gd name="T18" fmla="*/ 2147483647 w 367"/>
                <a:gd name="T19" fmla="*/ 2147483647 h 414"/>
                <a:gd name="T20" fmla="*/ 2147483647 w 367"/>
                <a:gd name="T21" fmla="*/ 2147483647 h 414"/>
                <a:gd name="T22" fmla="*/ 2147483647 w 367"/>
                <a:gd name="T23" fmla="*/ 2147483647 h 414"/>
                <a:gd name="T24" fmla="*/ 2147483647 w 367"/>
                <a:gd name="T25" fmla="*/ 2147483647 h 414"/>
                <a:gd name="T26" fmla="*/ 2147483647 w 367"/>
                <a:gd name="T27" fmla="*/ 2147483647 h 414"/>
                <a:gd name="T28" fmla="*/ 2147483647 w 367"/>
                <a:gd name="T29" fmla="*/ 2147483647 h 414"/>
                <a:gd name="T30" fmla="*/ 2147483647 w 367"/>
                <a:gd name="T31" fmla="*/ 2147483647 h 414"/>
                <a:gd name="T32" fmla="*/ 2147483647 w 367"/>
                <a:gd name="T33" fmla="*/ 2147483647 h 414"/>
                <a:gd name="T34" fmla="*/ 2147483647 w 367"/>
                <a:gd name="T35" fmla="*/ 2147483647 h 414"/>
                <a:gd name="T36" fmla="*/ 2147483647 w 367"/>
                <a:gd name="T37" fmla="*/ 2147483647 h 414"/>
                <a:gd name="T38" fmla="*/ 2147483647 w 367"/>
                <a:gd name="T39" fmla="*/ 2147483647 h 414"/>
                <a:gd name="T40" fmla="*/ 2147483647 w 367"/>
                <a:gd name="T41" fmla="*/ 2147483647 h 414"/>
                <a:gd name="T42" fmla="*/ 2147483647 w 367"/>
                <a:gd name="T43" fmla="*/ 2147483647 h 414"/>
                <a:gd name="T44" fmla="*/ 2147483647 w 367"/>
                <a:gd name="T45" fmla="*/ 2147483647 h 414"/>
                <a:gd name="T46" fmla="*/ 2147483647 w 367"/>
                <a:gd name="T47" fmla="*/ 2147483647 h 414"/>
                <a:gd name="T48" fmla="*/ 2147483647 w 367"/>
                <a:gd name="T49" fmla="*/ 2147483647 h 414"/>
                <a:gd name="T50" fmla="*/ 2147483647 w 367"/>
                <a:gd name="T51" fmla="*/ 2147483647 h 414"/>
                <a:gd name="T52" fmla="*/ 2147483647 w 367"/>
                <a:gd name="T53" fmla="*/ 2147483647 h 414"/>
                <a:gd name="T54" fmla="*/ 2147483647 w 367"/>
                <a:gd name="T55" fmla="*/ 2147483647 h 414"/>
                <a:gd name="T56" fmla="*/ 2147483647 w 367"/>
                <a:gd name="T57" fmla="*/ 2147483647 h 414"/>
                <a:gd name="T58" fmla="*/ 2147483647 w 367"/>
                <a:gd name="T59" fmla="*/ 2147483647 h 414"/>
                <a:gd name="T60" fmla="*/ 2147483647 w 367"/>
                <a:gd name="T61" fmla="*/ 2147483647 h 414"/>
                <a:gd name="T62" fmla="*/ 2147483647 w 367"/>
                <a:gd name="T63" fmla="*/ 2147483647 h 414"/>
                <a:gd name="T64" fmla="*/ 2147483647 w 367"/>
                <a:gd name="T65" fmla="*/ 2147483647 h 414"/>
                <a:gd name="T66" fmla="*/ 2147483647 w 367"/>
                <a:gd name="T67" fmla="*/ 2147483647 h 414"/>
                <a:gd name="T68" fmla="*/ 2147483647 w 367"/>
                <a:gd name="T69" fmla="*/ 0 h 414"/>
                <a:gd name="T70" fmla="*/ 2147483647 w 367"/>
                <a:gd name="T71" fmla="*/ 2147483647 h 414"/>
                <a:gd name="T72" fmla="*/ 2147483647 w 367"/>
                <a:gd name="T73" fmla="*/ 2147483647 h 414"/>
                <a:gd name="T74" fmla="*/ 2147483647 w 367"/>
                <a:gd name="T75" fmla="*/ 2147483647 h 414"/>
                <a:gd name="T76" fmla="*/ 2147483647 w 367"/>
                <a:gd name="T77" fmla="*/ 0 h 414"/>
                <a:gd name="T78" fmla="*/ 0 w 367"/>
                <a:gd name="T79" fmla="*/ 2147483647 h 41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67"/>
                <a:gd name="T121" fmla="*/ 0 h 414"/>
                <a:gd name="T122" fmla="*/ 367 w 367"/>
                <a:gd name="T123" fmla="*/ 414 h 41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67" h="414">
                  <a:moveTo>
                    <a:pt x="0" y="89"/>
                  </a:moveTo>
                  <a:lnTo>
                    <a:pt x="34" y="148"/>
                  </a:lnTo>
                  <a:lnTo>
                    <a:pt x="49" y="155"/>
                  </a:lnTo>
                  <a:lnTo>
                    <a:pt x="99" y="163"/>
                  </a:lnTo>
                  <a:lnTo>
                    <a:pt x="106" y="163"/>
                  </a:lnTo>
                  <a:lnTo>
                    <a:pt x="131" y="171"/>
                  </a:lnTo>
                  <a:lnTo>
                    <a:pt x="139" y="171"/>
                  </a:lnTo>
                  <a:lnTo>
                    <a:pt x="146" y="148"/>
                  </a:lnTo>
                  <a:lnTo>
                    <a:pt x="155" y="163"/>
                  </a:lnTo>
                  <a:lnTo>
                    <a:pt x="179" y="186"/>
                  </a:lnTo>
                  <a:lnTo>
                    <a:pt x="171" y="204"/>
                  </a:lnTo>
                  <a:lnTo>
                    <a:pt x="187" y="195"/>
                  </a:lnTo>
                  <a:lnTo>
                    <a:pt x="196" y="211"/>
                  </a:lnTo>
                  <a:lnTo>
                    <a:pt x="211" y="226"/>
                  </a:lnTo>
                  <a:lnTo>
                    <a:pt x="220" y="251"/>
                  </a:lnTo>
                  <a:lnTo>
                    <a:pt x="196" y="292"/>
                  </a:lnTo>
                  <a:lnTo>
                    <a:pt x="202" y="308"/>
                  </a:lnTo>
                  <a:lnTo>
                    <a:pt x="196" y="317"/>
                  </a:lnTo>
                  <a:lnTo>
                    <a:pt x="155" y="308"/>
                  </a:lnTo>
                  <a:lnTo>
                    <a:pt x="155" y="325"/>
                  </a:lnTo>
                  <a:lnTo>
                    <a:pt x="146" y="325"/>
                  </a:lnTo>
                  <a:lnTo>
                    <a:pt x="146" y="350"/>
                  </a:lnTo>
                  <a:lnTo>
                    <a:pt x="171" y="350"/>
                  </a:lnTo>
                  <a:lnTo>
                    <a:pt x="179" y="341"/>
                  </a:lnTo>
                  <a:lnTo>
                    <a:pt x="196" y="341"/>
                  </a:lnTo>
                  <a:lnTo>
                    <a:pt x="227" y="365"/>
                  </a:lnTo>
                  <a:lnTo>
                    <a:pt x="227" y="373"/>
                  </a:lnTo>
                  <a:lnTo>
                    <a:pt x="261" y="397"/>
                  </a:lnTo>
                  <a:lnTo>
                    <a:pt x="276" y="407"/>
                  </a:lnTo>
                  <a:lnTo>
                    <a:pt x="301" y="413"/>
                  </a:lnTo>
                  <a:lnTo>
                    <a:pt x="301" y="407"/>
                  </a:lnTo>
                  <a:lnTo>
                    <a:pt x="268" y="373"/>
                  </a:lnTo>
                  <a:lnTo>
                    <a:pt x="268" y="357"/>
                  </a:lnTo>
                  <a:lnTo>
                    <a:pt x="310" y="390"/>
                  </a:lnTo>
                  <a:lnTo>
                    <a:pt x="326" y="390"/>
                  </a:lnTo>
                  <a:lnTo>
                    <a:pt x="326" y="365"/>
                  </a:lnTo>
                  <a:lnTo>
                    <a:pt x="317" y="357"/>
                  </a:lnTo>
                  <a:lnTo>
                    <a:pt x="317" y="341"/>
                  </a:lnTo>
                  <a:lnTo>
                    <a:pt x="293" y="317"/>
                  </a:lnTo>
                  <a:lnTo>
                    <a:pt x="285" y="300"/>
                  </a:lnTo>
                  <a:lnTo>
                    <a:pt x="293" y="285"/>
                  </a:lnTo>
                  <a:lnTo>
                    <a:pt x="310" y="300"/>
                  </a:lnTo>
                  <a:lnTo>
                    <a:pt x="317" y="317"/>
                  </a:lnTo>
                  <a:lnTo>
                    <a:pt x="333" y="325"/>
                  </a:lnTo>
                  <a:lnTo>
                    <a:pt x="333" y="308"/>
                  </a:lnTo>
                  <a:lnTo>
                    <a:pt x="350" y="308"/>
                  </a:lnTo>
                  <a:lnTo>
                    <a:pt x="366" y="276"/>
                  </a:lnTo>
                  <a:lnTo>
                    <a:pt x="317" y="226"/>
                  </a:lnTo>
                  <a:lnTo>
                    <a:pt x="293" y="226"/>
                  </a:lnTo>
                  <a:lnTo>
                    <a:pt x="276" y="211"/>
                  </a:lnTo>
                  <a:lnTo>
                    <a:pt x="276" y="195"/>
                  </a:lnTo>
                  <a:lnTo>
                    <a:pt x="293" y="186"/>
                  </a:lnTo>
                  <a:lnTo>
                    <a:pt x="276" y="171"/>
                  </a:lnTo>
                  <a:lnTo>
                    <a:pt x="285" y="163"/>
                  </a:lnTo>
                  <a:lnTo>
                    <a:pt x="276" y="139"/>
                  </a:lnTo>
                  <a:lnTo>
                    <a:pt x="251" y="130"/>
                  </a:lnTo>
                  <a:lnTo>
                    <a:pt x="236" y="106"/>
                  </a:lnTo>
                  <a:lnTo>
                    <a:pt x="220" y="98"/>
                  </a:lnTo>
                  <a:lnTo>
                    <a:pt x="202" y="89"/>
                  </a:lnTo>
                  <a:lnTo>
                    <a:pt x="196" y="58"/>
                  </a:lnTo>
                  <a:lnTo>
                    <a:pt x="179" y="58"/>
                  </a:lnTo>
                  <a:lnTo>
                    <a:pt x="155" y="49"/>
                  </a:lnTo>
                  <a:lnTo>
                    <a:pt x="139" y="58"/>
                  </a:lnTo>
                  <a:lnTo>
                    <a:pt x="122" y="58"/>
                  </a:lnTo>
                  <a:lnTo>
                    <a:pt x="106" y="74"/>
                  </a:lnTo>
                  <a:lnTo>
                    <a:pt x="114" y="49"/>
                  </a:lnTo>
                  <a:lnTo>
                    <a:pt x="106" y="34"/>
                  </a:lnTo>
                  <a:lnTo>
                    <a:pt x="106" y="9"/>
                  </a:lnTo>
                  <a:lnTo>
                    <a:pt x="106" y="0"/>
                  </a:lnTo>
                  <a:lnTo>
                    <a:pt x="90" y="0"/>
                  </a:lnTo>
                  <a:lnTo>
                    <a:pt x="59" y="42"/>
                  </a:lnTo>
                  <a:lnTo>
                    <a:pt x="49" y="74"/>
                  </a:lnTo>
                  <a:lnTo>
                    <a:pt x="59" y="98"/>
                  </a:lnTo>
                  <a:lnTo>
                    <a:pt x="40" y="83"/>
                  </a:lnTo>
                  <a:lnTo>
                    <a:pt x="40" y="42"/>
                  </a:lnTo>
                  <a:lnTo>
                    <a:pt x="59" y="17"/>
                  </a:lnTo>
                  <a:lnTo>
                    <a:pt x="74" y="0"/>
                  </a:lnTo>
                  <a:lnTo>
                    <a:pt x="34" y="0"/>
                  </a:lnTo>
                  <a:lnTo>
                    <a:pt x="9" y="34"/>
                  </a:lnTo>
                  <a:lnTo>
                    <a:pt x="0" y="65"/>
                  </a:lnTo>
                  <a:lnTo>
                    <a:pt x="0" y="89"/>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8" name="Freeform 124">
              <a:extLst>
                <a:ext uri="{FF2B5EF4-FFF2-40B4-BE49-F238E27FC236}">
                  <a16:creationId xmlns:a16="http://schemas.microsoft.com/office/drawing/2014/main" id="{22A1EA35-1684-483C-B4AE-594CE8D8791E}"/>
                </a:ext>
              </a:extLst>
            </p:cNvPr>
            <p:cNvSpPr>
              <a:spLocks/>
            </p:cNvSpPr>
            <p:nvPr/>
          </p:nvSpPr>
          <p:spPr bwMode="auto">
            <a:xfrm>
              <a:off x="2516188" y="3317875"/>
              <a:ext cx="1411287" cy="644525"/>
            </a:xfrm>
            <a:custGeom>
              <a:avLst/>
              <a:gdLst>
                <a:gd name="T0" fmla="*/ 2147483647 w 738"/>
                <a:gd name="T1" fmla="*/ 0 h 396"/>
                <a:gd name="T2" fmla="*/ 2147483647 w 738"/>
                <a:gd name="T3" fmla="*/ 2147483647 h 396"/>
                <a:gd name="T4" fmla="*/ 2147483647 w 738"/>
                <a:gd name="T5" fmla="*/ 2147483647 h 396"/>
                <a:gd name="T6" fmla="*/ 2147483647 w 738"/>
                <a:gd name="T7" fmla="*/ 2147483647 h 396"/>
                <a:gd name="T8" fmla="*/ 2147483647 w 738"/>
                <a:gd name="T9" fmla="*/ 2147483647 h 396"/>
                <a:gd name="T10" fmla="*/ 2147483647 w 738"/>
                <a:gd name="T11" fmla="*/ 2147483647 h 396"/>
                <a:gd name="T12" fmla="*/ 2147483647 w 738"/>
                <a:gd name="T13" fmla="*/ 2147483647 h 396"/>
                <a:gd name="T14" fmla="*/ 2147483647 w 738"/>
                <a:gd name="T15" fmla="*/ 2147483647 h 396"/>
                <a:gd name="T16" fmla="*/ 2147483647 w 738"/>
                <a:gd name="T17" fmla="*/ 2147483647 h 396"/>
                <a:gd name="T18" fmla="*/ 2147483647 w 738"/>
                <a:gd name="T19" fmla="*/ 2147483647 h 396"/>
                <a:gd name="T20" fmla="*/ 2147483647 w 738"/>
                <a:gd name="T21" fmla="*/ 2147483647 h 396"/>
                <a:gd name="T22" fmla="*/ 2147483647 w 738"/>
                <a:gd name="T23" fmla="*/ 2147483647 h 396"/>
                <a:gd name="T24" fmla="*/ 2147483647 w 738"/>
                <a:gd name="T25" fmla="*/ 2147483647 h 396"/>
                <a:gd name="T26" fmla="*/ 2147483647 w 738"/>
                <a:gd name="T27" fmla="*/ 2147483647 h 396"/>
                <a:gd name="T28" fmla="*/ 2147483647 w 738"/>
                <a:gd name="T29" fmla="*/ 2147483647 h 396"/>
                <a:gd name="T30" fmla="*/ 2147483647 w 738"/>
                <a:gd name="T31" fmla="*/ 2147483647 h 396"/>
                <a:gd name="T32" fmla="*/ 2147483647 w 738"/>
                <a:gd name="T33" fmla="*/ 2147483647 h 396"/>
                <a:gd name="T34" fmla="*/ 2147483647 w 738"/>
                <a:gd name="T35" fmla="*/ 2147483647 h 396"/>
                <a:gd name="T36" fmla="*/ 2147483647 w 738"/>
                <a:gd name="T37" fmla="*/ 2147483647 h 396"/>
                <a:gd name="T38" fmla="*/ 2147483647 w 738"/>
                <a:gd name="T39" fmla="*/ 2147483647 h 396"/>
                <a:gd name="T40" fmla="*/ 2147483647 w 738"/>
                <a:gd name="T41" fmla="*/ 2147483647 h 396"/>
                <a:gd name="T42" fmla="*/ 2147483647 w 738"/>
                <a:gd name="T43" fmla="*/ 2147483647 h 396"/>
                <a:gd name="T44" fmla="*/ 2147483647 w 738"/>
                <a:gd name="T45" fmla="*/ 2147483647 h 396"/>
                <a:gd name="T46" fmla="*/ 2147483647 w 738"/>
                <a:gd name="T47" fmla="*/ 2147483647 h 396"/>
                <a:gd name="T48" fmla="*/ 2147483647 w 738"/>
                <a:gd name="T49" fmla="*/ 2147483647 h 396"/>
                <a:gd name="T50" fmla="*/ 2147483647 w 738"/>
                <a:gd name="T51" fmla="*/ 2147483647 h 396"/>
                <a:gd name="T52" fmla="*/ 2147483647 w 738"/>
                <a:gd name="T53" fmla="*/ 2147483647 h 396"/>
                <a:gd name="T54" fmla="*/ 2147483647 w 738"/>
                <a:gd name="T55" fmla="*/ 2147483647 h 396"/>
                <a:gd name="T56" fmla="*/ 2147483647 w 738"/>
                <a:gd name="T57" fmla="*/ 2147483647 h 396"/>
                <a:gd name="T58" fmla="*/ 2147483647 w 738"/>
                <a:gd name="T59" fmla="*/ 2147483647 h 396"/>
                <a:gd name="T60" fmla="*/ 2147483647 w 738"/>
                <a:gd name="T61" fmla="*/ 2147483647 h 396"/>
                <a:gd name="T62" fmla="*/ 2147483647 w 738"/>
                <a:gd name="T63" fmla="*/ 2147483647 h 396"/>
                <a:gd name="T64" fmla="*/ 2147483647 w 738"/>
                <a:gd name="T65" fmla="*/ 2147483647 h 396"/>
                <a:gd name="T66" fmla="*/ 2147483647 w 738"/>
                <a:gd name="T67" fmla="*/ 2147483647 h 396"/>
                <a:gd name="T68" fmla="*/ 2147483647 w 738"/>
                <a:gd name="T69" fmla="*/ 2147483647 h 396"/>
                <a:gd name="T70" fmla="*/ 2147483647 w 738"/>
                <a:gd name="T71" fmla="*/ 2147483647 h 396"/>
                <a:gd name="T72" fmla="*/ 2147483647 w 738"/>
                <a:gd name="T73" fmla="*/ 2147483647 h 396"/>
                <a:gd name="T74" fmla="*/ 2147483647 w 738"/>
                <a:gd name="T75" fmla="*/ 2147483647 h 396"/>
                <a:gd name="T76" fmla="*/ 2147483647 w 738"/>
                <a:gd name="T77" fmla="*/ 2147483647 h 396"/>
                <a:gd name="T78" fmla="*/ 0 w 738"/>
                <a:gd name="T79" fmla="*/ 2147483647 h 396"/>
                <a:gd name="T80" fmla="*/ 2147483647 w 738"/>
                <a:gd name="T81" fmla="*/ 2147483647 h 396"/>
                <a:gd name="T82" fmla="*/ 2147483647 w 738"/>
                <a:gd name="T83" fmla="*/ 2147483647 h 39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38"/>
                <a:gd name="T127" fmla="*/ 0 h 396"/>
                <a:gd name="T128" fmla="*/ 738 w 738"/>
                <a:gd name="T129" fmla="*/ 396 h 39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38" h="396">
                  <a:moveTo>
                    <a:pt x="24" y="8"/>
                  </a:moveTo>
                  <a:lnTo>
                    <a:pt x="373" y="8"/>
                  </a:lnTo>
                  <a:lnTo>
                    <a:pt x="380" y="0"/>
                  </a:lnTo>
                  <a:lnTo>
                    <a:pt x="389" y="16"/>
                  </a:lnTo>
                  <a:lnTo>
                    <a:pt x="405" y="16"/>
                  </a:lnTo>
                  <a:lnTo>
                    <a:pt x="420" y="32"/>
                  </a:lnTo>
                  <a:lnTo>
                    <a:pt x="445" y="32"/>
                  </a:lnTo>
                  <a:lnTo>
                    <a:pt x="414" y="56"/>
                  </a:lnTo>
                  <a:lnTo>
                    <a:pt x="429" y="48"/>
                  </a:lnTo>
                  <a:lnTo>
                    <a:pt x="438" y="56"/>
                  </a:lnTo>
                  <a:lnTo>
                    <a:pt x="461" y="48"/>
                  </a:lnTo>
                  <a:lnTo>
                    <a:pt x="461" y="56"/>
                  </a:lnTo>
                  <a:lnTo>
                    <a:pt x="470" y="48"/>
                  </a:lnTo>
                  <a:lnTo>
                    <a:pt x="479" y="56"/>
                  </a:lnTo>
                  <a:lnTo>
                    <a:pt x="504" y="56"/>
                  </a:lnTo>
                  <a:lnTo>
                    <a:pt x="510" y="56"/>
                  </a:lnTo>
                  <a:lnTo>
                    <a:pt x="519" y="63"/>
                  </a:lnTo>
                  <a:lnTo>
                    <a:pt x="519" y="72"/>
                  </a:lnTo>
                  <a:lnTo>
                    <a:pt x="479" y="72"/>
                  </a:lnTo>
                  <a:lnTo>
                    <a:pt x="470" y="97"/>
                  </a:lnTo>
                  <a:lnTo>
                    <a:pt x="479" y="88"/>
                  </a:lnTo>
                  <a:lnTo>
                    <a:pt x="470" y="122"/>
                  </a:lnTo>
                  <a:lnTo>
                    <a:pt x="470" y="137"/>
                  </a:lnTo>
                  <a:lnTo>
                    <a:pt x="470" y="145"/>
                  </a:lnTo>
                  <a:lnTo>
                    <a:pt x="479" y="145"/>
                  </a:lnTo>
                  <a:lnTo>
                    <a:pt x="485" y="137"/>
                  </a:lnTo>
                  <a:lnTo>
                    <a:pt x="485" y="103"/>
                  </a:lnTo>
                  <a:lnTo>
                    <a:pt x="494" y="88"/>
                  </a:lnTo>
                  <a:lnTo>
                    <a:pt x="504" y="81"/>
                  </a:lnTo>
                  <a:lnTo>
                    <a:pt x="504" y="72"/>
                  </a:lnTo>
                  <a:lnTo>
                    <a:pt x="526" y="81"/>
                  </a:lnTo>
                  <a:lnTo>
                    <a:pt x="526" y="97"/>
                  </a:lnTo>
                  <a:lnTo>
                    <a:pt x="519" y="113"/>
                  </a:lnTo>
                  <a:lnTo>
                    <a:pt x="535" y="103"/>
                  </a:lnTo>
                  <a:lnTo>
                    <a:pt x="535" y="122"/>
                  </a:lnTo>
                  <a:lnTo>
                    <a:pt x="544" y="122"/>
                  </a:lnTo>
                  <a:lnTo>
                    <a:pt x="526" y="145"/>
                  </a:lnTo>
                  <a:lnTo>
                    <a:pt x="535" y="145"/>
                  </a:lnTo>
                  <a:lnTo>
                    <a:pt x="551" y="145"/>
                  </a:lnTo>
                  <a:lnTo>
                    <a:pt x="584" y="122"/>
                  </a:lnTo>
                  <a:lnTo>
                    <a:pt x="584" y="113"/>
                  </a:lnTo>
                  <a:lnTo>
                    <a:pt x="616" y="113"/>
                  </a:lnTo>
                  <a:lnTo>
                    <a:pt x="616" y="97"/>
                  </a:lnTo>
                  <a:lnTo>
                    <a:pt x="632" y="88"/>
                  </a:lnTo>
                  <a:lnTo>
                    <a:pt x="672" y="88"/>
                  </a:lnTo>
                  <a:lnTo>
                    <a:pt x="690" y="81"/>
                  </a:lnTo>
                  <a:lnTo>
                    <a:pt x="706" y="40"/>
                  </a:lnTo>
                  <a:lnTo>
                    <a:pt x="713" y="48"/>
                  </a:lnTo>
                  <a:lnTo>
                    <a:pt x="721" y="40"/>
                  </a:lnTo>
                  <a:lnTo>
                    <a:pt x="721" y="48"/>
                  </a:lnTo>
                  <a:lnTo>
                    <a:pt x="730" y="72"/>
                  </a:lnTo>
                  <a:lnTo>
                    <a:pt x="738" y="81"/>
                  </a:lnTo>
                  <a:lnTo>
                    <a:pt x="738" y="88"/>
                  </a:lnTo>
                  <a:lnTo>
                    <a:pt x="730" y="97"/>
                  </a:lnTo>
                  <a:lnTo>
                    <a:pt x="713" y="97"/>
                  </a:lnTo>
                  <a:lnTo>
                    <a:pt x="681" y="128"/>
                  </a:lnTo>
                  <a:lnTo>
                    <a:pt x="690" y="145"/>
                  </a:lnTo>
                  <a:lnTo>
                    <a:pt x="696" y="137"/>
                  </a:lnTo>
                  <a:lnTo>
                    <a:pt x="696" y="153"/>
                  </a:lnTo>
                  <a:lnTo>
                    <a:pt x="672" y="145"/>
                  </a:lnTo>
                  <a:lnTo>
                    <a:pt x="656" y="153"/>
                  </a:lnTo>
                  <a:lnTo>
                    <a:pt x="647" y="162"/>
                  </a:lnTo>
                  <a:lnTo>
                    <a:pt x="641" y="194"/>
                  </a:lnTo>
                  <a:lnTo>
                    <a:pt x="632" y="185"/>
                  </a:lnTo>
                  <a:lnTo>
                    <a:pt x="632" y="194"/>
                  </a:lnTo>
                  <a:lnTo>
                    <a:pt x="624" y="218"/>
                  </a:lnTo>
                  <a:lnTo>
                    <a:pt x="624" y="202"/>
                  </a:lnTo>
                  <a:lnTo>
                    <a:pt x="616" y="194"/>
                  </a:lnTo>
                  <a:lnTo>
                    <a:pt x="616" y="178"/>
                  </a:lnTo>
                  <a:lnTo>
                    <a:pt x="607" y="194"/>
                  </a:lnTo>
                  <a:lnTo>
                    <a:pt x="616" y="218"/>
                  </a:lnTo>
                  <a:lnTo>
                    <a:pt x="624" y="242"/>
                  </a:lnTo>
                  <a:lnTo>
                    <a:pt x="616" y="259"/>
                  </a:lnTo>
                  <a:lnTo>
                    <a:pt x="584" y="274"/>
                  </a:lnTo>
                  <a:lnTo>
                    <a:pt x="559" y="299"/>
                  </a:lnTo>
                  <a:lnTo>
                    <a:pt x="551" y="315"/>
                  </a:lnTo>
                  <a:lnTo>
                    <a:pt x="567" y="371"/>
                  </a:lnTo>
                  <a:lnTo>
                    <a:pt x="567" y="396"/>
                  </a:lnTo>
                  <a:lnTo>
                    <a:pt x="559" y="396"/>
                  </a:lnTo>
                  <a:lnTo>
                    <a:pt x="551" y="387"/>
                  </a:lnTo>
                  <a:lnTo>
                    <a:pt x="535" y="371"/>
                  </a:lnTo>
                  <a:lnTo>
                    <a:pt x="535" y="339"/>
                  </a:lnTo>
                  <a:lnTo>
                    <a:pt x="519" y="324"/>
                  </a:lnTo>
                  <a:lnTo>
                    <a:pt x="504" y="331"/>
                  </a:lnTo>
                  <a:lnTo>
                    <a:pt x="504" y="324"/>
                  </a:lnTo>
                  <a:lnTo>
                    <a:pt x="454" y="324"/>
                  </a:lnTo>
                  <a:lnTo>
                    <a:pt x="445" y="331"/>
                  </a:lnTo>
                  <a:lnTo>
                    <a:pt x="454" y="339"/>
                  </a:lnTo>
                  <a:lnTo>
                    <a:pt x="429" y="339"/>
                  </a:lnTo>
                  <a:lnTo>
                    <a:pt x="420" y="331"/>
                  </a:lnTo>
                  <a:lnTo>
                    <a:pt x="397" y="331"/>
                  </a:lnTo>
                  <a:lnTo>
                    <a:pt x="380" y="339"/>
                  </a:lnTo>
                  <a:lnTo>
                    <a:pt x="348" y="364"/>
                  </a:lnTo>
                  <a:lnTo>
                    <a:pt x="348" y="387"/>
                  </a:lnTo>
                  <a:lnTo>
                    <a:pt x="323" y="380"/>
                  </a:lnTo>
                  <a:lnTo>
                    <a:pt x="292" y="331"/>
                  </a:lnTo>
                  <a:lnTo>
                    <a:pt x="283" y="331"/>
                  </a:lnTo>
                  <a:lnTo>
                    <a:pt x="276" y="339"/>
                  </a:lnTo>
                  <a:lnTo>
                    <a:pt x="268" y="339"/>
                  </a:lnTo>
                  <a:lnTo>
                    <a:pt x="252" y="331"/>
                  </a:lnTo>
                  <a:lnTo>
                    <a:pt x="252" y="315"/>
                  </a:lnTo>
                  <a:lnTo>
                    <a:pt x="234" y="299"/>
                  </a:lnTo>
                  <a:lnTo>
                    <a:pt x="169" y="308"/>
                  </a:lnTo>
                  <a:lnTo>
                    <a:pt x="121" y="290"/>
                  </a:lnTo>
                  <a:lnTo>
                    <a:pt x="97" y="290"/>
                  </a:lnTo>
                  <a:lnTo>
                    <a:pt x="88" y="274"/>
                  </a:lnTo>
                  <a:lnTo>
                    <a:pt x="81" y="274"/>
                  </a:lnTo>
                  <a:lnTo>
                    <a:pt x="81" y="267"/>
                  </a:lnTo>
                  <a:lnTo>
                    <a:pt x="47" y="259"/>
                  </a:lnTo>
                  <a:lnTo>
                    <a:pt x="47" y="250"/>
                  </a:lnTo>
                  <a:lnTo>
                    <a:pt x="32" y="234"/>
                  </a:lnTo>
                  <a:lnTo>
                    <a:pt x="32" y="218"/>
                  </a:lnTo>
                  <a:lnTo>
                    <a:pt x="24" y="218"/>
                  </a:lnTo>
                  <a:lnTo>
                    <a:pt x="24" y="210"/>
                  </a:lnTo>
                  <a:lnTo>
                    <a:pt x="32" y="210"/>
                  </a:lnTo>
                  <a:lnTo>
                    <a:pt x="32" y="202"/>
                  </a:lnTo>
                  <a:lnTo>
                    <a:pt x="24" y="202"/>
                  </a:lnTo>
                  <a:lnTo>
                    <a:pt x="7" y="185"/>
                  </a:lnTo>
                  <a:lnTo>
                    <a:pt x="7" y="178"/>
                  </a:lnTo>
                  <a:lnTo>
                    <a:pt x="0" y="169"/>
                  </a:lnTo>
                  <a:lnTo>
                    <a:pt x="7" y="145"/>
                  </a:lnTo>
                  <a:lnTo>
                    <a:pt x="0" y="122"/>
                  </a:lnTo>
                  <a:lnTo>
                    <a:pt x="7" y="63"/>
                  </a:lnTo>
                  <a:lnTo>
                    <a:pt x="0" y="23"/>
                  </a:lnTo>
                  <a:lnTo>
                    <a:pt x="16" y="23"/>
                  </a:lnTo>
                  <a:lnTo>
                    <a:pt x="16" y="40"/>
                  </a:lnTo>
                  <a:lnTo>
                    <a:pt x="24" y="40"/>
                  </a:lnTo>
                  <a:lnTo>
                    <a:pt x="24" y="8"/>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9" name="Freeform 125">
              <a:extLst>
                <a:ext uri="{FF2B5EF4-FFF2-40B4-BE49-F238E27FC236}">
                  <a16:creationId xmlns:a16="http://schemas.microsoft.com/office/drawing/2014/main" id="{7A0B0868-F12E-4E4B-8893-0A028A7B6F02}"/>
                </a:ext>
              </a:extLst>
            </p:cNvPr>
            <p:cNvSpPr>
              <a:spLocks/>
            </p:cNvSpPr>
            <p:nvPr/>
          </p:nvSpPr>
          <p:spPr bwMode="auto">
            <a:xfrm>
              <a:off x="1455738" y="2352675"/>
              <a:ext cx="920750" cy="806450"/>
            </a:xfrm>
            <a:custGeom>
              <a:avLst/>
              <a:gdLst>
                <a:gd name="T0" fmla="*/ 2147483647 w 480"/>
                <a:gd name="T1" fmla="*/ 2147483647 h 494"/>
                <a:gd name="T2" fmla="*/ 2147483647 w 480"/>
                <a:gd name="T3" fmla="*/ 2147483647 h 494"/>
                <a:gd name="T4" fmla="*/ 2147483647 w 480"/>
                <a:gd name="T5" fmla="*/ 2147483647 h 494"/>
                <a:gd name="T6" fmla="*/ 2147483647 w 480"/>
                <a:gd name="T7" fmla="*/ 2147483647 h 494"/>
                <a:gd name="T8" fmla="*/ 2147483647 w 480"/>
                <a:gd name="T9" fmla="*/ 2147483647 h 494"/>
                <a:gd name="T10" fmla="*/ 2147483647 w 480"/>
                <a:gd name="T11" fmla="*/ 2147483647 h 494"/>
                <a:gd name="T12" fmla="*/ 2147483647 w 480"/>
                <a:gd name="T13" fmla="*/ 2147483647 h 494"/>
                <a:gd name="T14" fmla="*/ 2147483647 w 480"/>
                <a:gd name="T15" fmla="*/ 2147483647 h 494"/>
                <a:gd name="T16" fmla="*/ 2147483647 w 480"/>
                <a:gd name="T17" fmla="*/ 2147483647 h 494"/>
                <a:gd name="T18" fmla="*/ 2147483647 w 480"/>
                <a:gd name="T19" fmla="*/ 2147483647 h 494"/>
                <a:gd name="T20" fmla="*/ 2147483647 w 480"/>
                <a:gd name="T21" fmla="*/ 2147483647 h 494"/>
                <a:gd name="T22" fmla="*/ 2147483647 w 480"/>
                <a:gd name="T23" fmla="*/ 2147483647 h 494"/>
                <a:gd name="T24" fmla="*/ 2147483647 w 480"/>
                <a:gd name="T25" fmla="*/ 2147483647 h 494"/>
                <a:gd name="T26" fmla="*/ 2147483647 w 480"/>
                <a:gd name="T27" fmla="*/ 2147483647 h 494"/>
                <a:gd name="T28" fmla="*/ 2147483647 w 480"/>
                <a:gd name="T29" fmla="*/ 2147483647 h 494"/>
                <a:gd name="T30" fmla="*/ 2147483647 w 480"/>
                <a:gd name="T31" fmla="*/ 2147483647 h 494"/>
                <a:gd name="T32" fmla="*/ 2147483647 w 480"/>
                <a:gd name="T33" fmla="*/ 2147483647 h 494"/>
                <a:gd name="T34" fmla="*/ 2147483647 w 480"/>
                <a:gd name="T35" fmla="*/ 2147483647 h 494"/>
                <a:gd name="T36" fmla="*/ 2147483647 w 480"/>
                <a:gd name="T37" fmla="*/ 2147483647 h 494"/>
                <a:gd name="T38" fmla="*/ 0 w 480"/>
                <a:gd name="T39" fmla="*/ 2147483647 h 494"/>
                <a:gd name="T40" fmla="*/ 2147483647 w 480"/>
                <a:gd name="T41" fmla="*/ 2147483647 h 494"/>
                <a:gd name="T42" fmla="*/ 2147483647 w 480"/>
                <a:gd name="T43" fmla="*/ 2147483647 h 494"/>
                <a:gd name="T44" fmla="*/ 2147483647 w 480"/>
                <a:gd name="T45" fmla="*/ 2147483647 h 494"/>
                <a:gd name="T46" fmla="*/ 2147483647 w 480"/>
                <a:gd name="T47" fmla="*/ 2147483647 h 494"/>
                <a:gd name="T48" fmla="*/ 2147483647 w 480"/>
                <a:gd name="T49" fmla="*/ 2147483647 h 494"/>
                <a:gd name="T50" fmla="*/ 2147483647 w 480"/>
                <a:gd name="T51" fmla="*/ 2147483647 h 494"/>
                <a:gd name="T52" fmla="*/ 2147483647 w 480"/>
                <a:gd name="T53" fmla="*/ 2147483647 h 494"/>
                <a:gd name="T54" fmla="*/ 2147483647 w 480"/>
                <a:gd name="T55" fmla="*/ 2147483647 h 494"/>
                <a:gd name="T56" fmla="*/ 2147483647 w 480"/>
                <a:gd name="T57" fmla="*/ 2147483647 h 494"/>
                <a:gd name="T58" fmla="*/ 2147483647 w 480"/>
                <a:gd name="T59" fmla="*/ 2147483647 h 494"/>
                <a:gd name="T60" fmla="*/ 2147483647 w 480"/>
                <a:gd name="T61" fmla="*/ 2147483647 h 494"/>
                <a:gd name="T62" fmla="*/ 2147483647 w 480"/>
                <a:gd name="T63" fmla="*/ 2147483647 h 494"/>
                <a:gd name="T64" fmla="*/ 2147483647 w 480"/>
                <a:gd name="T65" fmla="*/ 2147483647 h 494"/>
                <a:gd name="T66" fmla="*/ 2147483647 w 480"/>
                <a:gd name="T67" fmla="*/ 2147483647 h 494"/>
                <a:gd name="T68" fmla="*/ 2147483647 w 480"/>
                <a:gd name="T69" fmla="*/ 2147483647 h 494"/>
                <a:gd name="T70" fmla="*/ 2147483647 w 480"/>
                <a:gd name="T71" fmla="*/ 2147483647 h 494"/>
                <a:gd name="T72" fmla="*/ 2147483647 w 480"/>
                <a:gd name="T73" fmla="*/ 2147483647 h 494"/>
                <a:gd name="T74" fmla="*/ 2147483647 w 480"/>
                <a:gd name="T75" fmla="*/ 2147483647 h 494"/>
                <a:gd name="T76" fmla="*/ 2147483647 w 480"/>
                <a:gd name="T77" fmla="*/ 2147483647 h 494"/>
                <a:gd name="T78" fmla="*/ 2147483647 w 480"/>
                <a:gd name="T79" fmla="*/ 2147483647 h 494"/>
                <a:gd name="T80" fmla="*/ 2147483647 w 480"/>
                <a:gd name="T81" fmla="*/ 2147483647 h 494"/>
                <a:gd name="T82" fmla="*/ 2147483647 w 480"/>
                <a:gd name="T83" fmla="*/ 2147483647 h 494"/>
                <a:gd name="T84" fmla="*/ 2147483647 w 480"/>
                <a:gd name="T85" fmla="*/ 2147483647 h 494"/>
                <a:gd name="T86" fmla="*/ 2147483647 w 480"/>
                <a:gd name="T87" fmla="*/ 2147483647 h 494"/>
                <a:gd name="T88" fmla="*/ 2147483647 w 480"/>
                <a:gd name="T89" fmla="*/ 2147483647 h 494"/>
                <a:gd name="T90" fmla="*/ 2147483647 w 480"/>
                <a:gd name="T91" fmla="*/ 2147483647 h 494"/>
                <a:gd name="T92" fmla="*/ 2147483647 w 480"/>
                <a:gd name="T93" fmla="*/ 2147483647 h 494"/>
                <a:gd name="T94" fmla="*/ 2147483647 w 480"/>
                <a:gd name="T95" fmla="*/ 2147483647 h 494"/>
                <a:gd name="T96" fmla="*/ 2147483647 w 480"/>
                <a:gd name="T97" fmla="*/ 2147483647 h 494"/>
                <a:gd name="T98" fmla="*/ 2147483647 w 480"/>
                <a:gd name="T99" fmla="*/ 2147483647 h 494"/>
                <a:gd name="T100" fmla="*/ 2147483647 w 480"/>
                <a:gd name="T101" fmla="*/ 2147483647 h 494"/>
                <a:gd name="T102" fmla="*/ 2147483647 w 480"/>
                <a:gd name="T103" fmla="*/ 2147483647 h 494"/>
                <a:gd name="T104" fmla="*/ 2147483647 w 480"/>
                <a:gd name="T105" fmla="*/ 2147483647 h 494"/>
                <a:gd name="T106" fmla="*/ 2147483647 w 480"/>
                <a:gd name="T107" fmla="*/ 2147483647 h 494"/>
                <a:gd name="T108" fmla="*/ 2147483647 w 480"/>
                <a:gd name="T109" fmla="*/ 2147483647 h 494"/>
                <a:gd name="T110" fmla="*/ 2147483647 w 480"/>
                <a:gd name="T111" fmla="*/ 2147483647 h 494"/>
                <a:gd name="T112" fmla="*/ 2147483647 w 480"/>
                <a:gd name="T113" fmla="*/ 2147483647 h 494"/>
                <a:gd name="T114" fmla="*/ 2147483647 w 480"/>
                <a:gd name="T115" fmla="*/ 2147483647 h 494"/>
                <a:gd name="T116" fmla="*/ 2147483647 w 480"/>
                <a:gd name="T117" fmla="*/ 2147483647 h 494"/>
                <a:gd name="T118" fmla="*/ 2147483647 w 480"/>
                <a:gd name="T119" fmla="*/ 2147483647 h 494"/>
                <a:gd name="T120" fmla="*/ 2147483647 w 480"/>
                <a:gd name="T121" fmla="*/ 2147483647 h 49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80"/>
                <a:gd name="T184" fmla="*/ 0 h 494"/>
                <a:gd name="T185" fmla="*/ 480 w 480"/>
                <a:gd name="T186" fmla="*/ 494 h 49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80" h="494">
                  <a:moveTo>
                    <a:pt x="479" y="478"/>
                  </a:moveTo>
                  <a:lnTo>
                    <a:pt x="479" y="453"/>
                  </a:lnTo>
                  <a:lnTo>
                    <a:pt x="455" y="438"/>
                  </a:lnTo>
                  <a:lnTo>
                    <a:pt x="432" y="388"/>
                  </a:lnTo>
                  <a:lnTo>
                    <a:pt x="423" y="388"/>
                  </a:lnTo>
                  <a:lnTo>
                    <a:pt x="414" y="365"/>
                  </a:lnTo>
                  <a:lnTo>
                    <a:pt x="398" y="372"/>
                  </a:lnTo>
                  <a:lnTo>
                    <a:pt x="389" y="381"/>
                  </a:lnTo>
                  <a:lnTo>
                    <a:pt x="366" y="356"/>
                  </a:lnTo>
                  <a:lnTo>
                    <a:pt x="366" y="348"/>
                  </a:lnTo>
                  <a:lnTo>
                    <a:pt x="341" y="356"/>
                  </a:lnTo>
                  <a:lnTo>
                    <a:pt x="341" y="348"/>
                  </a:lnTo>
                  <a:lnTo>
                    <a:pt x="341" y="65"/>
                  </a:lnTo>
                  <a:lnTo>
                    <a:pt x="317" y="49"/>
                  </a:lnTo>
                  <a:lnTo>
                    <a:pt x="293" y="57"/>
                  </a:lnTo>
                  <a:lnTo>
                    <a:pt x="276" y="49"/>
                  </a:lnTo>
                  <a:lnTo>
                    <a:pt x="261" y="49"/>
                  </a:lnTo>
                  <a:lnTo>
                    <a:pt x="236" y="33"/>
                  </a:lnTo>
                  <a:lnTo>
                    <a:pt x="202" y="33"/>
                  </a:lnTo>
                  <a:lnTo>
                    <a:pt x="196" y="17"/>
                  </a:lnTo>
                  <a:lnTo>
                    <a:pt x="171" y="17"/>
                  </a:lnTo>
                  <a:lnTo>
                    <a:pt x="162" y="8"/>
                  </a:lnTo>
                  <a:lnTo>
                    <a:pt x="147" y="0"/>
                  </a:lnTo>
                  <a:lnTo>
                    <a:pt x="131" y="17"/>
                  </a:lnTo>
                  <a:lnTo>
                    <a:pt x="114" y="24"/>
                  </a:lnTo>
                  <a:lnTo>
                    <a:pt x="90" y="42"/>
                  </a:lnTo>
                  <a:lnTo>
                    <a:pt x="82" y="42"/>
                  </a:lnTo>
                  <a:lnTo>
                    <a:pt x="65" y="57"/>
                  </a:lnTo>
                  <a:lnTo>
                    <a:pt x="59" y="89"/>
                  </a:lnTo>
                  <a:lnTo>
                    <a:pt x="25" y="98"/>
                  </a:lnTo>
                  <a:lnTo>
                    <a:pt x="18" y="114"/>
                  </a:lnTo>
                  <a:lnTo>
                    <a:pt x="50" y="139"/>
                  </a:lnTo>
                  <a:lnTo>
                    <a:pt x="59" y="154"/>
                  </a:lnTo>
                  <a:lnTo>
                    <a:pt x="74" y="179"/>
                  </a:lnTo>
                  <a:lnTo>
                    <a:pt x="74" y="186"/>
                  </a:lnTo>
                  <a:lnTo>
                    <a:pt x="50" y="186"/>
                  </a:lnTo>
                  <a:lnTo>
                    <a:pt x="50" y="170"/>
                  </a:lnTo>
                  <a:lnTo>
                    <a:pt x="40" y="170"/>
                  </a:lnTo>
                  <a:lnTo>
                    <a:pt x="9" y="186"/>
                  </a:lnTo>
                  <a:lnTo>
                    <a:pt x="0" y="202"/>
                  </a:lnTo>
                  <a:lnTo>
                    <a:pt x="18" y="211"/>
                  </a:lnTo>
                  <a:lnTo>
                    <a:pt x="18" y="219"/>
                  </a:lnTo>
                  <a:lnTo>
                    <a:pt x="18" y="226"/>
                  </a:lnTo>
                  <a:lnTo>
                    <a:pt x="34" y="235"/>
                  </a:lnTo>
                  <a:lnTo>
                    <a:pt x="50" y="235"/>
                  </a:lnTo>
                  <a:lnTo>
                    <a:pt x="65" y="235"/>
                  </a:lnTo>
                  <a:lnTo>
                    <a:pt x="82" y="226"/>
                  </a:lnTo>
                  <a:lnTo>
                    <a:pt x="82" y="235"/>
                  </a:lnTo>
                  <a:lnTo>
                    <a:pt x="90" y="251"/>
                  </a:lnTo>
                  <a:lnTo>
                    <a:pt x="82" y="267"/>
                  </a:lnTo>
                  <a:lnTo>
                    <a:pt x="65" y="267"/>
                  </a:lnTo>
                  <a:lnTo>
                    <a:pt x="59" y="276"/>
                  </a:lnTo>
                  <a:lnTo>
                    <a:pt x="50" y="276"/>
                  </a:lnTo>
                  <a:lnTo>
                    <a:pt x="40" y="276"/>
                  </a:lnTo>
                  <a:lnTo>
                    <a:pt x="25" y="316"/>
                  </a:lnTo>
                  <a:lnTo>
                    <a:pt x="50" y="365"/>
                  </a:lnTo>
                  <a:lnTo>
                    <a:pt x="59" y="365"/>
                  </a:lnTo>
                  <a:lnTo>
                    <a:pt x="74" y="356"/>
                  </a:lnTo>
                  <a:lnTo>
                    <a:pt x="74" y="372"/>
                  </a:lnTo>
                  <a:lnTo>
                    <a:pt x="74" y="381"/>
                  </a:lnTo>
                  <a:lnTo>
                    <a:pt x="82" y="388"/>
                  </a:lnTo>
                  <a:lnTo>
                    <a:pt x="106" y="388"/>
                  </a:lnTo>
                  <a:lnTo>
                    <a:pt x="114" y="396"/>
                  </a:lnTo>
                  <a:lnTo>
                    <a:pt x="114" y="388"/>
                  </a:lnTo>
                  <a:lnTo>
                    <a:pt x="131" y="388"/>
                  </a:lnTo>
                  <a:lnTo>
                    <a:pt x="131" y="406"/>
                  </a:lnTo>
                  <a:lnTo>
                    <a:pt x="131" y="421"/>
                  </a:lnTo>
                  <a:lnTo>
                    <a:pt x="90" y="453"/>
                  </a:lnTo>
                  <a:lnTo>
                    <a:pt x="65" y="462"/>
                  </a:lnTo>
                  <a:lnTo>
                    <a:pt x="59" y="471"/>
                  </a:lnTo>
                  <a:lnTo>
                    <a:pt x="34" y="487"/>
                  </a:lnTo>
                  <a:lnTo>
                    <a:pt x="40" y="493"/>
                  </a:lnTo>
                  <a:lnTo>
                    <a:pt x="82" y="471"/>
                  </a:lnTo>
                  <a:lnTo>
                    <a:pt x="114" y="453"/>
                  </a:lnTo>
                  <a:lnTo>
                    <a:pt x="122" y="446"/>
                  </a:lnTo>
                  <a:lnTo>
                    <a:pt x="139" y="429"/>
                  </a:lnTo>
                  <a:lnTo>
                    <a:pt x="179" y="396"/>
                  </a:lnTo>
                  <a:lnTo>
                    <a:pt x="187" y="388"/>
                  </a:lnTo>
                  <a:lnTo>
                    <a:pt x="171" y="381"/>
                  </a:lnTo>
                  <a:lnTo>
                    <a:pt x="179" y="372"/>
                  </a:lnTo>
                  <a:lnTo>
                    <a:pt x="196" y="356"/>
                  </a:lnTo>
                  <a:lnTo>
                    <a:pt x="196" y="341"/>
                  </a:lnTo>
                  <a:lnTo>
                    <a:pt x="221" y="325"/>
                  </a:lnTo>
                  <a:lnTo>
                    <a:pt x="227" y="325"/>
                  </a:lnTo>
                  <a:lnTo>
                    <a:pt x="221" y="332"/>
                  </a:lnTo>
                  <a:lnTo>
                    <a:pt x="211" y="341"/>
                  </a:lnTo>
                  <a:lnTo>
                    <a:pt x="202" y="365"/>
                  </a:lnTo>
                  <a:lnTo>
                    <a:pt x="211" y="372"/>
                  </a:lnTo>
                  <a:lnTo>
                    <a:pt x="202" y="381"/>
                  </a:lnTo>
                  <a:lnTo>
                    <a:pt x="211" y="381"/>
                  </a:lnTo>
                  <a:lnTo>
                    <a:pt x="236" y="365"/>
                  </a:lnTo>
                  <a:lnTo>
                    <a:pt x="243" y="365"/>
                  </a:lnTo>
                  <a:lnTo>
                    <a:pt x="252" y="348"/>
                  </a:lnTo>
                  <a:lnTo>
                    <a:pt x="243" y="332"/>
                  </a:lnTo>
                  <a:lnTo>
                    <a:pt x="268" y="341"/>
                  </a:lnTo>
                  <a:lnTo>
                    <a:pt x="301" y="356"/>
                  </a:lnTo>
                  <a:lnTo>
                    <a:pt x="324" y="356"/>
                  </a:lnTo>
                  <a:lnTo>
                    <a:pt x="349" y="365"/>
                  </a:lnTo>
                  <a:lnTo>
                    <a:pt x="358" y="365"/>
                  </a:lnTo>
                  <a:lnTo>
                    <a:pt x="358" y="372"/>
                  </a:lnTo>
                  <a:lnTo>
                    <a:pt x="398" y="406"/>
                  </a:lnTo>
                  <a:lnTo>
                    <a:pt x="423" y="453"/>
                  </a:lnTo>
                  <a:lnTo>
                    <a:pt x="414" y="413"/>
                  </a:lnTo>
                  <a:lnTo>
                    <a:pt x="407" y="406"/>
                  </a:lnTo>
                  <a:lnTo>
                    <a:pt x="414" y="406"/>
                  </a:lnTo>
                  <a:lnTo>
                    <a:pt x="414" y="388"/>
                  </a:lnTo>
                  <a:lnTo>
                    <a:pt x="423" y="429"/>
                  </a:lnTo>
                  <a:lnTo>
                    <a:pt x="432" y="421"/>
                  </a:lnTo>
                  <a:lnTo>
                    <a:pt x="447" y="438"/>
                  </a:lnTo>
                  <a:lnTo>
                    <a:pt x="432" y="429"/>
                  </a:lnTo>
                  <a:lnTo>
                    <a:pt x="432" y="438"/>
                  </a:lnTo>
                  <a:lnTo>
                    <a:pt x="432" y="453"/>
                  </a:lnTo>
                  <a:lnTo>
                    <a:pt x="438" y="446"/>
                  </a:lnTo>
                  <a:lnTo>
                    <a:pt x="438" y="462"/>
                  </a:lnTo>
                  <a:lnTo>
                    <a:pt x="455" y="487"/>
                  </a:lnTo>
                  <a:lnTo>
                    <a:pt x="455" y="471"/>
                  </a:lnTo>
                  <a:lnTo>
                    <a:pt x="447" y="453"/>
                  </a:lnTo>
                  <a:lnTo>
                    <a:pt x="455" y="453"/>
                  </a:lnTo>
                  <a:lnTo>
                    <a:pt x="455" y="462"/>
                  </a:lnTo>
                  <a:lnTo>
                    <a:pt x="463" y="478"/>
                  </a:lnTo>
                  <a:lnTo>
                    <a:pt x="472" y="487"/>
                  </a:lnTo>
                  <a:lnTo>
                    <a:pt x="479" y="478"/>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0" name="Freeform 126">
              <a:extLst>
                <a:ext uri="{FF2B5EF4-FFF2-40B4-BE49-F238E27FC236}">
                  <a16:creationId xmlns:a16="http://schemas.microsoft.com/office/drawing/2014/main" id="{54D7EC34-C865-456F-B0DC-6E5E56CF4E5A}"/>
                </a:ext>
              </a:extLst>
            </p:cNvPr>
            <p:cNvSpPr>
              <a:spLocks/>
            </p:cNvSpPr>
            <p:nvPr/>
          </p:nvSpPr>
          <p:spPr bwMode="auto">
            <a:xfrm>
              <a:off x="2109788" y="2154238"/>
              <a:ext cx="2098675" cy="1401762"/>
            </a:xfrm>
            <a:custGeom>
              <a:avLst/>
              <a:gdLst>
                <a:gd name="T0" fmla="*/ 2147483647 w 1096"/>
                <a:gd name="T1" fmla="*/ 2147483647 h 860"/>
                <a:gd name="T2" fmla="*/ 2147483647 w 1096"/>
                <a:gd name="T3" fmla="*/ 2147483647 h 860"/>
                <a:gd name="T4" fmla="*/ 2147483647 w 1096"/>
                <a:gd name="T5" fmla="*/ 2147483647 h 860"/>
                <a:gd name="T6" fmla="*/ 2147483647 w 1096"/>
                <a:gd name="T7" fmla="*/ 2147483647 h 860"/>
                <a:gd name="T8" fmla="*/ 2147483647 w 1096"/>
                <a:gd name="T9" fmla="*/ 2147483647 h 860"/>
                <a:gd name="T10" fmla="*/ 2147483647 w 1096"/>
                <a:gd name="T11" fmla="*/ 2147483647 h 860"/>
                <a:gd name="T12" fmla="*/ 2147483647 w 1096"/>
                <a:gd name="T13" fmla="*/ 2147483647 h 860"/>
                <a:gd name="T14" fmla="*/ 2147483647 w 1096"/>
                <a:gd name="T15" fmla="*/ 2147483647 h 860"/>
                <a:gd name="T16" fmla="*/ 2147483647 w 1096"/>
                <a:gd name="T17" fmla="*/ 2147483647 h 860"/>
                <a:gd name="T18" fmla="*/ 2147483647 w 1096"/>
                <a:gd name="T19" fmla="*/ 2147483647 h 860"/>
                <a:gd name="T20" fmla="*/ 0 w 1096"/>
                <a:gd name="T21" fmla="*/ 2147483647 h 860"/>
                <a:gd name="T22" fmla="*/ 2147483647 w 1096"/>
                <a:gd name="T23" fmla="*/ 2147483647 h 860"/>
                <a:gd name="T24" fmla="*/ 2147483647 w 1096"/>
                <a:gd name="T25" fmla="*/ 2147483647 h 860"/>
                <a:gd name="T26" fmla="*/ 2147483647 w 1096"/>
                <a:gd name="T27" fmla="*/ 2147483647 h 860"/>
                <a:gd name="T28" fmla="*/ 2147483647 w 1096"/>
                <a:gd name="T29" fmla="*/ 2147483647 h 860"/>
                <a:gd name="T30" fmla="*/ 2147483647 w 1096"/>
                <a:gd name="T31" fmla="*/ 2147483647 h 860"/>
                <a:gd name="T32" fmla="*/ 2147483647 w 1096"/>
                <a:gd name="T33" fmla="*/ 2147483647 h 860"/>
                <a:gd name="T34" fmla="*/ 2147483647 w 1096"/>
                <a:gd name="T35" fmla="*/ 2147483647 h 860"/>
                <a:gd name="T36" fmla="*/ 2147483647 w 1096"/>
                <a:gd name="T37" fmla="*/ 2147483647 h 860"/>
                <a:gd name="T38" fmla="*/ 2147483647 w 1096"/>
                <a:gd name="T39" fmla="*/ 2147483647 h 860"/>
                <a:gd name="T40" fmla="*/ 2147483647 w 1096"/>
                <a:gd name="T41" fmla="*/ 2147483647 h 860"/>
                <a:gd name="T42" fmla="*/ 2147483647 w 1096"/>
                <a:gd name="T43" fmla="*/ 2147483647 h 860"/>
                <a:gd name="T44" fmla="*/ 2147483647 w 1096"/>
                <a:gd name="T45" fmla="*/ 2147483647 h 860"/>
                <a:gd name="T46" fmla="*/ 2147483647 w 1096"/>
                <a:gd name="T47" fmla="*/ 2147483647 h 860"/>
                <a:gd name="T48" fmla="*/ 2147483647 w 1096"/>
                <a:gd name="T49" fmla="*/ 2147483647 h 860"/>
                <a:gd name="T50" fmla="*/ 2147483647 w 1096"/>
                <a:gd name="T51" fmla="*/ 0 h 860"/>
                <a:gd name="T52" fmla="*/ 2147483647 w 1096"/>
                <a:gd name="T53" fmla="*/ 2147483647 h 860"/>
                <a:gd name="T54" fmla="*/ 2147483647 w 1096"/>
                <a:gd name="T55" fmla="*/ 2147483647 h 860"/>
                <a:gd name="T56" fmla="*/ 2147483647 w 1096"/>
                <a:gd name="T57" fmla="*/ 2147483647 h 860"/>
                <a:gd name="T58" fmla="*/ 2147483647 w 1096"/>
                <a:gd name="T59" fmla="*/ 2147483647 h 860"/>
                <a:gd name="T60" fmla="*/ 2147483647 w 1096"/>
                <a:gd name="T61" fmla="*/ 2147483647 h 860"/>
                <a:gd name="T62" fmla="*/ 2147483647 w 1096"/>
                <a:gd name="T63" fmla="*/ 2147483647 h 860"/>
                <a:gd name="T64" fmla="*/ 2147483647 w 1096"/>
                <a:gd name="T65" fmla="*/ 2147483647 h 860"/>
                <a:gd name="T66" fmla="*/ 2147483647 w 1096"/>
                <a:gd name="T67" fmla="*/ 2147483647 h 860"/>
                <a:gd name="T68" fmla="*/ 2147483647 w 1096"/>
                <a:gd name="T69" fmla="*/ 2147483647 h 860"/>
                <a:gd name="T70" fmla="*/ 2147483647 w 1096"/>
                <a:gd name="T71" fmla="*/ 2147483647 h 860"/>
                <a:gd name="T72" fmla="*/ 2147483647 w 1096"/>
                <a:gd name="T73" fmla="*/ 2147483647 h 860"/>
                <a:gd name="T74" fmla="*/ 2147483647 w 1096"/>
                <a:gd name="T75" fmla="*/ 2147483647 h 860"/>
                <a:gd name="T76" fmla="*/ 2147483647 w 1096"/>
                <a:gd name="T77" fmla="*/ 2147483647 h 860"/>
                <a:gd name="T78" fmla="*/ 2147483647 w 1096"/>
                <a:gd name="T79" fmla="*/ 2147483647 h 860"/>
                <a:gd name="T80" fmla="*/ 2147483647 w 1096"/>
                <a:gd name="T81" fmla="*/ 2147483647 h 860"/>
                <a:gd name="T82" fmla="*/ 2147483647 w 1096"/>
                <a:gd name="T83" fmla="*/ 2147483647 h 860"/>
                <a:gd name="T84" fmla="*/ 2147483647 w 1096"/>
                <a:gd name="T85" fmla="*/ 2147483647 h 860"/>
                <a:gd name="T86" fmla="*/ 2147483647 w 1096"/>
                <a:gd name="T87" fmla="*/ 2147483647 h 860"/>
                <a:gd name="T88" fmla="*/ 2147483647 w 1096"/>
                <a:gd name="T89" fmla="*/ 2147483647 h 860"/>
                <a:gd name="T90" fmla="*/ 2147483647 w 1096"/>
                <a:gd name="T91" fmla="*/ 2147483647 h 860"/>
                <a:gd name="T92" fmla="*/ 2147483647 w 1096"/>
                <a:gd name="T93" fmla="*/ 2147483647 h 860"/>
                <a:gd name="T94" fmla="*/ 2147483647 w 1096"/>
                <a:gd name="T95" fmla="*/ 2147483647 h 860"/>
                <a:gd name="T96" fmla="*/ 2147483647 w 1096"/>
                <a:gd name="T97" fmla="*/ 2147483647 h 860"/>
                <a:gd name="T98" fmla="*/ 2147483647 w 1096"/>
                <a:gd name="T99" fmla="*/ 2147483647 h 860"/>
                <a:gd name="T100" fmla="*/ 2147483647 w 1096"/>
                <a:gd name="T101" fmla="*/ 2147483647 h 860"/>
                <a:gd name="T102" fmla="*/ 2147483647 w 1096"/>
                <a:gd name="T103" fmla="*/ 2147483647 h 860"/>
                <a:gd name="T104" fmla="*/ 2147483647 w 1096"/>
                <a:gd name="T105" fmla="*/ 2147483647 h 860"/>
                <a:gd name="T106" fmla="*/ 2147483647 w 1096"/>
                <a:gd name="T107" fmla="*/ 2147483647 h 860"/>
                <a:gd name="T108" fmla="*/ 2147483647 w 1096"/>
                <a:gd name="T109" fmla="*/ 2147483647 h 860"/>
                <a:gd name="T110" fmla="*/ 2147483647 w 1096"/>
                <a:gd name="T111" fmla="*/ 2147483647 h 860"/>
                <a:gd name="T112" fmla="*/ 2147483647 w 1096"/>
                <a:gd name="T113" fmla="*/ 2147483647 h 860"/>
                <a:gd name="T114" fmla="*/ 2147483647 w 1096"/>
                <a:gd name="T115" fmla="*/ 2147483647 h 860"/>
                <a:gd name="T116" fmla="*/ 2147483647 w 1096"/>
                <a:gd name="T117" fmla="*/ 2147483647 h 860"/>
                <a:gd name="T118" fmla="*/ 2147483647 w 1096"/>
                <a:gd name="T119" fmla="*/ 2147483647 h 860"/>
                <a:gd name="T120" fmla="*/ 2147483647 w 1096"/>
                <a:gd name="T121" fmla="*/ 2147483647 h 860"/>
                <a:gd name="T122" fmla="*/ 2147483647 w 1096"/>
                <a:gd name="T123" fmla="*/ 2147483647 h 86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96"/>
                <a:gd name="T187" fmla="*/ 0 h 860"/>
                <a:gd name="T188" fmla="*/ 1096 w 1096"/>
                <a:gd name="T189" fmla="*/ 860 h 86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96" h="860">
                  <a:moveTo>
                    <a:pt x="796" y="817"/>
                  </a:moveTo>
                  <a:lnTo>
                    <a:pt x="796" y="836"/>
                  </a:lnTo>
                  <a:lnTo>
                    <a:pt x="763" y="842"/>
                  </a:lnTo>
                  <a:lnTo>
                    <a:pt x="756" y="851"/>
                  </a:lnTo>
                  <a:lnTo>
                    <a:pt x="738" y="859"/>
                  </a:lnTo>
                  <a:lnTo>
                    <a:pt x="756" y="836"/>
                  </a:lnTo>
                  <a:lnTo>
                    <a:pt x="747" y="836"/>
                  </a:lnTo>
                  <a:lnTo>
                    <a:pt x="763" y="827"/>
                  </a:lnTo>
                  <a:lnTo>
                    <a:pt x="763" y="795"/>
                  </a:lnTo>
                  <a:lnTo>
                    <a:pt x="779" y="811"/>
                  </a:lnTo>
                  <a:lnTo>
                    <a:pt x="788" y="802"/>
                  </a:lnTo>
                  <a:lnTo>
                    <a:pt x="771" y="786"/>
                  </a:lnTo>
                  <a:lnTo>
                    <a:pt x="731" y="777"/>
                  </a:lnTo>
                  <a:lnTo>
                    <a:pt x="722" y="770"/>
                  </a:lnTo>
                  <a:lnTo>
                    <a:pt x="716" y="746"/>
                  </a:lnTo>
                  <a:lnTo>
                    <a:pt x="706" y="746"/>
                  </a:lnTo>
                  <a:lnTo>
                    <a:pt x="697" y="730"/>
                  </a:lnTo>
                  <a:lnTo>
                    <a:pt x="682" y="722"/>
                  </a:lnTo>
                  <a:lnTo>
                    <a:pt x="657" y="746"/>
                  </a:lnTo>
                  <a:lnTo>
                    <a:pt x="632" y="746"/>
                  </a:lnTo>
                  <a:lnTo>
                    <a:pt x="617" y="730"/>
                  </a:lnTo>
                  <a:lnTo>
                    <a:pt x="601" y="730"/>
                  </a:lnTo>
                  <a:lnTo>
                    <a:pt x="592" y="714"/>
                  </a:lnTo>
                  <a:lnTo>
                    <a:pt x="585" y="722"/>
                  </a:lnTo>
                  <a:lnTo>
                    <a:pt x="236" y="722"/>
                  </a:lnTo>
                  <a:lnTo>
                    <a:pt x="228" y="722"/>
                  </a:lnTo>
                  <a:lnTo>
                    <a:pt x="219" y="714"/>
                  </a:lnTo>
                  <a:lnTo>
                    <a:pt x="171" y="680"/>
                  </a:lnTo>
                  <a:lnTo>
                    <a:pt x="162" y="656"/>
                  </a:lnTo>
                  <a:lnTo>
                    <a:pt x="154" y="649"/>
                  </a:lnTo>
                  <a:lnTo>
                    <a:pt x="131" y="625"/>
                  </a:lnTo>
                  <a:lnTo>
                    <a:pt x="138" y="615"/>
                  </a:lnTo>
                  <a:lnTo>
                    <a:pt x="138" y="600"/>
                  </a:lnTo>
                  <a:lnTo>
                    <a:pt x="138" y="575"/>
                  </a:lnTo>
                  <a:lnTo>
                    <a:pt x="114" y="560"/>
                  </a:lnTo>
                  <a:lnTo>
                    <a:pt x="91" y="510"/>
                  </a:lnTo>
                  <a:lnTo>
                    <a:pt x="82" y="510"/>
                  </a:lnTo>
                  <a:lnTo>
                    <a:pt x="73" y="487"/>
                  </a:lnTo>
                  <a:lnTo>
                    <a:pt x="57" y="494"/>
                  </a:lnTo>
                  <a:lnTo>
                    <a:pt x="48" y="503"/>
                  </a:lnTo>
                  <a:lnTo>
                    <a:pt x="25" y="478"/>
                  </a:lnTo>
                  <a:lnTo>
                    <a:pt x="25" y="470"/>
                  </a:lnTo>
                  <a:lnTo>
                    <a:pt x="0" y="478"/>
                  </a:lnTo>
                  <a:lnTo>
                    <a:pt x="0" y="470"/>
                  </a:lnTo>
                  <a:lnTo>
                    <a:pt x="0" y="187"/>
                  </a:lnTo>
                  <a:lnTo>
                    <a:pt x="17" y="187"/>
                  </a:lnTo>
                  <a:lnTo>
                    <a:pt x="66" y="220"/>
                  </a:lnTo>
                  <a:lnTo>
                    <a:pt x="66" y="202"/>
                  </a:lnTo>
                  <a:lnTo>
                    <a:pt x="73" y="195"/>
                  </a:lnTo>
                  <a:lnTo>
                    <a:pt x="91" y="187"/>
                  </a:lnTo>
                  <a:lnTo>
                    <a:pt x="97" y="195"/>
                  </a:lnTo>
                  <a:lnTo>
                    <a:pt x="147" y="164"/>
                  </a:lnTo>
                  <a:lnTo>
                    <a:pt x="147" y="179"/>
                  </a:lnTo>
                  <a:lnTo>
                    <a:pt x="162" y="179"/>
                  </a:lnTo>
                  <a:lnTo>
                    <a:pt x="171" y="155"/>
                  </a:lnTo>
                  <a:lnTo>
                    <a:pt x="187" y="171"/>
                  </a:lnTo>
                  <a:lnTo>
                    <a:pt x="187" y="187"/>
                  </a:lnTo>
                  <a:lnTo>
                    <a:pt x="203" y="195"/>
                  </a:lnTo>
                  <a:lnTo>
                    <a:pt x="212" y="179"/>
                  </a:lnTo>
                  <a:lnTo>
                    <a:pt x="212" y="195"/>
                  </a:lnTo>
                  <a:lnTo>
                    <a:pt x="228" y="195"/>
                  </a:lnTo>
                  <a:lnTo>
                    <a:pt x="228" y="179"/>
                  </a:lnTo>
                  <a:lnTo>
                    <a:pt x="253" y="179"/>
                  </a:lnTo>
                  <a:lnTo>
                    <a:pt x="268" y="195"/>
                  </a:lnTo>
                  <a:lnTo>
                    <a:pt x="284" y="202"/>
                  </a:lnTo>
                  <a:lnTo>
                    <a:pt x="300" y="211"/>
                  </a:lnTo>
                  <a:lnTo>
                    <a:pt x="318" y="211"/>
                  </a:lnTo>
                  <a:lnTo>
                    <a:pt x="341" y="220"/>
                  </a:lnTo>
                  <a:lnTo>
                    <a:pt x="341" y="236"/>
                  </a:lnTo>
                  <a:lnTo>
                    <a:pt x="333" y="242"/>
                  </a:lnTo>
                  <a:lnTo>
                    <a:pt x="333" y="252"/>
                  </a:lnTo>
                  <a:lnTo>
                    <a:pt x="358" y="261"/>
                  </a:lnTo>
                  <a:lnTo>
                    <a:pt x="398" y="242"/>
                  </a:lnTo>
                  <a:lnTo>
                    <a:pt x="423" y="261"/>
                  </a:lnTo>
                  <a:lnTo>
                    <a:pt x="423" y="242"/>
                  </a:lnTo>
                  <a:lnTo>
                    <a:pt x="415" y="236"/>
                  </a:lnTo>
                  <a:lnTo>
                    <a:pt x="423" y="227"/>
                  </a:lnTo>
                  <a:lnTo>
                    <a:pt x="455" y="211"/>
                  </a:lnTo>
                  <a:lnTo>
                    <a:pt x="464" y="236"/>
                  </a:lnTo>
                  <a:lnTo>
                    <a:pt x="504" y="252"/>
                  </a:lnTo>
                  <a:lnTo>
                    <a:pt x="529" y="261"/>
                  </a:lnTo>
                  <a:lnTo>
                    <a:pt x="544" y="261"/>
                  </a:lnTo>
                  <a:lnTo>
                    <a:pt x="544" y="236"/>
                  </a:lnTo>
                  <a:lnTo>
                    <a:pt x="552" y="227"/>
                  </a:lnTo>
                  <a:lnTo>
                    <a:pt x="529" y="211"/>
                  </a:lnTo>
                  <a:lnTo>
                    <a:pt x="544" y="202"/>
                  </a:lnTo>
                  <a:lnTo>
                    <a:pt x="552" y="179"/>
                  </a:lnTo>
                  <a:lnTo>
                    <a:pt x="569" y="202"/>
                  </a:lnTo>
                  <a:lnTo>
                    <a:pt x="585" y="220"/>
                  </a:lnTo>
                  <a:lnTo>
                    <a:pt x="569" y="236"/>
                  </a:lnTo>
                  <a:lnTo>
                    <a:pt x="569" y="252"/>
                  </a:lnTo>
                  <a:lnTo>
                    <a:pt x="577" y="261"/>
                  </a:lnTo>
                  <a:lnTo>
                    <a:pt x="585" y="242"/>
                  </a:lnTo>
                  <a:lnTo>
                    <a:pt x="601" y="227"/>
                  </a:lnTo>
                  <a:lnTo>
                    <a:pt x="592" y="211"/>
                  </a:lnTo>
                  <a:lnTo>
                    <a:pt x="601" y="195"/>
                  </a:lnTo>
                  <a:lnTo>
                    <a:pt x="585" y="179"/>
                  </a:lnTo>
                  <a:lnTo>
                    <a:pt x="569" y="164"/>
                  </a:lnTo>
                  <a:lnTo>
                    <a:pt x="577" y="114"/>
                  </a:lnTo>
                  <a:lnTo>
                    <a:pt x="592" y="105"/>
                  </a:lnTo>
                  <a:lnTo>
                    <a:pt x="592" y="65"/>
                  </a:lnTo>
                  <a:lnTo>
                    <a:pt x="585" y="25"/>
                  </a:lnTo>
                  <a:lnTo>
                    <a:pt x="585" y="9"/>
                  </a:lnTo>
                  <a:lnTo>
                    <a:pt x="617" y="0"/>
                  </a:lnTo>
                  <a:lnTo>
                    <a:pt x="641" y="9"/>
                  </a:lnTo>
                  <a:lnTo>
                    <a:pt x="650" y="16"/>
                  </a:lnTo>
                  <a:lnTo>
                    <a:pt x="626" y="65"/>
                  </a:lnTo>
                  <a:lnTo>
                    <a:pt x="617" y="65"/>
                  </a:lnTo>
                  <a:lnTo>
                    <a:pt x="601" y="74"/>
                  </a:lnTo>
                  <a:lnTo>
                    <a:pt x="609" y="90"/>
                  </a:lnTo>
                  <a:lnTo>
                    <a:pt x="601" y="99"/>
                  </a:lnTo>
                  <a:lnTo>
                    <a:pt x="632" y="171"/>
                  </a:lnTo>
                  <a:lnTo>
                    <a:pt x="626" y="187"/>
                  </a:lnTo>
                  <a:lnTo>
                    <a:pt x="632" y="195"/>
                  </a:lnTo>
                  <a:lnTo>
                    <a:pt x="657" y="227"/>
                  </a:lnTo>
                  <a:lnTo>
                    <a:pt x="666" y="202"/>
                  </a:lnTo>
                  <a:lnTo>
                    <a:pt x="682" y="220"/>
                  </a:lnTo>
                  <a:lnTo>
                    <a:pt x="673" y="252"/>
                  </a:lnTo>
                  <a:lnTo>
                    <a:pt x="691" y="267"/>
                  </a:lnTo>
                  <a:lnTo>
                    <a:pt x="697" y="267"/>
                  </a:lnTo>
                  <a:lnTo>
                    <a:pt x="697" y="252"/>
                  </a:lnTo>
                  <a:lnTo>
                    <a:pt x="716" y="242"/>
                  </a:lnTo>
                  <a:lnTo>
                    <a:pt x="716" y="179"/>
                  </a:lnTo>
                  <a:lnTo>
                    <a:pt x="731" y="179"/>
                  </a:lnTo>
                  <a:lnTo>
                    <a:pt x="747" y="187"/>
                  </a:lnTo>
                  <a:lnTo>
                    <a:pt x="747" y="202"/>
                  </a:lnTo>
                  <a:lnTo>
                    <a:pt x="763" y="202"/>
                  </a:lnTo>
                  <a:lnTo>
                    <a:pt x="763" y="227"/>
                  </a:lnTo>
                  <a:lnTo>
                    <a:pt x="747" y="236"/>
                  </a:lnTo>
                  <a:lnTo>
                    <a:pt x="747" y="252"/>
                  </a:lnTo>
                  <a:lnTo>
                    <a:pt x="763" y="261"/>
                  </a:lnTo>
                  <a:lnTo>
                    <a:pt x="763" y="276"/>
                  </a:lnTo>
                  <a:lnTo>
                    <a:pt x="731" y="308"/>
                  </a:lnTo>
                  <a:lnTo>
                    <a:pt x="716" y="301"/>
                  </a:lnTo>
                  <a:lnTo>
                    <a:pt x="716" y="292"/>
                  </a:lnTo>
                  <a:lnTo>
                    <a:pt x="697" y="292"/>
                  </a:lnTo>
                  <a:lnTo>
                    <a:pt x="706" y="308"/>
                  </a:lnTo>
                  <a:lnTo>
                    <a:pt x="691" y="324"/>
                  </a:lnTo>
                  <a:lnTo>
                    <a:pt x="691" y="341"/>
                  </a:lnTo>
                  <a:lnTo>
                    <a:pt x="673" y="373"/>
                  </a:lnTo>
                  <a:lnTo>
                    <a:pt x="657" y="373"/>
                  </a:lnTo>
                  <a:lnTo>
                    <a:pt x="641" y="389"/>
                  </a:lnTo>
                  <a:lnTo>
                    <a:pt x="650" y="406"/>
                  </a:lnTo>
                  <a:lnTo>
                    <a:pt x="626" y="413"/>
                  </a:lnTo>
                  <a:lnTo>
                    <a:pt x="626" y="429"/>
                  </a:lnTo>
                  <a:lnTo>
                    <a:pt x="617" y="429"/>
                  </a:lnTo>
                  <a:lnTo>
                    <a:pt x="609" y="438"/>
                  </a:lnTo>
                  <a:lnTo>
                    <a:pt x="592" y="478"/>
                  </a:lnTo>
                  <a:lnTo>
                    <a:pt x="592" y="503"/>
                  </a:lnTo>
                  <a:lnTo>
                    <a:pt x="601" y="510"/>
                  </a:lnTo>
                  <a:lnTo>
                    <a:pt x="617" y="510"/>
                  </a:lnTo>
                  <a:lnTo>
                    <a:pt x="626" y="560"/>
                  </a:lnTo>
                  <a:lnTo>
                    <a:pt x="641" y="551"/>
                  </a:lnTo>
                  <a:lnTo>
                    <a:pt x="666" y="560"/>
                  </a:lnTo>
                  <a:lnTo>
                    <a:pt x="682" y="575"/>
                  </a:lnTo>
                  <a:lnTo>
                    <a:pt x="716" y="593"/>
                  </a:lnTo>
                  <a:lnTo>
                    <a:pt x="747" y="593"/>
                  </a:lnTo>
                  <a:lnTo>
                    <a:pt x="756" y="600"/>
                  </a:lnTo>
                  <a:lnTo>
                    <a:pt x="756" y="649"/>
                  </a:lnTo>
                  <a:lnTo>
                    <a:pt x="788" y="680"/>
                  </a:lnTo>
                  <a:lnTo>
                    <a:pt x="803" y="665"/>
                  </a:lnTo>
                  <a:lnTo>
                    <a:pt x="788" y="609"/>
                  </a:lnTo>
                  <a:lnTo>
                    <a:pt x="803" y="600"/>
                  </a:lnTo>
                  <a:lnTo>
                    <a:pt x="819" y="575"/>
                  </a:lnTo>
                  <a:lnTo>
                    <a:pt x="812" y="528"/>
                  </a:lnTo>
                  <a:lnTo>
                    <a:pt x="796" y="510"/>
                  </a:lnTo>
                  <a:lnTo>
                    <a:pt x="803" y="503"/>
                  </a:lnTo>
                  <a:lnTo>
                    <a:pt x="812" y="503"/>
                  </a:lnTo>
                  <a:lnTo>
                    <a:pt x="812" y="470"/>
                  </a:lnTo>
                  <a:lnTo>
                    <a:pt x="803" y="463"/>
                  </a:lnTo>
                  <a:lnTo>
                    <a:pt x="812" y="438"/>
                  </a:lnTo>
                  <a:lnTo>
                    <a:pt x="803" y="429"/>
                  </a:lnTo>
                  <a:lnTo>
                    <a:pt x="803" y="423"/>
                  </a:lnTo>
                  <a:lnTo>
                    <a:pt x="812" y="413"/>
                  </a:lnTo>
                  <a:lnTo>
                    <a:pt x="836" y="423"/>
                  </a:lnTo>
                  <a:lnTo>
                    <a:pt x="859" y="413"/>
                  </a:lnTo>
                  <a:lnTo>
                    <a:pt x="893" y="438"/>
                  </a:lnTo>
                  <a:lnTo>
                    <a:pt x="884" y="447"/>
                  </a:lnTo>
                  <a:lnTo>
                    <a:pt x="893" y="454"/>
                  </a:lnTo>
                  <a:lnTo>
                    <a:pt x="918" y="454"/>
                  </a:lnTo>
                  <a:lnTo>
                    <a:pt x="918" y="503"/>
                  </a:lnTo>
                  <a:lnTo>
                    <a:pt x="942" y="528"/>
                  </a:lnTo>
                  <a:lnTo>
                    <a:pt x="974" y="494"/>
                  </a:lnTo>
                  <a:lnTo>
                    <a:pt x="967" y="487"/>
                  </a:lnTo>
                  <a:lnTo>
                    <a:pt x="974" y="470"/>
                  </a:lnTo>
                  <a:lnTo>
                    <a:pt x="1023" y="551"/>
                  </a:lnTo>
                  <a:lnTo>
                    <a:pt x="1015" y="560"/>
                  </a:lnTo>
                  <a:lnTo>
                    <a:pt x="1015" y="575"/>
                  </a:lnTo>
                  <a:lnTo>
                    <a:pt x="1030" y="584"/>
                  </a:lnTo>
                  <a:lnTo>
                    <a:pt x="1030" y="593"/>
                  </a:lnTo>
                  <a:lnTo>
                    <a:pt x="1047" y="600"/>
                  </a:lnTo>
                  <a:lnTo>
                    <a:pt x="1055" y="600"/>
                  </a:lnTo>
                  <a:lnTo>
                    <a:pt x="1070" y="609"/>
                  </a:lnTo>
                  <a:lnTo>
                    <a:pt x="1055" y="615"/>
                  </a:lnTo>
                  <a:lnTo>
                    <a:pt x="1070" y="615"/>
                  </a:lnTo>
                  <a:lnTo>
                    <a:pt x="1070" y="633"/>
                  </a:lnTo>
                  <a:lnTo>
                    <a:pt x="1079" y="633"/>
                  </a:lnTo>
                  <a:lnTo>
                    <a:pt x="1089" y="640"/>
                  </a:lnTo>
                  <a:lnTo>
                    <a:pt x="1089" y="649"/>
                  </a:lnTo>
                  <a:lnTo>
                    <a:pt x="1095" y="665"/>
                  </a:lnTo>
                  <a:lnTo>
                    <a:pt x="1079" y="674"/>
                  </a:lnTo>
                  <a:lnTo>
                    <a:pt x="1055" y="680"/>
                  </a:lnTo>
                  <a:lnTo>
                    <a:pt x="1039" y="705"/>
                  </a:lnTo>
                  <a:lnTo>
                    <a:pt x="1015" y="705"/>
                  </a:lnTo>
                  <a:lnTo>
                    <a:pt x="990" y="697"/>
                  </a:lnTo>
                  <a:lnTo>
                    <a:pt x="950" y="705"/>
                  </a:lnTo>
                  <a:lnTo>
                    <a:pt x="942" y="722"/>
                  </a:lnTo>
                  <a:lnTo>
                    <a:pt x="933" y="722"/>
                  </a:lnTo>
                  <a:lnTo>
                    <a:pt x="918" y="730"/>
                  </a:lnTo>
                  <a:lnTo>
                    <a:pt x="893" y="762"/>
                  </a:lnTo>
                  <a:lnTo>
                    <a:pt x="902" y="762"/>
                  </a:lnTo>
                  <a:lnTo>
                    <a:pt x="925" y="737"/>
                  </a:lnTo>
                  <a:lnTo>
                    <a:pt x="950" y="722"/>
                  </a:lnTo>
                  <a:lnTo>
                    <a:pt x="974" y="722"/>
                  </a:lnTo>
                  <a:lnTo>
                    <a:pt x="983" y="722"/>
                  </a:lnTo>
                  <a:lnTo>
                    <a:pt x="983" y="737"/>
                  </a:lnTo>
                  <a:lnTo>
                    <a:pt x="967" y="746"/>
                  </a:lnTo>
                  <a:lnTo>
                    <a:pt x="958" y="746"/>
                  </a:lnTo>
                  <a:lnTo>
                    <a:pt x="967" y="754"/>
                  </a:lnTo>
                  <a:lnTo>
                    <a:pt x="974" y="746"/>
                  </a:lnTo>
                  <a:lnTo>
                    <a:pt x="974" y="770"/>
                  </a:lnTo>
                  <a:lnTo>
                    <a:pt x="983" y="777"/>
                  </a:lnTo>
                  <a:lnTo>
                    <a:pt x="999" y="786"/>
                  </a:lnTo>
                  <a:lnTo>
                    <a:pt x="1015" y="786"/>
                  </a:lnTo>
                  <a:lnTo>
                    <a:pt x="1015" y="777"/>
                  </a:lnTo>
                  <a:lnTo>
                    <a:pt x="1030" y="762"/>
                  </a:lnTo>
                  <a:lnTo>
                    <a:pt x="1030" y="777"/>
                  </a:lnTo>
                  <a:lnTo>
                    <a:pt x="1039" y="777"/>
                  </a:lnTo>
                  <a:lnTo>
                    <a:pt x="1030" y="786"/>
                  </a:lnTo>
                  <a:lnTo>
                    <a:pt x="1023" y="795"/>
                  </a:lnTo>
                  <a:lnTo>
                    <a:pt x="983" y="811"/>
                  </a:lnTo>
                  <a:lnTo>
                    <a:pt x="967" y="827"/>
                  </a:lnTo>
                  <a:lnTo>
                    <a:pt x="958" y="811"/>
                  </a:lnTo>
                  <a:lnTo>
                    <a:pt x="983" y="795"/>
                  </a:lnTo>
                  <a:lnTo>
                    <a:pt x="974" y="795"/>
                  </a:lnTo>
                  <a:lnTo>
                    <a:pt x="974" y="786"/>
                  </a:lnTo>
                  <a:lnTo>
                    <a:pt x="958" y="795"/>
                  </a:lnTo>
                  <a:lnTo>
                    <a:pt x="950" y="795"/>
                  </a:lnTo>
                  <a:lnTo>
                    <a:pt x="942" y="786"/>
                  </a:lnTo>
                  <a:lnTo>
                    <a:pt x="933" y="762"/>
                  </a:lnTo>
                  <a:lnTo>
                    <a:pt x="933" y="754"/>
                  </a:lnTo>
                  <a:lnTo>
                    <a:pt x="925" y="762"/>
                  </a:lnTo>
                  <a:lnTo>
                    <a:pt x="918" y="754"/>
                  </a:lnTo>
                  <a:lnTo>
                    <a:pt x="902" y="795"/>
                  </a:lnTo>
                  <a:lnTo>
                    <a:pt x="884" y="802"/>
                  </a:lnTo>
                  <a:lnTo>
                    <a:pt x="844" y="802"/>
                  </a:lnTo>
                  <a:lnTo>
                    <a:pt x="828" y="811"/>
                  </a:lnTo>
                  <a:lnTo>
                    <a:pt x="819" y="817"/>
                  </a:lnTo>
                  <a:lnTo>
                    <a:pt x="796" y="817"/>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1" name="Freeform 127">
              <a:extLst>
                <a:ext uri="{FF2B5EF4-FFF2-40B4-BE49-F238E27FC236}">
                  <a16:creationId xmlns:a16="http://schemas.microsoft.com/office/drawing/2014/main" id="{55A9D90A-92E6-4A0D-B62A-FB931DBE132E}"/>
                </a:ext>
              </a:extLst>
            </p:cNvPr>
            <p:cNvSpPr>
              <a:spLocks/>
            </p:cNvSpPr>
            <p:nvPr/>
          </p:nvSpPr>
          <p:spPr bwMode="auto">
            <a:xfrm>
              <a:off x="7378700" y="3184525"/>
              <a:ext cx="1495425" cy="885825"/>
            </a:xfrm>
            <a:custGeom>
              <a:avLst/>
              <a:gdLst>
                <a:gd name="T0" fmla="*/ 2147483647 w 780"/>
                <a:gd name="T1" fmla="*/ 2147483647 h 543"/>
                <a:gd name="T2" fmla="*/ 2147483647 w 780"/>
                <a:gd name="T3" fmla="*/ 2147483647 h 543"/>
                <a:gd name="T4" fmla="*/ 2147483647 w 780"/>
                <a:gd name="T5" fmla="*/ 2147483647 h 543"/>
                <a:gd name="T6" fmla="*/ 2147483647 w 780"/>
                <a:gd name="T7" fmla="*/ 2147483647 h 543"/>
                <a:gd name="T8" fmla="*/ 2147483647 w 780"/>
                <a:gd name="T9" fmla="*/ 2147483647 h 543"/>
                <a:gd name="T10" fmla="*/ 2147483647 w 780"/>
                <a:gd name="T11" fmla="*/ 2147483647 h 543"/>
                <a:gd name="T12" fmla="*/ 2147483647 w 780"/>
                <a:gd name="T13" fmla="*/ 2147483647 h 543"/>
                <a:gd name="T14" fmla="*/ 2147483647 w 780"/>
                <a:gd name="T15" fmla="*/ 2147483647 h 543"/>
                <a:gd name="T16" fmla="*/ 2147483647 w 780"/>
                <a:gd name="T17" fmla="*/ 2147483647 h 543"/>
                <a:gd name="T18" fmla="*/ 2147483647 w 780"/>
                <a:gd name="T19" fmla="*/ 2147483647 h 543"/>
                <a:gd name="T20" fmla="*/ 2147483647 w 780"/>
                <a:gd name="T21" fmla="*/ 2147483647 h 543"/>
                <a:gd name="T22" fmla="*/ 2147483647 w 780"/>
                <a:gd name="T23" fmla="*/ 2147483647 h 543"/>
                <a:gd name="T24" fmla="*/ 2147483647 w 780"/>
                <a:gd name="T25" fmla="*/ 2147483647 h 543"/>
                <a:gd name="T26" fmla="*/ 2147483647 w 780"/>
                <a:gd name="T27" fmla="*/ 2147483647 h 543"/>
                <a:gd name="T28" fmla="*/ 2147483647 w 780"/>
                <a:gd name="T29" fmla="*/ 2147483647 h 543"/>
                <a:gd name="T30" fmla="*/ 2147483647 w 780"/>
                <a:gd name="T31" fmla="*/ 2147483647 h 543"/>
                <a:gd name="T32" fmla="*/ 2147483647 w 780"/>
                <a:gd name="T33" fmla="*/ 2147483647 h 543"/>
                <a:gd name="T34" fmla="*/ 2147483647 w 780"/>
                <a:gd name="T35" fmla="*/ 2147483647 h 543"/>
                <a:gd name="T36" fmla="*/ 2147483647 w 780"/>
                <a:gd name="T37" fmla="*/ 2147483647 h 543"/>
                <a:gd name="T38" fmla="*/ 2147483647 w 780"/>
                <a:gd name="T39" fmla="*/ 2147483647 h 543"/>
                <a:gd name="T40" fmla="*/ 2147483647 w 780"/>
                <a:gd name="T41" fmla="*/ 2147483647 h 543"/>
                <a:gd name="T42" fmla="*/ 2147483647 w 780"/>
                <a:gd name="T43" fmla="*/ 2147483647 h 543"/>
                <a:gd name="T44" fmla="*/ 2147483647 w 780"/>
                <a:gd name="T45" fmla="*/ 2147483647 h 543"/>
                <a:gd name="T46" fmla="*/ 2147483647 w 780"/>
                <a:gd name="T47" fmla="*/ 2147483647 h 543"/>
                <a:gd name="T48" fmla="*/ 2147483647 w 780"/>
                <a:gd name="T49" fmla="*/ 2147483647 h 543"/>
                <a:gd name="T50" fmla="*/ 2147483647 w 780"/>
                <a:gd name="T51" fmla="*/ 2147483647 h 543"/>
                <a:gd name="T52" fmla="*/ 2147483647 w 780"/>
                <a:gd name="T53" fmla="*/ 2147483647 h 543"/>
                <a:gd name="T54" fmla="*/ 2147483647 w 780"/>
                <a:gd name="T55" fmla="*/ 2147483647 h 543"/>
                <a:gd name="T56" fmla="*/ 2147483647 w 780"/>
                <a:gd name="T57" fmla="*/ 2147483647 h 543"/>
                <a:gd name="T58" fmla="*/ 2147483647 w 780"/>
                <a:gd name="T59" fmla="*/ 2147483647 h 543"/>
                <a:gd name="T60" fmla="*/ 2147483647 w 780"/>
                <a:gd name="T61" fmla="*/ 2147483647 h 543"/>
                <a:gd name="T62" fmla="*/ 2147483647 w 780"/>
                <a:gd name="T63" fmla="*/ 2147483647 h 543"/>
                <a:gd name="T64" fmla="*/ 2147483647 w 780"/>
                <a:gd name="T65" fmla="*/ 2147483647 h 543"/>
                <a:gd name="T66" fmla="*/ 2147483647 w 780"/>
                <a:gd name="T67" fmla="*/ 2147483647 h 543"/>
                <a:gd name="T68" fmla="*/ 2147483647 w 780"/>
                <a:gd name="T69" fmla="*/ 2147483647 h 543"/>
                <a:gd name="T70" fmla="*/ 2147483647 w 780"/>
                <a:gd name="T71" fmla="*/ 2147483647 h 543"/>
                <a:gd name="T72" fmla="*/ 2147483647 w 780"/>
                <a:gd name="T73" fmla="*/ 2147483647 h 543"/>
                <a:gd name="T74" fmla="*/ 2147483647 w 780"/>
                <a:gd name="T75" fmla="*/ 2147483647 h 543"/>
                <a:gd name="T76" fmla="*/ 2147483647 w 780"/>
                <a:gd name="T77" fmla="*/ 2147483647 h 543"/>
                <a:gd name="T78" fmla="*/ 2147483647 w 780"/>
                <a:gd name="T79" fmla="*/ 2147483647 h 543"/>
                <a:gd name="T80" fmla="*/ 2147483647 w 780"/>
                <a:gd name="T81" fmla="*/ 2147483647 h 543"/>
                <a:gd name="T82" fmla="*/ 2147483647 w 780"/>
                <a:gd name="T83" fmla="*/ 2147483647 h 543"/>
                <a:gd name="T84" fmla="*/ 2147483647 w 780"/>
                <a:gd name="T85" fmla="*/ 2147483647 h 543"/>
                <a:gd name="T86" fmla="*/ 2147483647 w 780"/>
                <a:gd name="T87" fmla="*/ 2147483647 h 543"/>
                <a:gd name="T88" fmla="*/ 2147483647 w 780"/>
                <a:gd name="T89" fmla="*/ 2147483647 h 543"/>
                <a:gd name="T90" fmla="*/ 2147483647 w 780"/>
                <a:gd name="T91" fmla="*/ 2147483647 h 543"/>
                <a:gd name="T92" fmla="*/ 2147483647 w 780"/>
                <a:gd name="T93" fmla="*/ 2147483647 h 543"/>
                <a:gd name="T94" fmla="*/ 0 w 780"/>
                <a:gd name="T95" fmla="*/ 2147483647 h 543"/>
                <a:gd name="T96" fmla="*/ 2147483647 w 780"/>
                <a:gd name="T97" fmla="*/ 2147483647 h 543"/>
                <a:gd name="T98" fmla="*/ 2147483647 w 780"/>
                <a:gd name="T99" fmla="*/ 2147483647 h 543"/>
                <a:gd name="T100" fmla="*/ 2147483647 w 780"/>
                <a:gd name="T101" fmla="*/ 2147483647 h 543"/>
                <a:gd name="T102" fmla="*/ 2147483647 w 780"/>
                <a:gd name="T103" fmla="*/ 2147483647 h 54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80"/>
                <a:gd name="T157" fmla="*/ 0 h 543"/>
                <a:gd name="T158" fmla="*/ 780 w 780"/>
                <a:gd name="T159" fmla="*/ 543 h 54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80" h="543">
                  <a:moveTo>
                    <a:pt x="162" y="97"/>
                  </a:moveTo>
                  <a:lnTo>
                    <a:pt x="178" y="89"/>
                  </a:lnTo>
                  <a:lnTo>
                    <a:pt x="194" y="113"/>
                  </a:lnTo>
                  <a:lnTo>
                    <a:pt x="212" y="113"/>
                  </a:lnTo>
                  <a:lnTo>
                    <a:pt x="219" y="129"/>
                  </a:lnTo>
                  <a:lnTo>
                    <a:pt x="219" y="162"/>
                  </a:lnTo>
                  <a:lnTo>
                    <a:pt x="268" y="178"/>
                  </a:lnTo>
                  <a:lnTo>
                    <a:pt x="293" y="203"/>
                  </a:lnTo>
                  <a:lnTo>
                    <a:pt x="340" y="203"/>
                  </a:lnTo>
                  <a:lnTo>
                    <a:pt x="364" y="218"/>
                  </a:lnTo>
                  <a:lnTo>
                    <a:pt x="398" y="226"/>
                  </a:lnTo>
                  <a:lnTo>
                    <a:pt x="430" y="209"/>
                  </a:lnTo>
                  <a:lnTo>
                    <a:pt x="463" y="209"/>
                  </a:lnTo>
                  <a:lnTo>
                    <a:pt x="486" y="184"/>
                  </a:lnTo>
                  <a:lnTo>
                    <a:pt x="480" y="178"/>
                  </a:lnTo>
                  <a:lnTo>
                    <a:pt x="495" y="162"/>
                  </a:lnTo>
                  <a:lnTo>
                    <a:pt x="511" y="169"/>
                  </a:lnTo>
                  <a:lnTo>
                    <a:pt x="535" y="153"/>
                  </a:lnTo>
                  <a:lnTo>
                    <a:pt x="551" y="137"/>
                  </a:lnTo>
                  <a:lnTo>
                    <a:pt x="585" y="137"/>
                  </a:lnTo>
                  <a:lnTo>
                    <a:pt x="575" y="121"/>
                  </a:lnTo>
                  <a:lnTo>
                    <a:pt x="567" y="113"/>
                  </a:lnTo>
                  <a:lnTo>
                    <a:pt x="551" y="121"/>
                  </a:lnTo>
                  <a:lnTo>
                    <a:pt x="535" y="121"/>
                  </a:lnTo>
                  <a:lnTo>
                    <a:pt x="535" y="89"/>
                  </a:lnTo>
                  <a:lnTo>
                    <a:pt x="544" y="72"/>
                  </a:lnTo>
                  <a:lnTo>
                    <a:pt x="560" y="81"/>
                  </a:lnTo>
                  <a:lnTo>
                    <a:pt x="585" y="72"/>
                  </a:lnTo>
                  <a:lnTo>
                    <a:pt x="592" y="41"/>
                  </a:lnTo>
                  <a:lnTo>
                    <a:pt x="600" y="32"/>
                  </a:lnTo>
                  <a:lnTo>
                    <a:pt x="600" y="23"/>
                  </a:lnTo>
                  <a:lnTo>
                    <a:pt x="592" y="23"/>
                  </a:lnTo>
                  <a:lnTo>
                    <a:pt x="600" y="7"/>
                  </a:lnTo>
                  <a:lnTo>
                    <a:pt x="632" y="0"/>
                  </a:lnTo>
                  <a:lnTo>
                    <a:pt x="657" y="7"/>
                  </a:lnTo>
                  <a:lnTo>
                    <a:pt x="672" y="23"/>
                  </a:lnTo>
                  <a:lnTo>
                    <a:pt x="690" y="81"/>
                  </a:lnTo>
                  <a:lnTo>
                    <a:pt x="706" y="81"/>
                  </a:lnTo>
                  <a:lnTo>
                    <a:pt x="731" y="97"/>
                  </a:lnTo>
                  <a:lnTo>
                    <a:pt x="731" y="113"/>
                  </a:lnTo>
                  <a:lnTo>
                    <a:pt x="747" y="113"/>
                  </a:lnTo>
                  <a:lnTo>
                    <a:pt x="779" y="104"/>
                  </a:lnTo>
                  <a:lnTo>
                    <a:pt x="779" y="121"/>
                  </a:lnTo>
                  <a:lnTo>
                    <a:pt x="756" y="169"/>
                  </a:lnTo>
                  <a:lnTo>
                    <a:pt x="747" y="162"/>
                  </a:lnTo>
                  <a:lnTo>
                    <a:pt x="731" y="169"/>
                  </a:lnTo>
                  <a:lnTo>
                    <a:pt x="737" y="194"/>
                  </a:lnTo>
                  <a:lnTo>
                    <a:pt x="731" y="209"/>
                  </a:lnTo>
                  <a:lnTo>
                    <a:pt x="722" y="209"/>
                  </a:lnTo>
                  <a:lnTo>
                    <a:pt x="706" y="218"/>
                  </a:lnTo>
                  <a:lnTo>
                    <a:pt x="697" y="218"/>
                  </a:lnTo>
                  <a:lnTo>
                    <a:pt x="690" y="226"/>
                  </a:lnTo>
                  <a:lnTo>
                    <a:pt x="682" y="226"/>
                  </a:lnTo>
                  <a:lnTo>
                    <a:pt x="650" y="250"/>
                  </a:lnTo>
                  <a:lnTo>
                    <a:pt x="650" y="259"/>
                  </a:lnTo>
                  <a:lnTo>
                    <a:pt x="632" y="259"/>
                  </a:lnTo>
                  <a:lnTo>
                    <a:pt x="609" y="275"/>
                  </a:lnTo>
                  <a:lnTo>
                    <a:pt x="609" y="266"/>
                  </a:lnTo>
                  <a:lnTo>
                    <a:pt x="609" y="259"/>
                  </a:lnTo>
                  <a:lnTo>
                    <a:pt x="617" y="243"/>
                  </a:lnTo>
                  <a:lnTo>
                    <a:pt x="609" y="234"/>
                  </a:lnTo>
                  <a:lnTo>
                    <a:pt x="585" y="259"/>
                  </a:lnTo>
                  <a:lnTo>
                    <a:pt x="575" y="266"/>
                  </a:lnTo>
                  <a:lnTo>
                    <a:pt x="567" y="266"/>
                  </a:lnTo>
                  <a:lnTo>
                    <a:pt x="560" y="275"/>
                  </a:lnTo>
                  <a:lnTo>
                    <a:pt x="585" y="299"/>
                  </a:lnTo>
                  <a:lnTo>
                    <a:pt x="600" y="291"/>
                  </a:lnTo>
                  <a:lnTo>
                    <a:pt x="625" y="299"/>
                  </a:lnTo>
                  <a:lnTo>
                    <a:pt x="625" y="308"/>
                  </a:lnTo>
                  <a:lnTo>
                    <a:pt x="617" y="299"/>
                  </a:lnTo>
                  <a:lnTo>
                    <a:pt x="600" y="308"/>
                  </a:lnTo>
                  <a:lnTo>
                    <a:pt x="585" y="331"/>
                  </a:lnTo>
                  <a:lnTo>
                    <a:pt x="592" y="340"/>
                  </a:lnTo>
                  <a:lnTo>
                    <a:pt x="600" y="371"/>
                  </a:lnTo>
                  <a:lnTo>
                    <a:pt x="617" y="380"/>
                  </a:lnTo>
                  <a:lnTo>
                    <a:pt x="609" y="380"/>
                  </a:lnTo>
                  <a:lnTo>
                    <a:pt x="617" y="396"/>
                  </a:lnTo>
                  <a:lnTo>
                    <a:pt x="592" y="405"/>
                  </a:lnTo>
                  <a:lnTo>
                    <a:pt x="617" y="405"/>
                  </a:lnTo>
                  <a:lnTo>
                    <a:pt x="609" y="436"/>
                  </a:lnTo>
                  <a:lnTo>
                    <a:pt x="592" y="452"/>
                  </a:lnTo>
                  <a:lnTo>
                    <a:pt x="585" y="452"/>
                  </a:lnTo>
                  <a:lnTo>
                    <a:pt x="585" y="468"/>
                  </a:lnTo>
                  <a:lnTo>
                    <a:pt x="575" y="485"/>
                  </a:lnTo>
                  <a:lnTo>
                    <a:pt x="567" y="485"/>
                  </a:lnTo>
                  <a:lnTo>
                    <a:pt x="567" y="493"/>
                  </a:lnTo>
                  <a:lnTo>
                    <a:pt x="544" y="510"/>
                  </a:lnTo>
                  <a:lnTo>
                    <a:pt x="520" y="510"/>
                  </a:lnTo>
                  <a:lnTo>
                    <a:pt x="520" y="517"/>
                  </a:lnTo>
                  <a:lnTo>
                    <a:pt x="511" y="510"/>
                  </a:lnTo>
                  <a:lnTo>
                    <a:pt x="511" y="517"/>
                  </a:lnTo>
                  <a:lnTo>
                    <a:pt x="503" y="517"/>
                  </a:lnTo>
                  <a:lnTo>
                    <a:pt x="470" y="533"/>
                  </a:lnTo>
                  <a:lnTo>
                    <a:pt x="463" y="542"/>
                  </a:lnTo>
                  <a:lnTo>
                    <a:pt x="463" y="526"/>
                  </a:lnTo>
                  <a:lnTo>
                    <a:pt x="446" y="526"/>
                  </a:lnTo>
                  <a:lnTo>
                    <a:pt x="438" y="526"/>
                  </a:lnTo>
                  <a:lnTo>
                    <a:pt x="423" y="526"/>
                  </a:lnTo>
                  <a:lnTo>
                    <a:pt x="423" y="510"/>
                  </a:lnTo>
                  <a:lnTo>
                    <a:pt x="405" y="510"/>
                  </a:lnTo>
                  <a:lnTo>
                    <a:pt x="373" y="517"/>
                  </a:lnTo>
                  <a:lnTo>
                    <a:pt x="364" y="510"/>
                  </a:lnTo>
                  <a:lnTo>
                    <a:pt x="364" y="517"/>
                  </a:lnTo>
                  <a:lnTo>
                    <a:pt x="358" y="517"/>
                  </a:lnTo>
                  <a:lnTo>
                    <a:pt x="358" y="533"/>
                  </a:lnTo>
                  <a:lnTo>
                    <a:pt x="349" y="533"/>
                  </a:lnTo>
                  <a:lnTo>
                    <a:pt x="349" y="526"/>
                  </a:lnTo>
                  <a:lnTo>
                    <a:pt x="340" y="526"/>
                  </a:lnTo>
                  <a:lnTo>
                    <a:pt x="324" y="517"/>
                  </a:lnTo>
                  <a:lnTo>
                    <a:pt x="324" y="510"/>
                  </a:lnTo>
                  <a:lnTo>
                    <a:pt x="324" y="502"/>
                  </a:lnTo>
                  <a:lnTo>
                    <a:pt x="317" y="493"/>
                  </a:lnTo>
                  <a:lnTo>
                    <a:pt x="308" y="493"/>
                  </a:lnTo>
                  <a:lnTo>
                    <a:pt x="317" y="452"/>
                  </a:lnTo>
                  <a:lnTo>
                    <a:pt x="308" y="436"/>
                  </a:lnTo>
                  <a:lnTo>
                    <a:pt x="299" y="436"/>
                  </a:lnTo>
                  <a:lnTo>
                    <a:pt x="284" y="420"/>
                  </a:lnTo>
                  <a:lnTo>
                    <a:pt x="268" y="420"/>
                  </a:lnTo>
                  <a:lnTo>
                    <a:pt x="227" y="436"/>
                  </a:lnTo>
                  <a:lnTo>
                    <a:pt x="202" y="436"/>
                  </a:lnTo>
                  <a:lnTo>
                    <a:pt x="194" y="445"/>
                  </a:lnTo>
                  <a:lnTo>
                    <a:pt x="187" y="436"/>
                  </a:lnTo>
                  <a:lnTo>
                    <a:pt x="178" y="436"/>
                  </a:lnTo>
                  <a:lnTo>
                    <a:pt x="154" y="436"/>
                  </a:lnTo>
                  <a:lnTo>
                    <a:pt x="137" y="428"/>
                  </a:lnTo>
                  <a:lnTo>
                    <a:pt x="129" y="420"/>
                  </a:lnTo>
                  <a:lnTo>
                    <a:pt x="122" y="420"/>
                  </a:lnTo>
                  <a:lnTo>
                    <a:pt x="106" y="405"/>
                  </a:lnTo>
                  <a:lnTo>
                    <a:pt x="88" y="405"/>
                  </a:lnTo>
                  <a:lnTo>
                    <a:pt x="65" y="396"/>
                  </a:lnTo>
                  <a:lnTo>
                    <a:pt x="57" y="371"/>
                  </a:lnTo>
                  <a:lnTo>
                    <a:pt x="73" y="371"/>
                  </a:lnTo>
                  <a:lnTo>
                    <a:pt x="65" y="355"/>
                  </a:lnTo>
                  <a:lnTo>
                    <a:pt x="82" y="340"/>
                  </a:lnTo>
                  <a:lnTo>
                    <a:pt x="82" y="323"/>
                  </a:lnTo>
                  <a:lnTo>
                    <a:pt x="73" y="315"/>
                  </a:lnTo>
                  <a:lnTo>
                    <a:pt x="48" y="323"/>
                  </a:lnTo>
                  <a:lnTo>
                    <a:pt x="32" y="315"/>
                  </a:lnTo>
                  <a:lnTo>
                    <a:pt x="25" y="308"/>
                  </a:lnTo>
                  <a:lnTo>
                    <a:pt x="8" y="299"/>
                  </a:lnTo>
                  <a:lnTo>
                    <a:pt x="16" y="299"/>
                  </a:lnTo>
                  <a:lnTo>
                    <a:pt x="16" y="275"/>
                  </a:lnTo>
                  <a:lnTo>
                    <a:pt x="0" y="275"/>
                  </a:lnTo>
                  <a:lnTo>
                    <a:pt x="0" y="250"/>
                  </a:lnTo>
                  <a:lnTo>
                    <a:pt x="16" y="243"/>
                  </a:lnTo>
                  <a:lnTo>
                    <a:pt x="32" y="243"/>
                  </a:lnTo>
                  <a:lnTo>
                    <a:pt x="40" y="234"/>
                  </a:lnTo>
                  <a:lnTo>
                    <a:pt x="57" y="234"/>
                  </a:lnTo>
                  <a:lnTo>
                    <a:pt x="82" y="218"/>
                  </a:lnTo>
                  <a:lnTo>
                    <a:pt x="88" y="203"/>
                  </a:lnTo>
                  <a:lnTo>
                    <a:pt x="82" y="169"/>
                  </a:lnTo>
                  <a:lnTo>
                    <a:pt x="82" y="162"/>
                  </a:lnTo>
                  <a:lnTo>
                    <a:pt x="106" y="162"/>
                  </a:lnTo>
                  <a:lnTo>
                    <a:pt x="113" y="129"/>
                  </a:lnTo>
                  <a:lnTo>
                    <a:pt x="137" y="129"/>
                  </a:lnTo>
                  <a:lnTo>
                    <a:pt x="147" y="129"/>
                  </a:lnTo>
                  <a:lnTo>
                    <a:pt x="154" y="104"/>
                  </a:lnTo>
                  <a:lnTo>
                    <a:pt x="162" y="97"/>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2" name="Freeform 128">
              <a:extLst>
                <a:ext uri="{FF2B5EF4-FFF2-40B4-BE49-F238E27FC236}">
                  <a16:creationId xmlns:a16="http://schemas.microsoft.com/office/drawing/2014/main" id="{A36C7204-508C-4591-8AE4-E0AD4FC8C26F}"/>
                </a:ext>
              </a:extLst>
            </p:cNvPr>
            <p:cNvSpPr>
              <a:spLocks/>
            </p:cNvSpPr>
            <p:nvPr/>
          </p:nvSpPr>
          <p:spPr bwMode="auto">
            <a:xfrm>
              <a:off x="7067550" y="3671888"/>
              <a:ext cx="406400" cy="333375"/>
            </a:xfrm>
            <a:custGeom>
              <a:avLst/>
              <a:gdLst>
                <a:gd name="T0" fmla="*/ 2147483647 w 211"/>
                <a:gd name="T1" fmla="*/ 2147483647 h 204"/>
                <a:gd name="T2" fmla="*/ 2147483647 w 211"/>
                <a:gd name="T3" fmla="*/ 2147483647 h 204"/>
                <a:gd name="T4" fmla="*/ 2147483647 w 211"/>
                <a:gd name="T5" fmla="*/ 2147483647 h 204"/>
                <a:gd name="T6" fmla="*/ 2147483647 w 211"/>
                <a:gd name="T7" fmla="*/ 2147483647 h 204"/>
                <a:gd name="T8" fmla="*/ 2147483647 w 211"/>
                <a:gd name="T9" fmla="*/ 2147483647 h 204"/>
                <a:gd name="T10" fmla="*/ 0 w 211"/>
                <a:gd name="T11" fmla="*/ 2147483647 h 204"/>
                <a:gd name="T12" fmla="*/ 2147483647 w 211"/>
                <a:gd name="T13" fmla="*/ 2147483647 h 204"/>
                <a:gd name="T14" fmla="*/ 2147483647 w 211"/>
                <a:gd name="T15" fmla="*/ 2147483647 h 204"/>
                <a:gd name="T16" fmla="*/ 2147483647 w 211"/>
                <a:gd name="T17" fmla="*/ 2147483647 h 204"/>
                <a:gd name="T18" fmla="*/ 2147483647 w 211"/>
                <a:gd name="T19" fmla="*/ 2147483647 h 204"/>
                <a:gd name="T20" fmla="*/ 2147483647 w 211"/>
                <a:gd name="T21" fmla="*/ 2147483647 h 204"/>
                <a:gd name="T22" fmla="*/ 2147483647 w 211"/>
                <a:gd name="T23" fmla="*/ 2147483647 h 204"/>
                <a:gd name="T24" fmla="*/ 2147483647 w 211"/>
                <a:gd name="T25" fmla="*/ 2147483647 h 204"/>
                <a:gd name="T26" fmla="*/ 2147483647 w 211"/>
                <a:gd name="T27" fmla="*/ 2147483647 h 204"/>
                <a:gd name="T28" fmla="*/ 2147483647 w 211"/>
                <a:gd name="T29" fmla="*/ 2147483647 h 204"/>
                <a:gd name="T30" fmla="*/ 2147483647 w 211"/>
                <a:gd name="T31" fmla="*/ 2147483647 h 204"/>
                <a:gd name="T32" fmla="*/ 2147483647 w 211"/>
                <a:gd name="T33" fmla="*/ 2147483647 h 204"/>
                <a:gd name="T34" fmla="*/ 2147483647 w 211"/>
                <a:gd name="T35" fmla="*/ 2147483647 h 204"/>
                <a:gd name="T36" fmla="*/ 2147483647 w 211"/>
                <a:gd name="T37" fmla="*/ 0 h 204"/>
                <a:gd name="T38" fmla="*/ 2147483647 w 211"/>
                <a:gd name="T39" fmla="*/ 0 h 204"/>
                <a:gd name="T40" fmla="*/ 2147483647 w 211"/>
                <a:gd name="T41" fmla="*/ 2147483647 h 204"/>
                <a:gd name="T42" fmla="*/ 2147483647 w 211"/>
                <a:gd name="T43" fmla="*/ 2147483647 h 204"/>
                <a:gd name="T44" fmla="*/ 2147483647 w 211"/>
                <a:gd name="T45" fmla="*/ 2147483647 h 204"/>
                <a:gd name="T46" fmla="*/ 2147483647 w 211"/>
                <a:gd name="T47" fmla="*/ 2147483647 h 204"/>
                <a:gd name="T48" fmla="*/ 2147483647 w 211"/>
                <a:gd name="T49" fmla="*/ 2147483647 h 204"/>
                <a:gd name="T50" fmla="*/ 2147483647 w 211"/>
                <a:gd name="T51" fmla="*/ 2147483647 h 204"/>
                <a:gd name="T52" fmla="*/ 2147483647 w 211"/>
                <a:gd name="T53" fmla="*/ 2147483647 h 204"/>
                <a:gd name="T54" fmla="*/ 2147483647 w 211"/>
                <a:gd name="T55" fmla="*/ 2147483647 h 204"/>
                <a:gd name="T56" fmla="*/ 2147483647 w 211"/>
                <a:gd name="T57" fmla="*/ 2147483647 h 204"/>
                <a:gd name="T58" fmla="*/ 2147483647 w 211"/>
                <a:gd name="T59" fmla="*/ 2147483647 h 204"/>
                <a:gd name="T60" fmla="*/ 2147483647 w 211"/>
                <a:gd name="T61" fmla="*/ 2147483647 h 204"/>
                <a:gd name="T62" fmla="*/ 2147483647 w 211"/>
                <a:gd name="T63" fmla="*/ 2147483647 h 204"/>
                <a:gd name="T64" fmla="*/ 2147483647 w 211"/>
                <a:gd name="T65" fmla="*/ 2147483647 h 204"/>
                <a:gd name="T66" fmla="*/ 2147483647 w 211"/>
                <a:gd name="T67" fmla="*/ 2147483647 h 204"/>
                <a:gd name="T68" fmla="*/ 2147483647 w 211"/>
                <a:gd name="T69" fmla="*/ 2147483647 h 204"/>
                <a:gd name="T70" fmla="*/ 2147483647 w 211"/>
                <a:gd name="T71" fmla="*/ 2147483647 h 204"/>
                <a:gd name="T72" fmla="*/ 2147483647 w 211"/>
                <a:gd name="T73" fmla="*/ 2147483647 h 204"/>
                <a:gd name="T74" fmla="*/ 2147483647 w 211"/>
                <a:gd name="T75" fmla="*/ 2147483647 h 204"/>
                <a:gd name="T76" fmla="*/ 2147483647 w 211"/>
                <a:gd name="T77" fmla="*/ 2147483647 h 204"/>
                <a:gd name="T78" fmla="*/ 2147483647 w 211"/>
                <a:gd name="T79" fmla="*/ 2147483647 h 204"/>
                <a:gd name="T80" fmla="*/ 2147483647 w 211"/>
                <a:gd name="T81" fmla="*/ 2147483647 h 204"/>
                <a:gd name="T82" fmla="*/ 2147483647 w 211"/>
                <a:gd name="T83" fmla="*/ 2147483647 h 204"/>
                <a:gd name="T84" fmla="*/ 2147483647 w 211"/>
                <a:gd name="T85" fmla="*/ 2147483647 h 204"/>
                <a:gd name="T86" fmla="*/ 2147483647 w 211"/>
                <a:gd name="T87" fmla="*/ 2147483647 h 204"/>
                <a:gd name="T88" fmla="*/ 2147483647 w 211"/>
                <a:gd name="T89" fmla="*/ 2147483647 h 204"/>
                <a:gd name="T90" fmla="*/ 2147483647 w 211"/>
                <a:gd name="T91" fmla="*/ 2147483647 h 204"/>
                <a:gd name="T92" fmla="*/ 2147483647 w 211"/>
                <a:gd name="T93" fmla="*/ 2147483647 h 204"/>
                <a:gd name="T94" fmla="*/ 2147483647 w 211"/>
                <a:gd name="T95" fmla="*/ 2147483647 h 204"/>
                <a:gd name="T96" fmla="*/ 2147483647 w 211"/>
                <a:gd name="T97" fmla="*/ 2147483647 h 204"/>
                <a:gd name="T98" fmla="*/ 2147483647 w 211"/>
                <a:gd name="T99" fmla="*/ 2147483647 h 20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11"/>
                <a:gd name="T151" fmla="*/ 0 h 204"/>
                <a:gd name="T152" fmla="*/ 211 w 211"/>
                <a:gd name="T153" fmla="*/ 204 h 20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11" h="204">
                  <a:moveTo>
                    <a:pt x="8" y="178"/>
                  </a:moveTo>
                  <a:lnTo>
                    <a:pt x="8" y="162"/>
                  </a:lnTo>
                  <a:lnTo>
                    <a:pt x="23" y="153"/>
                  </a:lnTo>
                  <a:lnTo>
                    <a:pt x="16" y="137"/>
                  </a:lnTo>
                  <a:lnTo>
                    <a:pt x="8" y="129"/>
                  </a:lnTo>
                  <a:lnTo>
                    <a:pt x="0" y="113"/>
                  </a:lnTo>
                  <a:lnTo>
                    <a:pt x="16" y="121"/>
                  </a:lnTo>
                  <a:lnTo>
                    <a:pt x="65" y="113"/>
                  </a:lnTo>
                  <a:lnTo>
                    <a:pt x="65" y="97"/>
                  </a:lnTo>
                  <a:lnTo>
                    <a:pt x="73" y="90"/>
                  </a:lnTo>
                  <a:lnTo>
                    <a:pt x="107" y="81"/>
                  </a:lnTo>
                  <a:lnTo>
                    <a:pt x="107" y="66"/>
                  </a:lnTo>
                  <a:lnTo>
                    <a:pt x="113" y="56"/>
                  </a:lnTo>
                  <a:lnTo>
                    <a:pt x="113" y="49"/>
                  </a:lnTo>
                  <a:lnTo>
                    <a:pt x="122" y="49"/>
                  </a:lnTo>
                  <a:lnTo>
                    <a:pt x="129" y="32"/>
                  </a:lnTo>
                  <a:lnTo>
                    <a:pt x="129" y="16"/>
                  </a:lnTo>
                  <a:lnTo>
                    <a:pt x="147" y="9"/>
                  </a:lnTo>
                  <a:lnTo>
                    <a:pt x="162" y="0"/>
                  </a:lnTo>
                  <a:lnTo>
                    <a:pt x="170" y="0"/>
                  </a:lnTo>
                  <a:lnTo>
                    <a:pt x="187" y="9"/>
                  </a:lnTo>
                  <a:lnTo>
                    <a:pt x="194" y="16"/>
                  </a:lnTo>
                  <a:lnTo>
                    <a:pt x="210" y="24"/>
                  </a:lnTo>
                  <a:lnTo>
                    <a:pt x="202" y="32"/>
                  </a:lnTo>
                  <a:lnTo>
                    <a:pt x="187" y="41"/>
                  </a:lnTo>
                  <a:lnTo>
                    <a:pt x="170" y="32"/>
                  </a:lnTo>
                  <a:lnTo>
                    <a:pt x="162" y="41"/>
                  </a:lnTo>
                  <a:lnTo>
                    <a:pt x="170" y="49"/>
                  </a:lnTo>
                  <a:lnTo>
                    <a:pt x="162" y="66"/>
                  </a:lnTo>
                  <a:lnTo>
                    <a:pt x="178" y="72"/>
                  </a:lnTo>
                  <a:lnTo>
                    <a:pt x="178" y="81"/>
                  </a:lnTo>
                  <a:lnTo>
                    <a:pt x="170" y="81"/>
                  </a:lnTo>
                  <a:lnTo>
                    <a:pt x="178" y="90"/>
                  </a:lnTo>
                  <a:lnTo>
                    <a:pt x="138" y="137"/>
                  </a:lnTo>
                  <a:lnTo>
                    <a:pt x="122" y="146"/>
                  </a:lnTo>
                  <a:lnTo>
                    <a:pt x="113" y="137"/>
                  </a:lnTo>
                  <a:lnTo>
                    <a:pt x="107" y="146"/>
                  </a:lnTo>
                  <a:lnTo>
                    <a:pt x="107" y="162"/>
                  </a:lnTo>
                  <a:lnTo>
                    <a:pt x="113" y="162"/>
                  </a:lnTo>
                  <a:lnTo>
                    <a:pt x="113" y="169"/>
                  </a:lnTo>
                  <a:lnTo>
                    <a:pt x="122" y="169"/>
                  </a:lnTo>
                  <a:lnTo>
                    <a:pt x="122" y="186"/>
                  </a:lnTo>
                  <a:lnTo>
                    <a:pt x="122" y="194"/>
                  </a:lnTo>
                  <a:lnTo>
                    <a:pt x="97" y="194"/>
                  </a:lnTo>
                  <a:lnTo>
                    <a:pt x="88" y="203"/>
                  </a:lnTo>
                  <a:lnTo>
                    <a:pt x="82" y="194"/>
                  </a:lnTo>
                  <a:lnTo>
                    <a:pt x="73" y="178"/>
                  </a:lnTo>
                  <a:lnTo>
                    <a:pt x="48" y="178"/>
                  </a:lnTo>
                  <a:lnTo>
                    <a:pt x="32" y="178"/>
                  </a:lnTo>
                  <a:lnTo>
                    <a:pt x="8" y="178"/>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3" name="Freeform 129">
              <a:extLst>
                <a:ext uri="{FF2B5EF4-FFF2-40B4-BE49-F238E27FC236}">
                  <a16:creationId xmlns:a16="http://schemas.microsoft.com/office/drawing/2014/main" id="{DB63D37F-1251-4BD9-8CB6-A8F6C6F6735A}"/>
                </a:ext>
              </a:extLst>
            </p:cNvPr>
            <p:cNvSpPr>
              <a:spLocks/>
            </p:cNvSpPr>
            <p:nvPr/>
          </p:nvSpPr>
          <p:spPr bwMode="auto">
            <a:xfrm>
              <a:off x="7051675" y="3633788"/>
              <a:ext cx="360363" cy="238125"/>
            </a:xfrm>
            <a:custGeom>
              <a:avLst/>
              <a:gdLst>
                <a:gd name="T0" fmla="*/ 2147483647 w 188"/>
                <a:gd name="T1" fmla="*/ 2147483647 h 146"/>
                <a:gd name="T2" fmla="*/ 2147483647 w 188"/>
                <a:gd name="T3" fmla="*/ 2147483647 h 146"/>
                <a:gd name="T4" fmla="*/ 2147483647 w 188"/>
                <a:gd name="T5" fmla="*/ 2147483647 h 146"/>
                <a:gd name="T6" fmla="*/ 2147483647 w 188"/>
                <a:gd name="T7" fmla="*/ 2147483647 h 146"/>
                <a:gd name="T8" fmla="*/ 2147483647 w 188"/>
                <a:gd name="T9" fmla="*/ 2147483647 h 146"/>
                <a:gd name="T10" fmla="*/ 2147483647 w 188"/>
                <a:gd name="T11" fmla="*/ 2147483647 h 146"/>
                <a:gd name="T12" fmla="*/ 2147483647 w 188"/>
                <a:gd name="T13" fmla="*/ 2147483647 h 146"/>
                <a:gd name="T14" fmla="*/ 2147483647 w 188"/>
                <a:gd name="T15" fmla="*/ 2147483647 h 146"/>
                <a:gd name="T16" fmla="*/ 2147483647 w 188"/>
                <a:gd name="T17" fmla="*/ 2147483647 h 146"/>
                <a:gd name="T18" fmla="*/ 2147483647 w 188"/>
                <a:gd name="T19" fmla="*/ 2147483647 h 146"/>
                <a:gd name="T20" fmla="*/ 2147483647 w 188"/>
                <a:gd name="T21" fmla="*/ 2147483647 h 146"/>
                <a:gd name="T22" fmla="*/ 2147483647 w 188"/>
                <a:gd name="T23" fmla="*/ 2147483647 h 146"/>
                <a:gd name="T24" fmla="*/ 2147483647 w 188"/>
                <a:gd name="T25" fmla="*/ 2147483647 h 146"/>
                <a:gd name="T26" fmla="*/ 2147483647 w 188"/>
                <a:gd name="T27" fmla="*/ 2147483647 h 146"/>
                <a:gd name="T28" fmla="*/ 2147483647 w 188"/>
                <a:gd name="T29" fmla="*/ 2147483647 h 146"/>
                <a:gd name="T30" fmla="*/ 2147483647 w 188"/>
                <a:gd name="T31" fmla="*/ 2147483647 h 146"/>
                <a:gd name="T32" fmla="*/ 2147483647 w 188"/>
                <a:gd name="T33" fmla="*/ 2147483647 h 146"/>
                <a:gd name="T34" fmla="*/ 0 w 188"/>
                <a:gd name="T35" fmla="*/ 2147483647 h 146"/>
                <a:gd name="T36" fmla="*/ 0 w 188"/>
                <a:gd name="T37" fmla="*/ 2147483647 h 146"/>
                <a:gd name="T38" fmla="*/ 2147483647 w 188"/>
                <a:gd name="T39" fmla="*/ 2147483647 h 146"/>
                <a:gd name="T40" fmla="*/ 2147483647 w 188"/>
                <a:gd name="T41" fmla="*/ 2147483647 h 146"/>
                <a:gd name="T42" fmla="*/ 2147483647 w 188"/>
                <a:gd name="T43" fmla="*/ 2147483647 h 146"/>
                <a:gd name="T44" fmla="*/ 2147483647 w 188"/>
                <a:gd name="T45" fmla="*/ 2147483647 h 146"/>
                <a:gd name="T46" fmla="*/ 2147483647 w 188"/>
                <a:gd name="T47" fmla="*/ 2147483647 h 146"/>
                <a:gd name="T48" fmla="*/ 2147483647 w 188"/>
                <a:gd name="T49" fmla="*/ 2147483647 h 146"/>
                <a:gd name="T50" fmla="*/ 2147483647 w 188"/>
                <a:gd name="T51" fmla="*/ 2147483647 h 146"/>
                <a:gd name="T52" fmla="*/ 2147483647 w 188"/>
                <a:gd name="T53" fmla="*/ 2147483647 h 146"/>
                <a:gd name="T54" fmla="*/ 2147483647 w 188"/>
                <a:gd name="T55" fmla="*/ 2147483647 h 146"/>
                <a:gd name="T56" fmla="*/ 2147483647 w 188"/>
                <a:gd name="T57" fmla="*/ 2147483647 h 146"/>
                <a:gd name="T58" fmla="*/ 2147483647 w 188"/>
                <a:gd name="T59" fmla="*/ 2147483647 h 146"/>
                <a:gd name="T60" fmla="*/ 2147483647 w 188"/>
                <a:gd name="T61" fmla="*/ 2147483647 h 146"/>
                <a:gd name="T62" fmla="*/ 2147483647 w 188"/>
                <a:gd name="T63" fmla="*/ 0 h 146"/>
                <a:gd name="T64" fmla="*/ 2147483647 w 188"/>
                <a:gd name="T65" fmla="*/ 2147483647 h 146"/>
                <a:gd name="T66" fmla="*/ 2147483647 w 188"/>
                <a:gd name="T67" fmla="*/ 2147483647 h 146"/>
                <a:gd name="T68" fmla="*/ 2147483647 w 188"/>
                <a:gd name="T69" fmla="*/ 2147483647 h 146"/>
                <a:gd name="T70" fmla="*/ 2147483647 w 188"/>
                <a:gd name="T71" fmla="*/ 2147483647 h 146"/>
                <a:gd name="T72" fmla="*/ 2147483647 w 188"/>
                <a:gd name="T73" fmla="*/ 2147483647 h 14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8"/>
                <a:gd name="T112" fmla="*/ 0 h 146"/>
                <a:gd name="T113" fmla="*/ 188 w 188"/>
                <a:gd name="T114" fmla="*/ 146 h 14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8" h="146">
                  <a:moveTo>
                    <a:pt x="179" y="24"/>
                  </a:moveTo>
                  <a:lnTo>
                    <a:pt x="171" y="24"/>
                  </a:lnTo>
                  <a:lnTo>
                    <a:pt x="156" y="33"/>
                  </a:lnTo>
                  <a:lnTo>
                    <a:pt x="138" y="40"/>
                  </a:lnTo>
                  <a:lnTo>
                    <a:pt x="138" y="56"/>
                  </a:lnTo>
                  <a:lnTo>
                    <a:pt x="131" y="73"/>
                  </a:lnTo>
                  <a:lnTo>
                    <a:pt x="122" y="73"/>
                  </a:lnTo>
                  <a:lnTo>
                    <a:pt x="122" y="80"/>
                  </a:lnTo>
                  <a:lnTo>
                    <a:pt x="116" y="90"/>
                  </a:lnTo>
                  <a:lnTo>
                    <a:pt x="116" y="105"/>
                  </a:lnTo>
                  <a:lnTo>
                    <a:pt x="82" y="114"/>
                  </a:lnTo>
                  <a:lnTo>
                    <a:pt x="74" y="121"/>
                  </a:lnTo>
                  <a:lnTo>
                    <a:pt x="74" y="137"/>
                  </a:lnTo>
                  <a:lnTo>
                    <a:pt x="25" y="145"/>
                  </a:lnTo>
                  <a:lnTo>
                    <a:pt x="9" y="137"/>
                  </a:lnTo>
                  <a:lnTo>
                    <a:pt x="17" y="121"/>
                  </a:lnTo>
                  <a:lnTo>
                    <a:pt x="17" y="114"/>
                  </a:lnTo>
                  <a:lnTo>
                    <a:pt x="0" y="105"/>
                  </a:lnTo>
                  <a:lnTo>
                    <a:pt x="0" y="73"/>
                  </a:lnTo>
                  <a:lnTo>
                    <a:pt x="9" y="56"/>
                  </a:lnTo>
                  <a:lnTo>
                    <a:pt x="9" y="48"/>
                  </a:lnTo>
                  <a:lnTo>
                    <a:pt x="32" y="48"/>
                  </a:lnTo>
                  <a:lnTo>
                    <a:pt x="32" y="40"/>
                  </a:lnTo>
                  <a:lnTo>
                    <a:pt x="50" y="40"/>
                  </a:lnTo>
                  <a:lnTo>
                    <a:pt x="57" y="24"/>
                  </a:lnTo>
                  <a:lnTo>
                    <a:pt x="66" y="24"/>
                  </a:lnTo>
                  <a:lnTo>
                    <a:pt x="66" y="16"/>
                  </a:lnTo>
                  <a:lnTo>
                    <a:pt x="97" y="24"/>
                  </a:lnTo>
                  <a:lnTo>
                    <a:pt x="116" y="24"/>
                  </a:lnTo>
                  <a:lnTo>
                    <a:pt x="116" y="16"/>
                  </a:lnTo>
                  <a:lnTo>
                    <a:pt x="122" y="16"/>
                  </a:lnTo>
                  <a:lnTo>
                    <a:pt x="131" y="0"/>
                  </a:lnTo>
                  <a:lnTo>
                    <a:pt x="138" y="8"/>
                  </a:lnTo>
                  <a:lnTo>
                    <a:pt x="147" y="33"/>
                  </a:lnTo>
                  <a:lnTo>
                    <a:pt x="162" y="16"/>
                  </a:lnTo>
                  <a:lnTo>
                    <a:pt x="187" y="24"/>
                  </a:lnTo>
                  <a:lnTo>
                    <a:pt x="179" y="24"/>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4" name="Freeform 130">
              <a:extLst>
                <a:ext uri="{FF2B5EF4-FFF2-40B4-BE49-F238E27FC236}">
                  <a16:creationId xmlns:a16="http://schemas.microsoft.com/office/drawing/2014/main" id="{34E8E47A-9731-4399-84FA-D111E88E5B78}"/>
                </a:ext>
              </a:extLst>
            </p:cNvPr>
            <p:cNvSpPr>
              <a:spLocks/>
            </p:cNvSpPr>
            <p:nvPr/>
          </p:nvSpPr>
          <p:spPr bwMode="auto">
            <a:xfrm>
              <a:off x="6650038" y="3592513"/>
              <a:ext cx="465137" cy="371475"/>
            </a:xfrm>
            <a:custGeom>
              <a:avLst/>
              <a:gdLst>
                <a:gd name="T0" fmla="*/ 2147483647 w 243"/>
                <a:gd name="T1" fmla="*/ 2147483647 h 228"/>
                <a:gd name="T2" fmla="*/ 2147483647 w 243"/>
                <a:gd name="T3" fmla="*/ 2147483647 h 228"/>
                <a:gd name="T4" fmla="*/ 2147483647 w 243"/>
                <a:gd name="T5" fmla="*/ 2147483647 h 228"/>
                <a:gd name="T6" fmla="*/ 2147483647 w 243"/>
                <a:gd name="T7" fmla="*/ 2147483647 h 228"/>
                <a:gd name="T8" fmla="*/ 2147483647 w 243"/>
                <a:gd name="T9" fmla="*/ 2147483647 h 228"/>
                <a:gd name="T10" fmla="*/ 2147483647 w 243"/>
                <a:gd name="T11" fmla="*/ 2147483647 h 228"/>
                <a:gd name="T12" fmla="*/ 2147483647 w 243"/>
                <a:gd name="T13" fmla="*/ 2147483647 h 228"/>
                <a:gd name="T14" fmla="*/ 2147483647 w 243"/>
                <a:gd name="T15" fmla="*/ 2147483647 h 228"/>
                <a:gd name="T16" fmla="*/ 2147483647 w 243"/>
                <a:gd name="T17" fmla="*/ 2147483647 h 228"/>
                <a:gd name="T18" fmla="*/ 2147483647 w 243"/>
                <a:gd name="T19" fmla="*/ 2147483647 h 228"/>
                <a:gd name="T20" fmla="*/ 2147483647 w 243"/>
                <a:gd name="T21" fmla="*/ 2147483647 h 228"/>
                <a:gd name="T22" fmla="*/ 2147483647 w 243"/>
                <a:gd name="T23" fmla="*/ 2147483647 h 228"/>
                <a:gd name="T24" fmla="*/ 2147483647 w 243"/>
                <a:gd name="T25" fmla="*/ 2147483647 h 228"/>
                <a:gd name="T26" fmla="*/ 2147483647 w 243"/>
                <a:gd name="T27" fmla="*/ 2147483647 h 228"/>
                <a:gd name="T28" fmla="*/ 2147483647 w 243"/>
                <a:gd name="T29" fmla="*/ 2147483647 h 228"/>
                <a:gd name="T30" fmla="*/ 2147483647 w 243"/>
                <a:gd name="T31" fmla="*/ 2147483647 h 228"/>
                <a:gd name="T32" fmla="*/ 2147483647 w 243"/>
                <a:gd name="T33" fmla="*/ 2147483647 h 228"/>
                <a:gd name="T34" fmla="*/ 0 w 243"/>
                <a:gd name="T35" fmla="*/ 2147483647 h 228"/>
                <a:gd name="T36" fmla="*/ 2147483647 w 243"/>
                <a:gd name="T37" fmla="*/ 0 h 228"/>
                <a:gd name="T38" fmla="*/ 2147483647 w 243"/>
                <a:gd name="T39" fmla="*/ 2147483647 h 228"/>
                <a:gd name="T40" fmla="*/ 2147483647 w 243"/>
                <a:gd name="T41" fmla="*/ 2147483647 h 228"/>
                <a:gd name="T42" fmla="*/ 2147483647 w 243"/>
                <a:gd name="T43" fmla="*/ 2147483647 h 228"/>
                <a:gd name="T44" fmla="*/ 2147483647 w 243"/>
                <a:gd name="T45" fmla="*/ 2147483647 h 228"/>
                <a:gd name="T46" fmla="*/ 2147483647 w 243"/>
                <a:gd name="T47" fmla="*/ 2147483647 h 228"/>
                <a:gd name="T48" fmla="*/ 2147483647 w 243"/>
                <a:gd name="T49" fmla="*/ 2147483647 h 228"/>
                <a:gd name="T50" fmla="*/ 2147483647 w 243"/>
                <a:gd name="T51" fmla="*/ 2147483647 h 228"/>
                <a:gd name="T52" fmla="*/ 2147483647 w 243"/>
                <a:gd name="T53" fmla="*/ 2147483647 h 228"/>
                <a:gd name="T54" fmla="*/ 2147483647 w 243"/>
                <a:gd name="T55" fmla="*/ 2147483647 h 228"/>
                <a:gd name="T56" fmla="*/ 2147483647 w 243"/>
                <a:gd name="T57" fmla="*/ 2147483647 h 228"/>
                <a:gd name="T58" fmla="*/ 2147483647 w 243"/>
                <a:gd name="T59" fmla="*/ 2147483647 h 228"/>
                <a:gd name="T60" fmla="*/ 2147483647 w 243"/>
                <a:gd name="T61" fmla="*/ 2147483647 h 228"/>
                <a:gd name="T62" fmla="*/ 2147483647 w 243"/>
                <a:gd name="T63" fmla="*/ 2147483647 h 228"/>
                <a:gd name="T64" fmla="*/ 2147483647 w 243"/>
                <a:gd name="T65" fmla="*/ 2147483647 h 228"/>
                <a:gd name="T66" fmla="*/ 2147483647 w 243"/>
                <a:gd name="T67" fmla="*/ 2147483647 h 228"/>
                <a:gd name="T68" fmla="*/ 2147483647 w 243"/>
                <a:gd name="T69" fmla="*/ 2147483647 h 228"/>
                <a:gd name="T70" fmla="*/ 2147483647 w 243"/>
                <a:gd name="T71" fmla="*/ 2147483647 h 228"/>
                <a:gd name="T72" fmla="*/ 2147483647 w 243"/>
                <a:gd name="T73" fmla="*/ 2147483647 h 228"/>
                <a:gd name="T74" fmla="*/ 2147483647 w 243"/>
                <a:gd name="T75" fmla="*/ 2147483647 h 228"/>
                <a:gd name="T76" fmla="*/ 2147483647 w 243"/>
                <a:gd name="T77" fmla="*/ 2147483647 h 228"/>
                <a:gd name="T78" fmla="*/ 2147483647 w 243"/>
                <a:gd name="T79" fmla="*/ 2147483647 h 228"/>
                <a:gd name="T80" fmla="*/ 2147483647 w 243"/>
                <a:gd name="T81" fmla="*/ 2147483647 h 228"/>
                <a:gd name="T82" fmla="*/ 2147483647 w 243"/>
                <a:gd name="T83" fmla="*/ 2147483647 h 228"/>
                <a:gd name="T84" fmla="*/ 2147483647 w 243"/>
                <a:gd name="T85" fmla="*/ 2147483647 h 228"/>
                <a:gd name="T86" fmla="*/ 2147483647 w 243"/>
                <a:gd name="T87" fmla="*/ 2147483647 h 228"/>
                <a:gd name="T88" fmla="*/ 2147483647 w 243"/>
                <a:gd name="T89" fmla="*/ 2147483647 h 228"/>
                <a:gd name="T90" fmla="*/ 2147483647 w 243"/>
                <a:gd name="T91" fmla="*/ 2147483647 h 22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43"/>
                <a:gd name="T139" fmla="*/ 0 h 228"/>
                <a:gd name="T140" fmla="*/ 243 w 243"/>
                <a:gd name="T141" fmla="*/ 228 h 22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43" h="228">
                  <a:moveTo>
                    <a:pt x="227" y="227"/>
                  </a:moveTo>
                  <a:lnTo>
                    <a:pt x="170" y="218"/>
                  </a:lnTo>
                  <a:lnTo>
                    <a:pt x="162" y="202"/>
                  </a:lnTo>
                  <a:lnTo>
                    <a:pt x="137" y="211"/>
                  </a:lnTo>
                  <a:lnTo>
                    <a:pt x="121" y="211"/>
                  </a:lnTo>
                  <a:lnTo>
                    <a:pt x="96" y="186"/>
                  </a:lnTo>
                  <a:lnTo>
                    <a:pt x="80" y="162"/>
                  </a:lnTo>
                  <a:lnTo>
                    <a:pt x="65" y="155"/>
                  </a:lnTo>
                  <a:lnTo>
                    <a:pt x="56" y="155"/>
                  </a:lnTo>
                  <a:lnTo>
                    <a:pt x="48" y="146"/>
                  </a:lnTo>
                  <a:lnTo>
                    <a:pt x="40" y="121"/>
                  </a:lnTo>
                  <a:lnTo>
                    <a:pt x="24" y="115"/>
                  </a:lnTo>
                  <a:lnTo>
                    <a:pt x="15" y="98"/>
                  </a:lnTo>
                  <a:lnTo>
                    <a:pt x="24" y="81"/>
                  </a:lnTo>
                  <a:lnTo>
                    <a:pt x="24" y="65"/>
                  </a:lnTo>
                  <a:lnTo>
                    <a:pt x="15" y="65"/>
                  </a:lnTo>
                  <a:lnTo>
                    <a:pt x="8" y="49"/>
                  </a:lnTo>
                  <a:lnTo>
                    <a:pt x="0" y="9"/>
                  </a:lnTo>
                  <a:lnTo>
                    <a:pt x="8" y="0"/>
                  </a:lnTo>
                  <a:lnTo>
                    <a:pt x="15" y="16"/>
                  </a:lnTo>
                  <a:lnTo>
                    <a:pt x="24" y="16"/>
                  </a:lnTo>
                  <a:lnTo>
                    <a:pt x="31" y="16"/>
                  </a:lnTo>
                  <a:lnTo>
                    <a:pt x="48" y="9"/>
                  </a:lnTo>
                  <a:lnTo>
                    <a:pt x="56" y="9"/>
                  </a:lnTo>
                  <a:lnTo>
                    <a:pt x="48" y="16"/>
                  </a:lnTo>
                  <a:lnTo>
                    <a:pt x="65" y="25"/>
                  </a:lnTo>
                  <a:lnTo>
                    <a:pt x="65" y="41"/>
                  </a:lnTo>
                  <a:lnTo>
                    <a:pt x="96" y="58"/>
                  </a:lnTo>
                  <a:lnTo>
                    <a:pt x="130" y="58"/>
                  </a:lnTo>
                  <a:lnTo>
                    <a:pt x="130" y="41"/>
                  </a:lnTo>
                  <a:lnTo>
                    <a:pt x="145" y="33"/>
                  </a:lnTo>
                  <a:lnTo>
                    <a:pt x="170" y="33"/>
                  </a:lnTo>
                  <a:lnTo>
                    <a:pt x="219" y="58"/>
                  </a:lnTo>
                  <a:lnTo>
                    <a:pt x="219" y="65"/>
                  </a:lnTo>
                  <a:lnTo>
                    <a:pt x="219" y="73"/>
                  </a:lnTo>
                  <a:lnTo>
                    <a:pt x="219" y="81"/>
                  </a:lnTo>
                  <a:lnTo>
                    <a:pt x="210" y="98"/>
                  </a:lnTo>
                  <a:lnTo>
                    <a:pt x="210" y="130"/>
                  </a:lnTo>
                  <a:lnTo>
                    <a:pt x="227" y="139"/>
                  </a:lnTo>
                  <a:lnTo>
                    <a:pt x="227" y="146"/>
                  </a:lnTo>
                  <a:lnTo>
                    <a:pt x="219" y="162"/>
                  </a:lnTo>
                  <a:lnTo>
                    <a:pt x="227" y="178"/>
                  </a:lnTo>
                  <a:lnTo>
                    <a:pt x="235" y="186"/>
                  </a:lnTo>
                  <a:lnTo>
                    <a:pt x="242" y="202"/>
                  </a:lnTo>
                  <a:lnTo>
                    <a:pt x="227" y="211"/>
                  </a:lnTo>
                  <a:lnTo>
                    <a:pt x="227" y="227"/>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5" name="Freeform 131">
              <a:extLst>
                <a:ext uri="{FF2B5EF4-FFF2-40B4-BE49-F238E27FC236}">
                  <a16:creationId xmlns:a16="http://schemas.microsoft.com/office/drawing/2014/main" id="{99D66274-56E2-4DCB-B61B-D5BF6372EB6E}"/>
                </a:ext>
              </a:extLst>
            </p:cNvPr>
            <p:cNvSpPr>
              <a:spLocks/>
            </p:cNvSpPr>
            <p:nvPr/>
          </p:nvSpPr>
          <p:spPr bwMode="auto">
            <a:xfrm>
              <a:off x="7273925" y="3502025"/>
              <a:ext cx="263525" cy="106363"/>
            </a:xfrm>
            <a:custGeom>
              <a:avLst/>
              <a:gdLst>
                <a:gd name="T0" fmla="*/ 2147483647 w 138"/>
                <a:gd name="T1" fmla="*/ 2147483647 h 66"/>
                <a:gd name="T2" fmla="*/ 2147483647 w 138"/>
                <a:gd name="T3" fmla="*/ 2147483647 h 66"/>
                <a:gd name="T4" fmla="*/ 2147483647 w 138"/>
                <a:gd name="T5" fmla="*/ 2147483647 h 66"/>
                <a:gd name="T6" fmla="*/ 2147483647 w 138"/>
                <a:gd name="T7" fmla="*/ 2147483647 h 66"/>
                <a:gd name="T8" fmla="*/ 2147483647 w 138"/>
                <a:gd name="T9" fmla="*/ 2147483647 h 66"/>
                <a:gd name="T10" fmla="*/ 2147483647 w 138"/>
                <a:gd name="T11" fmla="*/ 2147483647 h 66"/>
                <a:gd name="T12" fmla="*/ 2147483647 w 138"/>
                <a:gd name="T13" fmla="*/ 2147483647 h 66"/>
                <a:gd name="T14" fmla="*/ 2147483647 w 138"/>
                <a:gd name="T15" fmla="*/ 2147483647 h 66"/>
                <a:gd name="T16" fmla="*/ 2147483647 w 138"/>
                <a:gd name="T17" fmla="*/ 2147483647 h 66"/>
                <a:gd name="T18" fmla="*/ 2147483647 w 138"/>
                <a:gd name="T19" fmla="*/ 2147483647 h 66"/>
                <a:gd name="T20" fmla="*/ 0 w 138"/>
                <a:gd name="T21" fmla="*/ 2147483647 h 66"/>
                <a:gd name="T22" fmla="*/ 0 w 138"/>
                <a:gd name="T23" fmla="*/ 2147483647 h 66"/>
                <a:gd name="T24" fmla="*/ 2147483647 w 138"/>
                <a:gd name="T25" fmla="*/ 2147483647 h 66"/>
                <a:gd name="T26" fmla="*/ 2147483647 w 138"/>
                <a:gd name="T27" fmla="*/ 2147483647 h 66"/>
                <a:gd name="T28" fmla="*/ 2147483647 w 138"/>
                <a:gd name="T29" fmla="*/ 2147483647 h 66"/>
                <a:gd name="T30" fmla="*/ 2147483647 w 138"/>
                <a:gd name="T31" fmla="*/ 2147483647 h 66"/>
                <a:gd name="T32" fmla="*/ 2147483647 w 138"/>
                <a:gd name="T33" fmla="*/ 2147483647 h 66"/>
                <a:gd name="T34" fmla="*/ 2147483647 w 138"/>
                <a:gd name="T35" fmla="*/ 2147483647 h 66"/>
                <a:gd name="T36" fmla="*/ 2147483647 w 138"/>
                <a:gd name="T37" fmla="*/ 2147483647 h 66"/>
                <a:gd name="T38" fmla="*/ 2147483647 w 138"/>
                <a:gd name="T39" fmla="*/ 2147483647 h 66"/>
                <a:gd name="T40" fmla="*/ 2147483647 w 138"/>
                <a:gd name="T41" fmla="*/ 2147483647 h 66"/>
                <a:gd name="T42" fmla="*/ 2147483647 w 138"/>
                <a:gd name="T43" fmla="*/ 2147483647 h 66"/>
                <a:gd name="T44" fmla="*/ 2147483647 w 138"/>
                <a:gd name="T45" fmla="*/ 2147483647 h 66"/>
                <a:gd name="T46" fmla="*/ 2147483647 w 138"/>
                <a:gd name="T47" fmla="*/ 2147483647 h 66"/>
                <a:gd name="T48" fmla="*/ 2147483647 w 138"/>
                <a:gd name="T49" fmla="*/ 0 h 66"/>
                <a:gd name="T50" fmla="*/ 2147483647 w 138"/>
                <a:gd name="T51" fmla="*/ 2147483647 h 66"/>
                <a:gd name="T52" fmla="*/ 2147483647 w 138"/>
                <a:gd name="T53" fmla="*/ 2147483647 h 66"/>
                <a:gd name="T54" fmla="*/ 2147483647 w 138"/>
                <a:gd name="T55" fmla="*/ 2147483647 h 6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38"/>
                <a:gd name="T85" fmla="*/ 0 h 66"/>
                <a:gd name="T86" fmla="*/ 138 w 138"/>
                <a:gd name="T87" fmla="*/ 66 h 6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38" h="66">
                  <a:moveTo>
                    <a:pt x="137" y="15"/>
                  </a:moveTo>
                  <a:lnTo>
                    <a:pt x="137" y="24"/>
                  </a:lnTo>
                  <a:lnTo>
                    <a:pt x="112" y="40"/>
                  </a:lnTo>
                  <a:lnTo>
                    <a:pt x="95" y="40"/>
                  </a:lnTo>
                  <a:lnTo>
                    <a:pt x="87" y="49"/>
                  </a:lnTo>
                  <a:lnTo>
                    <a:pt x="71" y="49"/>
                  </a:lnTo>
                  <a:lnTo>
                    <a:pt x="55" y="56"/>
                  </a:lnTo>
                  <a:lnTo>
                    <a:pt x="55" y="65"/>
                  </a:lnTo>
                  <a:lnTo>
                    <a:pt x="31" y="65"/>
                  </a:lnTo>
                  <a:lnTo>
                    <a:pt x="22" y="65"/>
                  </a:lnTo>
                  <a:lnTo>
                    <a:pt x="0" y="65"/>
                  </a:lnTo>
                  <a:lnTo>
                    <a:pt x="0" y="56"/>
                  </a:lnTo>
                  <a:lnTo>
                    <a:pt x="15" y="56"/>
                  </a:lnTo>
                  <a:lnTo>
                    <a:pt x="15" y="49"/>
                  </a:lnTo>
                  <a:lnTo>
                    <a:pt x="31" y="49"/>
                  </a:lnTo>
                  <a:lnTo>
                    <a:pt x="46" y="40"/>
                  </a:lnTo>
                  <a:lnTo>
                    <a:pt x="31" y="32"/>
                  </a:lnTo>
                  <a:lnTo>
                    <a:pt x="22" y="32"/>
                  </a:lnTo>
                  <a:lnTo>
                    <a:pt x="6" y="32"/>
                  </a:lnTo>
                  <a:lnTo>
                    <a:pt x="22" y="15"/>
                  </a:lnTo>
                  <a:lnTo>
                    <a:pt x="15" y="15"/>
                  </a:lnTo>
                  <a:lnTo>
                    <a:pt x="22" y="9"/>
                  </a:lnTo>
                  <a:lnTo>
                    <a:pt x="46" y="15"/>
                  </a:lnTo>
                  <a:lnTo>
                    <a:pt x="46" y="9"/>
                  </a:lnTo>
                  <a:lnTo>
                    <a:pt x="55" y="0"/>
                  </a:lnTo>
                  <a:lnTo>
                    <a:pt x="71" y="9"/>
                  </a:lnTo>
                  <a:lnTo>
                    <a:pt x="120" y="9"/>
                  </a:lnTo>
                  <a:lnTo>
                    <a:pt x="137" y="15"/>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6" name="Freeform 132">
              <a:extLst>
                <a:ext uri="{FF2B5EF4-FFF2-40B4-BE49-F238E27FC236}">
                  <a16:creationId xmlns:a16="http://schemas.microsoft.com/office/drawing/2014/main" id="{482FE59A-CFC7-4C32-8388-E7F875D055B5}"/>
                </a:ext>
              </a:extLst>
            </p:cNvPr>
            <p:cNvSpPr>
              <a:spLocks/>
            </p:cNvSpPr>
            <p:nvPr/>
          </p:nvSpPr>
          <p:spPr bwMode="auto">
            <a:xfrm>
              <a:off x="6850063" y="3516313"/>
              <a:ext cx="360362" cy="196850"/>
            </a:xfrm>
            <a:custGeom>
              <a:avLst/>
              <a:gdLst>
                <a:gd name="T0" fmla="*/ 2147483647 w 188"/>
                <a:gd name="T1" fmla="*/ 2147483647 h 121"/>
                <a:gd name="T2" fmla="*/ 2147483647 w 188"/>
                <a:gd name="T3" fmla="*/ 2147483647 h 121"/>
                <a:gd name="T4" fmla="*/ 2147483647 w 188"/>
                <a:gd name="T5" fmla="*/ 2147483647 h 121"/>
                <a:gd name="T6" fmla="*/ 2147483647 w 188"/>
                <a:gd name="T7" fmla="*/ 2147483647 h 121"/>
                <a:gd name="T8" fmla="*/ 2147483647 w 188"/>
                <a:gd name="T9" fmla="*/ 2147483647 h 121"/>
                <a:gd name="T10" fmla="*/ 2147483647 w 188"/>
                <a:gd name="T11" fmla="*/ 2147483647 h 121"/>
                <a:gd name="T12" fmla="*/ 2147483647 w 188"/>
                <a:gd name="T13" fmla="*/ 2147483647 h 121"/>
                <a:gd name="T14" fmla="*/ 2147483647 w 188"/>
                <a:gd name="T15" fmla="*/ 2147483647 h 121"/>
                <a:gd name="T16" fmla="*/ 2147483647 w 188"/>
                <a:gd name="T17" fmla="*/ 2147483647 h 121"/>
                <a:gd name="T18" fmla="*/ 2147483647 w 188"/>
                <a:gd name="T19" fmla="*/ 2147483647 h 121"/>
                <a:gd name="T20" fmla="*/ 2147483647 w 188"/>
                <a:gd name="T21" fmla="*/ 2147483647 h 121"/>
                <a:gd name="T22" fmla="*/ 2147483647 w 188"/>
                <a:gd name="T23" fmla="*/ 2147483647 h 121"/>
                <a:gd name="T24" fmla="*/ 2147483647 w 188"/>
                <a:gd name="T25" fmla="*/ 2147483647 h 121"/>
                <a:gd name="T26" fmla="*/ 2147483647 w 188"/>
                <a:gd name="T27" fmla="*/ 2147483647 h 121"/>
                <a:gd name="T28" fmla="*/ 2147483647 w 188"/>
                <a:gd name="T29" fmla="*/ 2147483647 h 121"/>
                <a:gd name="T30" fmla="*/ 2147483647 w 188"/>
                <a:gd name="T31" fmla="*/ 2147483647 h 121"/>
                <a:gd name="T32" fmla="*/ 2147483647 w 188"/>
                <a:gd name="T33" fmla="*/ 2147483647 h 121"/>
                <a:gd name="T34" fmla="*/ 2147483647 w 188"/>
                <a:gd name="T35" fmla="*/ 2147483647 h 121"/>
                <a:gd name="T36" fmla="*/ 2147483647 w 188"/>
                <a:gd name="T37" fmla="*/ 2147483647 h 121"/>
                <a:gd name="T38" fmla="*/ 2147483647 w 188"/>
                <a:gd name="T39" fmla="*/ 2147483647 h 121"/>
                <a:gd name="T40" fmla="*/ 2147483647 w 188"/>
                <a:gd name="T41" fmla="*/ 2147483647 h 121"/>
                <a:gd name="T42" fmla="*/ 2147483647 w 188"/>
                <a:gd name="T43" fmla="*/ 2147483647 h 121"/>
                <a:gd name="T44" fmla="*/ 2147483647 w 188"/>
                <a:gd name="T45" fmla="*/ 2147483647 h 121"/>
                <a:gd name="T46" fmla="*/ 0 w 188"/>
                <a:gd name="T47" fmla="*/ 2147483647 h 121"/>
                <a:gd name="T48" fmla="*/ 2147483647 w 188"/>
                <a:gd name="T49" fmla="*/ 2147483647 h 121"/>
                <a:gd name="T50" fmla="*/ 2147483647 w 188"/>
                <a:gd name="T51" fmla="*/ 2147483647 h 121"/>
                <a:gd name="T52" fmla="*/ 2147483647 w 188"/>
                <a:gd name="T53" fmla="*/ 2147483647 h 121"/>
                <a:gd name="T54" fmla="*/ 2147483647 w 188"/>
                <a:gd name="T55" fmla="*/ 2147483647 h 121"/>
                <a:gd name="T56" fmla="*/ 2147483647 w 188"/>
                <a:gd name="T57" fmla="*/ 2147483647 h 121"/>
                <a:gd name="T58" fmla="*/ 2147483647 w 188"/>
                <a:gd name="T59" fmla="*/ 2147483647 h 121"/>
                <a:gd name="T60" fmla="*/ 2147483647 w 188"/>
                <a:gd name="T61" fmla="*/ 2147483647 h 121"/>
                <a:gd name="T62" fmla="*/ 2147483647 w 188"/>
                <a:gd name="T63" fmla="*/ 0 h 121"/>
                <a:gd name="T64" fmla="*/ 2147483647 w 188"/>
                <a:gd name="T65" fmla="*/ 0 h 121"/>
                <a:gd name="T66" fmla="*/ 2147483647 w 188"/>
                <a:gd name="T67" fmla="*/ 2147483647 h 121"/>
                <a:gd name="T68" fmla="*/ 2147483647 w 188"/>
                <a:gd name="T69" fmla="*/ 2147483647 h 121"/>
                <a:gd name="T70" fmla="*/ 2147483647 w 188"/>
                <a:gd name="T71" fmla="*/ 2147483647 h 121"/>
                <a:gd name="T72" fmla="*/ 2147483647 w 188"/>
                <a:gd name="T73" fmla="*/ 2147483647 h 121"/>
                <a:gd name="T74" fmla="*/ 2147483647 w 188"/>
                <a:gd name="T75" fmla="*/ 2147483647 h 121"/>
                <a:gd name="T76" fmla="*/ 2147483647 w 188"/>
                <a:gd name="T77" fmla="*/ 2147483647 h 121"/>
                <a:gd name="T78" fmla="*/ 2147483647 w 188"/>
                <a:gd name="T79" fmla="*/ 2147483647 h 12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8"/>
                <a:gd name="T121" fmla="*/ 0 h 121"/>
                <a:gd name="T122" fmla="*/ 188 w 188"/>
                <a:gd name="T123" fmla="*/ 121 h 12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8" h="121">
                  <a:moveTo>
                    <a:pt x="179" y="96"/>
                  </a:moveTo>
                  <a:lnTo>
                    <a:pt x="171" y="88"/>
                  </a:lnTo>
                  <a:lnTo>
                    <a:pt x="171" y="96"/>
                  </a:lnTo>
                  <a:lnTo>
                    <a:pt x="162" y="96"/>
                  </a:lnTo>
                  <a:lnTo>
                    <a:pt x="155" y="112"/>
                  </a:lnTo>
                  <a:lnTo>
                    <a:pt x="137" y="112"/>
                  </a:lnTo>
                  <a:lnTo>
                    <a:pt x="137" y="120"/>
                  </a:lnTo>
                  <a:lnTo>
                    <a:pt x="114" y="120"/>
                  </a:lnTo>
                  <a:lnTo>
                    <a:pt x="114" y="112"/>
                  </a:lnTo>
                  <a:lnTo>
                    <a:pt x="114" y="105"/>
                  </a:lnTo>
                  <a:lnTo>
                    <a:pt x="65" y="80"/>
                  </a:lnTo>
                  <a:lnTo>
                    <a:pt x="40" y="80"/>
                  </a:lnTo>
                  <a:lnTo>
                    <a:pt x="25" y="88"/>
                  </a:lnTo>
                  <a:lnTo>
                    <a:pt x="25" y="63"/>
                  </a:lnTo>
                  <a:lnTo>
                    <a:pt x="16" y="63"/>
                  </a:lnTo>
                  <a:lnTo>
                    <a:pt x="16" y="47"/>
                  </a:lnTo>
                  <a:lnTo>
                    <a:pt x="9" y="47"/>
                  </a:lnTo>
                  <a:lnTo>
                    <a:pt x="9" y="40"/>
                  </a:lnTo>
                  <a:lnTo>
                    <a:pt x="25" y="40"/>
                  </a:lnTo>
                  <a:lnTo>
                    <a:pt x="32" y="31"/>
                  </a:lnTo>
                  <a:lnTo>
                    <a:pt x="16" y="15"/>
                  </a:lnTo>
                  <a:lnTo>
                    <a:pt x="9" y="15"/>
                  </a:lnTo>
                  <a:lnTo>
                    <a:pt x="9" y="31"/>
                  </a:lnTo>
                  <a:lnTo>
                    <a:pt x="0" y="15"/>
                  </a:lnTo>
                  <a:lnTo>
                    <a:pt x="25" y="6"/>
                  </a:lnTo>
                  <a:lnTo>
                    <a:pt x="40" y="23"/>
                  </a:lnTo>
                  <a:lnTo>
                    <a:pt x="49" y="23"/>
                  </a:lnTo>
                  <a:lnTo>
                    <a:pt x="57" y="23"/>
                  </a:lnTo>
                  <a:lnTo>
                    <a:pt x="57" y="15"/>
                  </a:lnTo>
                  <a:lnTo>
                    <a:pt x="74" y="6"/>
                  </a:lnTo>
                  <a:lnTo>
                    <a:pt x="81" y="6"/>
                  </a:lnTo>
                  <a:lnTo>
                    <a:pt x="74" y="0"/>
                  </a:lnTo>
                  <a:lnTo>
                    <a:pt x="81" y="0"/>
                  </a:lnTo>
                  <a:lnTo>
                    <a:pt x="97" y="6"/>
                  </a:lnTo>
                  <a:lnTo>
                    <a:pt x="97" y="23"/>
                  </a:lnTo>
                  <a:lnTo>
                    <a:pt x="122" y="23"/>
                  </a:lnTo>
                  <a:lnTo>
                    <a:pt x="130" y="47"/>
                  </a:lnTo>
                  <a:lnTo>
                    <a:pt x="171" y="72"/>
                  </a:lnTo>
                  <a:lnTo>
                    <a:pt x="187" y="80"/>
                  </a:lnTo>
                  <a:lnTo>
                    <a:pt x="179" y="96"/>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7" name="Freeform 133">
              <a:extLst>
                <a:ext uri="{FF2B5EF4-FFF2-40B4-BE49-F238E27FC236}">
                  <a16:creationId xmlns:a16="http://schemas.microsoft.com/office/drawing/2014/main" id="{FAD77296-85EC-4D30-92A4-F550673133A6}"/>
                </a:ext>
              </a:extLst>
            </p:cNvPr>
            <p:cNvSpPr>
              <a:spLocks/>
            </p:cNvSpPr>
            <p:nvPr/>
          </p:nvSpPr>
          <p:spPr bwMode="auto">
            <a:xfrm>
              <a:off x="6943725" y="3435350"/>
              <a:ext cx="420688" cy="239713"/>
            </a:xfrm>
            <a:custGeom>
              <a:avLst/>
              <a:gdLst>
                <a:gd name="T0" fmla="*/ 2147483647 w 219"/>
                <a:gd name="T1" fmla="*/ 2147483647 h 147"/>
                <a:gd name="T2" fmla="*/ 2147483647 w 219"/>
                <a:gd name="T3" fmla="*/ 2147483647 h 147"/>
                <a:gd name="T4" fmla="*/ 2147483647 w 219"/>
                <a:gd name="T5" fmla="*/ 2147483647 h 147"/>
                <a:gd name="T6" fmla="*/ 2147483647 w 219"/>
                <a:gd name="T7" fmla="*/ 2147483647 h 147"/>
                <a:gd name="T8" fmla="*/ 2147483647 w 219"/>
                <a:gd name="T9" fmla="*/ 2147483647 h 147"/>
                <a:gd name="T10" fmla="*/ 2147483647 w 219"/>
                <a:gd name="T11" fmla="*/ 2147483647 h 147"/>
                <a:gd name="T12" fmla="*/ 2147483647 w 219"/>
                <a:gd name="T13" fmla="*/ 2147483647 h 147"/>
                <a:gd name="T14" fmla="*/ 2147483647 w 219"/>
                <a:gd name="T15" fmla="*/ 2147483647 h 147"/>
                <a:gd name="T16" fmla="*/ 2147483647 w 219"/>
                <a:gd name="T17" fmla="*/ 2147483647 h 147"/>
                <a:gd name="T18" fmla="*/ 2147483647 w 219"/>
                <a:gd name="T19" fmla="*/ 2147483647 h 147"/>
                <a:gd name="T20" fmla="*/ 2147483647 w 219"/>
                <a:gd name="T21" fmla="*/ 2147483647 h 147"/>
                <a:gd name="T22" fmla="*/ 2147483647 w 219"/>
                <a:gd name="T23" fmla="*/ 2147483647 h 147"/>
                <a:gd name="T24" fmla="*/ 2147483647 w 219"/>
                <a:gd name="T25" fmla="*/ 2147483647 h 147"/>
                <a:gd name="T26" fmla="*/ 2147483647 w 219"/>
                <a:gd name="T27" fmla="*/ 2147483647 h 147"/>
                <a:gd name="T28" fmla="*/ 2147483647 w 219"/>
                <a:gd name="T29" fmla="*/ 2147483647 h 147"/>
                <a:gd name="T30" fmla="*/ 2147483647 w 219"/>
                <a:gd name="T31" fmla="*/ 2147483647 h 147"/>
                <a:gd name="T32" fmla="*/ 2147483647 w 219"/>
                <a:gd name="T33" fmla="*/ 2147483647 h 147"/>
                <a:gd name="T34" fmla="*/ 2147483647 w 219"/>
                <a:gd name="T35" fmla="*/ 2147483647 h 147"/>
                <a:gd name="T36" fmla="*/ 2147483647 w 219"/>
                <a:gd name="T37" fmla="*/ 2147483647 h 147"/>
                <a:gd name="T38" fmla="*/ 2147483647 w 219"/>
                <a:gd name="T39" fmla="*/ 2147483647 h 147"/>
                <a:gd name="T40" fmla="*/ 2147483647 w 219"/>
                <a:gd name="T41" fmla="*/ 2147483647 h 147"/>
                <a:gd name="T42" fmla="*/ 2147483647 w 219"/>
                <a:gd name="T43" fmla="*/ 2147483647 h 147"/>
                <a:gd name="T44" fmla="*/ 2147483647 w 219"/>
                <a:gd name="T45" fmla="*/ 2147483647 h 147"/>
                <a:gd name="T46" fmla="*/ 2147483647 w 219"/>
                <a:gd name="T47" fmla="*/ 2147483647 h 147"/>
                <a:gd name="T48" fmla="*/ 2147483647 w 219"/>
                <a:gd name="T49" fmla="*/ 2147483647 h 147"/>
                <a:gd name="T50" fmla="*/ 2147483647 w 219"/>
                <a:gd name="T51" fmla="*/ 2147483647 h 147"/>
                <a:gd name="T52" fmla="*/ 2147483647 w 219"/>
                <a:gd name="T53" fmla="*/ 0 h 147"/>
                <a:gd name="T54" fmla="*/ 0 w 219"/>
                <a:gd name="T55" fmla="*/ 2147483647 h 147"/>
                <a:gd name="T56" fmla="*/ 0 w 219"/>
                <a:gd name="T57" fmla="*/ 2147483647 h 147"/>
                <a:gd name="T58" fmla="*/ 2147483647 w 219"/>
                <a:gd name="T59" fmla="*/ 2147483647 h 147"/>
                <a:gd name="T60" fmla="*/ 2147483647 w 219"/>
                <a:gd name="T61" fmla="*/ 2147483647 h 147"/>
                <a:gd name="T62" fmla="*/ 2147483647 w 219"/>
                <a:gd name="T63" fmla="*/ 2147483647 h 147"/>
                <a:gd name="T64" fmla="*/ 2147483647 w 219"/>
                <a:gd name="T65" fmla="*/ 2147483647 h 147"/>
                <a:gd name="T66" fmla="*/ 2147483647 w 219"/>
                <a:gd name="T67" fmla="*/ 2147483647 h 147"/>
                <a:gd name="T68" fmla="*/ 2147483647 w 219"/>
                <a:gd name="T69" fmla="*/ 2147483647 h 147"/>
                <a:gd name="T70" fmla="*/ 2147483647 w 219"/>
                <a:gd name="T71" fmla="*/ 2147483647 h 147"/>
                <a:gd name="T72" fmla="*/ 2147483647 w 219"/>
                <a:gd name="T73" fmla="*/ 2147483647 h 147"/>
                <a:gd name="T74" fmla="*/ 2147483647 w 219"/>
                <a:gd name="T75" fmla="*/ 2147483647 h 147"/>
                <a:gd name="T76" fmla="*/ 2147483647 w 219"/>
                <a:gd name="T77" fmla="*/ 2147483647 h 147"/>
                <a:gd name="T78" fmla="*/ 2147483647 w 219"/>
                <a:gd name="T79" fmla="*/ 2147483647 h 147"/>
                <a:gd name="T80" fmla="*/ 2147483647 w 219"/>
                <a:gd name="T81" fmla="*/ 2147483647 h 147"/>
                <a:gd name="T82" fmla="*/ 2147483647 w 219"/>
                <a:gd name="T83" fmla="*/ 2147483647 h 14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19"/>
                <a:gd name="T127" fmla="*/ 0 h 147"/>
                <a:gd name="T128" fmla="*/ 219 w 219"/>
                <a:gd name="T129" fmla="*/ 147 h 14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19" h="147">
                  <a:moveTo>
                    <a:pt x="130" y="146"/>
                  </a:moveTo>
                  <a:lnTo>
                    <a:pt x="147" y="146"/>
                  </a:lnTo>
                  <a:lnTo>
                    <a:pt x="153" y="130"/>
                  </a:lnTo>
                  <a:lnTo>
                    <a:pt x="153" y="113"/>
                  </a:lnTo>
                  <a:lnTo>
                    <a:pt x="147" y="106"/>
                  </a:lnTo>
                  <a:lnTo>
                    <a:pt x="162" y="106"/>
                  </a:lnTo>
                  <a:lnTo>
                    <a:pt x="172" y="90"/>
                  </a:lnTo>
                  <a:lnTo>
                    <a:pt x="172" y="81"/>
                  </a:lnTo>
                  <a:lnTo>
                    <a:pt x="187" y="81"/>
                  </a:lnTo>
                  <a:lnTo>
                    <a:pt x="187" y="90"/>
                  </a:lnTo>
                  <a:lnTo>
                    <a:pt x="203" y="90"/>
                  </a:lnTo>
                  <a:lnTo>
                    <a:pt x="218" y="81"/>
                  </a:lnTo>
                  <a:lnTo>
                    <a:pt x="203" y="73"/>
                  </a:lnTo>
                  <a:lnTo>
                    <a:pt x="194" y="73"/>
                  </a:lnTo>
                  <a:lnTo>
                    <a:pt x="178" y="73"/>
                  </a:lnTo>
                  <a:lnTo>
                    <a:pt x="194" y="56"/>
                  </a:lnTo>
                  <a:lnTo>
                    <a:pt x="187" y="56"/>
                  </a:lnTo>
                  <a:lnTo>
                    <a:pt x="162" y="81"/>
                  </a:lnTo>
                  <a:lnTo>
                    <a:pt x="153" y="73"/>
                  </a:lnTo>
                  <a:lnTo>
                    <a:pt x="138" y="73"/>
                  </a:lnTo>
                  <a:lnTo>
                    <a:pt x="138" y="65"/>
                  </a:lnTo>
                  <a:lnTo>
                    <a:pt x="130" y="65"/>
                  </a:lnTo>
                  <a:lnTo>
                    <a:pt x="130" y="50"/>
                  </a:lnTo>
                  <a:lnTo>
                    <a:pt x="113" y="31"/>
                  </a:lnTo>
                  <a:lnTo>
                    <a:pt x="73" y="31"/>
                  </a:lnTo>
                  <a:lnTo>
                    <a:pt x="48" y="9"/>
                  </a:lnTo>
                  <a:lnTo>
                    <a:pt x="32" y="0"/>
                  </a:lnTo>
                  <a:lnTo>
                    <a:pt x="0" y="9"/>
                  </a:lnTo>
                  <a:lnTo>
                    <a:pt x="0" y="73"/>
                  </a:lnTo>
                  <a:lnTo>
                    <a:pt x="8" y="73"/>
                  </a:lnTo>
                  <a:lnTo>
                    <a:pt x="8" y="65"/>
                  </a:lnTo>
                  <a:lnTo>
                    <a:pt x="25" y="56"/>
                  </a:lnTo>
                  <a:lnTo>
                    <a:pt x="32" y="56"/>
                  </a:lnTo>
                  <a:lnTo>
                    <a:pt x="25" y="50"/>
                  </a:lnTo>
                  <a:lnTo>
                    <a:pt x="32" y="50"/>
                  </a:lnTo>
                  <a:lnTo>
                    <a:pt x="48" y="56"/>
                  </a:lnTo>
                  <a:lnTo>
                    <a:pt x="48" y="73"/>
                  </a:lnTo>
                  <a:lnTo>
                    <a:pt x="73" y="73"/>
                  </a:lnTo>
                  <a:lnTo>
                    <a:pt x="81" y="97"/>
                  </a:lnTo>
                  <a:lnTo>
                    <a:pt x="122" y="122"/>
                  </a:lnTo>
                  <a:lnTo>
                    <a:pt x="138" y="130"/>
                  </a:lnTo>
                  <a:lnTo>
                    <a:pt x="130" y="146"/>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8" name="Freeform 134">
              <a:extLst>
                <a:ext uri="{FF2B5EF4-FFF2-40B4-BE49-F238E27FC236}">
                  <a16:creationId xmlns:a16="http://schemas.microsoft.com/office/drawing/2014/main" id="{D8B28235-014F-4B2D-978B-ED8B1E25E44A}"/>
                </a:ext>
              </a:extLst>
            </p:cNvPr>
            <p:cNvSpPr>
              <a:spLocks/>
            </p:cNvSpPr>
            <p:nvPr/>
          </p:nvSpPr>
          <p:spPr bwMode="auto">
            <a:xfrm>
              <a:off x="6708775" y="3121025"/>
              <a:ext cx="1012825" cy="447675"/>
            </a:xfrm>
            <a:custGeom>
              <a:avLst/>
              <a:gdLst>
                <a:gd name="T0" fmla="*/ 2147483647 w 529"/>
                <a:gd name="T1" fmla="*/ 2147483647 h 275"/>
                <a:gd name="T2" fmla="*/ 2147483647 w 529"/>
                <a:gd name="T3" fmla="*/ 2147483647 h 275"/>
                <a:gd name="T4" fmla="*/ 2147483647 w 529"/>
                <a:gd name="T5" fmla="*/ 2147483647 h 275"/>
                <a:gd name="T6" fmla="*/ 2147483647 w 529"/>
                <a:gd name="T7" fmla="*/ 2147483647 h 275"/>
                <a:gd name="T8" fmla="*/ 2147483647 w 529"/>
                <a:gd name="T9" fmla="*/ 2147483647 h 275"/>
                <a:gd name="T10" fmla="*/ 2147483647 w 529"/>
                <a:gd name="T11" fmla="*/ 2147483647 h 275"/>
                <a:gd name="T12" fmla="*/ 2147483647 w 529"/>
                <a:gd name="T13" fmla="*/ 2147483647 h 275"/>
                <a:gd name="T14" fmla="*/ 2147483647 w 529"/>
                <a:gd name="T15" fmla="*/ 2147483647 h 275"/>
                <a:gd name="T16" fmla="*/ 2147483647 w 529"/>
                <a:gd name="T17" fmla="*/ 2147483647 h 275"/>
                <a:gd name="T18" fmla="*/ 2147483647 w 529"/>
                <a:gd name="T19" fmla="*/ 2147483647 h 275"/>
                <a:gd name="T20" fmla="*/ 2147483647 w 529"/>
                <a:gd name="T21" fmla="*/ 2147483647 h 275"/>
                <a:gd name="T22" fmla="*/ 2147483647 w 529"/>
                <a:gd name="T23" fmla="*/ 2147483647 h 275"/>
                <a:gd name="T24" fmla="*/ 2147483647 w 529"/>
                <a:gd name="T25" fmla="*/ 2147483647 h 275"/>
                <a:gd name="T26" fmla="*/ 2147483647 w 529"/>
                <a:gd name="T27" fmla="*/ 2147483647 h 275"/>
                <a:gd name="T28" fmla="*/ 2147483647 w 529"/>
                <a:gd name="T29" fmla="*/ 2147483647 h 275"/>
                <a:gd name="T30" fmla="*/ 2147483647 w 529"/>
                <a:gd name="T31" fmla="*/ 2147483647 h 275"/>
                <a:gd name="T32" fmla="*/ 2147483647 w 529"/>
                <a:gd name="T33" fmla="*/ 2147483647 h 275"/>
                <a:gd name="T34" fmla="*/ 2147483647 w 529"/>
                <a:gd name="T35" fmla="*/ 2147483647 h 275"/>
                <a:gd name="T36" fmla="*/ 2147483647 w 529"/>
                <a:gd name="T37" fmla="*/ 2147483647 h 275"/>
                <a:gd name="T38" fmla="*/ 2147483647 w 529"/>
                <a:gd name="T39" fmla="*/ 2147483647 h 275"/>
                <a:gd name="T40" fmla="*/ 2147483647 w 529"/>
                <a:gd name="T41" fmla="*/ 2147483647 h 275"/>
                <a:gd name="T42" fmla="*/ 2147483647 w 529"/>
                <a:gd name="T43" fmla="*/ 2147483647 h 275"/>
                <a:gd name="T44" fmla="*/ 2147483647 w 529"/>
                <a:gd name="T45" fmla="*/ 2147483647 h 275"/>
                <a:gd name="T46" fmla="*/ 2147483647 w 529"/>
                <a:gd name="T47" fmla="*/ 2147483647 h 275"/>
                <a:gd name="T48" fmla="*/ 2147483647 w 529"/>
                <a:gd name="T49" fmla="*/ 2147483647 h 275"/>
                <a:gd name="T50" fmla="*/ 2147483647 w 529"/>
                <a:gd name="T51" fmla="*/ 2147483647 h 275"/>
                <a:gd name="T52" fmla="*/ 2147483647 w 529"/>
                <a:gd name="T53" fmla="*/ 2147483647 h 275"/>
                <a:gd name="T54" fmla="*/ 2147483647 w 529"/>
                <a:gd name="T55" fmla="*/ 2147483647 h 275"/>
                <a:gd name="T56" fmla="*/ 2147483647 w 529"/>
                <a:gd name="T57" fmla="*/ 2147483647 h 275"/>
                <a:gd name="T58" fmla="*/ 2147483647 w 529"/>
                <a:gd name="T59" fmla="*/ 2147483647 h 275"/>
                <a:gd name="T60" fmla="*/ 2147483647 w 529"/>
                <a:gd name="T61" fmla="*/ 2147483647 h 275"/>
                <a:gd name="T62" fmla="*/ 2147483647 w 529"/>
                <a:gd name="T63" fmla="*/ 2147483647 h 275"/>
                <a:gd name="T64" fmla="*/ 2147483647 w 529"/>
                <a:gd name="T65" fmla="*/ 2147483647 h 275"/>
                <a:gd name="T66" fmla="*/ 2147483647 w 529"/>
                <a:gd name="T67" fmla="*/ 2147483647 h 275"/>
                <a:gd name="T68" fmla="*/ 2147483647 w 529"/>
                <a:gd name="T69" fmla="*/ 2147483647 h 275"/>
                <a:gd name="T70" fmla="*/ 2147483647 w 529"/>
                <a:gd name="T71" fmla="*/ 0 h 275"/>
                <a:gd name="T72" fmla="*/ 2147483647 w 529"/>
                <a:gd name="T73" fmla="*/ 2147483647 h 275"/>
                <a:gd name="T74" fmla="*/ 2147483647 w 529"/>
                <a:gd name="T75" fmla="*/ 2147483647 h 275"/>
                <a:gd name="T76" fmla="*/ 2147483647 w 529"/>
                <a:gd name="T77" fmla="*/ 2147483647 h 275"/>
                <a:gd name="T78" fmla="*/ 2147483647 w 529"/>
                <a:gd name="T79" fmla="*/ 2147483647 h 275"/>
                <a:gd name="T80" fmla="*/ 2147483647 w 529"/>
                <a:gd name="T81" fmla="*/ 2147483647 h 275"/>
                <a:gd name="T82" fmla="*/ 2147483647 w 529"/>
                <a:gd name="T83" fmla="*/ 2147483647 h 275"/>
                <a:gd name="T84" fmla="*/ 2147483647 w 529"/>
                <a:gd name="T85" fmla="*/ 2147483647 h 275"/>
                <a:gd name="T86" fmla="*/ 2147483647 w 529"/>
                <a:gd name="T87" fmla="*/ 2147483647 h 275"/>
                <a:gd name="T88" fmla="*/ 2147483647 w 529"/>
                <a:gd name="T89" fmla="*/ 2147483647 h 27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29"/>
                <a:gd name="T136" fmla="*/ 0 h 275"/>
                <a:gd name="T137" fmla="*/ 529 w 529"/>
                <a:gd name="T138" fmla="*/ 275 h 27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29" h="275">
                  <a:moveTo>
                    <a:pt x="512" y="137"/>
                  </a:moveTo>
                  <a:lnTo>
                    <a:pt x="504" y="144"/>
                  </a:lnTo>
                  <a:lnTo>
                    <a:pt x="497" y="169"/>
                  </a:lnTo>
                  <a:lnTo>
                    <a:pt x="487" y="169"/>
                  </a:lnTo>
                  <a:lnTo>
                    <a:pt x="463" y="169"/>
                  </a:lnTo>
                  <a:lnTo>
                    <a:pt x="456" y="202"/>
                  </a:lnTo>
                  <a:lnTo>
                    <a:pt x="432" y="202"/>
                  </a:lnTo>
                  <a:lnTo>
                    <a:pt x="432" y="209"/>
                  </a:lnTo>
                  <a:lnTo>
                    <a:pt x="438" y="243"/>
                  </a:lnTo>
                  <a:lnTo>
                    <a:pt x="432" y="249"/>
                  </a:lnTo>
                  <a:lnTo>
                    <a:pt x="415" y="243"/>
                  </a:lnTo>
                  <a:lnTo>
                    <a:pt x="366" y="243"/>
                  </a:lnTo>
                  <a:lnTo>
                    <a:pt x="350" y="234"/>
                  </a:lnTo>
                  <a:lnTo>
                    <a:pt x="341" y="243"/>
                  </a:lnTo>
                  <a:lnTo>
                    <a:pt x="341" y="249"/>
                  </a:lnTo>
                  <a:lnTo>
                    <a:pt x="317" y="243"/>
                  </a:lnTo>
                  <a:lnTo>
                    <a:pt x="310" y="249"/>
                  </a:lnTo>
                  <a:lnTo>
                    <a:pt x="285" y="274"/>
                  </a:lnTo>
                  <a:lnTo>
                    <a:pt x="276" y="266"/>
                  </a:lnTo>
                  <a:lnTo>
                    <a:pt x="261" y="266"/>
                  </a:lnTo>
                  <a:lnTo>
                    <a:pt x="261" y="258"/>
                  </a:lnTo>
                  <a:lnTo>
                    <a:pt x="253" y="258"/>
                  </a:lnTo>
                  <a:lnTo>
                    <a:pt x="253" y="243"/>
                  </a:lnTo>
                  <a:lnTo>
                    <a:pt x="236" y="224"/>
                  </a:lnTo>
                  <a:lnTo>
                    <a:pt x="196" y="224"/>
                  </a:lnTo>
                  <a:lnTo>
                    <a:pt x="171" y="202"/>
                  </a:lnTo>
                  <a:lnTo>
                    <a:pt x="155" y="193"/>
                  </a:lnTo>
                  <a:lnTo>
                    <a:pt x="123" y="202"/>
                  </a:lnTo>
                  <a:lnTo>
                    <a:pt x="123" y="266"/>
                  </a:lnTo>
                  <a:lnTo>
                    <a:pt x="114" y="266"/>
                  </a:lnTo>
                  <a:lnTo>
                    <a:pt x="99" y="249"/>
                  </a:lnTo>
                  <a:lnTo>
                    <a:pt x="74" y="258"/>
                  </a:lnTo>
                  <a:lnTo>
                    <a:pt x="74" y="243"/>
                  </a:lnTo>
                  <a:lnTo>
                    <a:pt x="65" y="243"/>
                  </a:lnTo>
                  <a:lnTo>
                    <a:pt x="59" y="218"/>
                  </a:lnTo>
                  <a:lnTo>
                    <a:pt x="49" y="218"/>
                  </a:lnTo>
                  <a:lnTo>
                    <a:pt x="65" y="218"/>
                  </a:lnTo>
                  <a:lnTo>
                    <a:pt x="59" y="209"/>
                  </a:lnTo>
                  <a:lnTo>
                    <a:pt x="65" y="202"/>
                  </a:lnTo>
                  <a:lnTo>
                    <a:pt x="99" y="202"/>
                  </a:lnTo>
                  <a:lnTo>
                    <a:pt x="90" y="177"/>
                  </a:lnTo>
                  <a:lnTo>
                    <a:pt x="74" y="169"/>
                  </a:lnTo>
                  <a:lnTo>
                    <a:pt x="59" y="161"/>
                  </a:lnTo>
                  <a:lnTo>
                    <a:pt x="34" y="177"/>
                  </a:lnTo>
                  <a:lnTo>
                    <a:pt x="25" y="177"/>
                  </a:lnTo>
                  <a:lnTo>
                    <a:pt x="34" y="169"/>
                  </a:lnTo>
                  <a:lnTo>
                    <a:pt x="25" y="153"/>
                  </a:lnTo>
                  <a:lnTo>
                    <a:pt x="9" y="153"/>
                  </a:lnTo>
                  <a:lnTo>
                    <a:pt x="0" y="137"/>
                  </a:lnTo>
                  <a:lnTo>
                    <a:pt x="9" y="96"/>
                  </a:lnTo>
                  <a:lnTo>
                    <a:pt x="25" y="112"/>
                  </a:lnTo>
                  <a:lnTo>
                    <a:pt x="34" y="112"/>
                  </a:lnTo>
                  <a:lnTo>
                    <a:pt x="25" y="96"/>
                  </a:lnTo>
                  <a:lnTo>
                    <a:pt x="49" y="72"/>
                  </a:lnTo>
                  <a:lnTo>
                    <a:pt x="65" y="81"/>
                  </a:lnTo>
                  <a:lnTo>
                    <a:pt x="74" y="72"/>
                  </a:lnTo>
                  <a:lnTo>
                    <a:pt x="90" y="81"/>
                  </a:lnTo>
                  <a:lnTo>
                    <a:pt x="114" y="96"/>
                  </a:lnTo>
                  <a:lnTo>
                    <a:pt x="131" y="87"/>
                  </a:lnTo>
                  <a:lnTo>
                    <a:pt x="148" y="87"/>
                  </a:lnTo>
                  <a:lnTo>
                    <a:pt x="155" y="96"/>
                  </a:lnTo>
                  <a:lnTo>
                    <a:pt x="188" y="96"/>
                  </a:lnTo>
                  <a:lnTo>
                    <a:pt x="196" y="81"/>
                  </a:lnTo>
                  <a:lnTo>
                    <a:pt x="171" y="72"/>
                  </a:lnTo>
                  <a:lnTo>
                    <a:pt x="188" y="63"/>
                  </a:lnTo>
                  <a:lnTo>
                    <a:pt x="179" y="56"/>
                  </a:lnTo>
                  <a:lnTo>
                    <a:pt x="188" y="47"/>
                  </a:lnTo>
                  <a:lnTo>
                    <a:pt x="188" y="22"/>
                  </a:lnTo>
                  <a:lnTo>
                    <a:pt x="204" y="32"/>
                  </a:lnTo>
                  <a:lnTo>
                    <a:pt x="276" y="7"/>
                  </a:lnTo>
                  <a:lnTo>
                    <a:pt x="276" y="0"/>
                  </a:lnTo>
                  <a:lnTo>
                    <a:pt x="285" y="0"/>
                  </a:lnTo>
                  <a:lnTo>
                    <a:pt x="310" y="0"/>
                  </a:lnTo>
                  <a:lnTo>
                    <a:pt x="317" y="16"/>
                  </a:lnTo>
                  <a:lnTo>
                    <a:pt x="317" y="22"/>
                  </a:lnTo>
                  <a:lnTo>
                    <a:pt x="326" y="22"/>
                  </a:lnTo>
                  <a:lnTo>
                    <a:pt x="341" y="32"/>
                  </a:lnTo>
                  <a:lnTo>
                    <a:pt x="341" y="40"/>
                  </a:lnTo>
                  <a:lnTo>
                    <a:pt x="358" y="40"/>
                  </a:lnTo>
                  <a:lnTo>
                    <a:pt x="375" y="22"/>
                  </a:lnTo>
                  <a:lnTo>
                    <a:pt x="390" y="16"/>
                  </a:lnTo>
                  <a:lnTo>
                    <a:pt x="398" y="40"/>
                  </a:lnTo>
                  <a:lnTo>
                    <a:pt x="432" y="96"/>
                  </a:lnTo>
                  <a:lnTo>
                    <a:pt x="438" y="81"/>
                  </a:lnTo>
                  <a:lnTo>
                    <a:pt x="447" y="96"/>
                  </a:lnTo>
                  <a:lnTo>
                    <a:pt x="472" y="87"/>
                  </a:lnTo>
                  <a:lnTo>
                    <a:pt x="497" y="112"/>
                  </a:lnTo>
                  <a:lnTo>
                    <a:pt x="512" y="121"/>
                  </a:lnTo>
                  <a:lnTo>
                    <a:pt x="512" y="112"/>
                  </a:lnTo>
                  <a:lnTo>
                    <a:pt x="528" y="129"/>
                  </a:lnTo>
                  <a:lnTo>
                    <a:pt x="512" y="137"/>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9" name="Freeform 135">
              <a:extLst>
                <a:ext uri="{FF2B5EF4-FFF2-40B4-BE49-F238E27FC236}">
                  <a16:creationId xmlns:a16="http://schemas.microsoft.com/office/drawing/2014/main" id="{33E2CD8F-0A09-420C-BF3C-E3CF5B4B2519}"/>
                </a:ext>
              </a:extLst>
            </p:cNvPr>
            <p:cNvSpPr>
              <a:spLocks/>
            </p:cNvSpPr>
            <p:nvPr/>
          </p:nvSpPr>
          <p:spPr bwMode="auto">
            <a:xfrm>
              <a:off x="6162675" y="3803650"/>
              <a:ext cx="284163" cy="239713"/>
            </a:xfrm>
            <a:custGeom>
              <a:avLst/>
              <a:gdLst>
                <a:gd name="T0" fmla="*/ 2147483647 w 148"/>
                <a:gd name="T1" fmla="*/ 2147483647 h 147"/>
                <a:gd name="T2" fmla="*/ 2147483647 w 148"/>
                <a:gd name="T3" fmla="*/ 2147483647 h 147"/>
                <a:gd name="T4" fmla="*/ 2147483647 w 148"/>
                <a:gd name="T5" fmla="*/ 2147483647 h 147"/>
                <a:gd name="T6" fmla="*/ 2147483647 w 148"/>
                <a:gd name="T7" fmla="*/ 2147483647 h 147"/>
                <a:gd name="T8" fmla="*/ 2147483647 w 148"/>
                <a:gd name="T9" fmla="*/ 2147483647 h 147"/>
                <a:gd name="T10" fmla="*/ 0 w 148"/>
                <a:gd name="T11" fmla="*/ 2147483647 h 147"/>
                <a:gd name="T12" fmla="*/ 2147483647 w 148"/>
                <a:gd name="T13" fmla="*/ 0 h 147"/>
                <a:gd name="T14" fmla="*/ 2147483647 w 148"/>
                <a:gd name="T15" fmla="*/ 2147483647 h 147"/>
                <a:gd name="T16" fmla="*/ 2147483647 w 148"/>
                <a:gd name="T17" fmla="*/ 2147483647 h 147"/>
                <a:gd name="T18" fmla="*/ 2147483647 w 148"/>
                <a:gd name="T19" fmla="*/ 2147483647 h 147"/>
                <a:gd name="T20" fmla="*/ 2147483647 w 148"/>
                <a:gd name="T21" fmla="*/ 2147483647 h 147"/>
                <a:gd name="T22" fmla="*/ 2147483647 w 148"/>
                <a:gd name="T23" fmla="*/ 2147483647 h 147"/>
                <a:gd name="T24" fmla="*/ 2147483647 w 148"/>
                <a:gd name="T25" fmla="*/ 2147483647 h 147"/>
                <a:gd name="T26" fmla="*/ 2147483647 w 148"/>
                <a:gd name="T27" fmla="*/ 2147483647 h 147"/>
                <a:gd name="T28" fmla="*/ 2147483647 w 148"/>
                <a:gd name="T29" fmla="*/ 2147483647 h 147"/>
                <a:gd name="T30" fmla="*/ 2147483647 w 148"/>
                <a:gd name="T31" fmla="*/ 2147483647 h 147"/>
                <a:gd name="T32" fmla="*/ 2147483647 w 148"/>
                <a:gd name="T33" fmla="*/ 2147483647 h 147"/>
                <a:gd name="T34" fmla="*/ 2147483647 w 148"/>
                <a:gd name="T35" fmla="*/ 2147483647 h 147"/>
                <a:gd name="T36" fmla="*/ 2147483647 w 148"/>
                <a:gd name="T37" fmla="*/ 2147483647 h 147"/>
                <a:gd name="T38" fmla="*/ 2147483647 w 148"/>
                <a:gd name="T39" fmla="*/ 2147483647 h 147"/>
                <a:gd name="T40" fmla="*/ 2147483647 w 148"/>
                <a:gd name="T41" fmla="*/ 2147483647 h 147"/>
                <a:gd name="T42" fmla="*/ 2147483647 w 148"/>
                <a:gd name="T43" fmla="*/ 2147483647 h 147"/>
                <a:gd name="T44" fmla="*/ 2147483647 w 148"/>
                <a:gd name="T45" fmla="*/ 2147483647 h 14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48"/>
                <a:gd name="T70" fmla="*/ 0 h 147"/>
                <a:gd name="T71" fmla="*/ 148 w 148"/>
                <a:gd name="T72" fmla="*/ 147 h 14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48" h="147">
                  <a:moveTo>
                    <a:pt x="147" y="130"/>
                  </a:moveTo>
                  <a:lnTo>
                    <a:pt x="122" y="146"/>
                  </a:lnTo>
                  <a:lnTo>
                    <a:pt x="115" y="137"/>
                  </a:lnTo>
                  <a:lnTo>
                    <a:pt x="10" y="137"/>
                  </a:lnTo>
                  <a:lnTo>
                    <a:pt x="10" y="48"/>
                  </a:lnTo>
                  <a:lnTo>
                    <a:pt x="0" y="32"/>
                  </a:lnTo>
                  <a:lnTo>
                    <a:pt x="10" y="0"/>
                  </a:lnTo>
                  <a:lnTo>
                    <a:pt x="10" y="9"/>
                  </a:lnTo>
                  <a:lnTo>
                    <a:pt x="34" y="9"/>
                  </a:lnTo>
                  <a:lnTo>
                    <a:pt x="57" y="16"/>
                  </a:lnTo>
                  <a:lnTo>
                    <a:pt x="91" y="9"/>
                  </a:lnTo>
                  <a:lnTo>
                    <a:pt x="97" y="9"/>
                  </a:lnTo>
                  <a:lnTo>
                    <a:pt x="97" y="16"/>
                  </a:lnTo>
                  <a:lnTo>
                    <a:pt x="107" y="9"/>
                  </a:lnTo>
                  <a:lnTo>
                    <a:pt x="107" y="16"/>
                  </a:lnTo>
                  <a:lnTo>
                    <a:pt x="122" y="9"/>
                  </a:lnTo>
                  <a:lnTo>
                    <a:pt x="131" y="40"/>
                  </a:lnTo>
                  <a:lnTo>
                    <a:pt x="122" y="65"/>
                  </a:lnTo>
                  <a:lnTo>
                    <a:pt x="115" y="48"/>
                  </a:lnTo>
                  <a:lnTo>
                    <a:pt x="107" y="25"/>
                  </a:lnTo>
                  <a:lnTo>
                    <a:pt x="107" y="32"/>
                  </a:lnTo>
                  <a:lnTo>
                    <a:pt x="107" y="40"/>
                  </a:lnTo>
                  <a:lnTo>
                    <a:pt x="147" y="130"/>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0" name="Freeform 136">
              <a:extLst>
                <a:ext uri="{FF2B5EF4-FFF2-40B4-BE49-F238E27FC236}">
                  <a16:creationId xmlns:a16="http://schemas.microsoft.com/office/drawing/2014/main" id="{6D63ECB8-A785-4098-9094-70D3840F971B}"/>
                </a:ext>
              </a:extLst>
            </p:cNvPr>
            <p:cNvSpPr>
              <a:spLocks/>
            </p:cNvSpPr>
            <p:nvPr/>
          </p:nvSpPr>
          <p:spPr bwMode="auto">
            <a:xfrm>
              <a:off x="5795963" y="3779838"/>
              <a:ext cx="388937" cy="315912"/>
            </a:xfrm>
            <a:custGeom>
              <a:avLst/>
              <a:gdLst>
                <a:gd name="T0" fmla="*/ 2147483647 w 203"/>
                <a:gd name="T1" fmla="*/ 2147483647 h 193"/>
                <a:gd name="T2" fmla="*/ 2147483647 w 203"/>
                <a:gd name="T3" fmla="*/ 2147483647 h 193"/>
                <a:gd name="T4" fmla="*/ 2147483647 w 203"/>
                <a:gd name="T5" fmla="*/ 2147483647 h 193"/>
                <a:gd name="T6" fmla="*/ 0 w 203"/>
                <a:gd name="T7" fmla="*/ 2147483647 h 193"/>
                <a:gd name="T8" fmla="*/ 2147483647 w 203"/>
                <a:gd name="T9" fmla="*/ 2147483647 h 193"/>
                <a:gd name="T10" fmla="*/ 2147483647 w 203"/>
                <a:gd name="T11" fmla="*/ 2147483647 h 193"/>
                <a:gd name="T12" fmla="*/ 2147483647 w 203"/>
                <a:gd name="T13" fmla="*/ 2147483647 h 193"/>
                <a:gd name="T14" fmla="*/ 0 w 203"/>
                <a:gd name="T15" fmla="*/ 2147483647 h 193"/>
                <a:gd name="T16" fmla="*/ 0 w 203"/>
                <a:gd name="T17" fmla="*/ 2147483647 h 193"/>
                <a:gd name="T18" fmla="*/ 2147483647 w 203"/>
                <a:gd name="T19" fmla="*/ 2147483647 h 193"/>
                <a:gd name="T20" fmla="*/ 2147483647 w 203"/>
                <a:gd name="T21" fmla="*/ 2147483647 h 193"/>
                <a:gd name="T22" fmla="*/ 2147483647 w 203"/>
                <a:gd name="T23" fmla="*/ 2147483647 h 193"/>
                <a:gd name="T24" fmla="*/ 2147483647 w 203"/>
                <a:gd name="T25" fmla="*/ 0 h 193"/>
                <a:gd name="T26" fmla="*/ 2147483647 w 203"/>
                <a:gd name="T27" fmla="*/ 0 h 193"/>
                <a:gd name="T28" fmla="*/ 2147483647 w 203"/>
                <a:gd name="T29" fmla="*/ 2147483647 h 193"/>
                <a:gd name="T30" fmla="*/ 2147483647 w 203"/>
                <a:gd name="T31" fmla="*/ 2147483647 h 193"/>
                <a:gd name="T32" fmla="*/ 2147483647 w 203"/>
                <a:gd name="T33" fmla="*/ 2147483647 h 193"/>
                <a:gd name="T34" fmla="*/ 2147483647 w 203"/>
                <a:gd name="T35" fmla="*/ 2147483647 h 193"/>
                <a:gd name="T36" fmla="*/ 2147483647 w 203"/>
                <a:gd name="T37" fmla="*/ 2147483647 h 193"/>
                <a:gd name="T38" fmla="*/ 2147483647 w 203"/>
                <a:gd name="T39" fmla="*/ 2147483647 h 193"/>
                <a:gd name="T40" fmla="*/ 2147483647 w 203"/>
                <a:gd name="T41" fmla="*/ 0 h 193"/>
                <a:gd name="T42" fmla="*/ 2147483647 w 203"/>
                <a:gd name="T43" fmla="*/ 2147483647 h 193"/>
                <a:gd name="T44" fmla="*/ 2147483647 w 203"/>
                <a:gd name="T45" fmla="*/ 2147483647 h 193"/>
                <a:gd name="T46" fmla="*/ 2147483647 w 203"/>
                <a:gd name="T47" fmla="*/ 2147483647 h 193"/>
                <a:gd name="T48" fmla="*/ 2147483647 w 203"/>
                <a:gd name="T49" fmla="*/ 2147483647 h 193"/>
                <a:gd name="T50" fmla="*/ 2147483647 w 203"/>
                <a:gd name="T51" fmla="*/ 2147483647 h 193"/>
                <a:gd name="T52" fmla="*/ 2147483647 w 203"/>
                <a:gd name="T53" fmla="*/ 2147483647 h 193"/>
                <a:gd name="T54" fmla="*/ 2147483647 w 203"/>
                <a:gd name="T55" fmla="*/ 2147483647 h 193"/>
                <a:gd name="T56" fmla="*/ 2147483647 w 203"/>
                <a:gd name="T57" fmla="*/ 2147483647 h 193"/>
                <a:gd name="T58" fmla="*/ 2147483647 w 203"/>
                <a:gd name="T59" fmla="*/ 2147483647 h 193"/>
                <a:gd name="T60" fmla="*/ 2147483647 w 203"/>
                <a:gd name="T61" fmla="*/ 2147483647 h 193"/>
                <a:gd name="T62" fmla="*/ 2147483647 w 203"/>
                <a:gd name="T63" fmla="*/ 2147483647 h 193"/>
                <a:gd name="T64" fmla="*/ 2147483647 w 203"/>
                <a:gd name="T65" fmla="*/ 2147483647 h 193"/>
                <a:gd name="T66" fmla="*/ 2147483647 w 203"/>
                <a:gd name="T67" fmla="*/ 2147483647 h 19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03"/>
                <a:gd name="T103" fmla="*/ 0 h 193"/>
                <a:gd name="T104" fmla="*/ 203 w 203"/>
                <a:gd name="T105" fmla="*/ 193 h 19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03" h="193">
                  <a:moveTo>
                    <a:pt x="31" y="137"/>
                  </a:moveTo>
                  <a:lnTo>
                    <a:pt x="22" y="120"/>
                  </a:lnTo>
                  <a:lnTo>
                    <a:pt x="15" y="120"/>
                  </a:lnTo>
                  <a:lnTo>
                    <a:pt x="0" y="96"/>
                  </a:lnTo>
                  <a:lnTo>
                    <a:pt x="6" y="87"/>
                  </a:lnTo>
                  <a:lnTo>
                    <a:pt x="6" y="71"/>
                  </a:lnTo>
                  <a:lnTo>
                    <a:pt x="6" y="55"/>
                  </a:lnTo>
                  <a:lnTo>
                    <a:pt x="0" y="47"/>
                  </a:lnTo>
                  <a:lnTo>
                    <a:pt x="0" y="40"/>
                  </a:lnTo>
                  <a:lnTo>
                    <a:pt x="6" y="31"/>
                  </a:lnTo>
                  <a:lnTo>
                    <a:pt x="6" y="24"/>
                  </a:lnTo>
                  <a:lnTo>
                    <a:pt x="22" y="6"/>
                  </a:lnTo>
                  <a:lnTo>
                    <a:pt x="22" y="0"/>
                  </a:lnTo>
                  <a:lnTo>
                    <a:pt x="40" y="0"/>
                  </a:lnTo>
                  <a:lnTo>
                    <a:pt x="63" y="6"/>
                  </a:lnTo>
                  <a:lnTo>
                    <a:pt x="80" y="6"/>
                  </a:lnTo>
                  <a:lnTo>
                    <a:pt x="80" y="24"/>
                  </a:lnTo>
                  <a:lnTo>
                    <a:pt x="128" y="40"/>
                  </a:lnTo>
                  <a:lnTo>
                    <a:pt x="137" y="31"/>
                  </a:lnTo>
                  <a:lnTo>
                    <a:pt x="137" y="15"/>
                  </a:lnTo>
                  <a:lnTo>
                    <a:pt x="161" y="0"/>
                  </a:lnTo>
                  <a:lnTo>
                    <a:pt x="177" y="6"/>
                  </a:lnTo>
                  <a:lnTo>
                    <a:pt x="177" y="15"/>
                  </a:lnTo>
                  <a:lnTo>
                    <a:pt x="202" y="15"/>
                  </a:lnTo>
                  <a:lnTo>
                    <a:pt x="192" y="47"/>
                  </a:lnTo>
                  <a:lnTo>
                    <a:pt x="202" y="63"/>
                  </a:lnTo>
                  <a:lnTo>
                    <a:pt x="202" y="152"/>
                  </a:lnTo>
                  <a:lnTo>
                    <a:pt x="202" y="177"/>
                  </a:lnTo>
                  <a:lnTo>
                    <a:pt x="192" y="186"/>
                  </a:lnTo>
                  <a:lnTo>
                    <a:pt x="184" y="192"/>
                  </a:lnTo>
                  <a:lnTo>
                    <a:pt x="87" y="137"/>
                  </a:lnTo>
                  <a:lnTo>
                    <a:pt x="72" y="145"/>
                  </a:lnTo>
                  <a:lnTo>
                    <a:pt x="63" y="137"/>
                  </a:lnTo>
                  <a:lnTo>
                    <a:pt x="31" y="137"/>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1" name="Freeform 137">
              <a:extLst>
                <a:ext uri="{FF2B5EF4-FFF2-40B4-BE49-F238E27FC236}">
                  <a16:creationId xmlns:a16="http://schemas.microsoft.com/office/drawing/2014/main" id="{D6711EFD-E7E8-45C1-8C59-98A1BBB60183}"/>
                </a:ext>
              </a:extLst>
            </p:cNvPr>
            <p:cNvSpPr>
              <a:spLocks/>
            </p:cNvSpPr>
            <p:nvPr/>
          </p:nvSpPr>
          <p:spPr bwMode="auto">
            <a:xfrm>
              <a:off x="5357813" y="3671888"/>
              <a:ext cx="500062" cy="423862"/>
            </a:xfrm>
            <a:custGeom>
              <a:avLst/>
              <a:gdLst>
                <a:gd name="T0" fmla="*/ 2147483647 w 261"/>
                <a:gd name="T1" fmla="*/ 2147483647 h 259"/>
                <a:gd name="T2" fmla="*/ 2147483647 w 261"/>
                <a:gd name="T3" fmla="*/ 2147483647 h 259"/>
                <a:gd name="T4" fmla="*/ 2147483647 w 261"/>
                <a:gd name="T5" fmla="*/ 2147483647 h 259"/>
                <a:gd name="T6" fmla="*/ 2147483647 w 261"/>
                <a:gd name="T7" fmla="*/ 2147483647 h 259"/>
                <a:gd name="T8" fmla="*/ 2147483647 w 261"/>
                <a:gd name="T9" fmla="*/ 2147483647 h 259"/>
                <a:gd name="T10" fmla="*/ 2147483647 w 261"/>
                <a:gd name="T11" fmla="*/ 2147483647 h 259"/>
                <a:gd name="T12" fmla="*/ 2147483647 w 261"/>
                <a:gd name="T13" fmla="*/ 2147483647 h 259"/>
                <a:gd name="T14" fmla="*/ 0 w 261"/>
                <a:gd name="T15" fmla="*/ 2147483647 h 259"/>
                <a:gd name="T16" fmla="*/ 0 w 261"/>
                <a:gd name="T17" fmla="*/ 2147483647 h 259"/>
                <a:gd name="T18" fmla="*/ 2147483647 w 261"/>
                <a:gd name="T19" fmla="*/ 2147483647 h 259"/>
                <a:gd name="T20" fmla="*/ 2147483647 w 261"/>
                <a:gd name="T21" fmla="*/ 2147483647 h 259"/>
                <a:gd name="T22" fmla="*/ 2147483647 w 261"/>
                <a:gd name="T23" fmla="*/ 2147483647 h 259"/>
                <a:gd name="T24" fmla="*/ 2147483647 w 261"/>
                <a:gd name="T25" fmla="*/ 2147483647 h 259"/>
                <a:gd name="T26" fmla="*/ 2147483647 w 261"/>
                <a:gd name="T27" fmla="*/ 2147483647 h 259"/>
                <a:gd name="T28" fmla="*/ 2147483647 w 261"/>
                <a:gd name="T29" fmla="*/ 2147483647 h 259"/>
                <a:gd name="T30" fmla="*/ 2147483647 w 261"/>
                <a:gd name="T31" fmla="*/ 2147483647 h 259"/>
                <a:gd name="T32" fmla="*/ 2147483647 w 261"/>
                <a:gd name="T33" fmla="*/ 2147483647 h 259"/>
                <a:gd name="T34" fmla="*/ 2147483647 w 261"/>
                <a:gd name="T35" fmla="*/ 2147483647 h 259"/>
                <a:gd name="T36" fmla="*/ 2147483647 w 261"/>
                <a:gd name="T37" fmla="*/ 2147483647 h 259"/>
                <a:gd name="T38" fmla="*/ 2147483647 w 261"/>
                <a:gd name="T39" fmla="*/ 2147483647 h 259"/>
                <a:gd name="T40" fmla="*/ 2147483647 w 261"/>
                <a:gd name="T41" fmla="*/ 2147483647 h 259"/>
                <a:gd name="T42" fmla="*/ 2147483647 w 261"/>
                <a:gd name="T43" fmla="*/ 2147483647 h 259"/>
                <a:gd name="T44" fmla="*/ 2147483647 w 261"/>
                <a:gd name="T45" fmla="*/ 2147483647 h 259"/>
                <a:gd name="T46" fmla="*/ 2147483647 w 261"/>
                <a:gd name="T47" fmla="*/ 2147483647 h 259"/>
                <a:gd name="T48" fmla="*/ 2147483647 w 261"/>
                <a:gd name="T49" fmla="*/ 2147483647 h 259"/>
                <a:gd name="T50" fmla="*/ 2147483647 w 261"/>
                <a:gd name="T51" fmla="*/ 2147483647 h 259"/>
                <a:gd name="T52" fmla="*/ 2147483647 w 261"/>
                <a:gd name="T53" fmla="*/ 2147483647 h 259"/>
                <a:gd name="T54" fmla="*/ 2147483647 w 261"/>
                <a:gd name="T55" fmla="*/ 2147483647 h 259"/>
                <a:gd name="T56" fmla="*/ 2147483647 w 261"/>
                <a:gd name="T57" fmla="*/ 2147483647 h 259"/>
                <a:gd name="T58" fmla="*/ 2147483647 w 261"/>
                <a:gd name="T59" fmla="*/ 2147483647 h 259"/>
                <a:gd name="T60" fmla="*/ 2147483647 w 261"/>
                <a:gd name="T61" fmla="*/ 0 h 259"/>
                <a:gd name="T62" fmla="*/ 2147483647 w 261"/>
                <a:gd name="T63" fmla="*/ 2147483647 h 259"/>
                <a:gd name="T64" fmla="*/ 2147483647 w 261"/>
                <a:gd name="T65" fmla="*/ 0 h 259"/>
                <a:gd name="T66" fmla="*/ 2147483647 w 261"/>
                <a:gd name="T67" fmla="*/ 2147483647 h 259"/>
                <a:gd name="T68" fmla="*/ 2147483647 w 261"/>
                <a:gd name="T69" fmla="*/ 0 h 259"/>
                <a:gd name="T70" fmla="*/ 2147483647 w 261"/>
                <a:gd name="T71" fmla="*/ 2147483647 h 259"/>
                <a:gd name="T72" fmla="*/ 2147483647 w 261"/>
                <a:gd name="T73" fmla="*/ 2147483647 h 259"/>
                <a:gd name="T74" fmla="*/ 2147483647 w 261"/>
                <a:gd name="T75" fmla="*/ 2147483647 h 25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61"/>
                <a:gd name="T115" fmla="*/ 0 h 259"/>
                <a:gd name="T116" fmla="*/ 261 w 261"/>
                <a:gd name="T117" fmla="*/ 259 h 25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61" h="259">
                  <a:moveTo>
                    <a:pt x="82" y="32"/>
                  </a:moveTo>
                  <a:lnTo>
                    <a:pt x="90" y="32"/>
                  </a:lnTo>
                  <a:lnTo>
                    <a:pt x="98" y="72"/>
                  </a:lnTo>
                  <a:lnTo>
                    <a:pt x="65" y="81"/>
                  </a:lnTo>
                  <a:lnTo>
                    <a:pt x="65" y="90"/>
                  </a:lnTo>
                  <a:lnTo>
                    <a:pt x="42" y="106"/>
                  </a:lnTo>
                  <a:lnTo>
                    <a:pt x="8" y="121"/>
                  </a:lnTo>
                  <a:lnTo>
                    <a:pt x="0" y="129"/>
                  </a:lnTo>
                  <a:lnTo>
                    <a:pt x="0" y="146"/>
                  </a:lnTo>
                  <a:lnTo>
                    <a:pt x="48" y="178"/>
                  </a:lnTo>
                  <a:lnTo>
                    <a:pt x="122" y="234"/>
                  </a:lnTo>
                  <a:lnTo>
                    <a:pt x="130" y="243"/>
                  </a:lnTo>
                  <a:lnTo>
                    <a:pt x="145" y="252"/>
                  </a:lnTo>
                  <a:lnTo>
                    <a:pt x="154" y="258"/>
                  </a:lnTo>
                  <a:lnTo>
                    <a:pt x="163" y="258"/>
                  </a:lnTo>
                  <a:lnTo>
                    <a:pt x="179" y="258"/>
                  </a:lnTo>
                  <a:lnTo>
                    <a:pt x="260" y="203"/>
                  </a:lnTo>
                  <a:lnTo>
                    <a:pt x="251" y="186"/>
                  </a:lnTo>
                  <a:lnTo>
                    <a:pt x="244" y="186"/>
                  </a:lnTo>
                  <a:lnTo>
                    <a:pt x="229" y="162"/>
                  </a:lnTo>
                  <a:lnTo>
                    <a:pt x="235" y="153"/>
                  </a:lnTo>
                  <a:lnTo>
                    <a:pt x="235" y="137"/>
                  </a:lnTo>
                  <a:lnTo>
                    <a:pt x="235" y="121"/>
                  </a:lnTo>
                  <a:lnTo>
                    <a:pt x="229" y="113"/>
                  </a:lnTo>
                  <a:lnTo>
                    <a:pt x="229" y="106"/>
                  </a:lnTo>
                  <a:lnTo>
                    <a:pt x="229" y="81"/>
                  </a:lnTo>
                  <a:lnTo>
                    <a:pt x="210" y="72"/>
                  </a:lnTo>
                  <a:lnTo>
                    <a:pt x="204" y="56"/>
                  </a:lnTo>
                  <a:lnTo>
                    <a:pt x="219" y="41"/>
                  </a:lnTo>
                  <a:lnTo>
                    <a:pt x="210" y="9"/>
                  </a:lnTo>
                  <a:lnTo>
                    <a:pt x="219" y="0"/>
                  </a:lnTo>
                  <a:lnTo>
                    <a:pt x="210" y="9"/>
                  </a:lnTo>
                  <a:lnTo>
                    <a:pt x="187" y="0"/>
                  </a:lnTo>
                  <a:lnTo>
                    <a:pt x="179" y="9"/>
                  </a:lnTo>
                  <a:lnTo>
                    <a:pt x="163" y="0"/>
                  </a:lnTo>
                  <a:lnTo>
                    <a:pt x="145" y="9"/>
                  </a:lnTo>
                  <a:lnTo>
                    <a:pt x="122" y="9"/>
                  </a:lnTo>
                  <a:lnTo>
                    <a:pt x="82" y="32"/>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2" name="Freeform 138">
              <a:extLst>
                <a:ext uri="{FF2B5EF4-FFF2-40B4-BE49-F238E27FC236}">
                  <a16:creationId xmlns:a16="http://schemas.microsoft.com/office/drawing/2014/main" id="{340B56B3-F44D-4F20-93BA-9315E1EC4F3A}"/>
                </a:ext>
              </a:extLst>
            </p:cNvPr>
            <p:cNvSpPr>
              <a:spLocks/>
            </p:cNvSpPr>
            <p:nvPr/>
          </p:nvSpPr>
          <p:spPr bwMode="auto">
            <a:xfrm>
              <a:off x="5267325" y="3962400"/>
              <a:ext cx="404813" cy="331788"/>
            </a:xfrm>
            <a:custGeom>
              <a:avLst/>
              <a:gdLst>
                <a:gd name="T0" fmla="*/ 2147483647 w 212"/>
                <a:gd name="T1" fmla="*/ 0 h 203"/>
                <a:gd name="T2" fmla="*/ 2147483647 w 212"/>
                <a:gd name="T3" fmla="*/ 2147483647 h 203"/>
                <a:gd name="T4" fmla="*/ 2147483647 w 212"/>
                <a:gd name="T5" fmla="*/ 2147483647 h 203"/>
                <a:gd name="T6" fmla="*/ 2147483647 w 212"/>
                <a:gd name="T7" fmla="*/ 2147483647 h 203"/>
                <a:gd name="T8" fmla="*/ 2147483647 w 212"/>
                <a:gd name="T9" fmla="*/ 2147483647 h 203"/>
                <a:gd name="T10" fmla="*/ 2147483647 w 212"/>
                <a:gd name="T11" fmla="*/ 2147483647 h 203"/>
                <a:gd name="T12" fmla="*/ 2147483647 w 212"/>
                <a:gd name="T13" fmla="*/ 2147483647 h 203"/>
                <a:gd name="T14" fmla="*/ 2147483647 w 212"/>
                <a:gd name="T15" fmla="*/ 2147483647 h 203"/>
                <a:gd name="T16" fmla="*/ 2147483647 w 212"/>
                <a:gd name="T17" fmla="*/ 2147483647 h 203"/>
                <a:gd name="T18" fmla="*/ 2147483647 w 212"/>
                <a:gd name="T19" fmla="*/ 2147483647 h 203"/>
                <a:gd name="T20" fmla="*/ 2147483647 w 212"/>
                <a:gd name="T21" fmla="*/ 2147483647 h 203"/>
                <a:gd name="T22" fmla="*/ 2147483647 w 212"/>
                <a:gd name="T23" fmla="*/ 2147483647 h 203"/>
                <a:gd name="T24" fmla="*/ 2147483647 w 212"/>
                <a:gd name="T25" fmla="*/ 2147483647 h 203"/>
                <a:gd name="T26" fmla="*/ 2147483647 w 212"/>
                <a:gd name="T27" fmla="*/ 2147483647 h 203"/>
                <a:gd name="T28" fmla="*/ 2147483647 w 212"/>
                <a:gd name="T29" fmla="*/ 2147483647 h 203"/>
                <a:gd name="T30" fmla="*/ 2147483647 w 212"/>
                <a:gd name="T31" fmla="*/ 2147483647 h 203"/>
                <a:gd name="T32" fmla="*/ 2147483647 w 212"/>
                <a:gd name="T33" fmla="*/ 2147483647 h 203"/>
                <a:gd name="T34" fmla="*/ 2147483647 w 212"/>
                <a:gd name="T35" fmla="*/ 2147483647 h 203"/>
                <a:gd name="T36" fmla="*/ 2147483647 w 212"/>
                <a:gd name="T37" fmla="*/ 2147483647 h 203"/>
                <a:gd name="T38" fmla="*/ 2147483647 w 212"/>
                <a:gd name="T39" fmla="*/ 2147483647 h 203"/>
                <a:gd name="T40" fmla="*/ 2147483647 w 212"/>
                <a:gd name="T41" fmla="*/ 2147483647 h 203"/>
                <a:gd name="T42" fmla="*/ 2147483647 w 212"/>
                <a:gd name="T43" fmla="*/ 2147483647 h 203"/>
                <a:gd name="T44" fmla="*/ 0 w 212"/>
                <a:gd name="T45" fmla="*/ 2147483647 h 203"/>
                <a:gd name="T46" fmla="*/ 2147483647 w 212"/>
                <a:gd name="T47" fmla="*/ 2147483647 h 203"/>
                <a:gd name="T48" fmla="*/ 2147483647 w 212"/>
                <a:gd name="T49" fmla="*/ 2147483647 h 203"/>
                <a:gd name="T50" fmla="*/ 2147483647 w 212"/>
                <a:gd name="T51" fmla="*/ 2147483647 h 203"/>
                <a:gd name="T52" fmla="*/ 2147483647 w 212"/>
                <a:gd name="T53" fmla="*/ 2147483647 h 203"/>
                <a:gd name="T54" fmla="*/ 2147483647 w 212"/>
                <a:gd name="T55" fmla="*/ 0 h 203"/>
                <a:gd name="T56" fmla="*/ 2147483647 w 212"/>
                <a:gd name="T57" fmla="*/ 0 h 20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12"/>
                <a:gd name="T88" fmla="*/ 0 h 203"/>
                <a:gd name="T89" fmla="*/ 212 w 212"/>
                <a:gd name="T90" fmla="*/ 203 h 20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12" h="203">
                  <a:moveTo>
                    <a:pt x="96" y="0"/>
                  </a:moveTo>
                  <a:lnTo>
                    <a:pt x="170" y="56"/>
                  </a:lnTo>
                  <a:lnTo>
                    <a:pt x="178" y="65"/>
                  </a:lnTo>
                  <a:lnTo>
                    <a:pt x="193" y="74"/>
                  </a:lnTo>
                  <a:lnTo>
                    <a:pt x="202" y="80"/>
                  </a:lnTo>
                  <a:lnTo>
                    <a:pt x="211" y="80"/>
                  </a:lnTo>
                  <a:lnTo>
                    <a:pt x="211" y="121"/>
                  </a:lnTo>
                  <a:lnTo>
                    <a:pt x="202" y="130"/>
                  </a:lnTo>
                  <a:lnTo>
                    <a:pt x="162" y="137"/>
                  </a:lnTo>
                  <a:lnTo>
                    <a:pt x="146" y="137"/>
                  </a:lnTo>
                  <a:lnTo>
                    <a:pt x="130" y="155"/>
                  </a:lnTo>
                  <a:lnTo>
                    <a:pt x="113" y="162"/>
                  </a:lnTo>
                  <a:lnTo>
                    <a:pt x="96" y="187"/>
                  </a:lnTo>
                  <a:lnTo>
                    <a:pt x="90" y="195"/>
                  </a:lnTo>
                  <a:lnTo>
                    <a:pt x="81" y="202"/>
                  </a:lnTo>
                  <a:lnTo>
                    <a:pt x="72" y="195"/>
                  </a:lnTo>
                  <a:lnTo>
                    <a:pt x="65" y="202"/>
                  </a:lnTo>
                  <a:lnTo>
                    <a:pt x="56" y="202"/>
                  </a:lnTo>
                  <a:lnTo>
                    <a:pt x="41" y="170"/>
                  </a:lnTo>
                  <a:lnTo>
                    <a:pt x="23" y="177"/>
                  </a:lnTo>
                  <a:lnTo>
                    <a:pt x="7" y="177"/>
                  </a:lnTo>
                  <a:lnTo>
                    <a:pt x="16" y="170"/>
                  </a:lnTo>
                  <a:lnTo>
                    <a:pt x="0" y="137"/>
                  </a:lnTo>
                  <a:lnTo>
                    <a:pt x="16" y="130"/>
                  </a:lnTo>
                  <a:lnTo>
                    <a:pt x="23" y="137"/>
                  </a:lnTo>
                  <a:lnTo>
                    <a:pt x="31" y="130"/>
                  </a:lnTo>
                  <a:lnTo>
                    <a:pt x="90" y="130"/>
                  </a:lnTo>
                  <a:lnTo>
                    <a:pt x="72" y="0"/>
                  </a:lnTo>
                  <a:lnTo>
                    <a:pt x="96" y="0"/>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3" name="Freeform 139">
              <a:extLst>
                <a:ext uri="{FF2B5EF4-FFF2-40B4-BE49-F238E27FC236}">
                  <a16:creationId xmlns:a16="http://schemas.microsoft.com/office/drawing/2014/main" id="{67353C6C-25C3-40CC-95C0-8AFEB8D084A5}"/>
                </a:ext>
              </a:extLst>
            </p:cNvPr>
            <p:cNvSpPr>
              <a:spLocks/>
            </p:cNvSpPr>
            <p:nvPr/>
          </p:nvSpPr>
          <p:spPr bwMode="auto">
            <a:xfrm>
              <a:off x="5357813" y="4279900"/>
              <a:ext cx="158750" cy="134938"/>
            </a:xfrm>
            <a:custGeom>
              <a:avLst/>
              <a:gdLst>
                <a:gd name="T0" fmla="*/ 2147483647 w 83"/>
                <a:gd name="T1" fmla="*/ 2147483647 h 82"/>
                <a:gd name="T2" fmla="*/ 2147483647 w 83"/>
                <a:gd name="T3" fmla="*/ 2147483647 h 82"/>
                <a:gd name="T4" fmla="*/ 2147483647 w 83"/>
                <a:gd name="T5" fmla="*/ 2147483647 h 82"/>
                <a:gd name="T6" fmla="*/ 2147483647 w 83"/>
                <a:gd name="T7" fmla="*/ 2147483647 h 82"/>
                <a:gd name="T8" fmla="*/ 2147483647 w 83"/>
                <a:gd name="T9" fmla="*/ 2147483647 h 82"/>
                <a:gd name="T10" fmla="*/ 2147483647 w 83"/>
                <a:gd name="T11" fmla="*/ 2147483647 h 82"/>
                <a:gd name="T12" fmla="*/ 2147483647 w 83"/>
                <a:gd name="T13" fmla="*/ 0 h 82"/>
                <a:gd name="T14" fmla="*/ 2147483647 w 83"/>
                <a:gd name="T15" fmla="*/ 2147483647 h 82"/>
                <a:gd name="T16" fmla="*/ 2147483647 w 83"/>
                <a:gd name="T17" fmla="*/ 0 h 82"/>
                <a:gd name="T18" fmla="*/ 2147483647 w 83"/>
                <a:gd name="T19" fmla="*/ 2147483647 h 82"/>
                <a:gd name="T20" fmla="*/ 2147483647 w 83"/>
                <a:gd name="T21" fmla="*/ 2147483647 h 82"/>
                <a:gd name="T22" fmla="*/ 2147483647 w 83"/>
                <a:gd name="T23" fmla="*/ 2147483647 h 82"/>
                <a:gd name="T24" fmla="*/ 2147483647 w 83"/>
                <a:gd name="T25" fmla="*/ 2147483647 h 82"/>
                <a:gd name="T26" fmla="*/ 2147483647 w 83"/>
                <a:gd name="T27" fmla="*/ 2147483647 h 82"/>
                <a:gd name="T28" fmla="*/ 2147483647 w 83"/>
                <a:gd name="T29" fmla="*/ 2147483647 h 82"/>
                <a:gd name="T30" fmla="*/ 0 w 83"/>
                <a:gd name="T31" fmla="*/ 2147483647 h 82"/>
                <a:gd name="T32" fmla="*/ 0 w 83"/>
                <a:gd name="T33" fmla="*/ 2147483647 h 82"/>
                <a:gd name="T34" fmla="*/ 2147483647 w 83"/>
                <a:gd name="T35" fmla="*/ 2147483647 h 82"/>
                <a:gd name="T36" fmla="*/ 2147483647 w 83"/>
                <a:gd name="T37" fmla="*/ 2147483647 h 82"/>
                <a:gd name="T38" fmla="*/ 2147483647 w 83"/>
                <a:gd name="T39" fmla="*/ 2147483647 h 82"/>
                <a:gd name="T40" fmla="*/ 2147483647 w 83"/>
                <a:gd name="T41" fmla="*/ 2147483647 h 82"/>
                <a:gd name="T42" fmla="*/ 2147483647 w 83"/>
                <a:gd name="T43" fmla="*/ 2147483647 h 8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3"/>
                <a:gd name="T67" fmla="*/ 0 h 82"/>
                <a:gd name="T68" fmla="*/ 83 w 83"/>
                <a:gd name="T69" fmla="*/ 82 h 8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3" h="82">
                  <a:moveTo>
                    <a:pt x="73" y="72"/>
                  </a:moveTo>
                  <a:lnTo>
                    <a:pt x="73" y="47"/>
                  </a:lnTo>
                  <a:lnTo>
                    <a:pt x="82" y="32"/>
                  </a:lnTo>
                  <a:lnTo>
                    <a:pt x="73" y="16"/>
                  </a:lnTo>
                  <a:lnTo>
                    <a:pt x="65" y="7"/>
                  </a:lnTo>
                  <a:lnTo>
                    <a:pt x="48" y="7"/>
                  </a:lnTo>
                  <a:lnTo>
                    <a:pt x="42" y="0"/>
                  </a:lnTo>
                  <a:lnTo>
                    <a:pt x="33" y="7"/>
                  </a:lnTo>
                  <a:lnTo>
                    <a:pt x="24" y="0"/>
                  </a:lnTo>
                  <a:lnTo>
                    <a:pt x="17" y="7"/>
                  </a:lnTo>
                  <a:lnTo>
                    <a:pt x="8" y="7"/>
                  </a:lnTo>
                  <a:lnTo>
                    <a:pt x="8" y="16"/>
                  </a:lnTo>
                  <a:lnTo>
                    <a:pt x="8" y="23"/>
                  </a:lnTo>
                  <a:lnTo>
                    <a:pt x="8" y="32"/>
                  </a:lnTo>
                  <a:lnTo>
                    <a:pt x="8" y="41"/>
                  </a:lnTo>
                  <a:lnTo>
                    <a:pt x="0" y="41"/>
                  </a:lnTo>
                  <a:lnTo>
                    <a:pt x="0" y="56"/>
                  </a:lnTo>
                  <a:lnTo>
                    <a:pt x="17" y="65"/>
                  </a:lnTo>
                  <a:lnTo>
                    <a:pt x="17" y="81"/>
                  </a:lnTo>
                  <a:lnTo>
                    <a:pt x="33" y="72"/>
                  </a:lnTo>
                  <a:lnTo>
                    <a:pt x="57" y="72"/>
                  </a:lnTo>
                  <a:lnTo>
                    <a:pt x="73" y="72"/>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4" name="Freeform 140">
              <a:extLst>
                <a:ext uri="{FF2B5EF4-FFF2-40B4-BE49-F238E27FC236}">
                  <a16:creationId xmlns:a16="http://schemas.microsoft.com/office/drawing/2014/main" id="{294A3AB8-EDC1-49AE-A94B-F56AFD7DD5B1}"/>
                </a:ext>
              </a:extLst>
            </p:cNvPr>
            <p:cNvSpPr>
              <a:spLocks/>
            </p:cNvSpPr>
            <p:nvPr/>
          </p:nvSpPr>
          <p:spPr bwMode="auto">
            <a:xfrm>
              <a:off x="5497513" y="4267200"/>
              <a:ext cx="95250" cy="133350"/>
            </a:xfrm>
            <a:custGeom>
              <a:avLst/>
              <a:gdLst>
                <a:gd name="T0" fmla="*/ 0 w 50"/>
                <a:gd name="T1" fmla="*/ 2147483647 h 81"/>
                <a:gd name="T2" fmla="*/ 0 w 50"/>
                <a:gd name="T3" fmla="*/ 2147483647 h 81"/>
                <a:gd name="T4" fmla="*/ 0 w 50"/>
                <a:gd name="T5" fmla="*/ 0 h 81"/>
                <a:gd name="T6" fmla="*/ 2147483647 w 50"/>
                <a:gd name="T7" fmla="*/ 0 h 81"/>
                <a:gd name="T8" fmla="*/ 2147483647 w 50"/>
                <a:gd name="T9" fmla="*/ 2147483647 h 81"/>
                <a:gd name="T10" fmla="*/ 2147483647 w 50"/>
                <a:gd name="T11" fmla="*/ 2147483647 h 81"/>
                <a:gd name="T12" fmla="*/ 2147483647 w 50"/>
                <a:gd name="T13" fmla="*/ 2147483647 h 81"/>
                <a:gd name="T14" fmla="*/ 2147483647 w 50"/>
                <a:gd name="T15" fmla="*/ 2147483647 h 81"/>
                <a:gd name="T16" fmla="*/ 0 w 50"/>
                <a:gd name="T17" fmla="*/ 2147483647 h 81"/>
                <a:gd name="T18" fmla="*/ 0 w 50"/>
                <a:gd name="T19" fmla="*/ 2147483647 h 81"/>
                <a:gd name="T20" fmla="*/ 2147483647 w 50"/>
                <a:gd name="T21" fmla="*/ 2147483647 h 81"/>
                <a:gd name="T22" fmla="*/ 0 w 50"/>
                <a:gd name="T23" fmla="*/ 2147483647 h 8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0"/>
                <a:gd name="T37" fmla="*/ 0 h 81"/>
                <a:gd name="T38" fmla="*/ 50 w 50"/>
                <a:gd name="T39" fmla="*/ 81 h 8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0" h="81">
                  <a:moveTo>
                    <a:pt x="0" y="24"/>
                  </a:moveTo>
                  <a:lnTo>
                    <a:pt x="0" y="8"/>
                  </a:lnTo>
                  <a:lnTo>
                    <a:pt x="0" y="0"/>
                  </a:lnTo>
                  <a:lnTo>
                    <a:pt x="32" y="0"/>
                  </a:lnTo>
                  <a:lnTo>
                    <a:pt x="41" y="31"/>
                  </a:lnTo>
                  <a:lnTo>
                    <a:pt x="49" y="55"/>
                  </a:lnTo>
                  <a:lnTo>
                    <a:pt x="49" y="64"/>
                  </a:lnTo>
                  <a:lnTo>
                    <a:pt x="9" y="80"/>
                  </a:lnTo>
                  <a:lnTo>
                    <a:pt x="0" y="80"/>
                  </a:lnTo>
                  <a:lnTo>
                    <a:pt x="0" y="55"/>
                  </a:lnTo>
                  <a:lnTo>
                    <a:pt x="9" y="40"/>
                  </a:lnTo>
                  <a:lnTo>
                    <a:pt x="0" y="24"/>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5" name="Freeform 141">
              <a:extLst>
                <a:ext uri="{FF2B5EF4-FFF2-40B4-BE49-F238E27FC236}">
                  <a16:creationId xmlns:a16="http://schemas.microsoft.com/office/drawing/2014/main" id="{8305AE54-89D7-4469-B140-05E4A14318CF}"/>
                </a:ext>
              </a:extLst>
            </p:cNvPr>
            <p:cNvSpPr>
              <a:spLocks/>
            </p:cNvSpPr>
            <p:nvPr/>
          </p:nvSpPr>
          <p:spPr bwMode="auto">
            <a:xfrm>
              <a:off x="5778500" y="4452938"/>
              <a:ext cx="139700" cy="131762"/>
            </a:xfrm>
            <a:custGeom>
              <a:avLst/>
              <a:gdLst>
                <a:gd name="T0" fmla="*/ 2147483647 w 74"/>
                <a:gd name="T1" fmla="*/ 2147483647 h 81"/>
                <a:gd name="T2" fmla="*/ 2147483647 w 74"/>
                <a:gd name="T3" fmla="*/ 2147483647 h 81"/>
                <a:gd name="T4" fmla="*/ 2147483647 w 74"/>
                <a:gd name="T5" fmla="*/ 0 h 81"/>
                <a:gd name="T6" fmla="*/ 2147483647 w 74"/>
                <a:gd name="T7" fmla="*/ 0 h 81"/>
                <a:gd name="T8" fmla="*/ 2147483647 w 74"/>
                <a:gd name="T9" fmla="*/ 2147483647 h 81"/>
                <a:gd name="T10" fmla="*/ 2147483647 w 74"/>
                <a:gd name="T11" fmla="*/ 2147483647 h 81"/>
                <a:gd name="T12" fmla="*/ 2147483647 w 74"/>
                <a:gd name="T13" fmla="*/ 2147483647 h 81"/>
                <a:gd name="T14" fmla="*/ 2147483647 w 74"/>
                <a:gd name="T15" fmla="*/ 2147483647 h 81"/>
                <a:gd name="T16" fmla="*/ 2147483647 w 74"/>
                <a:gd name="T17" fmla="*/ 2147483647 h 81"/>
                <a:gd name="T18" fmla="*/ 2147483647 w 74"/>
                <a:gd name="T19" fmla="*/ 2147483647 h 81"/>
                <a:gd name="T20" fmla="*/ 2147483647 w 74"/>
                <a:gd name="T21" fmla="*/ 2147483647 h 81"/>
                <a:gd name="T22" fmla="*/ 2147483647 w 74"/>
                <a:gd name="T23" fmla="*/ 2147483647 h 81"/>
                <a:gd name="T24" fmla="*/ 2147483647 w 74"/>
                <a:gd name="T25" fmla="*/ 2147483647 h 81"/>
                <a:gd name="T26" fmla="*/ 2147483647 w 74"/>
                <a:gd name="T27" fmla="*/ 2147483647 h 81"/>
                <a:gd name="T28" fmla="*/ 2147483647 w 74"/>
                <a:gd name="T29" fmla="*/ 2147483647 h 81"/>
                <a:gd name="T30" fmla="*/ 0 w 74"/>
                <a:gd name="T31" fmla="*/ 2147483647 h 81"/>
                <a:gd name="T32" fmla="*/ 2147483647 w 74"/>
                <a:gd name="T33" fmla="*/ 2147483647 h 81"/>
                <a:gd name="T34" fmla="*/ 2147483647 w 74"/>
                <a:gd name="T35" fmla="*/ 2147483647 h 81"/>
                <a:gd name="T36" fmla="*/ 2147483647 w 74"/>
                <a:gd name="T37" fmla="*/ 2147483647 h 8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4"/>
                <a:gd name="T58" fmla="*/ 0 h 81"/>
                <a:gd name="T59" fmla="*/ 74 w 74"/>
                <a:gd name="T60" fmla="*/ 81 h 8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4" h="81">
                  <a:moveTo>
                    <a:pt x="16" y="15"/>
                  </a:moveTo>
                  <a:lnTo>
                    <a:pt x="32" y="15"/>
                  </a:lnTo>
                  <a:lnTo>
                    <a:pt x="32" y="0"/>
                  </a:lnTo>
                  <a:lnTo>
                    <a:pt x="57" y="0"/>
                  </a:lnTo>
                  <a:lnTo>
                    <a:pt x="57" y="15"/>
                  </a:lnTo>
                  <a:lnTo>
                    <a:pt x="65" y="6"/>
                  </a:lnTo>
                  <a:lnTo>
                    <a:pt x="73" y="15"/>
                  </a:lnTo>
                  <a:lnTo>
                    <a:pt x="73" y="23"/>
                  </a:lnTo>
                  <a:lnTo>
                    <a:pt x="73" y="56"/>
                  </a:lnTo>
                  <a:lnTo>
                    <a:pt x="50" y="56"/>
                  </a:lnTo>
                  <a:lnTo>
                    <a:pt x="41" y="63"/>
                  </a:lnTo>
                  <a:lnTo>
                    <a:pt x="41" y="72"/>
                  </a:lnTo>
                  <a:lnTo>
                    <a:pt x="32" y="72"/>
                  </a:lnTo>
                  <a:lnTo>
                    <a:pt x="32" y="80"/>
                  </a:lnTo>
                  <a:lnTo>
                    <a:pt x="16" y="63"/>
                  </a:lnTo>
                  <a:lnTo>
                    <a:pt x="0" y="40"/>
                  </a:lnTo>
                  <a:lnTo>
                    <a:pt x="10" y="31"/>
                  </a:lnTo>
                  <a:lnTo>
                    <a:pt x="10" y="23"/>
                  </a:lnTo>
                  <a:lnTo>
                    <a:pt x="16" y="15"/>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6" name="Freeform 142">
              <a:extLst>
                <a:ext uri="{FF2B5EF4-FFF2-40B4-BE49-F238E27FC236}">
                  <a16:creationId xmlns:a16="http://schemas.microsoft.com/office/drawing/2014/main" id="{436431AF-E711-4E17-A0AE-C9C50490E058}"/>
                </a:ext>
              </a:extLst>
            </p:cNvPr>
            <p:cNvSpPr>
              <a:spLocks/>
            </p:cNvSpPr>
            <p:nvPr/>
          </p:nvSpPr>
          <p:spPr bwMode="auto">
            <a:xfrm>
              <a:off x="5778500" y="4227513"/>
              <a:ext cx="187325" cy="236537"/>
            </a:xfrm>
            <a:custGeom>
              <a:avLst/>
              <a:gdLst>
                <a:gd name="T0" fmla="*/ 0 w 98"/>
                <a:gd name="T1" fmla="*/ 2147483647 h 146"/>
                <a:gd name="T2" fmla="*/ 2147483647 w 98"/>
                <a:gd name="T3" fmla="*/ 2147483647 h 146"/>
                <a:gd name="T4" fmla="*/ 2147483647 w 98"/>
                <a:gd name="T5" fmla="*/ 2147483647 h 146"/>
                <a:gd name="T6" fmla="*/ 2147483647 w 98"/>
                <a:gd name="T7" fmla="*/ 2147483647 h 146"/>
                <a:gd name="T8" fmla="*/ 2147483647 w 98"/>
                <a:gd name="T9" fmla="*/ 2147483647 h 146"/>
                <a:gd name="T10" fmla="*/ 2147483647 w 98"/>
                <a:gd name="T11" fmla="*/ 2147483647 h 146"/>
                <a:gd name="T12" fmla="*/ 2147483647 w 98"/>
                <a:gd name="T13" fmla="*/ 2147483647 h 146"/>
                <a:gd name="T14" fmla="*/ 2147483647 w 98"/>
                <a:gd name="T15" fmla="*/ 2147483647 h 146"/>
                <a:gd name="T16" fmla="*/ 2147483647 w 98"/>
                <a:gd name="T17" fmla="*/ 2147483647 h 146"/>
                <a:gd name="T18" fmla="*/ 2147483647 w 98"/>
                <a:gd name="T19" fmla="*/ 0 h 146"/>
                <a:gd name="T20" fmla="*/ 2147483647 w 98"/>
                <a:gd name="T21" fmla="*/ 2147483647 h 146"/>
                <a:gd name="T22" fmla="*/ 2147483647 w 98"/>
                <a:gd name="T23" fmla="*/ 2147483647 h 146"/>
                <a:gd name="T24" fmla="*/ 2147483647 w 98"/>
                <a:gd name="T25" fmla="*/ 2147483647 h 146"/>
                <a:gd name="T26" fmla="*/ 2147483647 w 98"/>
                <a:gd name="T27" fmla="*/ 2147483647 h 146"/>
                <a:gd name="T28" fmla="*/ 2147483647 w 98"/>
                <a:gd name="T29" fmla="*/ 2147483647 h 146"/>
                <a:gd name="T30" fmla="*/ 2147483647 w 98"/>
                <a:gd name="T31" fmla="*/ 2147483647 h 146"/>
                <a:gd name="T32" fmla="*/ 2147483647 w 98"/>
                <a:gd name="T33" fmla="*/ 2147483647 h 146"/>
                <a:gd name="T34" fmla="*/ 2147483647 w 98"/>
                <a:gd name="T35" fmla="*/ 2147483647 h 146"/>
                <a:gd name="T36" fmla="*/ 2147483647 w 98"/>
                <a:gd name="T37" fmla="*/ 2147483647 h 146"/>
                <a:gd name="T38" fmla="*/ 2147483647 w 98"/>
                <a:gd name="T39" fmla="*/ 2147483647 h 146"/>
                <a:gd name="T40" fmla="*/ 2147483647 w 98"/>
                <a:gd name="T41" fmla="*/ 2147483647 h 146"/>
                <a:gd name="T42" fmla="*/ 2147483647 w 98"/>
                <a:gd name="T43" fmla="*/ 2147483647 h 146"/>
                <a:gd name="T44" fmla="*/ 2147483647 w 98"/>
                <a:gd name="T45" fmla="*/ 2147483647 h 146"/>
                <a:gd name="T46" fmla="*/ 2147483647 w 98"/>
                <a:gd name="T47" fmla="*/ 2147483647 h 146"/>
                <a:gd name="T48" fmla="*/ 2147483647 w 98"/>
                <a:gd name="T49" fmla="*/ 2147483647 h 146"/>
                <a:gd name="T50" fmla="*/ 0 w 98"/>
                <a:gd name="T51" fmla="*/ 2147483647 h 146"/>
                <a:gd name="T52" fmla="*/ 0 w 98"/>
                <a:gd name="T53" fmla="*/ 2147483647 h 14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98"/>
                <a:gd name="T82" fmla="*/ 0 h 146"/>
                <a:gd name="T83" fmla="*/ 98 w 98"/>
                <a:gd name="T84" fmla="*/ 146 h 14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98" h="146">
                  <a:moveTo>
                    <a:pt x="0" y="105"/>
                  </a:moveTo>
                  <a:lnTo>
                    <a:pt x="16" y="80"/>
                  </a:lnTo>
                  <a:lnTo>
                    <a:pt x="25" y="80"/>
                  </a:lnTo>
                  <a:lnTo>
                    <a:pt x="32" y="89"/>
                  </a:lnTo>
                  <a:lnTo>
                    <a:pt x="41" y="80"/>
                  </a:lnTo>
                  <a:lnTo>
                    <a:pt x="57" y="56"/>
                  </a:lnTo>
                  <a:lnTo>
                    <a:pt x="65" y="33"/>
                  </a:lnTo>
                  <a:lnTo>
                    <a:pt x="73" y="15"/>
                  </a:lnTo>
                  <a:lnTo>
                    <a:pt x="73" y="8"/>
                  </a:lnTo>
                  <a:lnTo>
                    <a:pt x="73" y="0"/>
                  </a:lnTo>
                  <a:lnTo>
                    <a:pt x="73" y="8"/>
                  </a:lnTo>
                  <a:lnTo>
                    <a:pt x="90" y="40"/>
                  </a:lnTo>
                  <a:lnTo>
                    <a:pt x="73" y="40"/>
                  </a:lnTo>
                  <a:lnTo>
                    <a:pt x="73" y="49"/>
                  </a:lnTo>
                  <a:lnTo>
                    <a:pt x="82" y="56"/>
                  </a:lnTo>
                  <a:lnTo>
                    <a:pt x="90" y="74"/>
                  </a:lnTo>
                  <a:lnTo>
                    <a:pt x="73" y="98"/>
                  </a:lnTo>
                  <a:lnTo>
                    <a:pt x="82" y="105"/>
                  </a:lnTo>
                  <a:lnTo>
                    <a:pt x="97" y="130"/>
                  </a:lnTo>
                  <a:lnTo>
                    <a:pt x="97" y="145"/>
                  </a:lnTo>
                  <a:lnTo>
                    <a:pt x="57" y="139"/>
                  </a:lnTo>
                  <a:lnTo>
                    <a:pt x="32" y="139"/>
                  </a:lnTo>
                  <a:lnTo>
                    <a:pt x="16" y="139"/>
                  </a:lnTo>
                  <a:lnTo>
                    <a:pt x="16" y="130"/>
                  </a:lnTo>
                  <a:lnTo>
                    <a:pt x="10" y="121"/>
                  </a:lnTo>
                  <a:lnTo>
                    <a:pt x="0" y="114"/>
                  </a:lnTo>
                  <a:lnTo>
                    <a:pt x="0" y="105"/>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7" name="Freeform 143">
              <a:extLst>
                <a:ext uri="{FF2B5EF4-FFF2-40B4-BE49-F238E27FC236}">
                  <a16:creationId xmlns:a16="http://schemas.microsoft.com/office/drawing/2014/main" id="{EF0FE374-3A08-4E11-BBA7-885E3DB11668}"/>
                </a:ext>
              </a:extLst>
            </p:cNvPr>
            <p:cNvSpPr>
              <a:spLocks/>
            </p:cNvSpPr>
            <p:nvPr/>
          </p:nvSpPr>
          <p:spPr bwMode="auto">
            <a:xfrm>
              <a:off x="5635625" y="4216400"/>
              <a:ext cx="282575" cy="198438"/>
            </a:xfrm>
            <a:custGeom>
              <a:avLst/>
              <a:gdLst>
                <a:gd name="T0" fmla="*/ 2147483647 w 148"/>
                <a:gd name="T1" fmla="*/ 2147483647 h 122"/>
                <a:gd name="T2" fmla="*/ 2147483647 w 148"/>
                <a:gd name="T3" fmla="*/ 2147483647 h 122"/>
                <a:gd name="T4" fmla="*/ 2147483647 w 148"/>
                <a:gd name="T5" fmla="*/ 2147483647 h 122"/>
                <a:gd name="T6" fmla="*/ 2147483647 w 148"/>
                <a:gd name="T7" fmla="*/ 2147483647 h 122"/>
                <a:gd name="T8" fmla="*/ 2147483647 w 148"/>
                <a:gd name="T9" fmla="*/ 2147483647 h 122"/>
                <a:gd name="T10" fmla="*/ 2147483647 w 148"/>
                <a:gd name="T11" fmla="*/ 2147483647 h 122"/>
                <a:gd name="T12" fmla="*/ 2147483647 w 148"/>
                <a:gd name="T13" fmla="*/ 2147483647 h 122"/>
                <a:gd name="T14" fmla="*/ 2147483647 w 148"/>
                <a:gd name="T15" fmla="*/ 2147483647 h 122"/>
                <a:gd name="T16" fmla="*/ 2147483647 w 148"/>
                <a:gd name="T17" fmla="*/ 2147483647 h 122"/>
                <a:gd name="T18" fmla="*/ 2147483647 w 148"/>
                <a:gd name="T19" fmla="*/ 2147483647 h 122"/>
                <a:gd name="T20" fmla="*/ 2147483647 w 148"/>
                <a:gd name="T21" fmla="*/ 0 h 122"/>
                <a:gd name="T22" fmla="*/ 2147483647 w 148"/>
                <a:gd name="T23" fmla="*/ 0 h 122"/>
                <a:gd name="T24" fmla="*/ 2147483647 w 148"/>
                <a:gd name="T25" fmla="*/ 2147483647 h 122"/>
                <a:gd name="T26" fmla="*/ 2147483647 w 148"/>
                <a:gd name="T27" fmla="*/ 2147483647 h 122"/>
                <a:gd name="T28" fmla="*/ 2147483647 w 148"/>
                <a:gd name="T29" fmla="*/ 2147483647 h 122"/>
                <a:gd name="T30" fmla="*/ 2147483647 w 148"/>
                <a:gd name="T31" fmla="*/ 2147483647 h 122"/>
                <a:gd name="T32" fmla="*/ 2147483647 w 148"/>
                <a:gd name="T33" fmla="*/ 2147483647 h 122"/>
                <a:gd name="T34" fmla="*/ 2147483647 w 148"/>
                <a:gd name="T35" fmla="*/ 0 h 122"/>
                <a:gd name="T36" fmla="*/ 2147483647 w 148"/>
                <a:gd name="T37" fmla="*/ 0 h 122"/>
                <a:gd name="T38" fmla="*/ 2147483647 w 148"/>
                <a:gd name="T39" fmla="*/ 2147483647 h 122"/>
                <a:gd name="T40" fmla="*/ 2147483647 w 148"/>
                <a:gd name="T41" fmla="*/ 2147483647 h 122"/>
                <a:gd name="T42" fmla="*/ 2147483647 w 148"/>
                <a:gd name="T43" fmla="*/ 2147483647 h 122"/>
                <a:gd name="T44" fmla="*/ 0 w 148"/>
                <a:gd name="T45" fmla="*/ 2147483647 h 122"/>
                <a:gd name="T46" fmla="*/ 0 w 148"/>
                <a:gd name="T47" fmla="*/ 2147483647 h 122"/>
                <a:gd name="T48" fmla="*/ 2147483647 w 148"/>
                <a:gd name="T49" fmla="*/ 2147483647 h 122"/>
                <a:gd name="T50" fmla="*/ 2147483647 w 148"/>
                <a:gd name="T51" fmla="*/ 2147483647 h 122"/>
                <a:gd name="T52" fmla="*/ 2147483647 w 148"/>
                <a:gd name="T53" fmla="*/ 2147483647 h 122"/>
                <a:gd name="T54" fmla="*/ 2147483647 w 148"/>
                <a:gd name="T55" fmla="*/ 2147483647 h 122"/>
                <a:gd name="T56" fmla="*/ 2147483647 w 148"/>
                <a:gd name="T57" fmla="*/ 2147483647 h 122"/>
                <a:gd name="T58" fmla="*/ 2147483647 w 148"/>
                <a:gd name="T59" fmla="*/ 2147483647 h 12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48"/>
                <a:gd name="T91" fmla="*/ 0 h 122"/>
                <a:gd name="T92" fmla="*/ 148 w 148"/>
                <a:gd name="T93" fmla="*/ 122 h 12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48" h="122">
                  <a:moveTo>
                    <a:pt x="74" y="112"/>
                  </a:moveTo>
                  <a:lnTo>
                    <a:pt x="90" y="87"/>
                  </a:lnTo>
                  <a:lnTo>
                    <a:pt x="99" y="87"/>
                  </a:lnTo>
                  <a:lnTo>
                    <a:pt x="106" y="96"/>
                  </a:lnTo>
                  <a:lnTo>
                    <a:pt x="115" y="87"/>
                  </a:lnTo>
                  <a:lnTo>
                    <a:pt x="131" y="63"/>
                  </a:lnTo>
                  <a:lnTo>
                    <a:pt x="139" y="40"/>
                  </a:lnTo>
                  <a:lnTo>
                    <a:pt x="147" y="22"/>
                  </a:lnTo>
                  <a:lnTo>
                    <a:pt x="147" y="15"/>
                  </a:lnTo>
                  <a:lnTo>
                    <a:pt x="147" y="7"/>
                  </a:lnTo>
                  <a:lnTo>
                    <a:pt x="139" y="0"/>
                  </a:lnTo>
                  <a:lnTo>
                    <a:pt x="131" y="0"/>
                  </a:lnTo>
                  <a:lnTo>
                    <a:pt x="124" y="7"/>
                  </a:lnTo>
                  <a:lnTo>
                    <a:pt x="99" y="7"/>
                  </a:lnTo>
                  <a:lnTo>
                    <a:pt x="84" y="15"/>
                  </a:lnTo>
                  <a:lnTo>
                    <a:pt x="65" y="7"/>
                  </a:lnTo>
                  <a:lnTo>
                    <a:pt x="59" y="7"/>
                  </a:lnTo>
                  <a:lnTo>
                    <a:pt x="34" y="0"/>
                  </a:lnTo>
                  <a:lnTo>
                    <a:pt x="25" y="0"/>
                  </a:lnTo>
                  <a:lnTo>
                    <a:pt x="9" y="15"/>
                  </a:lnTo>
                  <a:lnTo>
                    <a:pt x="9" y="22"/>
                  </a:lnTo>
                  <a:lnTo>
                    <a:pt x="9" y="40"/>
                  </a:lnTo>
                  <a:lnTo>
                    <a:pt x="0" y="72"/>
                  </a:lnTo>
                  <a:lnTo>
                    <a:pt x="0" y="96"/>
                  </a:lnTo>
                  <a:lnTo>
                    <a:pt x="25" y="96"/>
                  </a:lnTo>
                  <a:lnTo>
                    <a:pt x="25" y="105"/>
                  </a:lnTo>
                  <a:lnTo>
                    <a:pt x="34" y="121"/>
                  </a:lnTo>
                  <a:lnTo>
                    <a:pt x="42" y="121"/>
                  </a:lnTo>
                  <a:lnTo>
                    <a:pt x="74" y="121"/>
                  </a:lnTo>
                  <a:lnTo>
                    <a:pt x="74" y="112"/>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8" name="Freeform 144">
              <a:extLst>
                <a:ext uri="{FF2B5EF4-FFF2-40B4-BE49-F238E27FC236}">
                  <a16:creationId xmlns:a16="http://schemas.microsoft.com/office/drawing/2014/main" id="{46531BE0-C4BA-49A8-8CF2-3220A21DF445}"/>
                </a:ext>
              </a:extLst>
            </p:cNvPr>
            <p:cNvSpPr>
              <a:spLocks/>
            </p:cNvSpPr>
            <p:nvPr/>
          </p:nvSpPr>
          <p:spPr bwMode="auto">
            <a:xfrm>
              <a:off x="5575300" y="4003675"/>
              <a:ext cx="390525" cy="249238"/>
            </a:xfrm>
            <a:custGeom>
              <a:avLst/>
              <a:gdLst>
                <a:gd name="T0" fmla="*/ 2147483647 w 203"/>
                <a:gd name="T1" fmla="*/ 2147483647 h 153"/>
                <a:gd name="T2" fmla="*/ 2147483647 w 203"/>
                <a:gd name="T3" fmla="*/ 2147483647 h 153"/>
                <a:gd name="T4" fmla="*/ 2147483647 w 203"/>
                <a:gd name="T5" fmla="*/ 2147483647 h 153"/>
                <a:gd name="T6" fmla="*/ 2147483647 w 203"/>
                <a:gd name="T7" fmla="*/ 2147483647 h 153"/>
                <a:gd name="T8" fmla="*/ 2147483647 w 203"/>
                <a:gd name="T9" fmla="*/ 2147483647 h 153"/>
                <a:gd name="T10" fmla="*/ 2147483647 w 203"/>
                <a:gd name="T11" fmla="*/ 2147483647 h 153"/>
                <a:gd name="T12" fmla="*/ 2147483647 w 203"/>
                <a:gd name="T13" fmla="*/ 0 h 153"/>
                <a:gd name="T14" fmla="*/ 2147483647 w 203"/>
                <a:gd name="T15" fmla="*/ 0 h 153"/>
                <a:gd name="T16" fmla="*/ 2147483647 w 203"/>
                <a:gd name="T17" fmla="*/ 2147483647 h 153"/>
                <a:gd name="T18" fmla="*/ 2147483647 w 203"/>
                <a:gd name="T19" fmla="*/ 2147483647 h 153"/>
                <a:gd name="T20" fmla="*/ 2147483647 w 203"/>
                <a:gd name="T21" fmla="*/ 2147483647 h 153"/>
                <a:gd name="T22" fmla="*/ 2147483647 w 203"/>
                <a:gd name="T23" fmla="*/ 2147483647 h 153"/>
                <a:gd name="T24" fmla="*/ 0 w 203"/>
                <a:gd name="T25" fmla="*/ 2147483647 h 153"/>
                <a:gd name="T26" fmla="*/ 0 w 203"/>
                <a:gd name="T27" fmla="*/ 2147483647 h 153"/>
                <a:gd name="T28" fmla="*/ 2147483647 w 203"/>
                <a:gd name="T29" fmla="*/ 2147483647 h 153"/>
                <a:gd name="T30" fmla="*/ 2147483647 w 203"/>
                <a:gd name="T31" fmla="*/ 2147483647 h 153"/>
                <a:gd name="T32" fmla="*/ 2147483647 w 203"/>
                <a:gd name="T33" fmla="*/ 2147483647 h 153"/>
                <a:gd name="T34" fmla="*/ 2147483647 w 203"/>
                <a:gd name="T35" fmla="*/ 2147483647 h 153"/>
                <a:gd name="T36" fmla="*/ 2147483647 w 203"/>
                <a:gd name="T37" fmla="*/ 2147483647 h 153"/>
                <a:gd name="T38" fmla="*/ 2147483647 w 203"/>
                <a:gd name="T39" fmla="*/ 2147483647 h 153"/>
                <a:gd name="T40" fmla="*/ 2147483647 w 203"/>
                <a:gd name="T41" fmla="*/ 2147483647 h 153"/>
                <a:gd name="T42" fmla="*/ 2147483647 w 203"/>
                <a:gd name="T43" fmla="*/ 2147483647 h 153"/>
                <a:gd name="T44" fmla="*/ 2147483647 w 203"/>
                <a:gd name="T45" fmla="*/ 2147483647 h 153"/>
                <a:gd name="T46" fmla="*/ 2147483647 w 203"/>
                <a:gd name="T47" fmla="*/ 2147483647 h 153"/>
                <a:gd name="T48" fmla="*/ 2147483647 w 203"/>
                <a:gd name="T49" fmla="*/ 2147483647 h 153"/>
                <a:gd name="T50" fmla="*/ 2147483647 w 203"/>
                <a:gd name="T51" fmla="*/ 2147483647 h 153"/>
                <a:gd name="T52" fmla="*/ 2147483647 w 203"/>
                <a:gd name="T53" fmla="*/ 2147483647 h 153"/>
                <a:gd name="T54" fmla="*/ 2147483647 w 203"/>
                <a:gd name="T55" fmla="*/ 2147483647 h 153"/>
                <a:gd name="T56" fmla="*/ 2147483647 w 203"/>
                <a:gd name="T57" fmla="*/ 2147483647 h 153"/>
                <a:gd name="T58" fmla="*/ 2147483647 w 203"/>
                <a:gd name="T59" fmla="*/ 2147483647 h 1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03"/>
                <a:gd name="T91" fmla="*/ 0 h 153"/>
                <a:gd name="T92" fmla="*/ 203 w 203"/>
                <a:gd name="T93" fmla="*/ 153 h 1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03" h="153">
                  <a:moveTo>
                    <a:pt x="170" y="130"/>
                  </a:moveTo>
                  <a:lnTo>
                    <a:pt x="170" y="120"/>
                  </a:lnTo>
                  <a:lnTo>
                    <a:pt x="195" y="89"/>
                  </a:lnTo>
                  <a:lnTo>
                    <a:pt x="202" y="40"/>
                  </a:lnTo>
                  <a:lnTo>
                    <a:pt x="187" y="24"/>
                  </a:lnTo>
                  <a:lnTo>
                    <a:pt x="187" y="8"/>
                  </a:lnTo>
                  <a:lnTo>
                    <a:pt x="178" y="0"/>
                  </a:lnTo>
                  <a:lnTo>
                    <a:pt x="146" y="0"/>
                  </a:lnTo>
                  <a:lnTo>
                    <a:pt x="65" y="55"/>
                  </a:lnTo>
                  <a:lnTo>
                    <a:pt x="49" y="55"/>
                  </a:lnTo>
                  <a:lnTo>
                    <a:pt x="49" y="96"/>
                  </a:lnTo>
                  <a:lnTo>
                    <a:pt x="40" y="105"/>
                  </a:lnTo>
                  <a:lnTo>
                    <a:pt x="0" y="112"/>
                  </a:lnTo>
                  <a:lnTo>
                    <a:pt x="0" y="130"/>
                  </a:lnTo>
                  <a:lnTo>
                    <a:pt x="16" y="145"/>
                  </a:lnTo>
                  <a:lnTo>
                    <a:pt x="25" y="145"/>
                  </a:lnTo>
                  <a:lnTo>
                    <a:pt x="25" y="152"/>
                  </a:lnTo>
                  <a:lnTo>
                    <a:pt x="25" y="145"/>
                  </a:lnTo>
                  <a:lnTo>
                    <a:pt x="31" y="145"/>
                  </a:lnTo>
                  <a:lnTo>
                    <a:pt x="40" y="152"/>
                  </a:lnTo>
                  <a:lnTo>
                    <a:pt x="40" y="145"/>
                  </a:lnTo>
                  <a:lnTo>
                    <a:pt x="56" y="130"/>
                  </a:lnTo>
                  <a:lnTo>
                    <a:pt x="65" y="130"/>
                  </a:lnTo>
                  <a:lnTo>
                    <a:pt x="90" y="137"/>
                  </a:lnTo>
                  <a:lnTo>
                    <a:pt x="96" y="137"/>
                  </a:lnTo>
                  <a:lnTo>
                    <a:pt x="115" y="145"/>
                  </a:lnTo>
                  <a:lnTo>
                    <a:pt x="130" y="137"/>
                  </a:lnTo>
                  <a:lnTo>
                    <a:pt x="155" y="137"/>
                  </a:lnTo>
                  <a:lnTo>
                    <a:pt x="162" y="130"/>
                  </a:lnTo>
                  <a:lnTo>
                    <a:pt x="170" y="130"/>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9" name="Freeform 145">
              <a:extLst>
                <a:ext uri="{FF2B5EF4-FFF2-40B4-BE49-F238E27FC236}">
                  <a16:creationId xmlns:a16="http://schemas.microsoft.com/office/drawing/2014/main" id="{C3C9EF24-70A0-4E19-897E-2BBA27CC2478}"/>
                </a:ext>
              </a:extLst>
            </p:cNvPr>
            <p:cNvSpPr>
              <a:spLocks/>
            </p:cNvSpPr>
            <p:nvPr/>
          </p:nvSpPr>
          <p:spPr bwMode="auto">
            <a:xfrm>
              <a:off x="6105525" y="4017963"/>
              <a:ext cx="407988" cy="407987"/>
            </a:xfrm>
            <a:custGeom>
              <a:avLst/>
              <a:gdLst>
                <a:gd name="T0" fmla="*/ 2147483647 w 213"/>
                <a:gd name="T1" fmla="*/ 2147483647 h 251"/>
                <a:gd name="T2" fmla="*/ 2147483647 w 213"/>
                <a:gd name="T3" fmla="*/ 2147483647 h 251"/>
                <a:gd name="T4" fmla="*/ 2147483647 w 213"/>
                <a:gd name="T5" fmla="*/ 2147483647 h 251"/>
                <a:gd name="T6" fmla="*/ 2147483647 w 213"/>
                <a:gd name="T7" fmla="*/ 2147483647 h 251"/>
                <a:gd name="T8" fmla="*/ 2147483647 w 213"/>
                <a:gd name="T9" fmla="*/ 2147483647 h 251"/>
                <a:gd name="T10" fmla="*/ 2147483647 w 213"/>
                <a:gd name="T11" fmla="*/ 2147483647 h 251"/>
                <a:gd name="T12" fmla="*/ 2147483647 w 213"/>
                <a:gd name="T13" fmla="*/ 2147483647 h 251"/>
                <a:gd name="T14" fmla="*/ 2147483647 w 213"/>
                <a:gd name="T15" fmla="*/ 2147483647 h 251"/>
                <a:gd name="T16" fmla="*/ 2147483647 w 213"/>
                <a:gd name="T17" fmla="*/ 2147483647 h 251"/>
                <a:gd name="T18" fmla="*/ 2147483647 w 213"/>
                <a:gd name="T19" fmla="*/ 2147483647 h 251"/>
                <a:gd name="T20" fmla="*/ 2147483647 w 213"/>
                <a:gd name="T21" fmla="*/ 2147483647 h 251"/>
                <a:gd name="T22" fmla="*/ 2147483647 w 213"/>
                <a:gd name="T23" fmla="*/ 2147483647 h 251"/>
                <a:gd name="T24" fmla="*/ 2147483647 w 213"/>
                <a:gd name="T25" fmla="*/ 2147483647 h 251"/>
                <a:gd name="T26" fmla="*/ 2147483647 w 213"/>
                <a:gd name="T27" fmla="*/ 2147483647 h 251"/>
                <a:gd name="T28" fmla="*/ 2147483647 w 213"/>
                <a:gd name="T29" fmla="*/ 2147483647 h 251"/>
                <a:gd name="T30" fmla="*/ 2147483647 w 213"/>
                <a:gd name="T31" fmla="*/ 2147483647 h 251"/>
                <a:gd name="T32" fmla="*/ 2147483647 w 213"/>
                <a:gd name="T33" fmla="*/ 2147483647 h 251"/>
                <a:gd name="T34" fmla="*/ 2147483647 w 213"/>
                <a:gd name="T35" fmla="*/ 2147483647 h 251"/>
                <a:gd name="T36" fmla="*/ 2147483647 w 213"/>
                <a:gd name="T37" fmla="*/ 2147483647 h 251"/>
                <a:gd name="T38" fmla="*/ 2147483647 w 213"/>
                <a:gd name="T39" fmla="*/ 2147483647 h 251"/>
                <a:gd name="T40" fmla="*/ 2147483647 w 213"/>
                <a:gd name="T41" fmla="*/ 2147483647 h 251"/>
                <a:gd name="T42" fmla="*/ 2147483647 w 213"/>
                <a:gd name="T43" fmla="*/ 2147483647 h 251"/>
                <a:gd name="T44" fmla="*/ 2147483647 w 213"/>
                <a:gd name="T45" fmla="*/ 2147483647 h 251"/>
                <a:gd name="T46" fmla="*/ 2147483647 w 213"/>
                <a:gd name="T47" fmla="*/ 2147483647 h 251"/>
                <a:gd name="T48" fmla="*/ 2147483647 w 213"/>
                <a:gd name="T49" fmla="*/ 0 h 251"/>
                <a:gd name="T50" fmla="*/ 2147483647 w 213"/>
                <a:gd name="T51" fmla="*/ 2147483647 h 251"/>
                <a:gd name="T52" fmla="*/ 2147483647 w 213"/>
                <a:gd name="T53" fmla="*/ 2147483647 h 251"/>
                <a:gd name="T54" fmla="*/ 2147483647 w 213"/>
                <a:gd name="T55" fmla="*/ 2147483647 h 251"/>
                <a:gd name="T56" fmla="*/ 2147483647 w 213"/>
                <a:gd name="T57" fmla="*/ 2147483647 h 251"/>
                <a:gd name="T58" fmla="*/ 2147483647 w 213"/>
                <a:gd name="T59" fmla="*/ 2147483647 h 251"/>
                <a:gd name="T60" fmla="*/ 2147483647 w 213"/>
                <a:gd name="T61" fmla="*/ 2147483647 h 251"/>
                <a:gd name="T62" fmla="*/ 2147483647 w 213"/>
                <a:gd name="T63" fmla="*/ 2147483647 h 251"/>
                <a:gd name="T64" fmla="*/ 2147483647 w 213"/>
                <a:gd name="T65" fmla="*/ 2147483647 h 251"/>
                <a:gd name="T66" fmla="*/ 2147483647 w 213"/>
                <a:gd name="T67" fmla="*/ 2147483647 h 251"/>
                <a:gd name="T68" fmla="*/ 0 w 213"/>
                <a:gd name="T69" fmla="*/ 2147483647 h 251"/>
                <a:gd name="T70" fmla="*/ 2147483647 w 213"/>
                <a:gd name="T71" fmla="*/ 2147483647 h 251"/>
                <a:gd name="T72" fmla="*/ 2147483647 w 213"/>
                <a:gd name="T73" fmla="*/ 2147483647 h 25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13"/>
                <a:gd name="T112" fmla="*/ 0 h 251"/>
                <a:gd name="T113" fmla="*/ 213 w 213"/>
                <a:gd name="T114" fmla="*/ 251 h 25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13" h="251">
                  <a:moveTo>
                    <a:pt x="7" y="154"/>
                  </a:moveTo>
                  <a:lnTo>
                    <a:pt x="23" y="169"/>
                  </a:lnTo>
                  <a:lnTo>
                    <a:pt x="23" y="185"/>
                  </a:lnTo>
                  <a:lnTo>
                    <a:pt x="41" y="194"/>
                  </a:lnTo>
                  <a:lnTo>
                    <a:pt x="73" y="234"/>
                  </a:lnTo>
                  <a:lnTo>
                    <a:pt x="81" y="243"/>
                  </a:lnTo>
                  <a:lnTo>
                    <a:pt x="106" y="243"/>
                  </a:lnTo>
                  <a:lnTo>
                    <a:pt x="113" y="250"/>
                  </a:lnTo>
                  <a:lnTo>
                    <a:pt x="128" y="250"/>
                  </a:lnTo>
                  <a:lnTo>
                    <a:pt x="153" y="243"/>
                  </a:lnTo>
                  <a:lnTo>
                    <a:pt x="162" y="243"/>
                  </a:lnTo>
                  <a:lnTo>
                    <a:pt x="178" y="243"/>
                  </a:lnTo>
                  <a:lnTo>
                    <a:pt x="178" y="227"/>
                  </a:lnTo>
                  <a:lnTo>
                    <a:pt x="170" y="227"/>
                  </a:lnTo>
                  <a:lnTo>
                    <a:pt x="153" y="203"/>
                  </a:lnTo>
                  <a:lnTo>
                    <a:pt x="146" y="194"/>
                  </a:lnTo>
                  <a:lnTo>
                    <a:pt x="153" y="185"/>
                  </a:lnTo>
                  <a:lnTo>
                    <a:pt x="162" y="162"/>
                  </a:lnTo>
                  <a:lnTo>
                    <a:pt x="187" y="129"/>
                  </a:lnTo>
                  <a:lnTo>
                    <a:pt x="193" y="81"/>
                  </a:lnTo>
                  <a:lnTo>
                    <a:pt x="212" y="72"/>
                  </a:lnTo>
                  <a:lnTo>
                    <a:pt x="212" y="64"/>
                  </a:lnTo>
                  <a:lnTo>
                    <a:pt x="203" y="57"/>
                  </a:lnTo>
                  <a:lnTo>
                    <a:pt x="193" y="7"/>
                  </a:lnTo>
                  <a:lnTo>
                    <a:pt x="178" y="0"/>
                  </a:lnTo>
                  <a:lnTo>
                    <a:pt x="153" y="16"/>
                  </a:lnTo>
                  <a:lnTo>
                    <a:pt x="146" y="7"/>
                  </a:lnTo>
                  <a:lnTo>
                    <a:pt x="41" y="7"/>
                  </a:lnTo>
                  <a:lnTo>
                    <a:pt x="41" y="32"/>
                  </a:lnTo>
                  <a:lnTo>
                    <a:pt x="31" y="41"/>
                  </a:lnTo>
                  <a:lnTo>
                    <a:pt x="23" y="47"/>
                  </a:lnTo>
                  <a:lnTo>
                    <a:pt x="23" y="88"/>
                  </a:lnTo>
                  <a:lnTo>
                    <a:pt x="23" y="97"/>
                  </a:lnTo>
                  <a:lnTo>
                    <a:pt x="16" y="97"/>
                  </a:lnTo>
                  <a:lnTo>
                    <a:pt x="0" y="129"/>
                  </a:lnTo>
                  <a:lnTo>
                    <a:pt x="16" y="154"/>
                  </a:lnTo>
                  <a:lnTo>
                    <a:pt x="7" y="154"/>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0" name="Freeform 146">
              <a:extLst>
                <a:ext uri="{FF2B5EF4-FFF2-40B4-BE49-F238E27FC236}">
                  <a16:creationId xmlns:a16="http://schemas.microsoft.com/office/drawing/2014/main" id="{DE60349B-F13E-46B0-97D0-1027FF294F62}"/>
                </a:ext>
              </a:extLst>
            </p:cNvPr>
            <p:cNvSpPr>
              <a:spLocks/>
            </p:cNvSpPr>
            <p:nvPr/>
          </p:nvSpPr>
          <p:spPr bwMode="auto">
            <a:xfrm>
              <a:off x="5916613" y="4267200"/>
              <a:ext cx="331787" cy="174625"/>
            </a:xfrm>
            <a:custGeom>
              <a:avLst/>
              <a:gdLst>
                <a:gd name="T0" fmla="*/ 2147483647 w 172"/>
                <a:gd name="T1" fmla="*/ 0 h 106"/>
                <a:gd name="T2" fmla="*/ 2147483647 w 172"/>
                <a:gd name="T3" fmla="*/ 2147483647 h 106"/>
                <a:gd name="T4" fmla="*/ 2147483647 w 172"/>
                <a:gd name="T5" fmla="*/ 2147483647 h 106"/>
                <a:gd name="T6" fmla="*/ 2147483647 w 172"/>
                <a:gd name="T7" fmla="*/ 2147483647 h 106"/>
                <a:gd name="T8" fmla="*/ 2147483647 w 172"/>
                <a:gd name="T9" fmla="*/ 2147483647 h 106"/>
                <a:gd name="T10" fmla="*/ 2147483647 w 172"/>
                <a:gd name="T11" fmla="*/ 2147483647 h 106"/>
                <a:gd name="T12" fmla="*/ 2147483647 w 172"/>
                <a:gd name="T13" fmla="*/ 2147483647 h 106"/>
                <a:gd name="T14" fmla="*/ 2147483647 w 172"/>
                <a:gd name="T15" fmla="*/ 2147483647 h 106"/>
                <a:gd name="T16" fmla="*/ 2147483647 w 172"/>
                <a:gd name="T17" fmla="*/ 2147483647 h 106"/>
                <a:gd name="T18" fmla="*/ 2147483647 w 172"/>
                <a:gd name="T19" fmla="*/ 2147483647 h 106"/>
                <a:gd name="T20" fmla="*/ 2147483647 w 172"/>
                <a:gd name="T21" fmla="*/ 2147483647 h 106"/>
                <a:gd name="T22" fmla="*/ 2147483647 w 172"/>
                <a:gd name="T23" fmla="*/ 2147483647 h 106"/>
                <a:gd name="T24" fmla="*/ 2147483647 w 172"/>
                <a:gd name="T25" fmla="*/ 2147483647 h 106"/>
                <a:gd name="T26" fmla="*/ 2147483647 w 172"/>
                <a:gd name="T27" fmla="*/ 2147483647 h 106"/>
                <a:gd name="T28" fmla="*/ 0 w 172"/>
                <a:gd name="T29" fmla="*/ 2147483647 h 106"/>
                <a:gd name="T30" fmla="*/ 2147483647 w 172"/>
                <a:gd name="T31" fmla="*/ 2147483647 h 106"/>
                <a:gd name="T32" fmla="*/ 2147483647 w 172"/>
                <a:gd name="T33" fmla="*/ 2147483647 h 106"/>
                <a:gd name="T34" fmla="*/ 2147483647 w 172"/>
                <a:gd name="T35" fmla="*/ 2147483647 h 106"/>
                <a:gd name="T36" fmla="*/ 2147483647 w 172"/>
                <a:gd name="T37" fmla="*/ 2147483647 h 106"/>
                <a:gd name="T38" fmla="*/ 2147483647 w 172"/>
                <a:gd name="T39" fmla="*/ 2147483647 h 106"/>
                <a:gd name="T40" fmla="*/ 2147483647 w 172"/>
                <a:gd name="T41" fmla="*/ 2147483647 h 106"/>
                <a:gd name="T42" fmla="*/ 2147483647 w 172"/>
                <a:gd name="T43" fmla="*/ 0 h 10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72"/>
                <a:gd name="T67" fmla="*/ 0 h 106"/>
                <a:gd name="T68" fmla="*/ 172 w 172"/>
                <a:gd name="T69" fmla="*/ 106 h 10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72" h="106">
                  <a:moveTo>
                    <a:pt x="105" y="0"/>
                  </a:moveTo>
                  <a:lnTo>
                    <a:pt x="121" y="15"/>
                  </a:lnTo>
                  <a:lnTo>
                    <a:pt x="121" y="31"/>
                  </a:lnTo>
                  <a:lnTo>
                    <a:pt x="139" y="40"/>
                  </a:lnTo>
                  <a:lnTo>
                    <a:pt x="171" y="80"/>
                  </a:lnTo>
                  <a:lnTo>
                    <a:pt x="114" y="80"/>
                  </a:lnTo>
                  <a:lnTo>
                    <a:pt x="105" y="89"/>
                  </a:lnTo>
                  <a:lnTo>
                    <a:pt x="80" y="89"/>
                  </a:lnTo>
                  <a:lnTo>
                    <a:pt x="74" y="80"/>
                  </a:lnTo>
                  <a:lnTo>
                    <a:pt x="65" y="80"/>
                  </a:lnTo>
                  <a:lnTo>
                    <a:pt x="57" y="96"/>
                  </a:lnTo>
                  <a:lnTo>
                    <a:pt x="34" y="105"/>
                  </a:lnTo>
                  <a:lnTo>
                    <a:pt x="24" y="105"/>
                  </a:lnTo>
                  <a:lnTo>
                    <a:pt x="9" y="80"/>
                  </a:lnTo>
                  <a:lnTo>
                    <a:pt x="0" y="73"/>
                  </a:lnTo>
                  <a:lnTo>
                    <a:pt x="17" y="49"/>
                  </a:lnTo>
                  <a:lnTo>
                    <a:pt x="57" y="40"/>
                  </a:lnTo>
                  <a:lnTo>
                    <a:pt x="65" y="31"/>
                  </a:lnTo>
                  <a:lnTo>
                    <a:pt x="57" y="31"/>
                  </a:lnTo>
                  <a:lnTo>
                    <a:pt x="80" y="24"/>
                  </a:lnTo>
                  <a:lnTo>
                    <a:pt x="98" y="8"/>
                  </a:lnTo>
                  <a:lnTo>
                    <a:pt x="105" y="0"/>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1" name="Freeform 147">
              <a:extLst>
                <a:ext uri="{FF2B5EF4-FFF2-40B4-BE49-F238E27FC236}">
                  <a16:creationId xmlns:a16="http://schemas.microsoft.com/office/drawing/2014/main" id="{592B9B69-7A29-453D-A0CC-0625403294CE}"/>
                </a:ext>
              </a:extLst>
            </p:cNvPr>
            <p:cNvSpPr>
              <a:spLocks/>
            </p:cNvSpPr>
            <p:nvPr/>
          </p:nvSpPr>
          <p:spPr bwMode="auto">
            <a:xfrm>
              <a:off x="6399213" y="4413250"/>
              <a:ext cx="203200" cy="184150"/>
            </a:xfrm>
            <a:custGeom>
              <a:avLst/>
              <a:gdLst>
                <a:gd name="T0" fmla="*/ 2147483647 w 107"/>
                <a:gd name="T1" fmla="*/ 2147483647 h 114"/>
                <a:gd name="T2" fmla="*/ 2147483647 w 107"/>
                <a:gd name="T3" fmla="*/ 0 h 114"/>
                <a:gd name="T4" fmla="*/ 2147483647 w 107"/>
                <a:gd name="T5" fmla="*/ 2147483647 h 114"/>
                <a:gd name="T6" fmla="*/ 2147483647 w 107"/>
                <a:gd name="T7" fmla="*/ 0 h 114"/>
                <a:gd name="T8" fmla="*/ 2147483647 w 107"/>
                <a:gd name="T9" fmla="*/ 0 h 114"/>
                <a:gd name="T10" fmla="*/ 0 w 107"/>
                <a:gd name="T11" fmla="*/ 0 h 114"/>
                <a:gd name="T12" fmla="*/ 2147483647 w 107"/>
                <a:gd name="T13" fmla="*/ 2147483647 h 114"/>
                <a:gd name="T14" fmla="*/ 2147483647 w 107"/>
                <a:gd name="T15" fmla="*/ 2147483647 h 114"/>
                <a:gd name="T16" fmla="*/ 0 w 107"/>
                <a:gd name="T17" fmla="*/ 2147483647 h 114"/>
                <a:gd name="T18" fmla="*/ 0 w 107"/>
                <a:gd name="T19" fmla="*/ 2147483647 h 114"/>
                <a:gd name="T20" fmla="*/ 2147483647 w 107"/>
                <a:gd name="T21" fmla="*/ 2147483647 h 114"/>
                <a:gd name="T22" fmla="*/ 2147483647 w 107"/>
                <a:gd name="T23" fmla="*/ 2147483647 h 114"/>
                <a:gd name="T24" fmla="*/ 2147483647 w 107"/>
                <a:gd name="T25" fmla="*/ 2147483647 h 114"/>
                <a:gd name="T26" fmla="*/ 2147483647 w 107"/>
                <a:gd name="T27" fmla="*/ 2147483647 h 114"/>
                <a:gd name="T28" fmla="*/ 2147483647 w 107"/>
                <a:gd name="T29" fmla="*/ 2147483647 h 114"/>
                <a:gd name="T30" fmla="*/ 2147483647 w 107"/>
                <a:gd name="T31" fmla="*/ 2147483647 h 114"/>
                <a:gd name="T32" fmla="*/ 2147483647 w 107"/>
                <a:gd name="T33" fmla="*/ 2147483647 h 114"/>
                <a:gd name="T34" fmla="*/ 2147483647 w 107"/>
                <a:gd name="T35" fmla="*/ 2147483647 h 114"/>
                <a:gd name="T36" fmla="*/ 2147483647 w 107"/>
                <a:gd name="T37" fmla="*/ 2147483647 h 114"/>
                <a:gd name="T38" fmla="*/ 2147483647 w 107"/>
                <a:gd name="T39" fmla="*/ 2147483647 h 11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7"/>
                <a:gd name="T61" fmla="*/ 0 h 114"/>
                <a:gd name="T62" fmla="*/ 107 w 107"/>
                <a:gd name="T63" fmla="*/ 114 h 11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7" h="114">
                  <a:moveTo>
                    <a:pt x="106" y="7"/>
                  </a:moveTo>
                  <a:lnTo>
                    <a:pt x="90" y="0"/>
                  </a:lnTo>
                  <a:lnTo>
                    <a:pt x="65" y="7"/>
                  </a:lnTo>
                  <a:lnTo>
                    <a:pt x="25" y="0"/>
                  </a:lnTo>
                  <a:lnTo>
                    <a:pt x="9" y="0"/>
                  </a:lnTo>
                  <a:lnTo>
                    <a:pt x="0" y="0"/>
                  </a:lnTo>
                  <a:lnTo>
                    <a:pt x="9" y="7"/>
                  </a:lnTo>
                  <a:lnTo>
                    <a:pt x="17" y="31"/>
                  </a:lnTo>
                  <a:lnTo>
                    <a:pt x="0" y="56"/>
                  </a:lnTo>
                  <a:lnTo>
                    <a:pt x="0" y="65"/>
                  </a:lnTo>
                  <a:lnTo>
                    <a:pt x="9" y="65"/>
                  </a:lnTo>
                  <a:lnTo>
                    <a:pt x="50" y="88"/>
                  </a:lnTo>
                  <a:lnTo>
                    <a:pt x="50" y="105"/>
                  </a:lnTo>
                  <a:lnTo>
                    <a:pt x="74" y="113"/>
                  </a:lnTo>
                  <a:lnTo>
                    <a:pt x="82" y="88"/>
                  </a:lnTo>
                  <a:lnTo>
                    <a:pt x="90" y="88"/>
                  </a:lnTo>
                  <a:lnTo>
                    <a:pt x="99" y="72"/>
                  </a:lnTo>
                  <a:lnTo>
                    <a:pt x="90" y="65"/>
                  </a:lnTo>
                  <a:lnTo>
                    <a:pt x="90" y="25"/>
                  </a:lnTo>
                  <a:lnTo>
                    <a:pt x="106" y="7"/>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2" name="Freeform 148">
              <a:extLst>
                <a:ext uri="{FF2B5EF4-FFF2-40B4-BE49-F238E27FC236}">
                  <a16:creationId xmlns:a16="http://schemas.microsoft.com/office/drawing/2014/main" id="{4708E668-BB52-44D0-88C1-AD47C1BE67EB}"/>
                </a:ext>
              </a:extLst>
            </p:cNvPr>
            <p:cNvSpPr>
              <a:spLocks/>
            </p:cNvSpPr>
            <p:nvPr/>
          </p:nvSpPr>
          <p:spPr bwMode="auto">
            <a:xfrm>
              <a:off x="6289675" y="4413250"/>
              <a:ext cx="142875" cy="117475"/>
            </a:xfrm>
            <a:custGeom>
              <a:avLst/>
              <a:gdLst>
                <a:gd name="T0" fmla="*/ 2147483647 w 74"/>
                <a:gd name="T1" fmla="*/ 0 h 73"/>
                <a:gd name="T2" fmla="*/ 2147483647 w 74"/>
                <a:gd name="T3" fmla="*/ 2147483647 h 73"/>
                <a:gd name="T4" fmla="*/ 2147483647 w 74"/>
                <a:gd name="T5" fmla="*/ 2147483647 h 73"/>
                <a:gd name="T6" fmla="*/ 2147483647 w 74"/>
                <a:gd name="T7" fmla="*/ 2147483647 h 73"/>
                <a:gd name="T8" fmla="*/ 2147483647 w 74"/>
                <a:gd name="T9" fmla="*/ 2147483647 h 73"/>
                <a:gd name="T10" fmla="*/ 2147483647 w 74"/>
                <a:gd name="T11" fmla="*/ 2147483647 h 73"/>
                <a:gd name="T12" fmla="*/ 2147483647 w 74"/>
                <a:gd name="T13" fmla="*/ 2147483647 h 73"/>
                <a:gd name="T14" fmla="*/ 0 w 74"/>
                <a:gd name="T15" fmla="*/ 2147483647 h 73"/>
                <a:gd name="T16" fmla="*/ 2147483647 w 74"/>
                <a:gd name="T17" fmla="*/ 2147483647 h 73"/>
                <a:gd name="T18" fmla="*/ 2147483647 w 74"/>
                <a:gd name="T19" fmla="*/ 2147483647 h 73"/>
                <a:gd name="T20" fmla="*/ 2147483647 w 74"/>
                <a:gd name="T21" fmla="*/ 2147483647 h 73"/>
                <a:gd name="T22" fmla="*/ 2147483647 w 74"/>
                <a:gd name="T23" fmla="*/ 2147483647 h 73"/>
                <a:gd name="T24" fmla="*/ 2147483647 w 74"/>
                <a:gd name="T25" fmla="*/ 2147483647 h 73"/>
                <a:gd name="T26" fmla="*/ 2147483647 w 74"/>
                <a:gd name="T27" fmla="*/ 2147483647 h 73"/>
                <a:gd name="T28" fmla="*/ 2147483647 w 74"/>
                <a:gd name="T29" fmla="*/ 0 h 7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4"/>
                <a:gd name="T46" fmla="*/ 0 h 73"/>
                <a:gd name="T47" fmla="*/ 74 w 74"/>
                <a:gd name="T48" fmla="*/ 73 h 7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4" h="73">
                  <a:moveTo>
                    <a:pt x="56" y="0"/>
                  </a:moveTo>
                  <a:lnTo>
                    <a:pt x="65" y="7"/>
                  </a:lnTo>
                  <a:lnTo>
                    <a:pt x="73" y="31"/>
                  </a:lnTo>
                  <a:lnTo>
                    <a:pt x="56" y="56"/>
                  </a:lnTo>
                  <a:lnTo>
                    <a:pt x="56" y="65"/>
                  </a:lnTo>
                  <a:lnTo>
                    <a:pt x="31" y="65"/>
                  </a:lnTo>
                  <a:lnTo>
                    <a:pt x="16" y="65"/>
                  </a:lnTo>
                  <a:lnTo>
                    <a:pt x="0" y="72"/>
                  </a:lnTo>
                  <a:lnTo>
                    <a:pt x="9" y="48"/>
                  </a:lnTo>
                  <a:lnTo>
                    <a:pt x="16" y="40"/>
                  </a:lnTo>
                  <a:lnTo>
                    <a:pt x="25" y="25"/>
                  </a:lnTo>
                  <a:lnTo>
                    <a:pt x="16" y="25"/>
                  </a:lnTo>
                  <a:lnTo>
                    <a:pt x="16" y="7"/>
                  </a:lnTo>
                  <a:lnTo>
                    <a:pt x="31" y="7"/>
                  </a:lnTo>
                  <a:lnTo>
                    <a:pt x="56" y="0"/>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3" name="Freeform 149">
              <a:extLst>
                <a:ext uri="{FF2B5EF4-FFF2-40B4-BE49-F238E27FC236}">
                  <a16:creationId xmlns:a16="http://schemas.microsoft.com/office/drawing/2014/main" id="{E1127D71-8BF2-4A91-AA6C-6EBE9D0AACD0}"/>
                </a:ext>
              </a:extLst>
            </p:cNvPr>
            <p:cNvSpPr>
              <a:spLocks/>
            </p:cNvSpPr>
            <p:nvPr/>
          </p:nvSpPr>
          <p:spPr bwMode="auto">
            <a:xfrm>
              <a:off x="6289675" y="4519613"/>
              <a:ext cx="266700" cy="223837"/>
            </a:xfrm>
            <a:custGeom>
              <a:avLst/>
              <a:gdLst>
                <a:gd name="T0" fmla="*/ 2147483647 w 139"/>
                <a:gd name="T1" fmla="*/ 2147483647 h 138"/>
                <a:gd name="T2" fmla="*/ 2147483647 w 139"/>
                <a:gd name="T3" fmla="*/ 2147483647 h 138"/>
                <a:gd name="T4" fmla="*/ 2147483647 w 139"/>
                <a:gd name="T5" fmla="*/ 2147483647 h 138"/>
                <a:gd name="T6" fmla="*/ 0 w 139"/>
                <a:gd name="T7" fmla="*/ 2147483647 h 138"/>
                <a:gd name="T8" fmla="*/ 0 w 139"/>
                <a:gd name="T9" fmla="*/ 2147483647 h 138"/>
                <a:gd name="T10" fmla="*/ 2147483647 w 139"/>
                <a:gd name="T11" fmla="*/ 2147483647 h 138"/>
                <a:gd name="T12" fmla="*/ 2147483647 w 139"/>
                <a:gd name="T13" fmla="*/ 2147483647 h 138"/>
                <a:gd name="T14" fmla="*/ 2147483647 w 139"/>
                <a:gd name="T15" fmla="*/ 2147483647 h 138"/>
                <a:gd name="T16" fmla="*/ 2147483647 w 139"/>
                <a:gd name="T17" fmla="*/ 0 h 138"/>
                <a:gd name="T18" fmla="*/ 2147483647 w 139"/>
                <a:gd name="T19" fmla="*/ 0 h 138"/>
                <a:gd name="T20" fmla="*/ 2147483647 w 139"/>
                <a:gd name="T21" fmla="*/ 0 h 138"/>
                <a:gd name="T22" fmla="*/ 2147483647 w 139"/>
                <a:gd name="T23" fmla="*/ 0 h 138"/>
                <a:gd name="T24" fmla="*/ 2147483647 w 139"/>
                <a:gd name="T25" fmla="*/ 2147483647 h 138"/>
                <a:gd name="T26" fmla="*/ 2147483647 w 139"/>
                <a:gd name="T27" fmla="*/ 2147483647 h 138"/>
                <a:gd name="T28" fmla="*/ 2147483647 w 139"/>
                <a:gd name="T29" fmla="*/ 2147483647 h 138"/>
                <a:gd name="T30" fmla="*/ 2147483647 w 139"/>
                <a:gd name="T31" fmla="*/ 2147483647 h 138"/>
                <a:gd name="T32" fmla="*/ 2147483647 w 139"/>
                <a:gd name="T33" fmla="*/ 2147483647 h 138"/>
                <a:gd name="T34" fmla="*/ 2147483647 w 139"/>
                <a:gd name="T35" fmla="*/ 2147483647 h 138"/>
                <a:gd name="T36" fmla="*/ 2147483647 w 139"/>
                <a:gd name="T37" fmla="*/ 2147483647 h 138"/>
                <a:gd name="T38" fmla="*/ 2147483647 w 139"/>
                <a:gd name="T39" fmla="*/ 2147483647 h 138"/>
                <a:gd name="T40" fmla="*/ 2147483647 w 139"/>
                <a:gd name="T41" fmla="*/ 2147483647 h 138"/>
                <a:gd name="T42" fmla="*/ 2147483647 w 139"/>
                <a:gd name="T43" fmla="*/ 2147483647 h 138"/>
                <a:gd name="T44" fmla="*/ 2147483647 w 139"/>
                <a:gd name="T45" fmla="*/ 2147483647 h 138"/>
                <a:gd name="T46" fmla="*/ 2147483647 w 139"/>
                <a:gd name="T47" fmla="*/ 2147483647 h 138"/>
                <a:gd name="T48" fmla="*/ 2147483647 w 139"/>
                <a:gd name="T49" fmla="*/ 2147483647 h 138"/>
                <a:gd name="T50" fmla="*/ 2147483647 w 139"/>
                <a:gd name="T51" fmla="*/ 2147483647 h 13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9"/>
                <a:gd name="T79" fmla="*/ 0 h 138"/>
                <a:gd name="T80" fmla="*/ 139 w 139"/>
                <a:gd name="T81" fmla="*/ 138 h 13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9" h="138">
                  <a:moveTo>
                    <a:pt x="49" y="113"/>
                  </a:moveTo>
                  <a:lnTo>
                    <a:pt x="25" y="97"/>
                  </a:lnTo>
                  <a:lnTo>
                    <a:pt x="16" y="97"/>
                  </a:lnTo>
                  <a:lnTo>
                    <a:pt x="0" y="72"/>
                  </a:lnTo>
                  <a:lnTo>
                    <a:pt x="0" y="48"/>
                  </a:lnTo>
                  <a:lnTo>
                    <a:pt x="16" y="32"/>
                  </a:lnTo>
                  <a:lnTo>
                    <a:pt x="16" y="23"/>
                  </a:lnTo>
                  <a:lnTo>
                    <a:pt x="16" y="16"/>
                  </a:lnTo>
                  <a:lnTo>
                    <a:pt x="16" y="0"/>
                  </a:lnTo>
                  <a:lnTo>
                    <a:pt x="31" y="0"/>
                  </a:lnTo>
                  <a:lnTo>
                    <a:pt x="56" y="0"/>
                  </a:lnTo>
                  <a:lnTo>
                    <a:pt x="65" y="0"/>
                  </a:lnTo>
                  <a:lnTo>
                    <a:pt x="106" y="23"/>
                  </a:lnTo>
                  <a:lnTo>
                    <a:pt x="106" y="40"/>
                  </a:lnTo>
                  <a:lnTo>
                    <a:pt x="130" y="48"/>
                  </a:lnTo>
                  <a:lnTo>
                    <a:pt x="121" y="63"/>
                  </a:lnTo>
                  <a:lnTo>
                    <a:pt x="130" y="80"/>
                  </a:lnTo>
                  <a:lnTo>
                    <a:pt x="130" y="103"/>
                  </a:lnTo>
                  <a:lnTo>
                    <a:pt x="130" y="113"/>
                  </a:lnTo>
                  <a:lnTo>
                    <a:pt x="138" y="122"/>
                  </a:lnTo>
                  <a:lnTo>
                    <a:pt x="121" y="137"/>
                  </a:lnTo>
                  <a:lnTo>
                    <a:pt x="90" y="137"/>
                  </a:lnTo>
                  <a:lnTo>
                    <a:pt x="73" y="137"/>
                  </a:lnTo>
                  <a:lnTo>
                    <a:pt x="65" y="113"/>
                  </a:lnTo>
                  <a:lnTo>
                    <a:pt x="56" y="113"/>
                  </a:lnTo>
                  <a:lnTo>
                    <a:pt x="49" y="113"/>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4" name="Freeform 150">
              <a:extLst>
                <a:ext uri="{FF2B5EF4-FFF2-40B4-BE49-F238E27FC236}">
                  <a16:creationId xmlns:a16="http://schemas.microsoft.com/office/drawing/2014/main" id="{2AA52E51-C29C-43DF-A7C8-58EF7D583459}"/>
                </a:ext>
              </a:extLst>
            </p:cNvPr>
            <p:cNvSpPr>
              <a:spLocks/>
            </p:cNvSpPr>
            <p:nvPr/>
          </p:nvSpPr>
          <p:spPr bwMode="auto">
            <a:xfrm>
              <a:off x="5873750" y="4397375"/>
              <a:ext cx="466725" cy="387350"/>
            </a:xfrm>
            <a:custGeom>
              <a:avLst/>
              <a:gdLst>
                <a:gd name="T0" fmla="*/ 2147483647 w 244"/>
                <a:gd name="T1" fmla="*/ 0 h 237"/>
                <a:gd name="T2" fmla="*/ 2147483647 w 244"/>
                <a:gd name="T3" fmla="*/ 0 h 237"/>
                <a:gd name="T4" fmla="*/ 2147483647 w 244"/>
                <a:gd name="T5" fmla="*/ 2147483647 h 237"/>
                <a:gd name="T6" fmla="*/ 2147483647 w 244"/>
                <a:gd name="T7" fmla="*/ 2147483647 h 237"/>
                <a:gd name="T8" fmla="*/ 2147483647 w 244"/>
                <a:gd name="T9" fmla="*/ 0 h 237"/>
                <a:gd name="T10" fmla="*/ 2147483647 w 244"/>
                <a:gd name="T11" fmla="*/ 0 h 237"/>
                <a:gd name="T12" fmla="*/ 2147483647 w 244"/>
                <a:gd name="T13" fmla="*/ 2147483647 h 237"/>
                <a:gd name="T14" fmla="*/ 2147483647 w 244"/>
                <a:gd name="T15" fmla="*/ 2147483647 h 237"/>
                <a:gd name="T16" fmla="*/ 2147483647 w 244"/>
                <a:gd name="T17" fmla="*/ 2147483647 h 237"/>
                <a:gd name="T18" fmla="*/ 2147483647 w 244"/>
                <a:gd name="T19" fmla="*/ 2147483647 h 237"/>
                <a:gd name="T20" fmla="*/ 2147483647 w 244"/>
                <a:gd name="T21" fmla="*/ 2147483647 h 237"/>
                <a:gd name="T22" fmla="*/ 2147483647 w 244"/>
                <a:gd name="T23" fmla="*/ 2147483647 h 237"/>
                <a:gd name="T24" fmla="*/ 0 w 244"/>
                <a:gd name="T25" fmla="*/ 2147483647 h 237"/>
                <a:gd name="T26" fmla="*/ 0 w 244"/>
                <a:gd name="T27" fmla="*/ 2147483647 h 237"/>
                <a:gd name="T28" fmla="*/ 2147483647 w 244"/>
                <a:gd name="T29" fmla="*/ 2147483647 h 237"/>
                <a:gd name="T30" fmla="*/ 2147483647 w 244"/>
                <a:gd name="T31" fmla="*/ 2147483647 h 237"/>
                <a:gd name="T32" fmla="*/ 2147483647 w 244"/>
                <a:gd name="T33" fmla="*/ 2147483647 h 237"/>
                <a:gd name="T34" fmla="*/ 2147483647 w 244"/>
                <a:gd name="T35" fmla="*/ 2147483647 h 237"/>
                <a:gd name="T36" fmla="*/ 2147483647 w 244"/>
                <a:gd name="T37" fmla="*/ 2147483647 h 237"/>
                <a:gd name="T38" fmla="*/ 2147483647 w 244"/>
                <a:gd name="T39" fmla="*/ 2147483647 h 237"/>
                <a:gd name="T40" fmla="*/ 2147483647 w 244"/>
                <a:gd name="T41" fmla="*/ 2147483647 h 237"/>
                <a:gd name="T42" fmla="*/ 2147483647 w 244"/>
                <a:gd name="T43" fmla="*/ 2147483647 h 237"/>
                <a:gd name="T44" fmla="*/ 2147483647 w 244"/>
                <a:gd name="T45" fmla="*/ 2147483647 h 237"/>
                <a:gd name="T46" fmla="*/ 2147483647 w 244"/>
                <a:gd name="T47" fmla="*/ 2147483647 h 237"/>
                <a:gd name="T48" fmla="*/ 2147483647 w 244"/>
                <a:gd name="T49" fmla="*/ 2147483647 h 237"/>
                <a:gd name="T50" fmla="*/ 2147483647 w 244"/>
                <a:gd name="T51" fmla="*/ 2147483647 h 237"/>
                <a:gd name="T52" fmla="*/ 2147483647 w 244"/>
                <a:gd name="T53" fmla="*/ 2147483647 h 237"/>
                <a:gd name="T54" fmla="*/ 2147483647 w 244"/>
                <a:gd name="T55" fmla="*/ 2147483647 h 237"/>
                <a:gd name="T56" fmla="*/ 2147483647 w 244"/>
                <a:gd name="T57" fmla="*/ 2147483647 h 237"/>
                <a:gd name="T58" fmla="*/ 2147483647 w 244"/>
                <a:gd name="T59" fmla="*/ 2147483647 h 237"/>
                <a:gd name="T60" fmla="*/ 2147483647 w 244"/>
                <a:gd name="T61" fmla="*/ 2147483647 h 237"/>
                <a:gd name="T62" fmla="*/ 2147483647 w 244"/>
                <a:gd name="T63" fmla="*/ 2147483647 h 237"/>
                <a:gd name="T64" fmla="*/ 2147483647 w 244"/>
                <a:gd name="T65" fmla="*/ 2147483647 h 237"/>
                <a:gd name="T66" fmla="*/ 2147483647 w 244"/>
                <a:gd name="T67" fmla="*/ 2147483647 h 237"/>
                <a:gd name="T68" fmla="*/ 2147483647 w 244"/>
                <a:gd name="T69" fmla="*/ 2147483647 h 237"/>
                <a:gd name="T70" fmla="*/ 2147483647 w 244"/>
                <a:gd name="T71" fmla="*/ 2147483647 h 237"/>
                <a:gd name="T72" fmla="*/ 2147483647 w 244"/>
                <a:gd name="T73" fmla="*/ 2147483647 h 237"/>
                <a:gd name="T74" fmla="*/ 2147483647 w 244"/>
                <a:gd name="T75" fmla="*/ 2147483647 h 237"/>
                <a:gd name="T76" fmla="*/ 2147483647 w 244"/>
                <a:gd name="T77" fmla="*/ 2147483647 h 237"/>
                <a:gd name="T78" fmla="*/ 2147483647 w 244"/>
                <a:gd name="T79" fmla="*/ 2147483647 h 237"/>
                <a:gd name="T80" fmla="*/ 2147483647 w 244"/>
                <a:gd name="T81" fmla="*/ 2147483647 h 237"/>
                <a:gd name="T82" fmla="*/ 2147483647 w 244"/>
                <a:gd name="T83" fmla="*/ 2147483647 h 237"/>
                <a:gd name="T84" fmla="*/ 2147483647 w 244"/>
                <a:gd name="T85" fmla="*/ 2147483647 h 237"/>
                <a:gd name="T86" fmla="*/ 2147483647 w 244"/>
                <a:gd name="T87" fmla="*/ 2147483647 h 237"/>
                <a:gd name="T88" fmla="*/ 2147483647 w 244"/>
                <a:gd name="T89" fmla="*/ 2147483647 h 237"/>
                <a:gd name="T90" fmla="*/ 2147483647 w 244"/>
                <a:gd name="T91" fmla="*/ 2147483647 h 237"/>
                <a:gd name="T92" fmla="*/ 2147483647 w 244"/>
                <a:gd name="T93" fmla="*/ 2147483647 h 237"/>
                <a:gd name="T94" fmla="*/ 2147483647 w 244"/>
                <a:gd name="T95" fmla="*/ 2147483647 h 237"/>
                <a:gd name="T96" fmla="*/ 2147483647 w 244"/>
                <a:gd name="T97" fmla="*/ 2147483647 h 237"/>
                <a:gd name="T98" fmla="*/ 2147483647 w 244"/>
                <a:gd name="T99" fmla="*/ 2147483647 h 237"/>
                <a:gd name="T100" fmla="*/ 2147483647 w 244"/>
                <a:gd name="T101" fmla="*/ 2147483647 h 237"/>
                <a:gd name="T102" fmla="*/ 2147483647 w 244"/>
                <a:gd name="T103" fmla="*/ 0 h 23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44"/>
                <a:gd name="T157" fmla="*/ 0 h 237"/>
                <a:gd name="T158" fmla="*/ 244 w 244"/>
                <a:gd name="T159" fmla="*/ 237 h 23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44" h="237">
                  <a:moveTo>
                    <a:pt x="194" y="0"/>
                  </a:moveTo>
                  <a:lnTo>
                    <a:pt x="137" y="0"/>
                  </a:lnTo>
                  <a:lnTo>
                    <a:pt x="128" y="9"/>
                  </a:lnTo>
                  <a:lnTo>
                    <a:pt x="103" y="9"/>
                  </a:lnTo>
                  <a:lnTo>
                    <a:pt x="97" y="0"/>
                  </a:lnTo>
                  <a:lnTo>
                    <a:pt x="88" y="0"/>
                  </a:lnTo>
                  <a:lnTo>
                    <a:pt x="80" y="16"/>
                  </a:lnTo>
                  <a:lnTo>
                    <a:pt x="63" y="74"/>
                  </a:lnTo>
                  <a:lnTo>
                    <a:pt x="47" y="90"/>
                  </a:lnTo>
                  <a:lnTo>
                    <a:pt x="40" y="114"/>
                  </a:lnTo>
                  <a:lnTo>
                    <a:pt x="23" y="122"/>
                  </a:lnTo>
                  <a:lnTo>
                    <a:pt x="7" y="122"/>
                  </a:lnTo>
                  <a:lnTo>
                    <a:pt x="0" y="137"/>
                  </a:lnTo>
                  <a:lnTo>
                    <a:pt x="0" y="146"/>
                  </a:lnTo>
                  <a:lnTo>
                    <a:pt x="15" y="137"/>
                  </a:lnTo>
                  <a:lnTo>
                    <a:pt x="47" y="137"/>
                  </a:lnTo>
                  <a:lnTo>
                    <a:pt x="57" y="137"/>
                  </a:lnTo>
                  <a:lnTo>
                    <a:pt x="57" y="154"/>
                  </a:lnTo>
                  <a:lnTo>
                    <a:pt x="72" y="171"/>
                  </a:lnTo>
                  <a:lnTo>
                    <a:pt x="88" y="162"/>
                  </a:lnTo>
                  <a:lnTo>
                    <a:pt x="88" y="154"/>
                  </a:lnTo>
                  <a:lnTo>
                    <a:pt x="103" y="154"/>
                  </a:lnTo>
                  <a:lnTo>
                    <a:pt x="121" y="162"/>
                  </a:lnTo>
                  <a:lnTo>
                    <a:pt x="121" y="187"/>
                  </a:lnTo>
                  <a:lnTo>
                    <a:pt x="128" y="196"/>
                  </a:lnTo>
                  <a:lnTo>
                    <a:pt x="121" y="202"/>
                  </a:lnTo>
                  <a:lnTo>
                    <a:pt x="121" y="211"/>
                  </a:lnTo>
                  <a:lnTo>
                    <a:pt x="144" y="202"/>
                  </a:lnTo>
                  <a:lnTo>
                    <a:pt x="177" y="219"/>
                  </a:lnTo>
                  <a:lnTo>
                    <a:pt x="186" y="211"/>
                  </a:lnTo>
                  <a:lnTo>
                    <a:pt x="209" y="227"/>
                  </a:lnTo>
                  <a:lnTo>
                    <a:pt x="218" y="236"/>
                  </a:lnTo>
                  <a:lnTo>
                    <a:pt x="218" y="219"/>
                  </a:lnTo>
                  <a:lnTo>
                    <a:pt x="209" y="219"/>
                  </a:lnTo>
                  <a:lnTo>
                    <a:pt x="209" y="211"/>
                  </a:lnTo>
                  <a:lnTo>
                    <a:pt x="209" y="177"/>
                  </a:lnTo>
                  <a:lnTo>
                    <a:pt x="209" y="171"/>
                  </a:lnTo>
                  <a:lnTo>
                    <a:pt x="234" y="171"/>
                  </a:lnTo>
                  <a:lnTo>
                    <a:pt x="218" y="146"/>
                  </a:lnTo>
                  <a:lnTo>
                    <a:pt x="218" y="122"/>
                  </a:lnTo>
                  <a:lnTo>
                    <a:pt x="218" y="106"/>
                  </a:lnTo>
                  <a:lnTo>
                    <a:pt x="218" y="97"/>
                  </a:lnTo>
                  <a:lnTo>
                    <a:pt x="209" y="97"/>
                  </a:lnTo>
                  <a:lnTo>
                    <a:pt x="218" y="81"/>
                  </a:lnTo>
                  <a:lnTo>
                    <a:pt x="227" y="57"/>
                  </a:lnTo>
                  <a:lnTo>
                    <a:pt x="234" y="49"/>
                  </a:lnTo>
                  <a:lnTo>
                    <a:pt x="243" y="34"/>
                  </a:lnTo>
                  <a:lnTo>
                    <a:pt x="234" y="34"/>
                  </a:lnTo>
                  <a:lnTo>
                    <a:pt x="234" y="16"/>
                  </a:lnTo>
                  <a:lnTo>
                    <a:pt x="227" y="9"/>
                  </a:lnTo>
                  <a:lnTo>
                    <a:pt x="202" y="9"/>
                  </a:lnTo>
                  <a:lnTo>
                    <a:pt x="194" y="0"/>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5" name="Freeform 151">
              <a:extLst>
                <a:ext uri="{FF2B5EF4-FFF2-40B4-BE49-F238E27FC236}">
                  <a16:creationId xmlns:a16="http://schemas.microsoft.com/office/drawing/2014/main" id="{95935C75-3C7B-4455-B044-3742578D64AB}"/>
                </a:ext>
              </a:extLst>
            </p:cNvPr>
            <p:cNvSpPr>
              <a:spLocks/>
            </p:cNvSpPr>
            <p:nvPr/>
          </p:nvSpPr>
          <p:spPr bwMode="auto">
            <a:xfrm>
              <a:off x="6105525" y="4676775"/>
              <a:ext cx="295275" cy="200025"/>
            </a:xfrm>
            <a:custGeom>
              <a:avLst/>
              <a:gdLst>
                <a:gd name="T0" fmla="*/ 2147483647 w 154"/>
                <a:gd name="T1" fmla="*/ 2147483647 h 122"/>
                <a:gd name="T2" fmla="*/ 2147483647 w 154"/>
                <a:gd name="T3" fmla="*/ 2147483647 h 122"/>
                <a:gd name="T4" fmla="*/ 2147483647 w 154"/>
                <a:gd name="T5" fmla="*/ 2147483647 h 122"/>
                <a:gd name="T6" fmla="*/ 2147483647 w 154"/>
                <a:gd name="T7" fmla="*/ 2147483647 h 122"/>
                <a:gd name="T8" fmla="*/ 2147483647 w 154"/>
                <a:gd name="T9" fmla="*/ 2147483647 h 122"/>
                <a:gd name="T10" fmla="*/ 2147483647 w 154"/>
                <a:gd name="T11" fmla="*/ 2147483647 h 122"/>
                <a:gd name="T12" fmla="*/ 2147483647 w 154"/>
                <a:gd name="T13" fmla="*/ 2147483647 h 122"/>
                <a:gd name="T14" fmla="*/ 2147483647 w 154"/>
                <a:gd name="T15" fmla="*/ 2147483647 h 122"/>
                <a:gd name="T16" fmla="*/ 2147483647 w 154"/>
                <a:gd name="T17" fmla="*/ 2147483647 h 122"/>
                <a:gd name="T18" fmla="*/ 2147483647 w 154"/>
                <a:gd name="T19" fmla="*/ 0 h 122"/>
                <a:gd name="T20" fmla="*/ 2147483647 w 154"/>
                <a:gd name="T21" fmla="*/ 0 h 122"/>
                <a:gd name="T22" fmla="*/ 2147483647 w 154"/>
                <a:gd name="T23" fmla="*/ 0 h 122"/>
                <a:gd name="T24" fmla="*/ 2147483647 w 154"/>
                <a:gd name="T25" fmla="*/ 2147483647 h 122"/>
                <a:gd name="T26" fmla="*/ 2147483647 w 154"/>
                <a:gd name="T27" fmla="*/ 2147483647 h 122"/>
                <a:gd name="T28" fmla="*/ 2147483647 w 154"/>
                <a:gd name="T29" fmla="*/ 2147483647 h 122"/>
                <a:gd name="T30" fmla="*/ 2147483647 w 154"/>
                <a:gd name="T31" fmla="*/ 2147483647 h 122"/>
                <a:gd name="T32" fmla="*/ 2147483647 w 154"/>
                <a:gd name="T33" fmla="*/ 2147483647 h 122"/>
                <a:gd name="T34" fmla="*/ 2147483647 w 154"/>
                <a:gd name="T35" fmla="*/ 2147483647 h 122"/>
                <a:gd name="T36" fmla="*/ 2147483647 w 154"/>
                <a:gd name="T37" fmla="*/ 2147483647 h 122"/>
                <a:gd name="T38" fmla="*/ 2147483647 w 154"/>
                <a:gd name="T39" fmla="*/ 2147483647 h 122"/>
                <a:gd name="T40" fmla="*/ 2147483647 w 154"/>
                <a:gd name="T41" fmla="*/ 2147483647 h 122"/>
                <a:gd name="T42" fmla="*/ 2147483647 w 154"/>
                <a:gd name="T43" fmla="*/ 2147483647 h 122"/>
                <a:gd name="T44" fmla="*/ 2147483647 w 154"/>
                <a:gd name="T45" fmla="*/ 2147483647 h 122"/>
                <a:gd name="T46" fmla="*/ 2147483647 w 154"/>
                <a:gd name="T47" fmla="*/ 2147483647 h 122"/>
                <a:gd name="T48" fmla="*/ 2147483647 w 154"/>
                <a:gd name="T49" fmla="*/ 2147483647 h 122"/>
                <a:gd name="T50" fmla="*/ 2147483647 w 154"/>
                <a:gd name="T51" fmla="*/ 2147483647 h 122"/>
                <a:gd name="T52" fmla="*/ 0 w 154"/>
                <a:gd name="T53" fmla="*/ 2147483647 h 122"/>
                <a:gd name="T54" fmla="*/ 0 w 154"/>
                <a:gd name="T55" fmla="*/ 2147483647 h 122"/>
                <a:gd name="T56" fmla="*/ 2147483647 w 154"/>
                <a:gd name="T57" fmla="*/ 2147483647 h 122"/>
                <a:gd name="T58" fmla="*/ 2147483647 w 154"/>
                <a:gd name="T59" fmla="*/ 2147483647 h 12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54"/>
                <a:gd name="T91" fmla="*/ 0 h 122"/>
                <a:gd name="T92" fmla="*/ 154 w 154"/>
                <a:gd name="T93" fmla="*/ 122 h 12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54" h="122">
                  <a:moveTo>
                    <a:pt x="23" y="31"/>
                  </a:moveTo>
                  <a:lnTo>
                    <a:pt x="56" y="48"/>
                  </a:lnTo>
                  <a:lnTo>
                    <a:pt x="65" y="40"/>
                  </a:lnTo>
                  <a:lnTo>
                    <a:pt x="88" y="56"/>
                  </a:lnTo>
                  <a:lnTo>
                    <a:pt x="97" y="65"/>
                  </a:lnTo>
                  <a:lnTo>
                    <a:pt x="97" y="48"/>
                  </a:lnTo>
                  <a:lnTo>
                    <a:pt x="88" y="48"/>
                  </a:lnTo>
                  <a:lnTo>
                    <a:pt x="88" y="40"/>
                  </a:lnTo>
                  <a:lnTo>
                    <a:pt x="88" y="6"/>
                  </a:lnTo>
                  <a:lnTo>
                    <a:pt x="88" y="0"/>
                  </a:lnTo>
                  <a:lnTo>
                    <a:pt x="113" y="0"/>
                  </a:lnTo>
                  <a:lnTo>
                    <a:pt x="122" y="0"/>
                  </a:lnTo>
                  <a:lnTo>
                    <a:pt x="146" y="16"/>
                  </a:lnTo>
                  <a:lnTo>
                    <a:pt x="153" y="31"/>
                  </a:lnTo>
                  <a:lnTo>
                    <a:pt x="146" y="40"/>
                  </a:lnTo>
                  <a:lnTo>
                    <a:pt x="146" y="48"/>
                  </a:lnTo>
                  <a:lnTo>
                    <a:pt x="138" y="65"/>
                  </a:lnTo>
                  <a:lnTo>
                    <a:pt x="146" y="72"/>
                  </a:lnTo>
                  <a:lnTo>
                    <a:pt x="106" y="88"/>
                  </a:lnTo>
                  <a:lnTo>
                    <a:pt x="106" y="97"/>
                  </a:lnTo>
                  <a:lnTo>
                    <a:pt x="88" y="97"/>
                  </a:lnTo>
                  <a:lnTo>
                    <a:pt x="88" y="105"/>
                  </a:lnTo>
                  <a:lnTo>
                    <a:pt x="65" y="121"/>
                  </a:lnTo>
                  <a:lnTo>
                    <a:pt x="41" y="121"/>
                  </a:lnTo>
                  <a:lnTo>
                    <a:pt x="23" y="112"/>
                  </a:lnTo>
                  <a:lnTo>
                    <a:pt x="16" y="121"/>
                  </a:lnTo>
                  <a:lnTo>
                    <a:pt x="0" y="105"/>
                  </a:lnTo>
                  <a:lnTo>
                    <a:pt x="0" y="65"/>
                  </a:lnTo>
                  <a:lnTo>
                    <a:pt x="31" y="56"/>
                  </a:lnTo>
                  <a:lnTo>
                    <a:pt x="23" y="31"/>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6" name="Freeform 152">
              <a:extLst>
                <a:ext uri="{FF2B5EF4-FFF2-40B4-BE49-F238E27FC236}">
                  <a16:creationId xmlns:a16="http://schemas.microsoft.com/office/drawing/2014/main" id="{E137291E-9091-45B6-9A5E-1D77FA934025}"/>
                </a:ext>
              </a:extLst>
            </p:cNvPr>
            <p:cNvSpPr>
              <a:spLocks/>
            </p:cNvSpPr>
            <p:nvPr/>
          </p:nvSpPr>
          <p:spPr bwMode="auto">
            <a:xfrm>
              <a:off x="6369050" y="4702175"/>
              <a:ext cx="77788" cy="158750"/>
            </a:xfrm>
            <a:custGeom>
              <a:avLst/>
              <a:gdLst>
                <a:gd name="T0" fmla="*/ 2147483647 w 41"/>
                <a:gd name="T1" fmla="*/ 2147483647 h 97"/>
                <a:gd name="T2" fmla="*/ 0 w 41"/>
                <a:gd name="T3" fmla="*/ 2147483647 h 97"/>
                <a:gd name="T4" fmla="*/ 2147483647 w 41"/>
                <a:gd name="T5" fmla="*/ 2147483647 h 97"/>
                <a:gd name="T6" fmla="*/ 2147483647 w 41"/>
                <a:gd name="T7" fmla="*/ 2147483647 h 97"/>
                <a:gd name="T8" fmla="*/ 2147483647 w 41"/>
                <a:gd name="T9" fmla="*/ 2147483647 h 97"/>
                <a:gd name="T10" fmla="*/ 2147483647 w 41"/>
                <a:gd name="T11" fmla="*/ 0 h 97"/>
                <a:gd name="T12" fmla="*/ 2147483647 w 41"/>
                <a:gd name="T13" fmla="*/ 0 h 97"/>
                <a:gd name="T14" fmla="*/ 2147483647 w 41"/>
                <a:gd name="T15" fmla="*/ 0 h 97"/>
                <a:gd name="T16" fmla="*/ 2147483647 w 41"/>
                <a:gd name="T17" fmla="*/ 2147483647 h 97"/>
                <a:gd name="T18" fmla="*/ 2147483647 w 41"/>
                <a:gd name="T19" fmla="*/ 2147483647 h 97"/>
                <a:gd name="T20" fmla="*/ 2147483647 w 41"/>
                <a:gd name="T21" fmla="*/ 2147483647 h 97"/>
                <a:gd name="T22" fmla="*/ 2147483647 w 41"/>
                <a:gd name="T23" fmla="*/ 2147483647 h 97"/>
                <a:gd name="T24" fmla="*/ 2147483647 w 41"/>
                <a:gd name="T25" fmla="*/ 2147483647 h 97"/>
                <a:gd name="T26" fmla="*/ 2147483647 w 41"/>
                <a:gd name="T27" fmla="*/ 2147483647 h 97"/>
                <a:gd name="T28" fmla="*/ 2147483647 w 41"/>
                <a:gd name="T29" fmla="*/ 2147483647 h 97"/>
                <a:gd name="T30" fmla="*/ 2147483647 w 41"/>
                <a:gd name="T31" fmla="*/ 2147483647 h 97"/>
                <a:gd name="T32" fmla="*/ 2147483647 w 41"/>
                <a:gd name="T33" fmla="*/ 2147483647 h 97"/>
                <a:gd name="T34" fmla="*/ 2147483647 w 41"/>
                <a:gd name="T35" fmla="*/ 2147483647 h 9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1"/>
                <a:gd name="T55" fmla="*/ 0 h 97"/>
                <a:gd name="T56" fmla="*/ 41 w 41"/>
                <a:gd name="T57" fmla="*/ 97 h 9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1" h="97">
                  <a:moveTo>
                    <a:pt x="8" y="56"/>
                  </a:moveTo>
                  <a:lnTo>
                    <a:pt x="0" y="49"/>
                  </a:lnTo>
                  <a:lnTo>
                    <a:pt x="8" y="32"/>
                  </a:lnTo>
                  <a:lnTo>
                    <a:pt x="8" y="24"/>
                  </a:lnTo>
                  <a:lnTo>
                    <a:pt x="15" y="15"/>
                  </a:lnTo>
                  <a:lnTo>
                    <a:pt x="8" y="0"/>
                  </a:lnTo>
                  <a:lnTo>
                    <a:pt x="15" y="0"/>
                  </a:lnTo>
                  <a:lnTo>
                    <a:pt x="24" y="0"/>
                  </a:lnTo>
                  <a:lnTo>
                    <a:pt x="32" y="24"/>
                  </a:lnTo>
                  <a:lnTo>
                    <a:pt x="24" y="32"/>
                  </a:lnTo>
                  <a:lnTo>
                    <a:pt x="32" y="49"/>
                  </a:lnTo>
                  <a:lnTo>
                    <a:pt x="40" y="64"/>
                  </a:lnTo>
                  <a:lnTo>
                    <a:pt x="40" y="81"/>
                  </a:lnTo>
                  <a:lnTo>
                    <a:pt x="32" y="96"/>
                  </a:lnTo>
                  <a:lnTo>
                    <a:pt x="24" y="81"/>
                  </a:lnTo>
                  <a:lnTo>
                    <a:pt x="24" y="64"/>
                  </a:lnTo>
                  <a:lnTo>
                    <a:pt x="15" y="64"/>
                  </a:lnTo>
                  <a:lnTo>
                    <a:pt x="8" y="56"/>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7" name="Freeform 153">
              <a:extLst>
                <a:ext uri="{FF2B5EF4-FFF2-40B4-BE49-F238E27FC236}">
                  <a16:creationId xmlns:a16="http://schemas.microsoft.com/office/drawing/2014/main" id="{4FD3B6BC-2CE5-45E7-9AEF-719D616DBB58}"/>
                </a:ext>
              </a:extLst>
            </p:cNvPr>
            <p:cNvSpPr>
              <a:spLocks/>
            </p:cNvSpPr>
            <p:nvPr/>
          </p:nvSpPr>
          <p:spPr bwMode="auto">
            <a:xfrm>
              <a:off x="5888038" y="4200525"/>
              <a:ext cx="63500" cy="41275"/>
            </a:xfrm>
            <a:custGeom>
              <a:avLst/>
              <a:gdLst>
                <a:gd name="T0" fmla="*/ 0 w 34"/>
                <a:gd name="T1" fmla="*/ 2147483647 h 26"/>
                <a:gd name="T2" fmla="*/ 2147483647 w 34"/>
                <a:gd name="T3" fmla="*/ 2147483647 h 26"/>
                <a:gd name="T4" fmla="*/ 2147483647 w 34"/>
                <a:gd name="T5" fmla="*/ 2147483647 h 26"/>
                <a:gd name="T6" fmla="*/ 2147483647 w 34"/>
                <a:gd name="T7" fmla="*/ 2147483647 h 26"/>
                <a:gd name="T8" fmla="*/ 2147483647 w 34"/>
                <a:gd name="T9" fmla="*/ 2147483647 h 26"/>
                <a:gd name="T10" fmla="*/ 2147483647 w 34"/>
                <a:gd name="T11" fmla="*/ 0 h 26"/>
                <a:gd name="T12" fmla="*/ 0 w 34"/>
                <a:gd name="T13" fmla="*/ 2147483647 h 26"/>
                <a:gd name="T14" fmla="*/ 0 60000 65536"/>
                <a:gd name="T15" fmla="*/ 0 60000 65536"/>
                <a:gd name="T16" fmla="*/ 0 60000 65536"/>
                <a:gd name="T17" fmla="*/ 0 60000 65536"/>
                <a:gd name="T18" fmla="*/ 0 60000 65536"/>
                <a:gd name="T19" fmla="*/ 0 60000 65536"/>
                <a:gd name="T20" fmla="*/ 0 60000 65536"/>
                <a:gd name="T21" fmla="*/ 0 w 34"/>
                <a:gd name="T22" fmla="*/ 0 h 26"/>
                <a:gd name="T23" fmla="*/ 34 w 34"/>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26">
                  <a:moveTo>
                    <a:pt x="0" y="10"/>
                  </a:moveTo>
                  <a:lnTo>
                    <a:pt x="16" y="25"/>
                  </a:lnTo>
                  <a:lnTo>
                    <a:pt x="25" y="17"/>
                  </a:lnTo>
                  <a:lnTo>
                    <a:pt x="33" y="17"/>
                  </a:lnTo>
                  <a:lnTo>
                    <a:pt x="16" y="10"/>
                  </a:lnTo>
                  <a:lnTo>
                    <a:pt x="8" y="0"/>
                  </a:lnTo>
                  <a:lnTo>
                    <a:pt x="0" y="1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8" name="Freeform 154">
              <a:extLst>
                <a:ext uri="{FF2B5EF4-FFF2-40B4-BE49-F238E27FC236}">
                  <a16:creationId xmlns:a16="http://schemas.microsoft.com/office/drawing/2014/main" id="{CF1D6FFD-9AB9-412C-9CBB-0D22CC37D222}"/>
                </a:ext>
              </a:extLst>
            </p:cNvPr>
            <p:cNvSpPr>
              <a:spLocks/>
            </p:cNvSpPr>
            <p:nvPr/>
          </p:nvSpPr>
          <p:spPr bwMode="auto">
            <a:xfrm>
              <a:off x="5888038" y="4200525"/>
              <a:ext cx="63500" cy="41275"/>
            </a:xfrm>
            <a:custGeom>
              <a:avLst/>
              <a:gdLst>
                <a:gd name="T0" fmla="*/ 0 w 34"/>
                <a:gd name="T1" fmla="*/ 2147483647 h 26"/>
                <a:gd name="T2" fmla="*/ 2147483647 w 34"/>
                <a:gd name="T3" fmla="*/ 2147483647 h 26"/>
                <a:gd name="T4" fmla="*/ 2147483647 w 34"/>
                <a:gd name="T5" fmla="*/ 2147483647 h 26"/>
                <a:gd name="T6" fmla="*/ 2147483647 w 34"/>
                <a:gd name="T7" fmla="*/ 2147483647 h 26"/>
                <a:gd name="T8" fmla="*/ 2147483647 w 34"/>
                <a:gd name="T9" fmla="*/ 2147483647 h 26"/>
                <a:gd name="T10" fmla="*/ 2147483647 w 34"/>
                <a:gd name="T11" fmla="*/ 0 h 26"/>
                <a:gd name="T12" fmla="*/ 0 w 34"/>
                <a:gd name="T13" fmla="*/ 2147483647 h 26"/>
                <a:gd name="T14" fmla="*/ 0 60000 65536"/>
                <a:gd name="T15" fmla="*/ 0 60000 65536"/>
                <a:gd name="T16" fmla="*/ 0 60000 65536"/>
                <a:gd name="T17" fmla="*/ 0 60000 65536"/>
                <a:gd name="T18" fmla="*/ 0 60000 65536"/>
                <a:gd name="T19" fmla="*/ 0 60000 65536"/>
                <a:gd name="T20" fmla="*/ 0 60000 65536"/>
                <a:gd name="T21" fmla="*/ 0 w 34"/>
                <a:gd name="T22" fmla="*/ 0 h 26"/>
                <a:gd name="T23" fmla="*/ 34 w 34"/>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26">
                  <a:moveTo>
                    <a:pt x="0" y="10"/>
                  </a:moveTo>
                  <a:lnTo>
                    <a:pt x="16" y="25"/>
                  </a:lnTo>
                  <a:lnTo>
                    <a:pt x="25" y="17"/>
                  </a:lnTo>
                  <a:lnTo>
                    <a:pt x="33" y="17"/>
                  </a:lnTo>
                  <a:lnTo>
                    <a:pt x="16" y="10"/>
                  </a:lnTo>
                  <a:lnTo>
                    <a:pt x="8" y="0"/>
                  </a:lnTo>
                  <a:lnTo>
                    <a:pt x="0" y="10"/>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9" name="Line 155">
              <a:extLst>
                <a:ext uri="{FF2B5EF4-FFF2-40B4-BE49-F238E27FC236}">
                  <a16:creationId xmlns:a16="http://schemas.microsoft.com/office/drawing/2014/main" id="{B6F64ACC-8EE6-4FE1-8020-E1A3604ECC65}"/>
                </a:ext>
              </a:extLst>
            </p:cNvPr>
            <p:cNvSpPr>
              <a:spLocks noChangeShapeType="1"/>
            </p:cNvSpPr>
            <p:nvPr/>
          </p:nvSpPr>
          <p:spPr bwMode="auto">
            <a:xfrm>
              <a:off x="6211888" y="3633788"/>
              <a:ext cx="0" cy="12700"/>
            </a:xfrm>
            <a:prstGeom prst="line">
              <a:avLst/>
            </a:prstGeom>
            <a:grpFill/>
            <a:ln w="1270">
              <a:solidFill>
                <a:schemeClr val="accent5">
                  <a:lumMod val="20000"/>
                  <a:lumOff val="80000"/>
                </a:schemeClr>
              </a:solidFill>
              <a:prstDash val="solid"/>
              <a:round/>
              <a:headEnd type="none" w="sm" len="sm"/>
              <a:tailEnd type="none" w="sm" len="sm"/>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a:ea typeface="+mn-ea"/>
                <a:cs typeface="+mn-cs"/>
              </a:endParaRPr>
            </a:p>
          </p:txBody>
        </p:sp>
        <p:sp>
          <p:nvSpPr>
            <p:cNvPr id="100" name="Line 156">
              <a:extLst>
                <a:ext uri="{FF2B5EF4-FFF2-40B4-BE49-F238E27FC236}">
                  <a16:creationId xmlns:a16="http://schemas.microsoft.com/office/drawing/2014/main" id="{6FEF831A-7F1F-4E7B-907D-8BF56396F40C}"/>
                </a:ext>
              </a:extLst>
            </p:cNvPr>
            <p:cNvSpPr>
              <a:spLocks noChangeShapeType="1"/>
            </p:cNvSpPr>
            <p:nvPr/>
          </p:nvSpPr>
          <p:spPr bwMode="auto">
            <a:xfrm flipV="1">
              <a:off x="3709988" y="3711575"/>
              <a:ext cx="17462" cy="14288"/>
            </a:xfrm>
            <a:prstGeom prst="line">
              <a:avLst/>
            </a:prstGeom>
            <a:grpFill/>
            <a:ln w="1270">
              <a:solidFill>
                <a:schemeClr val="accent5">
                  <a:lumMod val="20000"/>
                  <a:lumOff val="80000"/>
                </a:schemeClr>
              </a:solidFill>
              <a:prstDash val="solid"/>
              <a:round/>
              <a:headEnd type="none" w="sm" len="sm"/>
              <a:tailEnd type="none" w="sm" len="sm"/>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a:ea typeface="+mn-ea"/>
                <a:cs typeface="+mn-cs"/>
              </a:endParaRPr>
            </a:p>
          </p:txBody>
        </p:sp>
        <p:sp>
          <p:nvSpPr>
            <p:cNvPr id="101" name="Freeform 157">
              <a:extLst>
                <a:ext uri="{FF2B5EF4-FFF2-40B4-BE49-F238E27FC236}">
                  <a16:creationId xmlns:a16="http://schemas.microsoft.com/office/drawing/2014/main" id="{DEC84E52-6765-47CF-8391-B509FFE4911F}"/>
                </a:ext>
              </a:extLst>
            </p:cNvPr>
            <p:cNvSpPr>
              <a:spLocks/>
            </p:cNvSpPr>
            <p:nvPr/>
          </p:nvSpPr>
          <p:spPr bwMode="auto">
            <a:xfrm>
              <a:off x="6245225" y="3382963"/>
              <a:ext cx="344488" cy="185737"/>
            </a:xfrm>
            <a:custGeom>
              <a:avLst/>
              <a:gdLst>
                <a:gd name="T0" fmla="*/ 2147483647 w 180"/>
                <a:gd name="T1" fmla="*/ 2147483647 h 114"/>
                <a:gd name="T2" fmla="*/ 2147483647 w 180"/>
                <a:gd name="T3" fmla="*/ 2147483647 h 114"/>
                <a:gd name="T4" fmla="*/ 2147483647 w 180"/>
                <a:gd name="T5" fmla="*/ 2147483647 h 114"/>
                <a:gd name="T6" fmla="*/ 2147483647 w 180"/>
                <a:gd name="T7" fmla="*/ 2147483647 h 114"/>
                <a:gd name="T8" fmla="*/ 2147483647 w 180"/>
                <a:gd name="T9" fmla="*/ 0 h 114"/>
                <a:gd name="T10" fmla="*/ 2147483647 w 180"/>
                <a:gd name="T11" fmla="*/ 2147483647 h 114"/>
                <a:gd name="T12" fmla="*/ 2147483647 w 180"/>
                <a:gd name="T13" fmla="*/ 2147483647 h 114"/>
                <a:gd name="T14" fmla="*/ 2147483647 w 180"/>
                <a:gd name="T15" fmla="*/ 2147483647 h 114"/>
                <a:gd name="T16" fmla="*/ 2147483647 w 180"/>
                <a:gd name="T17" fmla="*/ 2147483647 h 114"/>
                <a:gd name="T18" fmla="*/ 2147483647 w 180"/>
                <a:gd name="T19" fmla="*/ 2147483647 h 114"/>
                <a:gd name="T20" fmla="*/ 2147483647 w 180"/>
                <a:gd name="T21" fmla="*/ 2147483647 h 114"/>
                <a:gd name="T22" fmla="*/ 2147483647 w 180"/>
                <a:gd name="T23" fmla="*/ 2147483647 h 114"/>
                <a:gd name="T24" fmla="*/ 2147483647 w 180"/>
                <a:gd name="T25" fmla="*/ 2147483647 h 114"/>
                <a:gd name="T26" fmla="*/ 2147483647 w 180"/>
                <a:gd name="T27" fmla="*/ 2147483647 h 114"/>
                <a:gd name="T28" fmla="*/ 2147483647 w 180"/>
                <a:gd name="T29" fmla="*/ 2147483647 h 114"/>
                <a:gd name="T30" fmla="*/ 2147483647 w 180"/>
                <a:gd name="T31" fmla="*/ 2147483647 h 114"/>
                <a:gd name="T32" fmla="*/ 2147483647 w 180"/>
                <a:gd name="T33" fmla="*/ 2147483647 h 114"/>
                <a:gd name="T34" fmla="*/ 2147483647 w 180"/>
                <a:gd name="T35" fmla="*/ 2147483647 h 114"/>
                <a:gd name="T36" fmla="*/ 2147483647 w 180"/>
                <a:gd name="T37" fmla="*/ 2147483647 h 114"/>
                <a:gd name="T38" fmla="*/ 2147483647 w 180"/>
                <a:gd name="T39" fmla="*/ 2147483647 h 114"/>
                <a:gd name="T40" fmla="*/ 2147483647 w 180"/>
                <a:gd name="T41" fmla="*/ 2147483647 h 114"/>
                <a:gd name="T42" fmla="*/ 2147483647 w 180"/>
                <a:gd name="T43" fmla="*/ 2147483647 h 114"/>
                <a:gd name="T44" fmla="*/ 0 w 180"/>
                <a:gd name="T45" fmla="*/ 2147483647 h 114"/>
                <a:gd name="T46" fmla="*/ 2147483647 w 180"/>
                <a:gd name="T47" fmla="*/ 2147483647 h 114"/>
                <a:gd name="T48" fmla="*/ 2147483647 w 180"/>
                <a:gd name="T49" fmla="*/ 2147483647 h 114"/>
                <a:gd name="T50" fmla="*/ 2147483647 w 180"/>
                <a:gd name="T51" fmla="*/ 2147483647 h 114"/>
                <a:gd name="T52" fmla="*/ 2147483647 w 180"/>
                <a:gd name="T53" fmla="*/ 2147483647 h 114"/>
                <a:gd name="T54" fmla="*/ 2147483647 w 180"/>
                <a:gd name="T55" fmla="*/ 2147483647 h 114"/>
                <a:gd name="T56" fmla="*/ 2147483647 w 180"/>
                <a:gd name="T57" fmla="*/ 2147483647 h 114"/>
                <a:gd name="T58" fmla="*/ 2147483647 w 180"/>
                <a:gd name="T59" fmla="*/ 2147483647 h 114"/>
                <a:gd name="T60" fmla="*/ 2147483647 w 180"/>
                <a:gd name="T61" fmla="*/ 2147483647 h 114"/>
                <a:gd name="T62" fmla="*/ 2147483647 w 180"/>
                <a:gd name="T63" fmla="*/ 2147483647 h 114"/>
                <a:gd name="T64" fmla="*/ 2147483647 w 180"/>
                <a:gd name="T65" fmla="*/ 2147483647 h 114"/>
                <a:gd name="T66" fmla="*/ 2147483647 w 180"/>
                <a:gd name="T67" fmla="*/ 2147483647 h 114"/>
                <a:gd name="T68" fmla="*/ 2147483647 w 180"/>
                <a:gd name="T69" fmla="*/ 2147483647 h 114"/>
                <a:gd name="T70" fmla="*/ 2147483647 w 180"/>
                <a:gd name="T71" fmla="*/ 2147483647 h 114"/>
                <a:gd name="T72" fmla="*/ 2147483647 w 180"/>
                <a:gd name="T73" fmla="*/ 2147483647 h 114"/>
                <a:gd name="T74" fmla="*/ 2147483647 w 180"/>
                <a:gd name="T75" fmla="*/ 2147483647 h 114"/>
                <a:gd name="T76" fmla="*/ 2147483647 w 180"/>
                <a:gd name="T77" fmla="*/ 2147483647 h 114"/>
                <a:gd name="T78" fmla="*/ 2147483647 w 180"/>
                <a:gd name="T79" fmla="*/ 2147483647 h 114"/>
                <a:gd name="T80" fmla="*/ 2147483647 w 180"/>
                <a:gd name="T81" fmla="*/ 2147483647 h 11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80"/>
                <a:gd name="T124" fmla="*/ 0 h 114"/>
                <a:gd name="T125" fmla="*/ 180 w 180"/>
                <a:gd name="T126" fmla="*/ 114 h 11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80" h="114">
                  <a:moveTo>
                    <a:pt x="114" y="41"/>
                  </a:moveTo>
                  <a:lnTo>
                    <a:pt x="105" y="41"/>
                  </a:lnTo>
                  <a:lnTo>
                    <a:pt x="89" y="32"/>
                  </a:lnTo>
                  <a:lnTo>
                    <a:pt x="130" y="8"/>
                  </a:lnTo>
                  <a:lnTo>
                    <a:pt x="145" y="0"/>
                  </a:lnTo>
                  <a:lnTo>
                    <a:pt x="154" y="8"/>
                  </a:lnTo>
                  <a:lnTo>
                    <a:pt x="130" y="16"/>
                  </a:lnTo>
                  <a:lnTo>
                    <a:pt x="139" y="23"/>
                  </a:lnTo>
                  <a:lnTo>
                    <a:pt x="120" y="41"/>
                  </a:lnTo>
                  <a:lnTo>
                    <a:pt x="114" y="41"/>
                  </a:lnTo>
                  <a:lnTo>
                    <a:pt x="120" y="41"/>
                  </a:lnTo>
                  <a:lnTo>
                    <a:pt x="179" y="88"/>
                  </a:lnTo>
                  <a:lnTo>
                    <a:pt x="179" y="97"/>
                  </a:lnTo>
                  <a:lnTo>
                    <a:pt x="179" y="105"/>
                  </a:lnTo>
                  <a:lnTo>
                    <a:pt x="154" y="113"/>
                  </a:lnTo>
                  <a:lnTo>
                    <a:pt x="120" y="113"/>
                  </a:lnTo>
                  <a:lnTo>
                    <a:pt x="97" y="97"/>
                  </a:lnTo>
                  <a:lnTo>
                    <a:pt x="73" y="97"/>
                  </a:lnTo>
                  <a:lnTo>
                    <a:pt x="49" y="113"/>
                  </a:lnTo>
                  <a:lnTo>
                    <a:pt x="33" y="113"/>
                  </a:lnTo>
                  <a:lnTo>
                    <a:pt x="15" y="113"/>
                  </a:lnTo>
                  <a:lnTo>
                    <a:pt x="8" y="97"/>
                  </a:lnTo>
                  <a:lnTo>
                    <a:pt x="0" y="88"/>
                  </a:lnTo>
                  <a:lnTo>
                    <a:pt x="8" y="73"/>
                  </a:lnTo>
                  <a:lnTo>
                    <a:pt x="15" y="73"/>
                  </a:lnTo>
                  <a:lnTo>
                    <a:pt x="15" y="63"/>
                  </a:lnTo>
                  <a:lnTo>
                    <a:pt x="15" y="57"/>
                  </a:lnTo>
                  <a:lnTo>
                    <a:pt x="24" y="48"/>
                  </a:lnTo>
                  <a:lnTo>
                    <a:pt x="24" y="41"/>
                  </a:lnTo>
                  <a:lnTo>
                    <a:pt x="24" y="32"/>
                  </a:lnTo>
                  <a:lnTo>
                    <a:pt x="33" y="32"/>
                  </a:lnTo>
                  <a:lnTo>
                    <a:pt x="40" y="16"/>
                  </a:lnTo>
                  <a:lnTo>
                    <a:pt x="55" y="16"/>
                  </a:lnTo>
                  <a:lnTo>
                    <a:pt x="55" y="23"/>
                  </a:lnTo>
                  <a:lnTo>
                    <a:pt x="80" y="32"/>
                  </a:lnTo>
                  <a:lnTo>
                    <a:pt x="65" y="41"/>
                  </a:lnTo>
                  <a:lnTo>
                    <a:pt x="73" y="48"/>
                  </a:lnTo>
                  <a:lnTo>
                    <a:pt x="73" y="57"/>
                  </a:lnTo>
                  <a:lnTo>
                    <a:pt x="80" y="57"/>
                  </a:lnTo>
                  <a:lnTo>
                    <a:pt x="105" y="41"/>
                  </a:lnTo>
                  <a:lnTo>
                    <a:pt x="114" y="41"/>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2" name="Freeform 158">
              <a:extLst>
                <a:ext uri="{FF2B5EF4-FFF2-40B4-BE49-F238E27FC236}">
                  <a16:creationId xmlns:a16="http://schemas.microsoft.com/office/drawing/2014/main" id="{0D867CB3-7648-48B0-8BC4-26EC6EE49F21}"/>
                </a:ext>
              </a:extLst>
            </p:cNvPr>
            <p:cNvSpPr>
              <a:spLocks/>
            </p:cNvSpPr>
            <p:nvPr/>
          </p:nvSpPr>
          <p:spPr bwMode="auto">
            <a:xfrm>
              <a:off x="6245225" y="3382963"/>
              <a:ext cx="341313" cy="184150"/>
            </a:xfrm>
            <a:custGeom>
              <a:avLst/>
              <a:gdLst>
                <a:gd name="T0" fmla="*/ 2147483647 w 179"/>
                <a:gd name="T1" fmla="*/ 2147483647 h 113"/>
                <a:gd name="T2" fmla="*/ 2147483647 w 179"/>
                <a:gd name="T3" fmla="*/ 2147483647 h 113"/>
                <a:gd name="T4" fmla="*/ 2147483647 w 179"/>
                <a:gd name="T5" fmla="*/ 2147483647 h 113"/>
                <a:gd name="T6" fmla="*/ 2147483647 w 179"/>
                <a:gd name="T7" fmla="*/ 0 h 113"/>
                <a:gd name="T8" fmla="*/ 2147483647 w 179"/>
                <a:gd name="T9" fmla="*/ 2147483647 h 113"/>
                <a:gd name="T10" fmla="*/ 2147483647 w 179"/>
                <a:gd name="T11" fmla="*/ 2147483647 h 113"/>
                <a:gd name="T12" fmla="*/ 2147483647 w 179"/>
                <a:gd name="T13" fmla="*/ 2147483647 h 113"/>
                <a:gd name="T14" fmla="*/ 2147483647 w 179"/>
                <a:gd name="T15" fmla="*/ 2147483647 h 113"/>
                <a:gd name="T16" fmla="*/ 2147483647 w 179"/>
                <a:gd name="T17" fmla="*/ 2147483647 h 113"/>
                <a:gd name="T18" fmla="*/ 2147483647 w 179"/>
                <a:gd name="T19" fmla="*/ 2147483647 h 113"/>
                <a:gd name="T20" fmla="*/ 2147483647 w 179"/>
                <a:gd name="T21" fmla="*/ 2147483647 h 113"/>
                <a:gd name="T22" fmla="*/ 2147483647 w 179"/>
                <a:gd name="T23" fmla="*/ 2147483647 h 113"/>
                <a:gd name="T24" fmla="*/ 2147483647 w 179"/>
                <a:gd name="T25" fmla="*/ 2147483647 h 113"/>
                <a:gd name="T26" fmla="*/ 2147483647 w 179"/>
                <a:gd name="T27" fmla="*/ 2147483647 h 113"/>
                <a:gd name="T28" fmla="*/ 2147483647 w 179"/>
                <a:gd name="T29" fmla="*/ 2147483647 h 113"/>
                <a:gd name="T30" fmla="*/ 2147483647 w 179"/>
                <a:gd name="T31" fmla="*/ 2147483647 h 113"/>
                <a:gd name="T32" fmla="*/ 2147483647 w 179"/>
                <a:gd name="T33" fmla="*/ 2147483647 h 113"/>
                <a:gd name="T34" fmla="*/ 2147483647 w 179"/>
                <a:gd name="T35" fmla="*/ 2147483647 h 113"/>
                <a:gd name="T36" fmla="*/ 2147483647 w 179"/>
                <a:gd name="T37" fmla="*/ 2147483647 h 113"/>
                <a:gd name="T38" fmla="*/ 2147483647 w 179"/>
                <a:gd name="T39" fmla="*/ 2147483647 h 113"/>
                <a:gd name="T40" fmla="*/ 0 w 179"/>
                <a:gd name="T41" fmla="*/ 2147483647 h 113"/>
                <a:gd name="T42" fmla="*/ 2147483647 w 179"/>
                <a:gd name="T43" fmla="*/ 2147483647 h 113"/>
                <a:gd name="T44" fmla="*/ 2147483647 w 179"/>
                <a:gd name="T45" fmla="*/ 2147483647 h 113"/>
                <a:gd name="T46" fmla="*/ 2147483647 w 179"/>
                <a:gd name="T47" fmla="*/ 2147483647 h 113"/>
                <a:gd name="T48" fmla="*/ 2147483647 w 179"/>
                <a:gd name="T49" fmla="*/ 2147483647 h 113"/>
                <a:gd name="T50" fmla="*/ 2147483647 w 179"/>
                <a:gd name="T51" fmla="*/ 2147483647 h 113"/>
                <a:gd name="T52" fmla="*/ 2147483647 w 179"/>
                <a:gd name="T53" fmla="*/ 2147483647 h 113"/>
                <a:gd name="T54" fmla="*/ 2147483647 w 179"/>
                <a:gd name="T55" fmla="*/ 2147483647 h 113"/>
                <a:gd name="T56" fmla="*/ 2147483647 w 179"/>
                <a:gd name="T57" fmla="*/ 2147483647 h 113"/>
                <a:gd name="T58" fmla="*/ 2147483647 w 179"/>
                <a:gd name="T59" fmla="*/ 2147483647 h 113"/>
                <a:gd name="T60" fmla="*/ 2147483647 w 179"/>
                <a:gd name="T61" fmla="*/ 2147483647 h 113"/>
                <a:gd name="T62" fmla="*/ 2147483647 w 179"/>
                <a:gd name="T63" fmla="*/ 2147483647 h 113"/>
                <a:gd name="T64" fmla="*/ 2147483647 w 179"/>
                <a:gd name="T65" fmla="*/ 2147483647 h 113"/>
                <a:gd name="T66" fmla="*/ 2147483647 w 179"/>
                <a:gd name="T67" fmla="*/ 2147483647 h 113"/>
                <a:gd name="T68" fmla="*/ 2147483647 w 179"/>
                <a:gd name="T69" fmla="*/ 2147483647 h 113"/>
                <a:gd name="T70" fmla="*/ 2147483647 w 179"/>
                <a:gd name="T71" fmla="*/ 2147483647 h 113"/>
                <a:gd name="T72" fmla="*/ 2147483647 w 179"/>
                <a:gd name="T73" fmla="*/ 2147483647 h 113"/>
                <a:gd name="T74" fmla="*/ 2147483647 w 179"/>
                <a:gd name="T75" fmla="*/ 2147483647 h 11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79"/>
                <a:gd name="T115" fmla="*/ 0 h 113"/>
                <a:gd name="T116" fmla="*/ 179 w 179"/>
                <a:gd name="T117" fmla="*/ 113 h 11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79" h="113">
                  <a:moveTo>
                    <a:pt x="105" y="41"/>
                  </a:moveTo>
                  <a:lnTo>
                    <a:pt x="89" y="32"/>
                  </a:lnTo>
                  <a:lnTo>
                    <a:pt x="130" y="8"/>
                  </a:lnTo>
                  <a:lnTo>
                    <a:pt x="145" y="0"/>
                  </a:lnTo>
                  <a:lnTo>
                    <a:pt x="154" y="8"/>
                  </a:lnTo>
                  <a:lnTo>
                    <a:pt x="130" y="16"/>
                  </a:lnTo>
                  <a:lnTo>
                    <a:pt x="139" y="23"/>
                  </a:lnTo>
                  <a:lnTo>
                    <a:pt x="120" y="41"/>
                  </a:lnTo>
                  <a:lnTo>
                    <a:pt x="179" y="88"/>
                  </a:lnTo>
                  <a:lnTo>
                    <a:pt x="179" y="97"/>
                  </a:lnTo>
                  <a:lnTo>
                    <a:pt x="179" y="105"/>
                  </a:lnTo>
                  <a:lnTo>
                    <a:pt x="154" y="113"/>
                  </a:lnTo>
                  <a:lnTo>
                    <a:pt x="120" y="113"/>
                  </a:lnTo>
                  <a:lnTo>
                    <a:pt x="97" y="97"/>
                  </a:lnTo>
                  <a:lnTo>
                    <a:pt x="73" y="97"/>
                  </a:lnTo>
                  <a:lnTo>
                    <a:pt x="49" y="113"/>
                  </a:lnTo>
                  <a:lnTo>
                    <a:pt x="33" y="113"/>
                  </a:lnTo>
                  <a:lnTo>
                    <a:pt x="15" y="113"/>
                  </a:lnTo>
                  <a:lnTo>
                    <a:pt x="8" y="97"/>
                  </a:lnTo>
                  <a:lnTo>
                    <a:pt x="0" y="88"/>
                  </a:lnTo>
                  <a:lnTo>
                    <a:pt x="8" y="73"/>
                  </a:lnTo>
                  <a:lnTo>
                    <a:pt x="15" y="73"/>
                  </a:lnTo>
                  <a:lnTo>
                    <a:pt x="15" y="63"/>
                  </a:lnTo>
                  <a:lnTo>
                    <a:pt x="15" y="57"/>
                  </a:lnTo>
                  <a:lnTo>
                    <a:pt x="24" y="48"/>
                  </a:lnTo>
                  <a:lnTo>
                    <a:pt x="24" y="41"/>
                  </a:lnTo>
                  <a:lnTo>
                    <a:pt x="24" y="32"/>
                  </a:lnTo>
                  <a:lnTo>
                    <a:pt x="33" y="32"/>
                  </a:lnTo>
                  <a:lnTo>
                    <a:pt x="40" y="16"/>
                  </a:lnTo>
                  <a:lnTo>
                    <a:pt x="55" y="16"/>
                  </a:lnTo>
                  <a:lnTo>
                    <a:pt x="55" y="23"/>
                  </a:lnTo>
                  <a:lnTo>
                    <a:pt x="80" y="32"/>
                  </a:lnTo>
                  <a:lnTo>
                    <a:pt x="65" y="41"/>
                  </a:lnTo>
                  <a:lnTo>
                    <a:pt x="73" y="48"/>
                  </a:lnTo>
                  <a:lnTo>
                    <a:pt x="73" y="57"/>
                  </a:lnTo>
                  <a:lnTo>
                    <a:pt x="80" y="57"/>
                  </a:lnTo>
                  <a:lnTo>
                    <a:pt x="105" y="41"/>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3" name="Freeform 159">
              <a:extLst>
                <a:ext uri="{FF2B5EF4-FFF2-40B4-BE49-F238E27FC236}">
                  <a16:creationId xmlns:a16="http://schemas.microsoft.com/office/drawing/2014/main" id="{14ACFBB1-9433-4FF5-90D2-DCE73480EC9C}"/>
                </a:ext>
              </a:extLst>
            </p:cNvPr>
            <p:cNvSpPr>
              <a:spLocks/>
            </p:cNvSpPr>
            <p:nvPr/>
          </p:nvSpPr>
          <p:spPr bwMode="auto">
            <a:xfrm>
              <a:off x="8112125" y="3105150"/>
              <a:ext cx="157163" cy="158750"/>
            </a:xfrm>
            <a:custGeom>
              <a:avLst/>
              <a:gdLst>
                <a:gd name="T0" fmla="*/ 0 w 81"/>
                <a:gd name="T1" fmla="*/ 2147483647 h 97"/>
                <a:gd name="T2" fmla="*/ 2147483647 w 81"/>
                <a:gd name="T3" fmla="*/ 2147483647 h 97"/>
                <a:gd name="T4" fmla="*/ 2147483647 w 81"/>
                <a:gd name="T5" fmla="*/ 2147483647 h 97"/>
                <a:gd name="T6" fmla="*/ 2147483647 w 81"/>
                <a:gd name="T7" fmla="*/ 2147483647 h 97"/>
                <a:gd name="T8" fmla="*/ 2147483647 w 81"/>
                <a:gd name="T9" fmla="*/ 2147483647 h 97"/>
                <a:gd name="T10" fmla="*/ 2147483647 w 81"/>
                <a:gd name="T11" fmla="*/ 2147483647 h 97"/>
                <a:gd name="T12" fmla="*/ 2147483647 w 81"/>
                <a:gd name="T13" fmla="*/ 0 h 97"/>
                <a:gd name="T14" fmla="*/ 2147483647 w 81"/>
                <a:gd name="T15" fmla="*/ 0 h 97"/>
                <a:gd name="T16" fmla="*/ 2147483647 w 81"/>
                <a:gd name="T17" fmla="*/ 2147483647 h 97"/>
                <a:gd name="T18" fmla="*/ 2147483647 w 81"/>
                <a:gd name="T19" fmla="*/ 2147483647 h 97"/>
                <a:gd name="T20" fmla="*/ 0 w 81"/>
                <a:gd name="T21" fmla="*/ 2147483647 h 9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1"/>
                <a:gd name="T34" fmla="*/ 0 h 97"/>
                <a:gd name="T35" fmla="*/ 81 w 81"/>
                <a:gd name="T36" fmla="*/ 97 h 9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1" h="97">
                  <a:moveTo>
                    <a:pt x="0" y="90"/>
                  </a:moveTo>
                  <a:lnTo>
                    <a:pt x="6" y="96"/>
                  </a:lnTo>
                  <a:lnTo>
                    <a:pt x="31" y="90"/>
                  </a:lnTo>
                  <a:lnTo>
                    <a:pt x="31" y="81"/>
                  </a:lnTo>
                  <a:lnTo>
                    <a:pt x="55" y="65"/>
                  </a:lnTo>
                  <a:lnTo>
                    <a:pt x="72" y="41"/>
                  </a:lnTo>
                  <a:lnTo>
                    <a:pt x="80" y="0"/>
                  </a:lnTo>
                  <a:lnTo>
                    <a:pt x="72" y="0"/>
                  </a:lnTo>
                  <a:lnTo>
                    <a:pt x="55" y="41"/>
                  </a:lnTo>
                  <a:lnTo>
                    <a:pt x="22" y="81"/>
                  </a:lnTo>
                  <a:lnTo>
                    <a:pt x="0" y="9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4" name="Freeform 160">
              <a:extLst>
                <a:ext uri="{FF2B5EF4-FFF2-40B4-BE49-F238E27FC236}">
                  <a16:creationId xmlns:a16="http://schemas.microsoft.com/office/drawing/2014/main" id="{6A492863-830F-412D-96D4-CD2777A0B648}"/>
                </a:ext>
              </a:extLst>
            </p:cNvPr>
            <p:cNvSpPr>
              <a:spLocks/>
            </p:cNvSpPr>
            <p:nvPr/>
          </p:nvSpPr>
          <p:spPr bwMode="auto">
            <a:xfrm>
              <a:off x="8112125" y="3105150"/>
              <a:ext cx="157163" cy="158750"/>
            </a:xfrm>
            <a:custGeom>
              <a:avLst/>
              <a:gdLst>
                <a:gd name="T0" fmla="*/ 0 w 81"/>
                <a:gd name="T1" fmla="*/ 2147483647 h 97"/>
                <a:gd name="T2" fmla="*/ 2147483647 w 81"/>
                <a:gd name="T3" fmla="*/ 2147483647 h 97"/>
                <a:gd name="T4" fmla="*/ 2147483647 w 81"/>
                <a:gd name="T5" fmla="*/ 2147483647 h 97"/>
                <a:gd name="T6" fmla="*/ 2147483647 w 81"/>
                <a:gd name="T7" fmla="*/ 2147483647 h 97"/>
                <a:gd name="T8" fmla="*/ 2147483647 w 81"/>
                <a:gd name="T9" fmla="*/ 2147483647 h 97"/>
                <a:gd name="T10" fmla="*/ 2147483647 w 81"/>
                <a:gd name="T11" fmla="*/ 2147483647 h 97"/>
                <a:gd name="T12" fmla="*/ 2147483647 w 81"/>
                <a:gd name="T13" fmla="*/ 0 h 97"/>
                <a:gd name="T14" fmla="*/ 2147483647 w 81"/>
                <a:gd name="T15" fmla="*/ 0 h 97"/>
                <a:gd name="T16" fmla="*/ 2147483647 w 81"/>
                <a:gd name="T17" fmla="*/ 2147483647 h 97"/>
                <a:gd name="T18" fmla="*/ 2147483647 w 81"/>
                <a:gd name="T19" fmla="*/ 2147483647 h 97"/>
                <a:gd name="T20" fmla="*/ 0 w 81"/>
                <a:gd name="T21" fmla="*/ 2147483647 h 9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1"/>
                <a:gd name="T34" fmla="*/ 0 h 97"/>
                <a:gd name="T35" fmla="*/ 81 w 81"/>
                <a:gd name="T36" fmla="*/ 97 h 9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1" h="97">
                  <a:moveTo>
                    <a:pt x="0" y="90"/>
                  </a:moveTo>
                  <a:lnTo>
                    <a:pt x="6" y="96"/>
                  </a:lnTo>
                  <a:lnTo>
                    <a:pt x="31" y="90"/>
                  </a:lnTo>
                  <a:lnTo>
                    <a:pt x="31" y="81"/>
                  </a:lnTo>
                  <a:lnTo>
                    <a:pt x="55" y="65"/>
                  </a:lnTo>
                  <a:lnTo>
                    <a:pt x="72" y="41"/>
                  </a:lnTo>
                  <a:lnTo>
                    <a:pt x="80" y="0"/>
                  </a:lnTo>
                  <a:lnTo>
                    <a:pt x="72" y="0"/>
                  </a:lnTo>
                  <a:lnTo>
                    <a:pt x="55" y="41"/>
                  </a:lnTo>
                  <a:lnTo>
                    <a:pt x="22" y="81"/>
                  </a:lnTo>
                  <a:lnTo>
                    <a:pt x="0" y="90"/>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5" name="Freeform 161">
              <a:extLst>
                <a:ext uri="{FF2B5EF4-FFF2-40B4-BE49-F238E27FC236}">
                  <a16:creationId xmlns:a16="http://schemas.microsoft.com/office/drawing/2014/main" id="{C0647260-92DC-49C3-A832-C4F78AFB2052}"/>
                </a:ext>
              </a:extLst>
            </p:cNvPr>
            <p:cNvSpPr>
              <a:spLocks/>
            </p:cNvSpPr>
            <p:nvPr/>
          </p:nvSpPr>
          <p:spPr bwMode="auto">
            <a:xfrm>
              <a:off x="6307138" y="2867025"/>
              <a:ext cx="63500" cy="82550"/>
            </a:xfrm>
            <a:custGeom>
              <a:avLst/>
              <a:gdLst>
                <a:gd name="T0" fmla="*/ 0 w 33"/>
                <a:gd name="T1" fmla="*/ 2147483647 h 50"/>
                <a:gd name="T2" fmla="*/ 2147483647 w 33"/>
                <a:gd name="T3" fmla="*/ 2147483647 h 50"/>
                <a:gd name="T4" fmla="*/ 2147483647 w 33"/>
                <a:gd name="T5" fmla="*/ 2147483647 h 50"/>
                <a:gd name="T6" fmla="*/ 2147483647 w 33"/>
                <a:gd name="T7" fmla="*/ 2147483647 h 50"/>
                <a:gd name="T8" fmla="*/ 2147483647 w 33"/>
                <a:gd name="T9" fmla="*/ 2147483647 h 50"/>
                <a:gd name="T10" fmla="*/ 2147483647 w 33"/>
                <a:gd name="T11" fmla="*/ 2147483647 h 50"/>
                <a:gd name="T12" fmla="*/ 2147483647 w 33"/>
                <a:gd name="T13" fmla="*/ 0 h 50"/>
                <a:gd name="T14" fmla="*/ 2147483647 w 33"/>
                <a:gd name="T15" fmla="*/ 0 h 50"/>
                <a:gd name="T16" fmla="*/ 0 w 33"/>
                <a:gd name="T17" fmla="*/ 2147483647 h 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50"/>
                <a:gd name="T29" fmla="*/ 33 w 33"/>
                <a:gd name="T30" fmla="*/ 50 h 5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50">
                  <a:moveTo>
                    <a:pt x="0" y="16"/>
                  </a:moveTo>
                  <a:lnTo>
                    <a:pt x="7" y="25"/>
                  </a:lnTo>
                  <a:lnTo>
                    <a:pt x="16" y="49"/>
                  </a:lnTo>
                  <a:lnTo>
                    <a:pt x="22" y="40"/>
                  </a:lnTo>
                  <a:lnTo>
                    <a:pt x="32" y="40"/>
                  </a:lnTo>
                  <a:lnTo>
                    <a:pt x="32" y="25"/>
                  </a:lnTo>
                  <a:lnTo>
                    <a:pt x="16" y="0"/>
                  </a:lnTo>
                  <a:lnTo>
                    <a:pt x="7" y="0"/>
                  </a:lnTo>
                  <a:lnTo>
                    <a:pt x="0" y="16"/>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6" name="Freeform 162">
              <a:extLst>
                <a:ext uri="{FF2B5EF4-FFF2-40B4-BE49-F238E27FC236}">
                  <a16:creationId xmlns:a16="http://schemas.microsoft.com/office/drawing/2014/main" id="{1145F9EE-F993-4CC1-9692-7C90222D81D5}"/>
                </a:ext>
              </a:extLst>
            </p:cNvPr>
            <p:cNvSpPr>
              <a:spLocks/>
            </p:cNvSpPr>
            <p:nvPr/>
          </p:nvSpPr>
          <p:spPr bwMode="auto">
            <a:xfrm>
              <a:off x="6307138" y="2867025"/>
              <a:ext cx="63500" cy="82550"/>
            </a:xfrm>
            <a:custGeom>
              <a:avLst/>
              <a:gdLst>
                <a:gd name="T0" fmla="*/ 0 w 33"/>
                <a:gd name="T1" fmla="*/ 2147483647 h 50"/>
                <a:gd name="T2" fmla="*/ 2147483647 w 33"/>
                <a:gd name="T3" fmla="*/ 2147483647 h 50"/>
                <a:gd name="T4" fmla="*/ 2147483647 w 33"/>
                <a:gd name="T5" fmla="*/ 2147483647 h 50"/>
                <a:gd name="T6" fmla="*/ 2147483647 w 33"/>
                <a:gd name="T7" fmla="*/ 2147483647 h 50"/>
                <a:gd name="T8" fmla="*/ 2147483647 w 33"/>
                <a:gd name="T9" fmla="*/ 2147483647 h 50"/>
                <a:gd name="T10" fmla="*/ 2147483647 w 33"/>
                <a:gd name="T11" fmla="*/ 2147483647 h 50"/>
                <a:gd name="T12" fmla="*/ 2147483647 w 33"/>
                <a:gd name="T13" fmla="*/ 0 h 50"/>
                <a:gd name="T14" fmla="*/ 2147483647 w 33"/>
                <a:gd name="T15" fmla="*/ 0 h 50"/>
                <a:gd name="T16" fmla="*/ 0 w 33"/>
                <a:gd name="T17" fmla="*/ 2147483647 h 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50"/>
                <a:gd name="T29" fmla="*/ 33 w 33"/>
                <a:gd name="T30" fmla="*/ 50 h 5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50">
                  <a:moveTo>
                    <a:pt x="0" y="16"/>
                  </a:moveTo>
                  <a:lnTo>
                    <a:pt x="7" y="25"/>
                  </a:lnTo>
                  <a:lnTo>
                    <a:pt x="16" y="49"/>
                  </a:lnTo>
                  <a:lnTo>
                    <a:pt x="22" y="40"/>
                  </a:lnTo>
                  <a:lnTo>
                    <a:pt x="32" y="40"/>
                  </a:lnTo>
                  <a:lnTo>
                    <a:pt x="32" y="25"/>
                  </a:lnTo>
                  <a:lnTo>
                    <a:pt x="16" y="0"/>
                  </a:lnTo>
                  <a:lnTo>
                    <a:pt x="7" y="0"/>
                  </a:lnTo>
                  <a:lnTo>
                    <a:pt x="0" y="16"/>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7" name="Freeform 163">
              <a:extLst>
                <a:ext uri="{FF2B5EF4-FFF2-40B4-BE49-F238E27FC236}">
                  <a16:creationId xmlns:a16="http://schemas.microsoft.com/office/drawing/2014/main" id="{48BC1DF9-D079-4232-B667-3C9268F4789A}"/>
                </a:ext>
              </a:extLst>
            </p:cNvPr>
            <p:cNvSpPr>
              <a:spLocks/>
            </p:cNvSpPr>
            <p:nvPr/>
          </p:nvSpPr>
          <p:spPr bwMode="auto">
            <a:xfrm>
              <a:off x="6415088" y="2816225"/>
              <a:ext cx="50800" cy="79375"/>
            </a:xfrm>
            <a:custGeom>
              <a:avLst/>
              <a:gdLst>
                <a:gd name="T0" fmla="*/ 0 w 26"/>
                <a:gd name="T1" fmla="*/ 2147483647 h 49"/>
                <a:gd name="T2" fmla="*/ 2147483647 w 26"/>
                <a:gd name="T3" fmla="*/ 2147483647 h 49"/>
                <a:gd name="T4" fmla="*/ 2147483647 w 26"/>
                <a:gd name="T5" fmla="*/ 2147483647 h 49"/>
                <a:gd name="T6" fmla="*/ 2147483647 w 26"/>
                <a:gd name="T7" fmla="*/ 2147483647 h 49"/>
                <a:gd name="T8" fmla="*/ 2147483647 w 26"/>
                <a:gd name="T9" fmla="*/ 2147483647 h 49"/>
                <a:gd name="T10" fmla="*/ 2147483647 w 26"/>
                <a:gd name="T11" fmla="*/ 2147483647 h 49"/>
                <a:gd name="T12" fmla="*/ 2147483647 w 26"/>
                <a:gd name="T13" fmla="*/ 2147483647 h 49"/>
                <a:gd name="T14" fmla="*/ 0 w 26"/>
                <a:gd name="T15" fmla="*/ 0 h 49"/>
                <a:gd name="T16" fmla="*/ 2147483647 w 26"/>
                <a:gd name="T17" fmla="*/ 2147483647 h 49"/>
                <a:gd name="T18" fmla="*/ 2147483647 w 26"/>
                <a:gd name="T19" fmla="*/ 2147483647 h 49"/>
                <a:gd name="T20" fmla="*/ 0 w 26"/>
                <a:gd name="T21" fmla="*/ 2147483647 h 49"/>
                <a:gd name="T22" fmla="*/ 0 w 26"/>
                <a:gd name="T23" fmla="*/ 2147483647 h 4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49"/>
                <a:gd name="T38" fmla="*/ 26 w 26"/>
                <a:gd name="T39" fmla="*/ 49 h 4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49">
                  <a:moveTo>
                    <a:pt x="0" y="32"/>
                  </a:moveTo>
                  <a:lnTo>
                    <a:pt x="16" y="41"/>
                  </a:lnTo>
                  <a:lnTo>
                    <a:pt x="16" y="48"/>
                  </a:lnTo>
                  <a:lnTo>
                    <a:pt x="25" y="48"/>
                  </a:lnTo>
                  <a:lnTo>
                    <a:pt x="16" y="23"/>
                  </a:lnTo>
                  <a:lnTo>
                    <a:pt x="16" y="7"/>
                  </a:lnTo>
                  <a:lnTo>
                    <a:pt x="8" y="7"/>
                  </a:lnTo>
                  <a:lnTo>
                    <a:pt x="0" y="0"/>
                  </a:lnTo>
                  <a:lnTo>
                    <a:pt x="8" y="7"/>
                  </a:lnTo>
                  <a:lnTo>
                    <a:pt x="8" y="17"/>
                  </a:lnTo>
                  <a:lnTo>
                    <a:pt x="0" y="17"/>
                  </a:lnTo>
                  <a:lnTo>
                    <a:pt x="0" y="32"/>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8" name="Freeform 164">
              <a:extLst>
                <a:ext uri="{FF2B5EF4-FFF2-40B4-BE49-F238E27FC236}">
                  <a16:creationId xmlns:a16="http://schemas.microsoft.com/office/drawing/2014/main" id="{E315DC7E-93CC-45EE-8551-33751D1B9F46}"/>
                </a:ext>
              </a:extLst>
            </p:cNvPr>
            <p:cNvSpPr>
              <a:spLocks/>
            </p:cNvSpPr>
            <p:nvPr/>
          </p:nvSpPr>
          <p:spPr bwMode="auto">
            <a:xfrm>
              <a:off x="6415088" y="2816225"/>
              <a:ext cx="50800" cy="79375"/>
            </a:xfrm>
            <a:custGeom>
              <a:avLst/>
              <a:gdLst>
                <a:gd name="T0" fmla="*/ 0 w 26"/>
                <a:gd name="T1" fmla="*/ 2147483647 h 49"/>
                <a:gd name="T2" fmla="*/ 2147483647 w 26"/>
                <a:gd name="T3" fmla="*/ 2147483647 h 49"/>
                <a:gd name="T4" fmla="*/ 2147483647 w 26"/>
                <a:gd name="T5" fmla="*/ 2147483647 h 49"/>
                <a:gd name="T6" fmla="*/ 2147483647 w 26"/>
                <a:gd name="T7" fmla="*/ 2147483647 h 49"/>
                <a:gd name="T8" fmla="*/ 2147483647 w 26"/>
                <a:gd name="T9" fmla="*/ 2147483647 h 49"/>
                <a:gd name="T10" fmla="*/ 2147483647 w 26"/>
                <a:gd name="T11" fmla="*/ 2147483647 h 49"/>
                <a:gd name="T12" fmla="*/ 2147483647 w 26"/>
                <a:gd name="T13" fmla="*/ 2147483647 h 49"/>
                <a:gd name="T14" fmla="*/ 0 w 26"/>
                <a:gd name="T15" fmla="*/ 0 h 49"/>
                <a:gd name="T16" fmla="*/ 2147483647 w 26"/>
                <a:gd name="T17" fmla="*/ 2147483647 h 49"/>
                <a:gd name="T18" fmla="*/ 2147483647 w 26"/>
                <a:gd name="T19" fmla="*/ 2147483647 h 49"/>
                <a:gd name="T20" fmla="*/ 0 w 26"/>
                <a:gd name="T21" fmla="*/ 2147483647 h 49"/>
                <a:gd name="T22" fmla="*/ 0 w 26"/>
                <a:gd name="T23" fmla="*/ 2147483647 h 4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49"/>
                <a:gd name="T38" fmla="*/ 26 w 26"/>
                <a:gd name="T39" fmla="*/ 49 h 4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49">
                  <a:moveTo>
                    <a:pt x="0" y="32"/>
                  </a:moveTo>
                  <a:lnTo>
                    <a:pt x="16" y="41"/>
                  </a:lnTo>
                  <a:lnTo>
                    <a:pt x="16" y="48"/>
                  </a:lnTo>
                  <a:lnTo>
                    <a:pt x="25" y="48"/>
                  </a:lnTo>
                  <a:lnTo>
                    <a:pt x="16" y="23"/>
                  </a:lnTo>
                  <a:lnTo>
                    <a:pt x="16" y="7"/>
                  </a:lnTo>
                  <a:lnTo>
                    <a:pt x="8" y="7"/>
                  </a:lnTo>
                  <a:lnTo>
                    <a:pt x="0" y="0"/>
                  </a:lnTo>
                  <a:lnTo>
                    <a:pt x="8" y="7"/>
                  </a:lnTo>
                  <a:lnTo>
                    <a:pt x="8" y="17"/>
                  </a:lnTo>
                  <a:lnTo>
                    <a:pt x="0" y="17"/>
                  </a:lnTo>
                  <a:lnTo>
                    <a:pt x="0" y="32"/>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9" name="Freeform 165">
              <a:extLst>
                <a:ext uri="{FF2B5EF4-FFF2-40B4-BE49-F238E27FC236}">
                  <a16:creationId xmlns:a16="http://schemas.microsoft.com/office/drawing/2014/main" id="{7391318F-EF8C-45E9-9FE8-EDF3AF5DBBBF}"/>
                </a:ext>
              </a:extLst>
            </p:cNvPr>
            <p:cNvSpPr>
              <a:spLocks/>
            </p:cNvSpPr>
            <p:nvPr/>
          </p:nvSpPr>
          <p:spPr bwMode="auto">
            <a:xfrm>
              <a:off x="3414713" y="3419475"/>
              <a:ext cx="206375" cy="136525"/>
            </a:xfrm>
            <a:custGeom>
              <a:avLst/>
              <a:gdLst>
                <a:gd name="T0" fmla="*/ 2147483647 w 107"/>
                <a:gd name="T1" fmla="*/ 0 h 83"/>
                <a:gd name="T2" fmla="*/ 2147483647 w 107"/>
                <a:gd name="T3" fmla="*/ 2147483647 h 83"/>
                <a:gd name="T4" fmla="*/ 2147483647 w 107"/>
                <a:gd name="T5" fmla="*/ 2147483647 h 83"/>
                <a:gd name="T6" fmla="*/ 0 w 107"/>
                <a:gd name="T7" fmla="*/ 2147483647 h 83"/>
                <a:gd name="T8" fmla="*/ 2147483647 w 107"/>
                <a:gd name="T9" fmla="*/ 2147483647 h 83"/>
                <a:gd name="T10" fmla="*/ 0 w 107"/>
                <a:gd name="T11" fmla="*/ 2147483647 h 83"/>
                <a:gd name="T12" fmla="*/ 0 w 107"/>
                <a:gd name="T13" fmla="*/ 2147483647 h 83"/>
                <a:gd name="T14" fmla="*/ 0 w 107"/>
                <a:gd name="T15" fmla="*/ 2147483647 h 83"/>
                <a:gd name="T16" fmla="*/ 2147483647 w 107"/>
                <a:gd name="T17" fmla="*/ 2147483647 h 83"/>
                <a:gd name="T18" fmla="*/ 2147483647 w 107"/>
                <a:gd name="T19" fmla="*/ 2147483647 h 83"/>
                <a:gd name="T20" fmla="*/ 2147483647 w 107"/>
                <a:gd name="T21" fmla="*/ 2147483647 h 83"/>
                <a:gd name="T22" fmla="*/ 2147483647 w 107"/>
                <a:gd name="T23" fmla="*/ 2147483647 h 83"/>
                <a:gd name="T24" fmla="*/ 2147483647 w 107"/>
                <a:gd name="T25" fmla="*/ 2147483647 h 83"/>
                <a:gd name="T26" fmla="*/ 2147483647 w 107"/>
                <a:gd name="T27" fmla="*/ 2147483647 h 83"/>
                <a:gd name="T28" fmla="*/ 2147483647 w 107"/>
                <a:gd name="T29" fmla="*/ 2147483647 h 83"/>
                <a:gd name="T30" fmla="*/ 2147483647 w 107"/>
                <a:gd name="T31" fmla="*/ 2147483647 h 83"/>
                <a:gd name="T32" fmla="*/ 2147483647 w 107"/>
                <a:gd name="T33" fmla="*/ 2147483647 h 83"/>
                <a:gd name="T34" fmla="*/ 2147483647 w 107"/>
                <a:gd name="T35" fmla="*/ 2147483647 h 83"/>
                <a:gd name="T36" fmla="*/ 2147483647 w 107"/>
                <a:gd name="T37" fmla="*/ 2147483647 h 83"/>
                <a:gd name="T38" fmla="*/ 2147483647 w 107"/>
                <a:gd name="T39" fmla="*/ 2147483647 h 83"/>
                <a:gd name="T40" fmla="*/ 2147483647 w 107"/>
                <a:gd name="T41" fmla="*/ 2147483647 h 83"/>
                <a:gd name="T42" fmla="*/ 2147483647 w 107"/>
                <a:gd name="T43" fmla="*/ 2147483647 h 83"/>
                <a:gd name="T44" fmla="*/ 2147483647 w 107"/>
                <a:gd name="T45" fmla="*/ 2147483647 h 83"/>
                <a:gd name="T46" fmla="*/ 2147483647 w 107"/>
                <a:gd name="T47" fmla="*/ 2147483647 h 83"/>
                <a:gd name="T48" fmla="*/ 2147483647 w 107"/>
                <a:gd name="T49" fmla="*/ 0 h 8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7"/>
                <a:gd name="T76" fmla="*/ 0 h 83"/>
                <a:gd name="T77" fmla="*/ 107 w 107"/>
                <a:gd name="T78" fmla="*/ 83 h 8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7" h="83">
                  <a:moveTo>
                    <a:pt x="49" y="0"/>
                  </a:moveTo>
                  <a:lnTo>
                    <a:pt x="49" y="9"/>
                  </a:lnTo>
                  <a:lnTo>
                    <a:pt x="9" y="9"/>
                  </a:lnTo>
                  <a:lnTo>
                    <a:pt x="0" y="34"/>
                  </a:lnTo>
                  <a:lnTo>
                    <a:pt x="9" y="25"/>
                  </a:lnTo>
                  <a:lnTo>
                    <a:pt x="0" y="59"/>
                  </a:lnTo>
                  <a:lnTo>
                    <a:pt x="0" y="74"/>
                  </a:lnTo>
                  <a:lnTo>
                    <a:pt x="0" y="82"/>
                  </a:lnTo>
                  <a:lnTo>
                    <a:pt x="9" y="82"/>
                  </a:lnTo>
                  <a:lnTo>
                    <a:pt x="15" y="74"/>
                  </a:lnTo>
                  <a:lnTo>
                    <a:pt x="15" y="40"/>
                  </a:lnTo>
                  <a:lnTo>
                    <a:pt x="24" y="25"/>
                  </a:lnTo>
                  <a:lnTo>
                    <a:pt x="34" y="18"/>
                  </a:lnTo>
                  <a:lnTo>
                    <a:pt x="34" y="9"/>
                  </a:lnTo>
                  <a:lnTo>
                    <a:pt x="56" y="18"/>
                  </a:lnTo>
                  <a:lnTo>
                    <a:pt x="56" y="34"/>
                  </a:lnTo>
                  <a:lnTo>
                    <a:pt x="49" y="50"/>
                  </a:lnTo>
                  <a:lnTo>
                    <a:pt x="65" y="40"/>
                  </a:lnTo>
                  <a:lnTo>
                    <a:pt x="65" y="59"/>
                  </a:lnTo>
                  <a:lnTo>
                    <a:pt x="81" y="50"/>
                  </a:lnTo>
                  <a:lnTo>
                    <a:pt x="81" y="18"/>
                  </a:lnTo>
                  <a:lnTo>
                    <a:pt x="97" y="34"/>
                  </a:lnTo>
                  <a:lnTo>
                    <a:pt x="106" y="25"/>
                  </a:lnTo>
                  <a:lnTo>
                    <a:pt x="89" y="9"/>
                  </a:lnTo>
                  <a:lnTo>
                    <a:pt x="49"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0" name="Freeform 166">
              <a:extLst>
                <a:ext uri="{FF2B5EF4-FFF2-40B4-BE49-F238E27FC236}">
                  <a16:creationId xmlns:a16="http://schemas.microsoft.com/office/drawing/2014/main" id="{6275DF49-3B26-460A-B846-13332C50BB35}"/>
                </a:ext>
              </a:extLst>
            </p:cNvPr>
            <p:cNvSpPr>
              <a:spLocks/>
            </p:cNvSpPr>
            <p:nvPr/>
          </p:nvSpPr>
          <p:spPr bwMode="auto">
            <a:xfrm>
              <a:off x="3414713" y="3419475"/>
              <a:ext cx="206375" cy="136525"/>
            </a:xfrm>
            <a:custGeom>
              <a:avLst/>
              <a:gdLst>
                <a:gd name="T0" fmla="*/ 2147483647 w 107"/>
                <a:gd name="T1" fmla="*/ 0 h 83"/>
                <a:gd name="T2" fmla="*/ 2147483647 w 107"/>
                <a:gd name="T3" fmla="*/ 2147483647 h 83"/>
                <a:gd name="T4" fmla="*/ 2147483647 w 107"/>
                <a:gd name="T5" fmla="*/ 2147483647 h 83"/>
                <a:gd name="T6" fmla="*/ 0 w 107"/>
                <a:gd name="T7" fmla="*/ 2147483647 h 83"/>
                <a:gd name="T8" fmla="*/ 2147483647 w 107"/>
                <a:gd name="T9" fmla="*/ 2147483647 h 83"/>
                <a:gd name="T10" fmla="*/ 0 w 107"/>
                <a:gd name="T11" fmla="*/ 2147483647 h 83"/>
                <a:gd name="T12" fmla="*/ 0 w 107"/>
                <a:gd name="T13" fmla="*/ 2147483647 h 83"/>
                <a:gd name="T14" fmla="*/ 0 w 107"/>
                <a:gd name="T15" fmla="*/ 2147483647 h 83"/>
                <a:gd name="T16" fmla="*/ 2147483647 w 107"/>
                <a:gd name="T17" fmla="*/ 2147483647 h 83"/>
                <a:gd name="T18" fmla="*/ 2147483647 w 107"/>
                <a:gd name="T19" fmla="*/ 2147483647 h 83"/>
                <a:gd name="T20" fmla="*/ 2147483647 w 107"/>
                <a:gd name="T21" fmla="*/ 2147483647 h 83"/>
                <a:gd name="T22" fmla="*/ 2147483647 w 107"/>
                <a:gd name="T23" fmla="*/ 2147483647 h 83"/>
                <a:gd name="T24" fmla="*/ 2147483647 w 107"/>
                <a:gd name="T25" fmla="*/ 2147483647 h 83"/>
                <a:gd name="T26" fmla="*/ 2147483647 w 107"/>
                <a:gd name="T27" fmla="*/ 2147483647 h 83"/>
                <a:gd name="T28" fmla="*/ 2147483647 w 107"/>
                <a:gd name="T29" fmla="*/ 2147483647 h 83"/>
                <a:gd name="T30" fmla="*/ 2147483647 w 107"/>
                <a:gd name="T31" fmla="*/ 2147483647 h 83"/>
                <a:gd name="T32" fmla="*/ 2147483647 w 107"/>
                <a:gd name="T33" fmla="*/ 2147483647 h 83"/>
                <a:gd name="T34" fmla="*/ 2147483647 w 107"/>
                <a:gd name="T35" fmla="*/ 2147483647 h 83"/>
                <a:gd name="T36" fmla="*/ 2147483647 w 107"/>
                <a:gd name="T37" fmla="*/ 2147483647 h 83"/>
                <a:gd name="T38" fmla="*/ 2147483647 w 107"/>
                <a:gd name="T39" fmla="*/ 2147483647 h 83"/>
                <a:gd name="T40" fmla="*/ 2147483647 w 107"/>
                <a:gd name="T41" fmla="*/ 2147483647 h 83"/>
                <a:gd name="T42" fmla="*/ 2147483647 w 107"/>
                <a:gd name="T43" fmla="*/ 2147483647 h 83"/>
                <a:gd name="T44" fmla="*/ 2147483647 w 107"/>
                <a:gd name="T45" fmla="*/ 2147483647 h 83"/>
                <a:gd name="T46" fmla="*/ 2147483647 w 107"/>
                <a:gd name="T47" fmla="*/ 2147483647 h 83"/>
                <a:gd name="T48" fmla="*/ 2147483647 w 107"/>
                <a:gd name="T49" fmla="*/ 0 h 8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7"/>
                <a:gd name="T76" fmla="*/ 0 h 83"/>
                <a:gd name="T77" fmla="*/ 107 w 107"/>
                <a:gd name="T78" fmla="*/ 83 h 8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7" h="83">
                  <a:moveTo>
                    <a:pt x="49" y="0"/>
                  </a:moveTo>
                  <a:lnTo>
                    <a:pt x="49" y="9"/>
                  </a:lnTo>
                  <a:lnTo>
                    <a:pt x="9" y="9"/>
                  </a:lnTo>
                  <a:lnTo>
                    <a:pt x="0" y="34"/>
                  </a:lnTo>
                  <a:lnTo>
                    <a:pt x="9" y="25"/>
                  </a:lnTo>
                  <a:lnTo>
                    <a:pt x="0" y="59"/>
                  </a:lnTo>
                  <a:lnTo>
                    <a:pt x="0" y="74"/>
                  </a:lnTo>
                  <a:lnTo>
                    <a:pt x="0" y="82"/>
                  </a:lnTo>
                  <a:lnTo>
                    <a:pt x="9" y="82"/>
                  </a:lnTo>
                  <a:lnTo>
                    <a:pt x="15" y="74"/>
                  </a:lnTo>
                  <a:lnTo>
                    <a:pt x="15" y="40"/>
                  </a:lnTo>
                  <a:lnTo>
                    <a:pt x="24" y="25"/>
                  </a:lnTo>
                  <a:lnTo>
                    <a:pt x="34" y="18"/>
                  </a:lnTo>
                  <a:lnTo>
                    <a:pt x="34" y="9"/>
                  </a:lnTo>
                  <a:lnTo>
                    <a:pt x="56" y="18"/>
                  </a:lnTo>
                  <a:lnTo>
                    <a:pt x="56" y="34"/>
                  </a:lnTo>
                  <a:lnTo>
                    <a:pt x="49" y="50"/>
                  </a:lnTo>
                  <a:lnTo>
                    <a:pt x="65" y="40"/>
                  </a:lnTo>
                  <a:lnTo>
                    <a:pt x="65" y="59"/>
                  </a:lnTo>
                  <a:lnTo>
                    <a:pt x="81" y="50"/>
                  </a:lnTo>
                  <a:lnTo>
                    <a:pt x="81" y="18"/>
                  </a:lnTo>
                  <a:lnTo>
                    <a:pt x="97" y="34"/>
                  </a:lnTo>
                  <a:lnTo>
                    <a:pt x="106" y="25"/>
                  </a:lnTo>
                  <a:lnTo>
                    <a:pt x="89" y="9"/>
                  </a:lnTo>
                  <a:lnTo>
                    <a:pt x="49" y="0"/>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1" name="Freeform 167">
              <a:extLst>
                <a:ext uri="{FF2B5EF4-FFF2-40B4-BE49-F238E27FC236}">
                  <a16:creationId xmlns:a16="http://schemas.microsoft.com/office/drawing/2014/main" id="{EAB32DDB-5731-46F2-9080-4E05D68C7B0F}"/>
                </a:ext>
              </a:extLst>
            </p:cNvPr>
            <p:cNvSpPr>
              <a:spLocks/>
            </p:cNvSpPr>
            <p:nvPr/>
          </p:nvSpPr>
          <p:spPr bwMode="auto">
            <a:xfrm>
              <a:off x="3308350" y="3330575"/>
              <a:ext cx="185738" cy="79375"/>
            </a:xfrm>
            <a:custGeom>
              <a:avLst/>
              <a:gdLst>
                <a:gd name="T0" fmla="*/ 2147483647 w 97"/>
                <a:gd name="T1" fmla="*/ 2147483647 h 49"/>
                <a:gd name="T2" fmla="*/ 2147483647 w 97"/>
                <a:gd name="T3" fmla="*/ 2147483647 h 49"/>
                <a:gd name="T4" fmla="*/ 2147483647 w 97"/>
                <a:gd name="T5" fmla="*/ 2147483647 h 49"/>
                <a:gd name="T6" fmla="*/ 2147483647 w 97"/>
                <a:gd name="T7" fmla="*/ 2147483647 h 49"/>
                <a:gd name="T8" fmla="*/ 2147483647 w 97"/>
                <a:gd name="T9" fmla="*/ 2147483647 h 49"/>
                <a:gd name="T10" fmla="*/ 2147483647 w 97"/>
                <a:gd name="T11" fmla="*/ 2147483647 h 49"/>
                <a:gd name="T12" fmla="*/ 2147483647 w 97"/>
                <a:gd name="T13" fmla="*/ 2147483647 h 49"/>
                <a:gd name="T14" fmla="*/ 2147483647 w 97"/>
                <a:gd name="T15" fmla="*/ 2147483647 h 49"/>
                <a:gd name="T16" fmla="*/ 0 w 97"/>
                <a:gd name="T17" fmla="*/ 2147483647 h 49"/>
                <a:gd name="T18" fmla="*/ 2147483647 w 97"/>
                <a:gd name="T19" fmla="*/ 2147483647 h 49"/>
                <a:gd name="T20" fmla="*/ 2147483647 w 97"/>
                <a:gd name="T21" fmla="*/ 0 h 49"/>
                <a:gd name="T22" fmla="*/ 2147483647 w 97"/>
                <a:gd name="T23" fmla="*/ 2147483647 h 49"/>
                <a:gd name="T24" fmla="*/ 2147483647 w 97"/>
                <a:gd name="T25" fmla="*/ 2147483647 h 49"/>
                <a:gd name="T26" fmla="*/ 2147483647 w 97"/>
                <a:gd name="T27" fmla="*/ 2147483647 h 49"/>
                <a:gd name="T28" fmla="*/ 2147483647 w 97"/>
                <a:gd name="T29" fmla="*/ 2147483647 h 4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
                <a:gd name="T46" fmla="*/ 0 h 49"/>
                <a:gd name="T47" fmla="*/ 97 w 97"/>
                <a:gd name="T48" fmla="*/ 49 h 4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 h="49">
                  <a:moveTo>
                    <a:pt x="96" y="48"/>
                  </a:moveTo>
                  <a:lnTo>
                    <a:pt x="90" y="48"/>
                  </a:lnTo>
                  <a:lnTo>
                    <a:pt x="65" y="48"/>
                  </a:lnTo>
                  <a:lnTo>
                    <a:pt x="56" y="40"/>
                  </a:lnTo>
                  <a:lnTo>
                    <a:pt x="47" y="48"/>
                  </a:lnTo>
                  <a:lnTo>
                    <a:pt x="47" y="40"/>
                  </a:lnTo>
                  <a:lnTo>
                    <a:pt x="24" y="48"/>
                  </a:lnTo>
                  <a:lnTo>
                    <a:pt x="15" y="40"/>
                  </a:lnTo>
                  <a:lnTo>
                    <a:pt x="0" y="48"/>
                  </a:lnTo>
                  <a:lnTo>
                    <a:pt x="31" y="24"/>
                  </a:lnTo>
                  <a:lnTo>
                    <a:pt x="56" y="0"/>
                  </a:lnTo>
                  <a:lnTo>
                    <a:pt x="71" y="8"/>
                  </a:lnTo>
                  <a:lnTo>
                    <a:pt x="80" y="24"/>
                  </a:lnTo>
                  <a:lnTo>
                    <a:pt x="90" y="24"/>
                  </a:lnTo>
                  <a:lnTo>
                    <a:pt x="96" y="48"/>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2" name="Freeform 168">
              <a:extLst>
                <a:ext uri="{FF2B5EF4-FFF2-40B4-BE49-F238E27FC236}">
                  <a16:creationId xmlns:a16="http://schemas.microsoft.com/office/drawing/2014/main" id="{5E9951AA-E01F-4B15-B983-4197AF1325E3}"/>
                </a:ext>
              </a:extLst>
            </p:cNvPr>
            <p:cNvSpPr>
              <a:spLocks/>
            </p:cNvSpPr>
            <p:nvPr/>
          </p:nvSpPr>
          <p:spPr bwMode="auto">
            <a:xfrm>
              <a:off x="3308350" y="3330575"/>
              <a:ext cx="185738" cy="79375"/>
            </a:xfrm>
            <a:custGeom>
              <a:avLst/>
              <a:gdLst>
                <a:gd name="T0" fmla="*/ 2147483647 w 97"/>
                <a:gd name="T1" fmla="*/ 2147483647 h 49"/>
                <a:gd name="T2" fmla="*/ 2147483647 w 97"/>
                <a:gd name="T3" fmla="*/ 2147483647 h 49"/>
                <a:gd name="T4" fmla="*/ 2147483647 w 97"/>
                <a:gd name="T5" fmla="*/ 2147483647 h 49"/>
                <a:gd name="T6" fmla="*/ 2147483647 w 97"/>
                <a:gd name="T7" fmla="*/ 2147483647 h 49"/>
                <a:gd name="T8" fmla="*/ 2147483647 w 97"/>
                <a:gd name="T9" fmla="*/ 2147483647 h 49"/>
                <a:gd name="T10" fmla="*/ 2147483647 w 97"/>
                <a:gd name="T11" fmla="*/ 2147483647 h 49"/>
                <a:gd name="T12" fmla="*/ 2147483647 w 97"/>
                <a:gd name="T13" fmla="*/ 2147483647 h 49"/>
                <a:gd name="T14" fmla="*/ 2147483647 w 97"/>
                <a:gd name="T15" fmla="*/ 2147483647 h 49"/>
                <a:gd name="T16" fmla="*/ 0 w 97"/>
                <a:gd name="T17" fmla="*/ 2147483647 h 49"/>
                <a:gd name="T18" fmla="*/ 2147483647 w 97"/>
                <a:gd name="T19" fmla="*/ 2147483647 h 49"/>
                <a:gd name="T20" fmla="*/ 2147483647 w 97"/>
                <a:gd name="T21" fmla="*/ 0 h 49"/>
                <a:gd name="T22" fmla="*/ 2147483647 w 97"/>
                <a:gd name="T23" fmla="*/ 2147483647 h 49"/>
                <a:gd name="T24" fmla="*/ 2147483647 w 97"/>
                <a:gd name="T25" fmla="*/ 2147483647 h 49"/>
                <a:gd name="T26" fmla="*/ 2147483647 w 97"/>
                <a:gd name="T27" fmla="*/ 2147483647 h 49"/>
                <a:gd name="T28" fmla="*/ 2147483647 w 97"/>
                <a:gd name="T29" fmla="*/ 2147483647 h 4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
                <a:gd name="T46" fmla="*/ 0 h 49"/>
                <a:gd name="T47" fmla="*/ 97 w 97"/>
                <a:gd name="T48" fmla="*/ 49 h 4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 h="49">
                  <a:moveTo>
                    <a:pt x="96" y="48"/>
                  </a:moveTo>
                  <a:lnTo>
                    <a:pt x="90" y="48"/>
                  </a:lnTo>
                  <a:lnTo>
                    <a:pt x="65" y="48"/>
                  </a:lnTo>
                  <a:lnTo>
                    <a:pt x="56" y="40"/>
                  </a:lnTo>
                  <a:lnTo>
                    <a:pt x="47" y="48"/>
                  </a:lnTo>
                  <a:lnTo>
                    <a:pt x="47" y="40"/>
                  </a:lnTo>
                  <a:lnTo>
                    <a:pt x="24" y="48"/>
                  </a:lnTo>
                  <a:lnTo>
                    <a:pt x="15" y="40"/>
                  </a:lnTo>
                  <a:lnTo>
                    <a:pt x="0" y="48"/>
                  </a:lnTo>
                  <a:lnTo>
                    <a:pt x="31" y="24"/>
                  </a:lnTo>
                  <a:lnTo>
                    <a:pt x="56" y="0"/>
                  </a:lnTo>
                  <a:lnTo>
                    <a:pt x="71" y="8"/>
                  </a:lnTo>
                  <a:lnTo>
                    <a:pt x="80" y="24"/>
                  </a:lnTo>
                  <a:lnTo>
                    <a:pt x="90" y="24"/>
                  </a:lnTo>
                  <a:lnTo>
                    <a:pt x="96" y="48"/>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3" name="Freeform 169">
              <a:extLst>
                <a:ext uri="{FF2B5EF4-FFF2-40B4-BE49-F238E27FC236}">
                  <a16:creationId xmlns:a16="http://schemas.microsoft.com/office/drawing/2014/main" id="{7A543691-5029-496D-BBDB-B18AB8C48A96}"/>
                </a:ext>
              </a:extLst>
            </p:cNvPr>
            <p:cNvSpPr>
              <a:spLocks/>
            </p:cNvSpPr>
            <p:nvPr/>
          </p:nvSpPr>
          <p:spPr bwMode="auto">
            <a:xfrm>
              <a:off x="3524250" y="3516313"/>
              <a:ext cx="111125" cy="39687"/>
            </a:xfrm>
            <a:custGeom>
              <a:avLst/>
              <a:gdLst>
                <a:gd name="T0" fmla="*/ 0 w 59"/>
                <a:gd name="T1" fmla="*/ 2147483647 h 24"/>
                <a:gd name="T2" fmla="*/ 2147483647 w 59"/>
                <a:gd name="T3" fmla="*/ 2147483647 h 24"/>
                <a:gd name="T4" fmla="*/ 2147483647 w 59"/>
                <a:gd name="T5" fmla="*/ 2147483647 h 24"/>
                <a:gd name="T6" fmla="*/ 2147483647 w 59"/>
                <a:gd name="T7" fmla="*/ 0 h 24"/>
                <a:gd name="T8" fmla="*/ 2147483647 w 59"/>
                <a:gd name="T9" fmla="*/ 2147483647 h 24"/>
                <a:gd name="T10" fmla="*/ 2147483647 w 59"/>
                <a:gd name="T11" fmla="*/ 2147483647 h 24"/>
                <a:gd name="T12" fmla="*/ 0 w 59"/>
                <a:gd name="T13" fmla="*/ 2147483647 h 24"/>
                <a:gd name="T14" fmla="*/ 0 60000 65536"/>
                <a:gd name="T15" fmla="*/ 0 60000 65536"/>
                <a:gd name="T16" fmla="*/ 0 60000 65536"/>
                <a:gd name="T17" fmla="*/ 0 60000 65536"/>
                <a:gd name="T18" fmla="*/ 0 60000 65536"/>
                <a:gd name="T19" fmla="*/ 0 60000 65536"/>
                <a:gd name="T20" fmla="*/ 0 60000 65536"/>
                <a:gd name="T21" fmla="*/ 0 w 59"/>
                <a:gd name="T22" fmla="*/ 0 h 24"/>
                <a:gd name="T23" fmla="*/ 59 w 59"/>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9" h="24">
                  <a:moveTo>
                    <a:pt x="0" y="23"/>
                  </a:moveTo>
                  <a:lnTo>
                    <a:pt x="18" y="15"/>
                  </a:lnTo>
                  <a:lnTo>
                    <a:pt x="25" y="6"/>
                  </a:lnTo>
                  <a:lnTo>
                    <a:pt x="58" y="0"/>
                  </a:lnTo>
                  <a:lnTo>
                    <a:pt x="25" y="23"/>
                  </a:lnTo>
                  <a:lnTo>
                    <a:pt x="9" y="23"/>
                  </a:lnTo>
                  <a:lnTo>
                    <a:pt x="0" y="23"/>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4" name="Freeform 170">
              <a:extLst>
                <a:ext uri="{FF2B5EF4-FFF2-40B4-BE49-F238E27FC236}">
                  <a16:creationId xmlns:a16="http://schemas.microsoft.com/office/drawing/2014/main" id="{401BFF4C-9E26-477E-BDAB-6970B03D965F}"/>
                </a:ext>
              </a:extLst>
            </p:cNvPr>
            <p:cNvSpPr>
              <a:spLocks/>
            </p:cNvSpPr>
            <p:nvPr/>
          </p:nvSpPr>
          <p:spPr bwMode="auto">
            <a:xfrm>
              <a:off x="3524250" y="3516313"/>
              <a:ext cx="111125" cy="39687"/>
            </a:xfrm>
            <a:custGeom>
              <a:avLst/>
              <a:gdLst>
                <a:gd name="T0" fmla="*/ 0 w 59"/>
                <a:gd name="T1" fmla="*/ 2147483647 h 24"/>
                <a:gd name="T2" fmla="*/ 2147483647 w 59"/>
                <a:gd name="T3" fmla="*/ 2147483647 h 24"/>
                <a:gd name="T4" fmla="*/ 2147483647 w 59"/>
                <a:gd name="T5" fmla="*/ 2147483647 h 24"/>
                <a:gd name="T6" fmla="*/ 2147483647 w 59"/>
                <a:gd name="T7" fmla="*/ 0 h 24"/>
                <a:gd name="T8" fmla="*/ 2147483647 w 59"/>
                <a:gd name="T9" fmla="*/ 2147483647 h 24"/>
                <a:gd name="T10" fmla="*/ 2147483647 w 59"/>
                <a:gd name="T11" fmla="*/ 2147483647 h 24"/>
                <a:gd name="T12" fmla="*/ 0 w 59"/>
                <a:gd name="T13" fmla="*/ 2147483647 h 24"/>
                <a:gd name="T14" fmla="*/ 0 60000 65536"/>
                <a:gd name="T15" fmla="*/ 0 60000 65536"/>
                <a:gd name="T16" fmla="*/ 0 60000 65536"/>
                <a:gd name="T17" fmla="*/ 0 60000 65536"/>
                <a:gd name="T18" fmla="*/ 0 60000 65536"/>
                <a:gd name="T19" fmla="*/ 0 60000 65536"/>
                <a:gd name="T20" fmla="*/ 0 60000 65536"/>
                <a:gd name="T21" fmla="*/ 0 w 59"/>
                <a:gd name="T22" fmla="*/ 0 h 24"/>
                <a:gd name="T23" fmla="*/ 59 w 59"/>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9" h="24">
                  <a:moveTo>
                    <a:pt x="0" y="23"/>
                  </a:moveTo>
                  <a:lnTo>
                    <a:pt x="18" y="15"/>
                  </a:lnTo>
                  <a:lnTo>
                    <a:pt x="25" y="6"/>
                  </a:lnTo>
                  <a:lnTo>
                    <a:pt x="58" y="0"/>
                  </a:lnTo>
                  <a:lnTo>
                    <a:pt x="25" y="23"/>
                  </a:lnTo>
                  <a:lnTo>
                    <a:pt x="9" y="23"/>
                  </a:lnTo>
                  <a:lnTo>
                    <a:pt x="0" y="23"/>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5" name="Freeform 171">
              <a:extLst>
                <a:ext uri="{FF2B5EF4-FFF2-40B4-BE49-F238E27FC236}">
                  <a16:creationId xmlns:a16="http://schemas.microsoft.com/office/drawing/2014/main" id="{A7E6890D-9BC9-4D28-A81F-FCCBAEFDE37C}"/>
                </a:ext>
              </a:extLst>
            </p:cNvPr>
            <p:cNvSpPr>
              <a:spLocks/>
            </p:cNvSpPr>
            <p:nvPr/>
          </p:nvSpPr>
          <p:spPr bwMode="auto">
            <a:xfrm>
              <a:off x="3633788" y="3476625"/>
              <a:ext cx="63500" cy="25400"/>
            </a:xfrm>
            <a:custGeom>
              <a:avLst/>
              <a:gdLst>
                <a:gd name="T0" fmla="*/ 0 w 33"/>
                <a:gd name="T1" fmla="*/ 2147483647 h 17"/>
                <a:gd name="T2" fmla="*/ 0 w 33"/>
                <a:gd name="T3" fmla="*/ 2147483647 h 17"/>
                <a:gd name="T4" fmla="*/ 2147483647 w 33"/>
                <a:gd name="T5" fmla="*/ 2147483647 h 17"/>
                <a:gd name="T6" fmla="*/ 2147483647 w 33"/>
                <a:gd name="T7" fmla="*/ 0 h 17"/>
                <a:gd name="T8" fmla="*/ 2147483647 w 33"/>
                <a:gd name="T9" fmla="*/ 2147483647 h 17"/>
                <a:gd name="T10" fmla="*/ 0 w 33"/>
                <a:gd name="T11" fmla="*/ 2147483647 h 17"/>
                <a:gd name="T12" fmla="*/ 0 60000 65536"/>
                <a:gd name="T13" fmla="*/ 0 60000 65536"/>
                <a:gd name="T14" fmla="*/ 0 60000 65536"/>
                <a:gd name="T15" fmla="*/ 0 60000 65536"/>
                <a:gd name="T16" fmla="*/ 0 60000 65536"/>
                <a:gd name="T17" fmla="*/ 0 60000 65536"/>
                <a:gd name="T18" fmla="*/ 0 w 33"/>
                <a:gd name="T19" fmla="*/ 0 h 17"/>
                <a:gd name="T20" fmla="*/ 33 w 33"/>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33" h="17">
                  <a:moveTo>
                    <a:pt x="0" y="16"/>
                  </a:moveTo>
                  <a:lnTo>
                    <a:pt x="0" y="6"/>
                  </a:lnTo>
                  <a:lnTo>
                    <a:pt x="23" y="6"/>
                  </a:lnTo>
                  <a:lnTo>
                    <a:pt x="32" y="0"/>
                  </a:lnTo>
                  <a:lnTo>
                    <a:pt x="32" y="16"/>
                  </a:lnTo>
                  <a:lnTo>
                    <a:pt x="0" y="16"/>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6" name="Freeform 172">
              <a:extLst>
                <a:ext uri="{FF2B5EF4-FFF2-40B4-BE49-F238E27FC236}">
                  <a16:creationId xmlns:a16="http://schemas.microsoft.com/office/drawing/2014/main" id="{4D9E62BE-E7AF-4A4C-AB0D-3A86F4BB97B4}"/>
                </a:ext>
              </a:extLst>
            </p:cNvPr>
            <p:cNvSpPr>
              <a:spLocks/>
            </p:cNvSpPr>
            <p:nvPr/>
          </p:nvSpPr>
          <p:spPr bwMode="auto">
            <a:xfrm>
              <a:off x="3633788" y="3476625"/>
              <a:ext cx="63500" cy="25400"/>
            </a:xfrm>
            <a:custGeom>
              <a:avLst/>
              <a:gdLst>
                <a:gd name="T0" fmla="*/ 0 w 33"/>
                <a:gd name="T1" fmla="*/ 2147483647 h 17"/>
                <a:gd name="T2" fmla="*/ 0 w 33"/>
                <a:gd name="T3" fmla="*/ 2147483647 h 17"/>
                <a:gd name="T4" fmla="*/ 2147483647 w 33"/>
                <a:gd name="T5" fmla="*/ 2147483647 h 17"/>
                <a:gd name="T6" fmla="*/ 2147483647 w 33"/>
                <a:gd name="T7" fmla="*/ 0 h 17"/>
                <a:gd name="T8" fmla="*/ 2147483647 w 33"/>
                <a:gd name="T9" fmla="*/ 2147483647 h 17"/>
                <a:gd name="T10" fmla="*/ 0 w 33"/>
                <a:gd name="T11" fmla="*/ 2147483647 h 17"/>
                <a:gd name="T12" fmla="*/ 0 60000 65536"/>
                <a:gd name="T13" fmla="*/ 0 60000 65536"/>
                <a:gd name="T14" fmla="*/ 0 60000 65536"/>
                <a:gd name="T15" fmla="*/ 0 60000 65536"/>
                <a:gd name="T16" fmla="*/ 0 60000 65536"/>
                <a:gd name="T17" fmla="*/ 0 60000 65536"/>
                <a:gd name="T18" fmla="*/ 0 w 33"/>
                <a:gd name="T19" fmla="*/ 0 h 17"/>
                <a:gd name="T20" fmla="*/ 33 w 33"/>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33" h="17">
                  <a:moveTo>
                    <a:pt x="0" y="16"/>
                  </a:moveTo>
                  <a:lnTo>
                    <a:pt x="0" y="6"/>
                  </a:lnTo>
                  <a:lnTo>
                    <a:pt x="23" y="6"/>
                  </a:lnTo>
                  <a:lnTo>
                    <a:pt x="32" y="0"/>
                  </a:lnTo>
                  <a:lnTo>
                    <a:pt x="32" y="16"/>
                  </a:lnTo>
                  <a:lnTo>
                    <a:pt x="0" y="16"/>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7" name="Freeform 173">
              <a:extLst>
                <a:ext uri="{FF2B5EF4-FFF2-40B4-BE49-F238E27FC236}">
                  <a16:creationId xmlns:a16="http://schemas.microsoft.com/office/drawing/2014/main" id="{A18266D8-B039-40BA-B26E-77FCB343494F}"/>
                </a:ext>
              </a:extLst>
            </p:cNvPr>
            <p:cNvSpPr>
              <a:spLocks/>
            </p:cNvSpPr>
            <p:nvPr/>
          </p:nvSpPr>
          <p:spPr bwMode="auto">
            <a:xfrm>
              <a:off x="5983288" y="3317875"/>
              <a:ext cx="138112" cy="53975"/>
            </a:xfrm>
            <a:custGeom>
              <a:avLst/>
              <a:gdLst>
                <a:gd name="T0" fmla="*/ 2147483647 w 72"/>
                <a:gd name="T1" fmla="*/ 2147483647 h 33"/>
                <a:gd name="T2" fmla="*/ 2147483647 w 72"/>
                <a:gd name="T3" fmla="*/ 0 h 33"/>
                <a:gd name="T4" fmla="*/ 2147483647 w 72"/>
                <a:gd name="T5" fmla="*/ 2147483647 h 33"/>
                <a:gd name="T6" fmla="*/ 2147483647 w 72"/>
                <a:gd name="T7" fmla="*/ 0 h 33"/>
                <a:gd name="T8" fmla="*/ 2147483647 w 72"/>
                <a:gd name="T9" fmla="*/ 0 h 33"/>
                <a:gd name="T10" fmla="*/ 0 w 72"/>
                <a:gd name="T11" fmla="*/ 2147483647 h 33"/>
                <a:gd name="T12" fmla="*/ 0 w 72"/>
                <a:gd name="T13" fmla="*/ 2147483647 h 33"/>
                <a:gd name="T14" fmla="*/ 2147483647 w 72"/>
                <a:gd name="T15" fmla="*/ 2147483647 h 33"/>
                <a:gd name="T16" fmla="*/ 2147483647 w 72"/>
                <a:gd name="T17" fmla="*/ 2147483647 h 33"/>
                <a:gd name="T18" fmla="*/ 2147483647 w 72"/>
                <a:gd name="T19" fmla="*/ 2147483647 h 33"/>
                <a:gd name="T20" fmla="*/ 2147483647 w 72"/>
                <a:gd name="T21" fmla="*/ 2147483647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2"/>
                <a:gd name="T34" fmla="*/ 0 h 33"/>
                <a:gd name="T35" fmla="*/ 72 w 72"/>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2" h="33">
                  <a:moveTo>
                    <a:pt x="71" y="8"/>
                  </a:moveTo>
                  <a:lnTo>
                    <a:pt x="55" y="0"/>
                  </a:lnTo>
                  <a:lnTo>
                    <a:pt x="40" y="8"/>
                  </a:lnTo>
                  <a:lnTo>
                    <a:pt x="31" y="0"/>
                  </a:lnTo>
                  <a:lnTo>
                    <a:pt x="23" y="0"/>
                  </a:lnTo>
                  <a:lnTo>
                    <a:pt x="0" y="16"/>
                  </a:lnTo>
                  <a:lnTo>
                    <a:pt x="0" y="32"/>
                  </a:lnTo>
                  <a:lnTo>
                    <a:pt x="15" y="32"/>
                  </a:lnTo>
                  <a:lnTo>
                    <a:pt x="46" y="16"/>
                  </a:lnTo>
                  <a:lnTo>
                    <a:pt x="64" y="23"/>
                  </a:lnTo>
                  <a:lnTo>
                    <a:pt x="71" y="8"/>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8" name="Freeform 174">
              <a:extLst>
                <a:ext uri="{FF2B5EF4-FFF2-40B4-BE49-F238E27FC236}">
                  <a16:creationId xmlns:a16="http://schemas.microsoft.com/office/drawing/2014/main" id="{8AD83429-CE0C-49F8-854D-5A6440517C67}"/>
                </a:ext>
              </a:extLst>
            </p:cNvPr>
            <p:cNvSpPr>
              <a:spLocks/>
            </p:cNvSpPr>
            <p:nvPr/>
          </p:nvSpPr>
          <p:spPr bwMode="auto">
            <a:xfrm>
              <a:off x="5983288" y="3317875"/>
              <a:ext cx="138112" cy="53975"/>
            </a:xfrm>
            <a:custGeom>
              <a:avLst/>
              <a:gdLst>
                <a:gd name="T0" fmla="*/ 2147483647 w 72"/>
                <a:gd name="T1" fmla="*/ 2147483647 h 33"/>
                <a:gd name="T2" fmla="*/ 2147483647 w 72"/>
                <a:gd name="T3" fmla="*/ 0 h 33"/>
                <a:gd name="T4" fmla="*/ 2147483647 w 72"/>
                <a:gd name="T5" fmla="*/ 2147483647 h 33"/>
                <a:gd name="T6" fmla="*/ 2147483647 w 72"/>
                <a:gd name="T7" fmla="*/ 0 h 33"/>
                <a:gd name="T8" fmla="*/ 2147483647 w 72"/>
                <a:gd name="T9" fmla="*/ 0 h 33"/>
                <a:gd name="T10" fmla="*/ 0 w 72"/>
                <a:gd name="T11" fmla="*/ 2147483647 h 33"/>
                <a:gd name="T12" fmla="*/ 0 w 72"/>
                <a:gd name="T13" fmla="*/ 2147483647 h 33"/>
                <a:gd name="T14" fmla="*/ 2147483647 w 72"/>
                <a:gd name="T15" fmla="*/ 2147483647 h 33"/>
                <a:gd name="T16" fmla="*/ 2147483647 w 72"/>
                <a:gd name="T17" fmla="*/ 2147483647 h 33"/>
                <a:gd name="T18" fmla="*/ 2147483647 w 72"/>
                <a:gd name="T19" fmla="*/ 2147483647 h 33"/>
                <a:gd name="T20" fmla="*/ 2147483647 w 72"/>
                <a:gd name="T21" fmla="*/ 2147483647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2"/>
                <a:gd name="T34" fmla="*/ 0 h 33"/>
                <a:gd name="T35" fmla="*/ 72 w 72"/>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2" h="33">
                  <a:moveTo>
                    <a:pt x="71" y="8"/>
                  </a:moveTo>
                  <a:lnTo>
                    <a:pt x="55" y="0"/>
                  </a:lnTo>
                  <a:lnTo>
                    <a:pt x="40" y="8"/>
                  </a:lnTo>
                  <a:lnTo>
                    <a:pt x="31" y="0"/>
                  </a:lnTo>
                  <a:lnTo>
                    <a:pt x="23" y="0"/>
                  </a:lnTo>
                  <a:lnTo>
                    <a:pt x="0" y="16"/>
                  </a:lnTo>
                  <a:lnTo>
                    <a:pt x="0" y="32"/>
                  </a:lnTo>
                  <a:lnTo>
                    <a:pt x="15" y="32"/>
                  </a:lnTo>
                  <a:lnTo>
                    <a:pt x="46" y="16"/>
                  </a:lnTo>
                  <a:lnTo>
                    <a:pt x="64" y="23"/>
                  </a:lnTo>
                  <a:lnTo>
                    <a:pt x="71" y="8"/>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9" name="Freeform 175">
              <a:extLst>
                <a:ext uri="{FF2B5EF4-FFF2-40B4-BE49-F238E27FC236}">
                  <a16:creationId xmlns:a16="http://schemas.microsoft.com/office/drawing/2014/main" id="{3FF95C4B-6027-414E-8D25-57CD6FF102C0}"/>
                </a:ext>
              </a:extLst>
            </p:cNvPr>
            <p:cNvSpPr>
              <a:spLocks/>
            </p:cNvSpPr>
            <p:nvPr/>
          </p:nvSpPr>
          <p:spPr bwMode="auto">
            <a:xfrm>
              <a:off x="6229350" y="1852613"/>
              <a:ext cx="4010025" cy="1701800"/>
            </a:xfrm>
            <a:custGeom>
              <a:avLst/>
              <a:gdLst>
                <a:gd name="T0" fmla="*/ 2147483647 w 2093"/>
                <a:gd name="T1" fmla="*/ 2147483647 h 1044"/>
                <a:gd name="T2" fmla="*/ 2147483647 w 2093"/>
                <a:gd name="T3" fmla="*/ 2147483647 h 1044"/>
                <a:gd name="T4" fmla="*/ 2147483647 w 2093"/>
                <a:gd name="T5" fmla="*/ 2147483647 h 1044"/>
                <a:gd name="T6" fmla="*/ 2147483647 w 2093"/>
                <a:gd name="T7" fmla="*/ 2147483647 h 1044"/>
                <a:gd name="T8" fmla="*/ 2147483647 w 2093"/>
                <a:gd name="T9" fmla="*/ 2147483647 h 1044"/>
                <a:gd name="T10" fmla="*/ 2147483647 w 2093"/>
                <a:gd name="T11" fmla="*/ 2147483647 h 1044"/>
                <a:gd name="T12" fmla="*/ 2147483647 w 2093"/>
                <a:gd name="T13" fmla="*/ 2147483647 h 1044"/>
                <a:gd name="T14" fmla="*/ 2147483647 w 2093"/>
                <a:gd name="T15" fmla="*/ 2147483647 h 1044"/>
                <a:gd name="T16" fmla="*/ 2147483647 w 2093"/>
                <a:gd name="T17" fmla="*/ 2147483647 h 1044"/>
                <a:gd name="T18" fmla="*/ 2147483647 w 2093"/>
                <a:gd name="T19" fmla="*/ 2147483647 h 1044"/>
                <a:gd name="T20" fmla="*/ 2147483647 w 2093"/>
                <a:gd name="T21" fmla="*/ 2147483647 h 1044"/>
                <a:gd name="T22" fmla="*/ 2147483647 w 2093"/>
                <a:gd name="T23" fmla="*/ 2147483647 h 1044"/>
                <a:gd name="T24" fmla="*/ 2147483647 w 2093"/>
                <a:gd name="T25" fmla="*/ 2147483647 h 1044"/>
                <a:gd name="T26" fmla="*/ 2147483647 w 2093"/>
                <a:gd name="T27" fmla="*/ 2147483647 h 1044"/>
                <a:gd name="T28" fmla="*/ 2147483647 w 2093"/>
                <a:gd name="T29" fmla="*/ 2147483647 h 1044"/>
                <a:gd name="T30" fmla="*/ 2147483647 w 2093"/>
                <a:gd name="T31" fmla="*/ 2147483647 h 1044"/>
                <a:gd name="T32" fmla="*/ 2147483647 w 2093"/>
                <a:gd name="T33" fmla="*/ 2147483647 h 1044"/>
                <a:gd name="T34" fmla="*/ 2147483647 w 2093"/>
                <a:gd name="T35" fmla="*/ 2147483647 h 1044"/>
                <a:gd name="T36" fmla="*/ 0 w 2093"/>
                <a:gd name="T37" fmla="*/ 2147483647 h 1044"/>
                <a:gd name="T38" fmla="*/ 2147483647 w 2093"/>
                <a:gd name="T39" fmla="*/ 2147483647 h 1044"/>
                <a:gd name="T40" fmla="*/ 2147483647 w 2093"/>
                <a:gd name="T41" fmla="*/ 2147483647 h 1044"/>
                <a:gd name="T42" fmla="*/ 2147483647 w 2093"/>
                <a:gd name="T43" fmla="*/ 2147483647 h 1044"/>
                <a:gd name="T44" fmla="*/ 2147483647 w 2093"/>
                <a:gd name="T45" fmla="*/ 2147483647 h 1044"/>
                <a:gd name="T46" fmla="*/ 2147483647 w 2093"/>
                <a:gd name="T47" fmla="*/ 2147483647 h 1044"/>
                <a:gd name="T48" fmla="*/ 2147483647 w 2093"/>
                <a:gd name="T49" fmla="*/ 2147483647 h 1044"/>
                <a:gd name="T50" fmla="*/ 2147483647 w 2093"/>
                <a:gd name="T51" fmla="*/ 2147483647 h 1044"/>
                <a:gd name="T52" fmla="*/ 2147483647 w 2093"/>
                <a:gd name="T53" fmla="*/ 2147483647 h 1044"/>
                <a:gd name="T54" fmla="*/ 2147483647 w 2093"/>
                <a:gd name="T55" fmla="*/ 2147483647 h 1044"/>
                <a:gd name="T56" fmla="*/ 2147483647 w 2093"/>
                <a:gd name="T57" fmla="*/ 2147483647 h 1044"/>
                <a:gd name="T58" fmla="*/ 2147483647 w 2093"/>
                <a:gd name="T59" fmla="*/ 2147483647 h 1044"/>
                <a:gd name="T60" fmla="*/ 2147483647 w 2093"/>
                <a:gd name="T61" fmla="*/ 2147483647 h 1044"/>
                <a:gd name="T62" fmla="*/ 2147483647 w 2093"/>
                <a:gd name="T63" fmla="*/ 2147483647 h 1044"/>
                <a:gd name="T64" fmla="*/ 2147483647 w 2093"/>
                <a:gd name="T65" fmla="*/ 2147483647 h 1044"/>
                <a:gd name="T66" fmla="*/ 2147483647 w 2093"/>
                <a:gd name="T67" fmla="*/ 2147483647 h 1044"/>
                <a:gd name="T68" fmla="*/ 2147483647 w 2093"/>
                <a:gd name="T69" fmla="*/ 2147483647 h 1044"/>
                <a:gd name="T70" fmla="*/ 2147483647 w 2093"/>
                <a:gd name="T71" fmla="*/ 2147483647 h 1044"/>
                <a:gd name="T72" fmla="*/ 2147483647 w 2093"/>
                <a:gd name="T73" fmla="*/ 2147483647 h 1044"/>
                <a:gd name="T74" fmla="*/ 2147483647 w 2093"/>
                <a:gd name="T75" fmla="*/ 2147483647 h 1044"/>
                <a:gd name="T76" fmla="*/ 2147483647 w 2093"/>
                <a:gd name="T77" fmla="*/ 2147483647 h 1044"/>
                <a:gd name="T78" fmla="*/ 2147483647 w 2093"/>
                <a:gd name="T79" fmla="*/ 2147483647 h 1044"/>
                <a:gd name="T80" fmla="*/ 2147483647 w 2093"/>
                <a:gd name="T81" fmla="*/ 2147483647 h 1044"/>
                <a:gd name="T82" fmla="*/ 2147483647 w 2093"/>
                <a:gd name="T83" fmla="*/ 2147483647 h 1044"/>
                <a:gd name="T84" fmla="*/ 2147483647 w 2093"/>
                <a:gd name="T85" fmla="*/ 2147483647 h 1044"/>
                <a:gd name="T86" fmla="*/ 2147483647 w 2093"/>
                <a:gd name="T87" fmla="*/ 2147483647 h 1044"/>
                <a:gd name="T88" fmla="*/ 2147483647 w 2093"/>
                <a:gd name="T89" fmla="*/ 2147483647 h 1044"/>
                <a:gd name="T90" fmla="*/ 2147483647 w 2093"/>
                <a:gd name="T91" fmla="*/ 2147483647 h 1044"/>
                <a:gd name="T92" fmla="*/ 2147483647 w 2093"/>
                <a:gd name="T93" fmla="*/ 2147483647 h 1044"/>
                <a:gd name="T94" fmla="*/ 2147483647 w 2093"/>
                <a:gd name="T95" fmla="*/ 2147483647 h 1044"/>
                <a:gd name="T96" fmla="*/ 2147483647 w 2093"/>
                <a:gd name="T97" fmla="*/ 2147483647 h 1044"/>
                <a:gd name="T98" fmla="*/ 2147483647 w 2093"/>
                <a:gd name="T99" fmla="*/ 2147483647 h 1044"/>
                <a:gd name="T100" fmla="*/ 2147483647 w 2093"/>
                <a:gd name="T101" fmla="*/ 2147483647 h 1044"/>
                <a:gd name="T102" fmla="*/ 2147483647 w 2093"/>
                <a:gd name="T103" fmla="*/ 2147483647 h 1044"/>
                <a:gd name="T104" fmla="*/ 2147483647 w 2093"/>
                <a:gd name="T105" fmla="*/ 2147483647 h 1044"/>
                <a:gd name="T106" fmla="*/ 2147483647 w 2093"/>
                <a:gd name="T107" fmla="*/ 2147483647 h 1044"/>
                <a:gd name="T108" fmla="*/ 2147483647 w 2093"/>
                <a:gd name="T109" fmla="*/ 2147483647 h 1044"/>
                <a:gd name="T110" fmla="*/ 2147483647 w 2093"/>
                <a:gd name="T111" fmla="*/ 2147483647 h 1044"/>
                <a:gd name="T112" fmla="*/ 2147483647 w 2093"/>
                <a:gd name="T113" fmla="*/ 2147483647 h 1044"/>
                <a:gd name="T114" fmla="*/ 2147483647 w 2093"/>
                <a:gd name="T115" fmla="*/ 2147483647 h 1044"/>
                <a:gd name="T116" fmla="*/ 2147483647 w 2093"/>
                <a:gd name="T117" fmla="*/ 2147483647 h 1044"/>
                <a:gd name="T118" fmla="*/ 2147483647 w 2093"/>
                <a:gd name="T119" fmla="*/ 2147483647 h 1044"/>
                <a:gd name="T120" fmla="*/ 2147483647 w 2093"/>
                <a:gd name="T121" fmla="*/ 2147483647 h 1044"/>
                <a:gd name="T122" fmla="*/ 2147483647 w 2093"/>
                <a:gd name="T123" fmla="*/ 2147483647 h 104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093"/>
                <a:gd name="T187" fmla="*/ 0 h 1044"/>
                <a:gd name="T188" fmla="*/ 2093 w 2093"/>
                <a:gd name="T189" fmla="*/ 1044 h 104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093" h="1044">
                  <a:moveTo>
                    <a:pt x="1063" y="194"/>
                  </a:moveTo>
                  <a:lnTo>
                    <a:pt x="1055" y="201"/>
                  </a:lnTo>
                  <a:lnTo>
                    <a:pt x="1063" y="218"/>
                  </a:lnTo>
                  <a:lnTo>
                    <a:pt x="1030" y="235"/>
                  </a:lnTo>
                  <a:lnTo>
                    <a:pt x="1023" y="235"/>
                  </a:lnTo>
                  <a:lnTo>
                    <a:pt x="1030" y="210"/>
                  </a:lnTo>
                  <a:lnTo>
                    <a:pt x="1111" y="138"/>
                  </a:lnTo>
                  <a:lnTo>
                    <a:pt x="1111" y="88"/>
                  </a:lnTo>
                  <a:lnTo>
                    <a:pt x="1080" y="57"/>
                  </a:lnTo>
                  <a:lnTo>
                    <a:pt x="1038" y="57"/>
                  </a:lnTo>
                  <a:lnTo>
                    <a:pt x="1038" y="73"/>
                  </a:lnTo>
                  <a:lnTo>
                    <a:pt x="1014" y="73"/>
                  </a:lnTo>
                  <a:lnTo>
                    <a:pt x="1030" y="41"/>
                  </a:lnTo>
                  <a:lnTo>
                    <a:pt x="989" y="33"/>
                  </a:lnTo>
                  <a:lnTo>
                    <a:pt x="1014" y="16"/>
                  </a:lnTo>
                  <a:lnTo>
                    <a:pt x="989" y="0"/>
                  </a:lnTo>
                  <a:lnTo>
                    <a:pt x="949" y="41"/>
                  </a:lnTo>
                  <a:lnTo>
                    <a:pt x="949" y="73"/>
                  </a:lnTo>
                  <a:lnTo>
                    <a:pt x="924" y="73"/>
                  </a:lnTo>
                  <a:lnTo>
                    <a:pt x="852" y="88"/>
                  </a:lnTo>
                  <a:lnTo>
                    <a:pt x="787" y="128"/>
                  </a:lnTo>
                  <a:lnTo>
                    <a:pt x="762" y="162"/>
                  </a:lnTo>
                  <a:lnTo>
                    <a:pt x="769" y="201"/>
                  </a:lnTo>
                  <a:lnTo>
                    <a:pt x="682" y="218"/>
                  </a:lnTo>
                  <a:lnTo>
                    <a:pt x="688" y="266"/>
                  </a:lnTo>
                  <a:lnTo>
                    <a:pt x="713" y="290"/>
                  </a:lnTo>
                  <a:lnTo>
                    <a:pt x="697" y="299"/>
                  </a:lnTo>
                  <a:lnTo>
                    <a:pt x="673" y="266"/>
                  </a:lnTo>
                  <a:lnTo>
                    <a:pt x="648" y="259"/>
                  </a:lnTo>
                  <a:lnTo>
                    <a:pt x="640" y="266"/>
                  </a:lnTo>
                  <a:lnTo>
                    <a:pt x="625" y="250"/>
                  </a:lnTo>
                  <a:lnTo>
                    <a:pt x="608" y="235"/>
                  </a:lnTo>
                  <a:lnTo>
                    <a:pt x="608" y="243"/>
                  </a:lnTo>
                  <a:lnTo>
                    <a:pt x="616" y="266"/>
                  </a:lnTo>
                  <a:lnTo>
                    <a:pt x="591" y="307"/>
                  </a:lnTo>
                  <a:lnTo>
                    <a:pt x="608" y="340"/>
                  </a:lnTo>
                  <a:lnTo>
                    <a:pt x="600" y="372"/>
                  </a:lnTo>
                  <a:lnTo>
                    <a:pt x="600" y="396"/>
                  </a:lnTo>
                  <a:lnTo>
                    <a:pt x="608" y="405"/>
                  </a:lnTo>
                  <a:lnTo>
                    <a:pt x="616" y="446"/>
                  </a:lnTo>
                  <a:lnTo>
                    <a:pt x="567" y="486"/>
                  </a:lnTo>
                  <a:lnTo>
                    <a:pt x="560" y="477"/>
                  </a:lnTo>
                  <a:lnTo>
                    <a:pt x="591" y="437"/>
                  </a:lnTo>
                  <a:lnTo>
                    <a:pt x="600" y="412"/>
                  </a:lnTo>
                  <a:lnTo>
                    <a:pt x="585" y="396"/>
                  </a:lnTo>
                  <a:lnTo>
                    <a:pt x="585" y="315"/>
                  </a:lnTo>
                  <a:lnTo>
                    <a:pt x="576" y="299"/>
                  </a:lnTo>
                  <a:lnTo>
                    <a:pt x="585" y="250"/>
                  </a:lnTo>
                  <a:lnTo>
                    <a:pt x="567" y="243"/>
                  </a:lnTo>
                  <a:lnTo>
                    <a:pt x="576" y="235"/>
                  </a:lnTo>
                  <a:lnTo>
                    <a:pt x="567" y="218"/>
                  </a:lnTo>
                  <a:lnTo>
                    <a:pt x="551" y="225"/>
                  </a:lnTo>
                  <a:lnTo>
                    <a:pt x="511" y="331"/>
                  </a:lnTo>
                  <a:lnTo>
                    <a:pt x="511" y="372"/>
                  </a:lnTo>
                  <a:lnTo>
                    <a:pt x="535" y="405"/>
                  </a:lnTo>
                  <a:lnTo>
                    <a:pt x="535" y="421"/>
                  </a:lnTo>
                  <a:lnTo>
                    <a:pt x="511" y="405"/>
                  </a:lnTo>
                  <a:lnTo>
                    <a:pt x="414" y="340"/>
                  </a:lnTo>
                  <a:lnTo>
                    <a:pt x="405" y="356"/>
                  </a:lnTo>
                  <a:lnTo>
                    <a:pt x="438" y="396"/>
                  </a:lnTo>
                  <a:lnTo>
                    <a:pt x="421" y="405"/>
                  </a:lnTo>
                  <a:lnTo>
                    <a:pt x="414" y="396"/>
                  </a:lnTo>
                  <a:lnTo>
                    <a:pt x="364" y="412"/>
                  </a:lnTo>
                  <a:lnTo>
                    <a:pt x="356" y="427"/>
                  </a:lnTo>
                  <a:lnTo>
                    <a:pt x="349" y="412"/>
                  </a:lnTo>
                  <a:lnTo>
                    <a:pt x="349" y="396"/>
                  </a:lnTo>
                  <a:lnTo>
                    <a:pt x="267" y="446"/>
                  </a:lnTo>
                  <a:lnTo>
                    <a:pt x="267" y="461"/>
                  </a:lnTo>
                  <a:lnTo>
                    <a:pt x="250" y="469"/>
                  </a:lnTo>
                  <a:lnTo>
                    <a:pt x="227" y="452"/>
                  </a:lnTo>
                  <a:lnTo>
                    <a:pt x="250" y="437"/>
                  </a:lnTo>
                  <a:lnTo>
                    <a:pt x="243" y="412"/>
                  </a:lnTo>
                  <a:lnTo>
                    <a:pt x="210" y="405"/>
                  </a:lnTo>
                  <a:lnTo>
                    <a:pt x="219" y="421"/>
                  </a:lnTo>
                  <a:lnTo>
                    <a:pt x="219" y="461"/>
                  </a:lnTo>
                  <a:lnTo>
                    <a:pt x="227" y="477"/>
                  </a:lnTo>
                  <a:lnTo>
                    <a:pt x="219" y="493"/>
                  </a:lnTo>
                  <a:lnTo>
                    <a:pt x="194" y="486"/>
                  </a:lnTo>
                  <a:lnTo>
                    <a:pt x="162" y="509"/>
                  </a:lnTo>
                  <a:lnTo>
                    <a:pt x="178" y="542"/>
                  </a:lnTo>
                  <a:lnTo>
                    <a:pt x="128" y="526"/>
                  </a:lnTo>
                  <a:lnTo>
                    <a:pt x="122" y="533"/>
                  </a:lnTo>
                  <a:lnTo>
                    <a:pt x="138" y="558"/>
                  </a:lnTo>
                  <a:lnTo>
                    <a:pt x="122" y="558"/>
                  </a:lnTo>
                  <a:lnTo>
                    <a:pt x="97" y="542"/>
                  </a:lnTo>
                  <a:lnTo>
                    <a:pt x="97" y="493"/>
                  </a:lnTo>
                  <a:lnTo>
                    <a:pt x="73" y="477"/>
                  </a:lnTo>
                  <a:lnTo>
                    <a:pt x="63" y="461"/>
                  </a:lnTo>
                  <a:lnTo>
                    <a:pt x="81" y="469"/>
                  </a:lnTo>
                  <a:lnTo>
                    <a:pt x="147" y="493"/>
                  </a:lnTo>
                  <a:lnTo>
                    <a:pt x="187" y="469"/>
                  </a:lnTo>
                  <a:lnTo>
                    <a:pt x="178" y="446"/>
                  </a:lnTo>
                  <a:lnTo>
                    <a:pt x="128" y="396"/>
                  </a:lnTo>
                  <a:lnTo>
                    <a:pt x="81" y="380"/>
                  </a:lnTo>
                  <a:lnTo>
                    <a:pt x="81" y="372"/>
                  </a:lnTo>
                  <a:lnTo>
                    <a:pt x="63" y="364"/>
                  </a:lnTo>
                  <a:lnTo>
                    <a:pt x="48" y="372"/>
                  </a:lnTo>
                  <a:lnTo>
                    <a:pt x="23" y="396"/>
                  </a:lnTo>
                  <a:lnTo>
                    <a:pt x="23" y="421"/>
                  </a:lnTo>
                  <a:lnTo>
                    <a:pt x="41" y="437"/>
                  </a:lnTo>
                  <a:lnTo>
                    <a:pt x="32" y="461"/>
                  </a:lnTo>
                  <a:lnTo>
                    <a:pt x="41" y="501"/>
                  </a:lnTo>
                  <a:lnTo>
                    <a:pt x="32" y="526"/>
                  </a:lnTo>
                  <a:lnTo>
                    <a:pt x="48" y="551"/>
                  </a:lnTo>
                  <a:lnTo>
                    <a:pt x="41" y="566"/>
                  </a:lnTo>
                  <a:lnTo>
                    <a:pt x="57" y="583"/>
                  </a:lnTo>
                  <a:lnTo>
                    <a:pt x="57" y="591"/>
                  </a:lnTo>
                  <a:lnTo>
                    <a:pt x="32" y="632"/>
                  </a:lnTo>
                  <a:lnTo>
                    <a:pt x="8" y="648"/>
                  </a:lnTo>
                  <a:lnTo>
                    <a:pt x="16" y="648"/>
                  </a:lnTo>
                  <a:lnTo>
                    <a:pt x="32" y="663"/>
                  </a:lnTo>
                  <a:lnTo>
                    <a:pt x="16" y="679"/>
                  </a:lnTo>
                  <a:lnTo>
                    <a:pt x="8" y="688"/>
                  </a:lnTo>
                  <a:lnTo>
                    <a:pt x="0" y="688"/>
                  </a:lnTo>
                  <a:lnTo>
                    <a:pt x="8" y="713"/>
                  </a:lnTo>
                  <a:lnTo>
                    <a:pt x="8" y="720"/>
                  </a:lnTo>
                  <a:lnTo>
                    <a:pt x="8" y="736"/>
                  </a:lnTo>
                  <a:lnTo>
                    <a:pt x="16" y="753"/>
                  </a:lnTo>
                  <a:lnTo>
                    <a:pt x="41" y="760"/>
                  </a:lnTo>
                  <a:lnTo>
                    <a:pt x="48" y="769"/>
                  </a:lnTo>
                  <a:lnTo>
                    <a:pt x="48" y="785"/>
                  </a:lnTo>
                  <a:lnTo>
                    <a:pt x="63" y="810"/>
                  </a:lnTo>
                  <a:lnTo>
                    <a:pt x="73" y="810"/>
                  </a:lnTo>
                  <a:lnTo>
                    <a:pt x="63" y="825"/>
                  </a:lnTo>
                  <a:lnTo>
                    <a:pt x="57" y="818"/>
                  </a:lnTo>
                  <a:lnTo>
                    <a:pt x="57" y="825"/>
                  </a:lnTo>
                  <a:lnTo>
                    <a:pt x="63" y="841"/>
                  </a:lnTo>
                  <a:lnTo>
                    <a:pt x="88" y="841"/>
                  </a:lnTo>
                  <a:lnTo>
                    <a:pt x="97" y="850"/>
                  </a:lnTo>
                  <a:lnTo>
                    <a:pt x="88" y="850"/>
                  </a:lnTo>
                  <a:lnTo>
                    <a:pt x="97" y="859"/>
                  </a:lnTo>
                  <a:lnTo>
                    <a:pt x="105" y="859"/>
                  </a:lnTo>
                  <a:lnTo>
                    <a:pt x="113" y="874"/>
                  </a:lnTo>
                  <a:lnTo>
                    <a:pt x="122" y="882"/>
                  </a:lnTo>
                  <a:lnTo>
                    <a:pt x="128" y="874"/>
                  </a:lnTo>
                  <a:lnTo>
                    <a:pt x="170" y="899"/>
                  </a:lnTo>
                  <a:lnTo>
                    <a:pt x="162" y="931"/>
                  </a:lnTo>
                  <a:lnTo>
                    <a:pt x="153" y="922"/>
                  </a:lnTo>
                  <a:lnTo>
                    <a:pt x="147" y="931"/>
                  </a:lnTo>
                  <a:lnTo>
                    <a:pt x="147" y="947"/>
                  </a:lnTo>
                  <a:lnTo>
                    <a:pt x="153" y="939"/>
                  </a:lnTo>
                  <a:lnTo>
                    <a:pt x="162" y="947"/>
                  </a:lnTo>
                  <a:lnTo>
                    <a:pt x="138" y="955"/>
                  </a:lnTo>
                  <a:lnTo>
                    <a:pt x="147" y="962"/>
                  </a:lnTo>
                  <a:lnTo>
                    <a:pt x="128" y="980"/>
                  </a:lnTo>
                  <a:lnTo>
                    <a:pt x="162" y="1012"/>
                  </a:lnTo>
                  <a:lnTo>
                    <a:pt x="202" y="1012"/>
                  </a:lnTo>
                  <a:lnTo>
                    <a:pt x="219" y="1021"/>
                  </a:lnTo>
                  <a:lnTo>
                    <a:pt x="234" y="1021"/>
                  </a:lnTo>
                  <a:lnTo>
                    <a:pt x="250" y="1036"/>
                  </a:lnTo>
                  <a:lnTo>
                    <a:pt x="259" y="1044"/>
                  </a:lnTo>
                  <a:lnTo>
                    <a:pt x="267" y="1044"/>
                  </a:lnTo>
                  <a:lnTo>
                    <a:pt x="275" y="1036"/>
                  </a:lnTo>
                  <a:lnTo>
                    <a:pt x="259" y="1021"/>
                  </a:lnTo>
                  <a:lnTo>
                    <a:pt x="259" y="1002"/>
                  </a:lnTo>
                  <a:lnTo>
                    <a:pt x="250" y="987"/>
                  </a:lnTo>
                  <a:lnTo>
                    <a:pt x="267" y="962"/>
                  </a:lnTo>
                  <a:lnTo>
                    <a:pt x="275" y="971"/>
                  </a:lnTo>
                  <a:lnTo>
                    <a:pt x="284" y="962"/>
                  </a:lnTo>
                  <a:lnTo>
                    <a:pt x="284" y="955"/>
                  </a:lnTo>
                  <a:lnTo>
                    <a:pt x="275" y="955"/>
                  </a:lnTo>
                  <a:lnTo>
                    <a:pt x="284" y="947"/>
                  </a:lnTo>
                  <a:lnTo>
                    <a:pt x="275" y="931"/>
                  </a:lnTo>
                  <a:lnTo>
                    <a:pt x="259" y="931"/>
                  </a:lnTo>
                  <a:lnTo>
                    <a:pt x="250" y="915"/>
                  </a:lnTo>
                  <a:lnTo>
                    <a:pt x="259" y="874"/>
                  </a:lnTo>
                  <a:lnTo>
                    <a:pt x="275" y="890"/>
                  </a:lnTo>
                  <a:lnTo>
                    <a:pt x="284" y="890"/>
                  </a:lnTo>
                  <a:lnTo>
                    <a:pt x="275" y="874"/>
                  </a:lnTo>
                  <a:lnTo>
                    <a:pt x="299" y="850"/>
                  </a:lnTo>
                  <a:lnTo>
                    <a:pt x="315" y="859"/>
                  </a:lnTo>
                  <a:lnTo>
                    <a:pt x="324" y="850"/>
                  </a:lnTo>
                  <a:lnTo>
                    <a:pt x="340" y="859"/>
                  </a:lnTo>
                  <a:lnTo>
                    <a:pt x="364" y="874"/>
                  </a:lnTo>
                  <a:lnTo>
                    <a:pt x="381" y="865"/>
                  </a:lnTo>
                  <a:lnTo>
                    <a:pt x="398" y="865"/>
                  </a:lnTo>
                  <a:lnTo>
                    <a:pt x="405" y="874"/>
                  </a:lnTo>
                  <a:lnTo>
                    <a:pt x="438" y="874"/>
                  </a:lnTo>
                  <a:lnTo>
                    <a:pt x="446" y="859"/>
                  </a:lnTo>
                  <a:lnTo>
                    <a:pt x="421" y="850"/>
                  </a:lnTo>
                  <a:lnTo>
                    <a:pt x="438" y="841"/>
                  </a:lnTo>
                  <a:lnTo>
                    <a:pt x="429" y="834"/>
                  </a:lnTo>
                  <a:lnTo>
                    <a:pt x="438" y="825"/>
                  </a:lnTo>
                  <a:lnTo>
                    <a:pt x="438" y="800"/>
                  </a:lnTo>
                  <a:lnTo>
                    <a:pt x="454" y="810"/>
                  </a:lnTo>
                  <a:lnTo>
                    <a:pt x="526" y="785"/>
                  </a:lnTo>
                  <a:lnTo>
                    <a:pt x="526" y="778"/>
                  </a:lnTo>
                  <a:lnTo>
                    <a:pt x="535" y="778"/>
                  </a:lnTo>
                  <a:lnTo>
                    <a:pt x="560" y="778"/>
                  </a:lnTo>
                  <a:lnTo>
                    <a:pt x="567" y="794"/>
                  </a:lnTo>
                  <a:lnTo>
                    <a:pt x="567" y="800"/>
                  </a:lnTo>
                  <a:lnTo>
                    <a:pt x="576" y="800"/>
                  </a:lnTo>
                  <a:lnTo>
                    <a:pt x="591" y="810"/>
                  </a:lnTo>
                  <a:lnTo>
                    <a:pt x="591" y="818"/>
                  </a:lnTo>
                  <a:lnTo>
                    <a:pt x="608" y="818"/>
                  </a:lnTo>
                  <a:lnTo>
                    <a:pt x="625" y="800"/>
                  </a:lnTo>
                  <a:lnTo>
                    <a:pt x="640" y="794"/>
                  </a:lnTo>
                  <a:lnTo>
                    <a:pt x="648" y="818"/>
                  </a:lnTo>
                  <a:lnTo>
                    <a:pt x="682" y="874"/>
                  </a:lnTo>
                  <a:lnTo>
                    <a:pt x="688" y="859"/>
                  </a:lnTo>
                  <a:lnTo>
                    <a:pt x="697" y="874"/>
                  </a:lnTo>
                  <a:lnTo>
                    <a:pt x="722" y="865"/>
                  </a:lnTo>
                  <a:lnTo>
                    <a:pt x="747" y="890"/>
                  </a:lnTo>
                  <a:lnTo>
                    <a:pt x="762" y="899"/>
                  </a:lnTo>
                  <a:lnTo>
                    <a:pt x="762" y="890"/>
                  </a:lnTo>
                  <a:lnTo>
                    <a:pt x="778" y="907"/>
                  </a:lnTo>
                  <a:lnTo>
                    <a:pt x="787" y="899"/>
                  </a:lnTo>
                  <a:lnTo>
                    <a:pt x="827" y="874"/>
                  </a:lnTo>
                  <a:lnTo>
                    <a:pt x="859" y="882"/>
                  </a:lnTo>
                  <a:lnTo>
                    <a:pt x="875" y="890"/>
                  </a:lnTo>
                  <a:lnTo>
                    <a:pt x="908" y="890"/>
                  </a:lnTo>
                  <a:lnTo>
                    <a:pt x="908" y="859"/>
                  </a:lnTo>
                  <a:lnTo>
                    <a:pt x="924" y="850"/>
                  </a:lnTo>
                  <a:lnTo>
                    <a:pt x="958" y="859"/>
                  </a:lnTo>
                  <a:lnTo>
                    <a:pt x="973" y="882"/>
                  </a:lnTo>
                  <a:lnTo>
                    <a:pt x="983" y="882"/>
                  </a:lnTo>
                  <a:lnTo>
                    <a:pt x="998" y="874"/>
                  </a:lnTo>
                  <a:lnTo>
                    <a:pt x="1046" y="899"/>
                  </a:lnTo>
                  <a:lnTo>
                    <a:pt x="1070" y="907"/>
                  </a:lnTo>
                  <a:lnTo>
                    <a:pt x="1103" y="899"/>
                  </a:lnTo>
                  <a:lnTo>
                    <a:pt x="1120" y="882"/>
                  </a:lnTo>
                  <a:lnTo>
                    <a:pt x="1144" y="890"/>
                  </a:lnTo>
                  <a:lnTo>
                    <a:pt x="1160" y="899"/>
                  </a:lnTo>
                  <a:lnTo>
                    <a:pt x="1185" y="890"/>
                  </a:lnTo>
                  <a:lnTo>
                    <a:pt x="1192" y="859"/>
                  </a:lnTo>
                  <a:lnTo>
                    <a:pt x="1200" y="850"/>
                  </a:lnTo>
                  <a:lnTo>
                    <a:pt x="1200" y="841"/>
                  </a:lnTo>
                  <a:lnTo>
                    <a:pt x="1192" y="841"/>
                  </a:lnTo>
                  <a:lnTo>
                    <a:pt x="1200" y="825"/>
                  </a:lnTo>
                  <a:lnTo>
                    <a:pt x="1232" y="818"/>
                  </a:lnTo>
                  <a:lnTo>
                    <a:pt x="1257" y="825"/>
                  </a:lnTo>
                  <a:lnTo>
                    <a:pt x="1272" y="841"/>
                  </a:lnTo>
                  <a:lnTo>
                    <a:pt x="1290" y="899"/>
                  </a:lnTo>
                  <a:lnTo>
                    <a:pt x="1306" y="899"/>
                  </a:lnTo>
                  <a:lnTo>
                    <a:pt x="1331" y="915"/>
                  </a:lnTo>
                  <a:lnTo>
                    <a:pt x="1331" y="931"/>
                  </a:lnTo>
                  <a:lnTo>
                    <a:pt x="1347" y="931"/>
                  </a:lnTo>
                  <a:lnTo>
                    <a:pt x="1379" y="922"/>
                  </a:lnTo>
                  <a:lnTo>
                    <a:pt x="1379" y="939"/>
                  </a:lnTo>
                  <a:lnTo>
                    <a:pt x="1356" y="987"/>
                  </a:lnTo>
                  <a:lnTo>
                    <a:pt x="1347" y="980"/>
                  </a:lnTo>
                  <a:lnTo>
                    <a:pt x="1331" y="987"/>
                  </a:lnTo>
                  <a:lnTo>
                    <a:pt x="1331" y="1027"/>
                  </a:lnTo>
                  <a:lnTo>
                    <a:pt x="1337" y="1012"/>
                  </a:lnTo>
                  <a:lnTo>
                    <a:pt x="1347" y="1012"/>
                  </a:lnTo>
                  <a:lnTo>
                    <a:pt x="1347" y="1021"/>
                  </a:lnTo>
                  <a:lnTo>
                    <a:pt x="1356" y="1027"/>
                  </a:lnTo>
                  <a:lnTo>
                    <a:pt x="1379" y="1012"/>
                  </a:lnTo>
                  <a:lnTo>
                    <a:pt x="1452" y="922"/>
                  </a:lnTo>
                  <a:lnTo>
                    <a:pt x="1452" y="865"/>
                  </a:lnTo>
                  <a:lnTo>
                    <a:pt x="1461" y="850"/>
                  </a:lnTo>
                  <a:lnTo>
                    <a:pt x="1461" y="825"/>
                  </a:lnTo>
                  <a:lnTo>
                    <a:pt x="1443" y="800"/>
                  </a:lnTo>
                  <a:lnTo>
                    <a:pt x="1436" y="800"/>
                  </a:lnTo>
                  <a:lnTo>
                    <a:pt x="1428" y="818"/>
                  </a:lnTo>
                  <a:lnTo>
                    <a:pt x="1411" y="818"/>
                  </a:lnTo>
                  <a:lnTo>
                    <a:pt x="1419" y="800"/>
                  </a:lnTo>
                  <a:lnTo>
                    <a:pt x="1411" y="800"/>
                  </a:lnTo>
                  <a:lnTo>
                    <a:pt x="1403" y="794"/>
                  </a:lnTo>
                  <a:lnTo>
                    <a:pt x="1387" y="794"/>
                  </a:lnTo>
                  <a:lnTo>
                    <a:pt x="1387" y="785"/>
                  </a:lnTo>
                  <a:lnTo>
                    <a:pt x="1484" y="688"/>
                  </a:lnTo>
                  <a:lnTo>
                    <a:pt x="1518" y="679"/>
                  </a:lnTo>
                  <a:lnTo>
                    <a:pt x="1524" y="688"/>
                  </a:lnTo>
                  <a:lnTo>
                    <a:pt x="1533" y="679"/>
                  </a:lnTo>
                  <a:lnTo>
                    <a:pt x="1558" y="688"/>
                  </a:lnTo>
                  <a:lnTo>
                    <a:pt x="1565" y="672"/>
                  </a:lnTo>
                  <a:lnTo>
                    <a:pt x="1590" y="679"/>
                  </a:lnTo>
                  <a:lnTo>
                    <a:pt x="1598" y="679"/>
                  </a:lnTo>
                  <a:lnTo>
                    <a:pt x="1590" y="688"/>
                  </a:lnTo>
                  <a:lnTo>
                    <a:pt x="1590" y="695"/>
                  </a:lnTo>
                  <a:lnTo>
                    <a:pt x="1638" y="688"/>
                  </a:lnTo>
                  <a:lnTo>
                    <a:pt x="1630" y="679"/>
                  </a:lnTo>
                  <a:lnTo>
                    <a:pt x="1663" y="623"/>
                  </a:lnTo>
                  <a:lnTo>
                    <a:pt x="1704" y="614"/>
                  </a:lnTo>
                  <a:lnTo>
                    <a:pt x="1704" y="632"/>
                  </a:lnTo>
                  <a:lnTo>
                    <a:pt x="1704" y="648"/>
                  </a:lnTo>
                  <a:lnTo>
                    <a:pt x="1744" y="623"/>
                  </a:lnTo>
                  <a:lnTo>
                    <a:pt x="1744" y="598"/>
                  </a:lnTo>
                  <a:lnTo>
                    <a:pt x="1760" y="598"/>
                  </a:lnTo>
                  <a:lnTo>
                    <a:pt x="1754" y="608"/>
                  </a:lnTo>
                  <a:lnTo>
                    <a:pt x="1744" y="648"/>
                  </a:lnTo>
                  <a:lnTo>
                    <a:pt x="1729" y="655"/>
                  </a:lnTo>
                  <a:lnTo>
                    <a:pt x="1679" y="713"/>
                  </a:lnTo>
                  <a:lnTo>
                    <a:pt x="1663" y="720"/>
                  </a:lnTo>
                  <a:lnTo>
                    <a:pt x="1646" y="778"/>
                  </a:lnTo>
                  <a:lnTo>
                    <a:pt x="1663" y="874"/>
                  </a:lnTo>
                  <a:lnTo>
                    <a:pt x="1679" y="859"/>
                  </a:lnTo>
                  <a:lnTo>
                    <a:pt x="1704" y="825"/>
                  </a:lnTo>
                  <a:lnTo>
                    <a:pt x="1704" y="800"/>
                  </a:lnTo>
                  <a:lnTo>
                    <a:pt x="1711" y="800"/>
                  </a:lnTo>
                  <a:lnTo>
                    <a:pt x="1729" y="794"/>
                  </a:lnTo>
                  <a:lnTo>
                    <a:pt x="1729" y="769"/>
                  </a:lnTo>
                  <a:lnTo>
                    <a:pt x="1735" y="760"/>
                  </a:lnTo>
                  <a:lnTo>
                    <a:pt x="1744" y="760"/>
                  </a:lnTo>
                  <a:lnTo>
                    <a:pt x="1744" y="745"/>
                  </a:lnTo>
                  <a:lnTo>
                    <a:pt x="1744" y="728"/>
                  </a:lnTo>
                  <a:lnTo>
                    <a:pt x="1729" y="713"/>
                  </a:lnTo>
                  <a:lnTo>
                    <a:pt x="1744" y="688"/>
                  </a:lnTo>
                  <a:lnTo>
                    <a:pt x="1744" y="672"/>
                  </a:lnTo>
                  <a:lnTo>
                    <a:pt x="1760" y="672"/>
                  </a:lnTo>
                  <a:lnTo>
                    <a:pt x="1785" y="655"/>
                  </a:lnTo>
                  <a:lnTo>
                    <a:pt x="1785" y="672"/>
                  </a:lnTo>
                  <a:lnTo>
                    <a:pt x="1794" y="663"/>
                  </a:lnTo>
                  <a:lnTo>
                    <a:pt x="1817" y="655"/>
                  </a:lnTo>
                  <a:lnTo>
                    <a:pt x="1834" y="672"/>
                  </a:lnTo>
                  <a:lnTo>
                    <a:pt x="1841" y="655"/>
                  </a:lnTo>
                  <a:lnTo>
                    <a:pt x="1922" y="598"/>
                  </a:lnTo>
                  <a:lnTo>
                    <a:pt x="1946" y="608"/>
                  </a:lnTo>
                  <a:lnTo>
                    <a:pt x="1956" y="598"/>
                  </a:lnTo>
                  <a:lnTo>
                    <a:pt x="1938" y="551"/>
                  </a:lnTo>
                  <a:lnTo>
                    <a:pt x="1931" y="551"/>
                  </a:lnTo>
                  <a:lnTo>
                    <a:pt x="1931" y="533"/>
                  </a:lnTo>
                  <a:lnTo>
                    <a:pt x="1938" y="533"/>
                  </a:lnTo>
                  <a:lnTo>
                    <a:pt x="1956" y="526"/>
                  </a:lnTo>
                  <a:lnTo>
                    <a:pt x="1971" y="509"/>
                  </a:lnTo>
                  <a:lnTo>
                    <a:pt x="1963" y="493"/>
                  </a:lnTo>
                  <a:lnTo>
                    <a:pt x="1971" y="486"/>
                  </a:lnTo>
                  <a:lnTo>
                    <a:pt x="1980" y="509"/>
                  </a:lnTo>
                  <a:lnTo>
                    <a:pt x="1996" y="509"/>
                  </a:lnTo>
                  <a:lnTo>
                    <a:pt x="2011" y="526"/>
                  </a:lnTo>
                  <a:lnTo>
                    <a:pt x="2053" y="551"/>
                  </a:lnTo>
                  <a:lnTo>
                    <a:pt x="2061" y="526"/>
                  </a:lnTo>
                  <a:lnTo>
                    <a:pt x="2061" y="509"/>
                  </a:lnTo>
                  <a:lnTo>
                    <a:pt x="2077" y="509"/>
                  </a:lnTo>
                  <a:lnTo>
                    <a:pt x="2093" y="493"/>
                  </a:lnTo>
                  <a:lnTo>
                    <a:pt x="2068" y="469"/>
                  </a:lnTo>
                  <a:lnTo>
                    <a:pt x="2028" y="461"/>
                  </a:lnTo>
                  <a:lnTo>
                    <a:pt x="1956" y="396"/>
                  </a:lnTo>
                  <a:lnTo>
                    <a:pt x="1906" y="364"/>
                  </a:lnTo>
                  <a:lnTo>
                    <a:pt x="1841" y="356"/>
                  </a:lnTo>
                  <a:lnTo>
                    <a:pt x="1841" y="396"/>
                  </a:lnTo>
                  <a:lnTo>
                    <a:pt x="1825" y="405"/>
                  </a:lnTo>
                  <a:lnTo>
                    <a:pt x="1809" y="387"/>
                  </a:lnTo>
                  <a:lnTo>
                    <a:pt x="1809" y="372"/>
                  </a:lnTo>
                  <a:lnTo>
                    <a:pt x="1817" y="372"/>
                  </a:lnTo>
                  <a:lnTo>
                    <a:pt x="1825" y="364"/>
                  </a:lnTo>
                  <a:lnTo>
                    <a:pt x="1809" y="364"/>
                  </a:lnTo>
                  <a:lnTo>
                    <a:pt x="1794" y="380"/>
                  </a:lnTo>
                  <a:lnTo>
                    <a:pt x="1754" y="372"/>
                  </a:lnTo>
                  <a:lnTo>
                    <a:pt x="1711" y="372"/>
                  </a:lnTo>
                  <a:lnTo>
                    <a:pt x="1695" y="364"/>
                  </a:lnTo>
                  <a:lnTo>
                    <a:pt x="1704" y="349"/>
                  </a:lnTo>
                  <a:lnTo>
                    <a:pt x="1688" y="324"/>
                  </a:lnTo>
                  <a:lnTo>
                    <a:pt x="1655" y="315"/>
                  </a:lnTo>
                  <a:lnTo>
                    <a:pt x="1605" y="331"/>
                  </a:lnTo>
                  <a:lnTo>
                    <a:pt x="1598" y="307"/>
                  </a:lnTo>
                  <a:lnTo>
                    <a:pt x="1583" y="307"/>
                  </a:lnTo>
                  <a:lnTo>
                    <a:pt x="1573" y="299"/>
                  </a:lnTo>
                  <a:lnTo>
                    <a:pt x="1573" y="275"/>
                  </a:lnTo>
                  <a:lnTo>
                    <a:pt x="1518" y="259"/>
                  </a:lnTo>
                  <a:lnTo>
                    <a:pt x="1452" y="243"/>
                  </a:lnTo>
                  <a:lnTo>
                    <a:pt x="1436" y="275"/>
                  </a:lnTo>
                  <a:lnTo>
                    <a:pt x="1452" y="299"/>
                  </a:lnTo>
                  <a:lnTo>
                    <a:pt x="1396" y="299"/>
                  </a:lnTo>
                  <a:lnTo>
                    <a:pt x="1379" y="307"/>
                  </a:lnTo>
                  <a:lnTo>
                    <a:pt x="1356" y="284"/>
                  </a:lnTo>
                  <a:lnTo>
                    <a:pt x="1337" y="331"/>
                  </a:lnTo>
                  <a:lnTo>
                    <a:pt x="1322" y="324"/>
                  </a:lnTo>
                  <a:lnTo>
                    <a:pt x="1306" y="290"/>
                  </a:lnTo>
                  <a:lnTo>
                    <a:pt x="1315" y="250"/>
                  </a:lnTo>
                  <a:lnTo>
                    <a:pt x="1297" y="225"/>
                  </a:lnTo>
                  <a:lnTo>
                    <a:pt x="1250" y="210"/>
                  </a:lnTo>
                  <a:lnTo>
                    <a:pt x="1232" y="210"/>
                  </a:lnTo>
                  <a:lnTo>
                    <a:pt x="1225" y="225"/>
                  </a:lnTo>
                  <a:lnTo>
                    <a:pt x="1232" y="243"/>
                  </a:lnTo>
                  <a:lnTo>
                    <a:pt x="1167" y="235"/>
                  </a:lnTo>
                  <a:lnTo>
                    <a:pt x="1175" y="210"/>
                  </a:lnTo>
                  <a:lnTo>
                    <a:pt x="1135" y="201"/>
                  </a:lnTo>
                  <a:lnTo>
                    <a:pt x="1111" y="218"/>
                  </a:lnTo>
                  <a:lnTo>
                    <a:pt x="1063" y="194"/>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0" name="Freeform 176">
              <a:extLst>
                <a:ext uri="{FF2B5EF4-FFF2-40B4-BE49-F238E27FC236}">
                  <a16:creationId xmlns:a16="http://schemas.microsoft.com/office/drawing/2014/main" id="{4AE65A9F-DEE6-48B2-917B-9D2D7699870F}"/>
                </a:ext>
              </a:extLst>
            </p:cNvPr>
            <p:cNvSpPr>
              <a:spLocks/>
            </p:cNvSpPr>
            <p:nvPr/>
          </p:nvSpPr>
          <p:spPr bwMode="auto">
            <a:xfrm>
              <a:off x="5683250" y="2366963"/>
              <a:ext cx="657225" cy="649287"/>
            </a:xfrm>
            <a:custGeom>
              <a:avLst/>
              <a:gdLst>
                <a:gd name="T0" fmla="*/ 2147483647 w 343"/>
                <a:gd name="T1" fmla="*/ 2147483647 h 399"/>
                <a:gd name="T2" fmla="*/ 2147483647 w 343"/>
                <a:gd name="T3" fmla="*/ 2147483647 h 399"/>
                <a:gd name="T4" fmla="*/ 2147483647 w 343"/>
                <a:gd name="T5" fmla="*/ 2147483647 h 399"/>
                <a:gd name="T6" fmla="*/ 2147483647 w 343"/>
                <a:gd name="T7" fmla="*/ 2147483647 h 399"/>
                <a:gd name="T8" fmla="*/ 0 w 343"/>
                <a:gd name="T9" fmla="*/ 2147483647 h 399"/>
                <a:gd name="T10" fmla="*/ 0 w 343"/>
                <a:gd name="T11" fmla="*/ 2147483647 h 399"/>
                <a:gd name="T12" fmla="*/ 2147483647 w 343"/>
                <a:gd name="T13" fmla="*/ 2147483647 h 399"/>
                <a:gd name="T14" fmla="*/ 2147483647 w 343"/>
                <a:gd name="T15" fmla="*/ 2147483647 h 399"/>
                <a:gd name="T16" fmla="*/ 2147483647 w 343"/>
                <a:gd name="T17" fmla="*/ 2147483647 h 399"/>
                <a:gd name="T18" fmla="*/ 2147483647 w 343"/>
                <a:gd name="T19" fmla="*/ 2147483647 h 399"/>
                <a:gd name="T20" fmla="*/ 2147483647 w 343"/>
                <a:gd name="T21" fmla="*/ 2147483647 h 399"/>
                <a:gd name="T22" fmla="*/ 2147483647 w 343"/>
                <a:gd name="T23" fmla="*/ 2147483647 h 399"/>
                <a:gd name="T24" fmla="*/ 2147483647 w 343"/>
                <a:gd name="T25" fmla="*/ 2147483647 h 399"/>
                <a:gd name="T26" fmla="*/ 2147483647 w 343"/>
                <a:gd name="T27" fmla="*/ 2147483647 h 399"/>
                <a:gd name="T28" fmla="*/ 2147483647 w 343"/>
                <a:gd name="T29" fmla="*/ 2147483647 h 399"/>
                <a:gd name="T30" fmla="*/ 2147483647 w 343"/>
                <a:gd name="T31" fmla="*/ 2147483647 h 399"/>
                <a:gd name="T32" fmla="*/ 2147483647 w 343"/>
                <a:gd name="T33" fmla="*/ 2147483647 h 399"/>
                <a:gd name="T34" fmla="*/ 2147483647 w 343"/>
                <a:gd name="T35" fmla="*/ 0 h 399"/>
                <a:gd name="T36" fmla="*/ 2147483647 w 343"/>
                <a:gd name="T37" fmla="*/ 2147483647 h 399"/>
                <a:gd name="T38" fmla="*/ 2147483647 w 343"/>
                <a:gd name="T39" fmla="*/ 2147483647 h 399"/>
                <a:gd name="T40" fmla="*/ 2147483647 w 343"/>
                <a:gd name="T41" fmla="*/ 2147483647 h 399"/>
                <a:gd name="T42" fmla="*/ 2147483647 w 343"/>
                <a:gd name="T43" fmla="*/ 2147483647 h 399"/>
                <a:gd name="T44" fmla="*/ 2147483647 w 343"/>
                <a:gd name="T45" fmla="*/ 2147483647 h 399"/>
                <a:gd name="T46" fmla="*/ 2147483647 w 343"/>
                <a:gd name="T47" fmla="*/ 2147483647 h 399"/>
                <a:gd name="T48" fmla="*/ 2147483647 w 343"/>
                <a:gd name="T49" fmla="*/ 2147483647 h 399"/>
                <a:gd name="T50" fmla="*/ 2147483647 w 343"/>
                <a:gd name="T51" fmla="*/ 2147483647 h 399"/>
                <a:gd name="T52" fmla="*/ 2147483647 w 343"/>
                <a:gd name="T53" fmla="*/ 2147483647 h 399"/>
                <a:gd name="T54" fmla="*/ 2147483647 w 343"/>
                <a:gd name="T55" fmla="*/ 2147483647 h 399"/>
                <a:gd name="T56" fmla="*/ 2147483647 w 343"/>
                <a:gd name="T57" fmla="*/ 2147483647 h 399"/>
                <a:gd name="T58" fmla="*/ 2147483647 w 343"/>
                <a:gd name="T59" fmla="*/ 2147483647 h 399"/>
                <a:gd name="T60" fmla="*/ 2147483647 w 343"/>
                <a:gd name="T61" fmla="*/ 2147483647 h 399"/>
                <a:gd name="T62" fmla="*/ 2147483647 w 343"/>
                <a:gd name="T63" fmla="*/ 2147483647 h 399"/>
                <a:gd name="T64" fmla="*/ 2147483647 w 343"/>
                <a:gd name="T65" fmla="*/ 2147483647 h 399"/>
                <a:gd name="T66" fmla="*/ 2147483647 w 343"/>
                <a:gd name="T67" fmla="*/ 2147483647 h 399"/>
                <a:gd name="T68" fmla="*/ 2147483647 w 343"/>
                <a:gd name="T69" fmla="*/ 2147483647 h 399"/>
                <a:gd name="T70" fmla="*/ 2147483647 w 343"/>
                <a:gd name="T71" fmla="*/ 2147483647 h 39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43"/>
                <a:gd name="T109" fmla="*/ 0 h 399"/>
                <a:gd name="T110" fmla="*/ 343 w 343"/>
                <a:gd name="T111" fmla="*/ 399 h 39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43" h="399">
                  <a:moveTo>
                    <a:pt x="81" y="380"/>
                  </a:moveTo>
                  <a:lnTo>
                    <a:pt x="81" y="373"/>
                  </a:lnTo>
                  <a:lnTo>
                    <a:pt x="74" y="364"/>
                  </a:lnTo>
                  <a:lnTo>
                    <a:pt x="74" y="373"/>
                  </a:lnTo>
                  <a:lnTo>
                    <a:pt x="65" y="373"/>
                  </a:lnTo>
                  <a:lnTo>
                    <a:pt x="40" y="398"/>
                  </a:lnTo>
                  <a:lnTo>
                    <a:pt x="25" y="398"/>
                  </a:lnTo>
                  <a:lnTo>
                    <a:pt x="9" y="388"/>
                  </a:lnTo>
                  <a:lnTo>
                    <a:pt x="9" y="340"/>
                  </a:lnTo>
                  <a:lnTo>
                    <a:pt x="0" y="324"/>
                  </a:lnTo>
                  <a:lnTo>
                    <a:pt x="9" y="308"/>
                  </a:lnTo>
                  <a:lnTo>
                    <a:pt x="0" y="299"/>
                  </a:lnTo>
                  <a:lnTo>
                    <a:pt x="34" y="276"/>
                  </a:lnTo>
                  <a:lnTo>
                    <a:pt x="40" y="268"/>
                  </a:lnTo>
                  <a:lnTo>
                    <a:pt x="59" y="259"/>
                  </a:lnTo>
                  <a:lnTo>
                    <a:pt x="81" y="218"/>
                  </a:lnTo>
                  <a:lnTo>
                    <a:pt x="99" y="203"/>
                  </a:lnTo>
                  <a:lnTo>
                    <a:pt x="114" y="162"/>
                  </a:lnTo>
                  <a:lnTo>
                    <a:pt x="131" y="122"/>
                  </a:lnTo>
                  <a:lnTo>
                    <a:pt x="146" y="106"/>
                  </a:lnTo>
                  <a:lnTo>
                    <a:pt x="122" y="112"/>
                  </a:lnTo>
                  <a:lnTo>
                    <a:pt x="106" y="122"/>
                  </a:lnTo>
                  <a:lnTo>
                    <a:pt x="114" y="106"/>
                  </a:lnTo>
                  <a:lnTo>
                    <a:pt x="122" y="90"/>
                  </a:lnTo>
                  <a:lnTo>
                    <a:pt x="146" y="72"/>
                  </a:lnTo>
                  <a:lnTo>
                    <a:pt x="146" y="90"/>
                  </a:lnTo>
                  <a:lnTo>
                    <a:pt x="156" y="81"/>
                  </a:lnTo>
                  <a:lnTo>
                    <a:pt x="156" y="65"/>
                  </a:lnTo>
                  <a:lnTo>
                    <a:pt x="171" y="57"/>
                  </a:lnTo>
                  <a:lnTo>
                    <a:pt x="179" y="41"/>
                  </a:lnTo>
                  <a:lnTo>
                    <a:pt x="196" y="41"/>
                  </a:lnTo>
                  <a:lnTo>
                    <a:pt x="211" y="34"/>
                  </a:lnTo>
                  <a:lnTo>
                    <a:pt x="236" y="9"/>
                  </a:lnTo>
                  <a:lnTo>
                    <a:pt x="251" y="16"/>
                  </a:lnTo>
                  <a:lnTo>
                    <a:pt x="268" y="0"/>
                  </a:lnTo>
                  <a:lnTo>
                    <a:pt x="293" y="0"/>
                  </a:lnTo>
                  <a:lnTo>
                    <a:pt x="308" y="9"/>
                  </a:lnTo>
                  <a:lnTo>
                    <a:pt x="342" y="34"/>
                  </a:lnTo>
                  <a:lnTo>
                    <a:pt x="326" y="41"/>
                  </a:lnTo>
                  <a:lnTo>
                    <a:pt x="308" y="41"/>
                  </a:lnTo>
                  <a:lnTo>
                    <a:pt x="326" y="49"/>
                  </a:lnTo>
                  <a:lnTo>
                    <a:pt x="333" y="57"/>
                  </a:lnTo>
                  <a:lnTo>
                    <a:pt x="308" y="81"/>
                  </a:lnTo>
                  <a:lnTo>
                    <a:pt x="317" y="57"/>
                  </a:lnTo>
                  <a:lnTo>
                    <a:pt x="293" y="41"/>
                  </a:lnTo>
                  <a:lnTo>
                    <a:pt x="276" y="49"/>
                  </a:lnTo>
                  <a:lnTo>
                    <a:pt x="268" y="81"/>
                  </a:lnTo>
                  <a:lnTo>
                    <a:pt x="261" y="90"/>
                  </a:lnTo>
                  <a:lnTo>
                    <a:pt x="227" y="90"/>
                  </a:lnTo>
                  <a:lnTo>
                    <a:pt x="211" y="72"/>
                  </a:lnTo>
                  <a:lnTo>
                    <a:pt x="202" y="81"/>
                  </a:lnTo>
                  <a:lnTo>
                    <a:pt x="196" y="81"/>
                  </a:lnTo>
                  <a:lnTo>
                    <a:pt x="196" y="97"/>
                  </a:lnTo>
                  <a:lnTo>
                    <a:pt x="179" y="97"/>
                  </a:lnTo>
                  <a:lnTo>
                    <a:pt x="171" y="97"/>
                  </a:lnTo>
                  <a:lnTo>
                    <a:pt x="171" y="112"/>
                  </a:lnTo>
                  <a:lnTo>
                    <a:pt x="162" y="112"/>
                  </a:lnTo>
                  <a:lnTo>
                    <a:pt x="156" y="122"/>
                  </a:lnTo>
                  <a:lnTo>
                    <a:pt x="146" y="137"/>
                  </a:lnTo>
                  <a:lnTo>
                    <a:pt x="146" y="154"/>
                  </a:lnTo>
                  <a:lnTo>
                    <a:pt x="131" y="178"/>
                  </a:lnTo>
                  <a:lnTo>
                    <a:pt x="122" y="203"/>
                  </a:lnTo>
                  <a:lnTo>
                    <a:pt x="114" y="218"/>
                  </a:lnTo>
                  <a:lnTo>
                    <a:pt x="122" y="236"/>
                  </a:lnTo>
                  <a:lnTo>
                    <a:pt x="106" y="243"/>
                  </a:lnTo>
                  <a:lnTo>
                    <a:pt x="99" y="251"/>
                  </a:lnTo>
                  <a:lnTo>
                    <a:pt x="90" y="283"/>
                  </a:lnTo>
                  <a:lnTo>
                    <a:pt x="99" y="317"/>
                  </a:lnTo>
                  <a:lnTo>
                    <a:pt x="99" y="348"/>
                  </a:lnTo>
                  <a:lnTo>
                    <a:pt x="90" y="357"/>
                  </a:lnTo>
                  <a:lnTo>
                    <a:pt x="90" y="380"/>
                  </a:lnTo>
                  <a:lnTo>
                    <a:pt x="81" y="380"/>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1" name="Freeform 177">
              <a:extLst>
                <a:ext uri="{FF2B5EF4-FFF2-40B4-BE49-F238E27FC236}">
                  <a16:creationId xmlns:a16="http://schemas.microsoft.com/office/drawing/2014/main" id="{BBB04D14-2F8B-49C3-B15C-38E123902A05}"/>
                </a:ext>
              </a:extLst>
            </p:cNvPr>
            <p:cNvSpPr>
              <a:spLocks/>
            </p:cNvSpPr>
            <p:nvPr/>
          </p:nvSpPr>
          <p:spPr bwMode="auto">
            <a:xfrm>
              <a:off x="6197600" y="3541713"/>
              <a:ext cx="466725" cy="158750"/>
            </a:xfrm>
            <a:custGeom>
              <a:avLst/>
              <a:gdLst>
                <a:gd name="T0" fmla="*/ 2147483647 w 245"/>
                <a:gd name="T1" fmla="*/ 2147483647 h 98"/>
                <a:gd name="T2" fmla="*/ 2147483647 w 245"/>
                <a:gd name="T3" fmla="*/ 2147483647 h 98"/>
                <a:gd name="T4" fmla="*/ 2147483647 w 245"/>
                <a:gd name="T5" fmla="*/ 2147483647 h 98"/>
                <a:gd name="T6" fmla="*/ 2147483647 w 245"/>
                <a:gd name="T7" fmla="*/ 2147483647 h 98"/>
                <a:gd name="T8" fmla="*/ 2147483647 w 245"/>
                <a:gd name="T9" fmla="*/ 2147483647 h 98"/>
                <a:gd name="T10" fmla="*/ 2147483647 w 245"/>
                <a:gd name="T11" fmla="*/ 2147483647 h 98"/>
                <a:gd name="T12" fmla="*/ 2147483647 w 245"/>
                <a:gd name="T13" fmla="*/ 0 h 98"/>
                <a:gd name="T14" fmla="*/ 2147483647 w 245"/>
                <a:gd name="T15" fmla="*/ 0 h 98"/>
                <a:gd name="T16" fmla="*/ 2147483647 w 245"/>
                <a:gd name="T17" fmla="*/ 2147483647 h 98"/>
                <a:gd name="T18" fmla="*/ 2147483647 w 245"/>
                <a:gd name="T19" fmla="*/ 2147483647 h 98"/>
                <a:gd name="T20" fmla="*/ 2147483647 w 245"/>
                <a:gd name="T21" fmla="*/ 2147483647 h 98"/>
                <a:gd name="T22" fmla="*/ 2147483647 w 245"/>
                <a:gd name="T23" fmla="*/ 0 h 98"/>
                <a:gd name="T24" fmla="*/ 2147483647 w 245"/>
                <a:gd name="T25" fmla="*/ 0 h 98"/>
                <a:gd name="T26" fmla="*/ 2147483647 w 245"/>
                <a:gd name="T27" fmla="*/ 2147483647 h 98"/>
                <a:gd name="T28" fmla="*/ 0 w 245"/>
                <a:gd name="T29" fmla="*/ 2147483647 h 98"/>
                <a:gd name="T30" fmla="*/ 2147483647 w 245"/>
                <a:gd name="T31" fmla="*/ 2147483647 h 98"/>
                <a:gd name="T32" fmla="*/ 2147483647 w 245"/>
                <a:gd name="T33" fmla="*/ 2147483647 h 98"/>
                <a:gd name="T34" fmla="*/ 2147483647 w 245"/>
                <a:gd name="T35" fmla="*/ 2147483647 h 98"/>
                <a:gd name="T36" fmla="*/ 2147483647 w 245"/>
                <a:gd name="T37" fmla="*/ 2147483647 h 98"/>
                <a:gd name="T38" fmla="*/ 2147483647 w 245"/>
                <a:gd name="T39" fmla="*/ 2147483647 h 98"/>
                <a:gd name="T40" fmla="*/ 2147483647 w 245"/>
                <a:gd name="T41" fmla="*/ 2147483647 h 98"/>
                <a:gd name="T42" fmla="*/ 2147483647 w 245"/>
                <a:gd name="T43" fmla="*/ 2147483647 h 98"/>
                <a:gd name="T44" fmla="*/ 2147483647 w 245"/>
                <a:gd name="T45" fmla="*/ 2147483647 h 98"/>
                <a:gd name="T46" fmla="*/ 2147483647 w 245"/>
                <a:gd name="T47" fmla="*/ 2147483647 h 98"/>
                <a:gd name="T48" fmla="*/ 2147483647 w 245"/>
                <a:gd name="T49" fmla="*/ 2147483647 h 98"/>
                <a:gd name="T50" fmla="*/ 2147483647 w 245"/>
                <a:gd name="T51" fmla="*/ 2147483647 h 98"/>
                <a:gd name="T52" fmla="*/ 2147483647 w 245"/>
                <a:gd name="T53" fmla="*/ 2147483647 h 98"/>
                <a:gd name="T54" fmla="*/ 2147483647 w 245"/>
                <a:gd name="T55" fmla="*/ 2147483647 h 98"/>
                <a:gd name="T56" fmla="*/ 2147483647 w 245"/>
                <a:gd name="T57" fmla="*/ 2147483647 h 98"/>
                <a:gd name="T58" fmla="*/ 2147483647 w 245"/>
                <a:gd name="T59" fmla="*/ 2147483647 h 98"/>
                <a:gd name="T60" fmla="*/ 2147483647 w 245"/>
                <a:gd name="T61" fmla="*/ 2147483647 h 98"/>
                <a:gd name="T62" fmla="*/ 2147483647 w 245"/>
                <a:gd name="T63" fmla="*/ 2147483647 h 98"/>
                <a:gd name="T64" fmla="*/ 2147483647 w 245"/>
                <a:gd name="T65" fmla="*/ 2147483647 h 98"/>
                <a:gd name="T66" fmla="*/ 2147483647 w 245"/>
                <a:gd name="T67" fmla="*/ 2147483647 h 98"/>
                <a:gd name="T68" fmla="*/ 2147483647 w 245"/>
                <a:gd name="T69" fmla="*/ 2147483647 h 98"/>
                <a:gd name="T70" fmla="*/ 2147483647 w 245"/>
                <a:gd name="T71" fmla="*/ 2147483647 h 98"/>
                <a:gd name="T72" fmla="*/ 2147483647 w 245"/>
                <a:gd name="T73" fmla="*/ 2147483647 h 98"/>
                <a:gd name="T74" fmla="*/ 2147483647 w 245"/>
                <a:gd name="T75" fmla="*/ 2147483647 h 98"/>
                <a:gd name="T76" fmla="*/ 2147483647 w 245"/>
                <a:gd name="T77" fmla="*/ 2147483647 h 98"/>
                <a:gd name="T78" fmla="*/ 2147483647 w 245"/>
                <a:gd name="T79" fmla="*/ 2147483647 h 98"/>
                <a:gd name="T80" fmla="*/ 2147483647 w 245"/>
                <a:gd name="T81" fmla="*/ 2147483647 h 98"/>
                <a:gd name="T82" fmla="*/ 2147483647 w 245"/>
                <a:gd name="T83" fmla="*/ 2147483647 h 98"/>
                <a:gd name="T84" fmla="*/ 2147483647 w 245"/>
                <a:gd name="T85" fmla="*/ 2147483647 h 98"/>
                <a:gd name="T86" fmla="*/ 2147483647 w 245"/>
                <a:gd name="T87" fmla="*/ 2147483647 h 98"/>
                <a:gd name="T88" fmla="*/ 2147483647 w 245"/>
                <a:gd name="T89" fmla="*/ 2147483647 h 98"/>
                <a:gd name="T90" fmla="*/ 2147483647 w 245"/>
                <a:gd name="T91" fmla="*/ 2147483647 h 98"/>
                <a:gd name="T92" fmla="*/ 2147483647 w 245"/>
                <a:gd name="T93" fmla="*/ 2147483647 h 98"/>
                <a:gd name="T94" fmla="*/ 2147483647 w 245"/>
                <a:gd name="T95" fmla="*/ 2147483647 h 98"/>
                <a:gd name="T96" fmla="*/ 2147483647 w 245"/>
                <a:gd name="T97" fmla="*/ 2147483647 h 98"/>
                <a:gd name="T98" fmla="*/ 2147483647 w 245"/>
                <a:gd name="T99" fmla="*/ 2147483647 h 98"/>
                <a:gd name="T100" fmla="*/ 2147483647 w 245"/>
                <a:gd name="T101" fmla="*/ 2147483647 h 9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45"/>
                <a:gd name="T154" fmla="*/ 0 h 98"/>
                <a:gd name="T155" fmla="*/ 245 w 245"/>
                <a:gd name="T156" fmla="*/ 98 h 9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45" h="98">
                  <a:moveTo>
                    <a:pt x="244" y="32"/>
                  </a:moveTo>
                  <a:lnTo>
                    <a:pt x="236" y="32"/>
                  </a:lnTo>
                  <a:lnTo>
                    <a:pt x="227" y="8"/>
                  </a:lnTo>
                  <a:lnTo>
                    <a:pt x="204" y="8"/>
                  </a:lnTo>
                  <a:lnTo>
                    <a:pt x="179" y="16"/>
                  </a:lnTo>
                  <a:lnTo>
                    <a:pt x="145" y="16"/>
                  </a:lnTo>
                  <a:lnTo>
                    <a:pt x="122" y="0"/>
                  </a:lnTo>
                  <a:lnTo>
                    <a:pt x="98" y="0"/>
                  </a:lnTo>
                  <a:lnTo>
                    <a:pt x="74" y="16"/>
                  </a:lnTo>
                  <a:lnTo>
                    <a:pt x="58" y="16"/>
                  </a:lnTo>
                  <a:lnTo>
                    <a:pt x="40" y="16"/>
                  </a:lnTo>
                  <a:lnTo>
                    <a:pt x="33" y="0"/>
                  </a:lnTo>
                  <a:lnTo>
                    <a:pt x="17" y="0"/>
                  </a:lnTo>
                  <a:lnTo>
                    <a:pt x="8" y="8"/>
                  </a:lnTo>
                  <a:lnTo>
                    <a:pt x="0" y="25"/>
                  </a:lnTo>
                  <a:lnTo>
                    <a:pt x="8" y="25"/>
                  </a:lnTo>
                  <a:lnTo>
                    <a:pt x="8" y="32"/>
                  </a:lnTo>
                  <a:lnTo>
                    <a:pt x="25" y="16"/>
                  </a:lnTo>
                  <a:lnTo>
                    <a:pt x="40" y="16"/>
                  </a:lnTo>
                  <a:lnTo>
                    <a:pt x="49" y="25"/>
                  </a:lnTo>
                  <a:lnTo>
                    <a:pt x="40" y="25"/>
                  </a:lnTo>
                  <a:lnTo>
                    <a:pt x="40" y="32"/>
                  </a:lnTo>
                  <a:lnTo>
                    <a:pt x="17" y="32"/>
                  </a:lnTo>
                  <a:lnTo>
                    <a:pt x="8" y="41"/>
                  </a:lnTo>
                  <a:lnTo>
                    <a:pt x="8" y="48"/>
                  </a:lnTo>
                  <a:lnTo>
                    <a:pt x="17" y="41"/>
                  </a:lnTo>
                  <a:lnTo>
                    <a:pt x="17" y="48"/>
                  </a:lnTo>
                  <a:lnTo>
                    <a:pt x="8" y="57"/>
                  </a:lnTo>
                  <a:lnTo>
                    <a:pt x="8" y="65"/>
                  </a:lnTo>
                  <a:lnTo>
                    <a:pt x="17" y="73"/>
                  </a:lnTo>
                  <a:lnTo>
                    <a:pt x="25" y="81"/>
                  </a:lnTo>
                  <a:lnTo>
                    <a:pt x="33" y="81"/>
                  </a:lnTo>
                  <a:lnTo>
                    <a:pt x="33" y="90"/>
                  </a:lnTo>
                  <a:lnTo>
                    <a:pt x="49" y="97"/>
                  </a:lnTo>
                  <a:lnTo>
                    <a:pt x="65" y="90"/>
                  </a:lnTo>
                  <a:lnTo>
                    <a:pt x="74" y="90"/>
                  </a:lnTo>
                  <a:lnTo>
                    <a:pt x="90" y="97"/>
                  </a:lnTo>
                  <a:lnTo>
                    <a:pt x="98" y="97"/>
                  </a:lnTo>
                  <a:lnTo>
                    <a:pt x="114" y="90"/>
                  </a:lnTo>
                  <a:lnTo>
                    <a:pt x="130" y="90"/>
                  </a:lnTo>
                  <a:lnTo>
                    <a:pt x="130" y="97"/>
                  </a:lnTo>
                  <a:lnTo>
                    <a:pt x="139" y="97"/>
                  </a:lnTo>
                  <a:lnTo>
                    <a:pt x="139" y="90"/>
                  </a:lnTo>
                  <a:lnTo>
                    <a:pt x="164" y="81"/>
                  </a:lnTo>
                  <a:lnTo>
                    <a:pt x="170" y="90"/>
                  </a:lnTo>
                  <a:lnTo>
                    <a:pt x="195" y="81"/>
                  </a:lnTo>
                  <a:lnTo>
                    <a:pt x="219" y="81"/>
                  </a:lnTo>
                  <a:lnTo>
                    <a:pt x="219" y="73"/>
                  </a:lnTo>
                  <a:lnTo>
                    <a:pt x="244" y="81"/>
                  </a:lnTo>
                  <a:lnTo>
                    <a:pt x="236" y="41"/>
                  </a:lnTo>
                  <a:lnTo>
                    <a:pt x="244" y="32"/>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2" name="Freeform 178">
              <a:extLst>
                <a:ext uri="{FF2B5EF4-FFF2-40B4-BE49-F238E27FC236}">
                  <a16:creationId xmlns:a16="http://schemas.microsoft.com/office/drawing/2014/main" id="{C7109DDD-59C5-45ED-8D9D-8EB92C516FD4}"/>
                </a:ext>
              </a:extLst>
            </p:cNvPr>
            <p:cNvSpPr>
              <a:spLocks/>
            </p:cNvSpPr>
            <p:nvPr/>
          </p:nvSpPr>
          <p:spPr bwMode="auto">
            <a:xfrm>
              <a:off x="3709988" y="4873625"/>
              <a:ext cx="204787" cy="950913"/>
            </a:xfrm>
            <a:custGeom>
              <a:avLst/>
              <a:gdLst>
                <a:gd name="T0" fmla="*/ 2147483647 w 107"/>
                <a:gd name="T1" fmla="*/ 0 h 583"/>
                <a:gd name="T2" fmla="*/ 2147483647 w 107"/>
                <a:gd name="T3" fmla="*/ 2147483647 h 583"/>
                <a:gd name="T4" fmla="*/ 2147483647 w 107"/>
                <a:gd name="T5" fmla="*/ 2147483647 h 583"/>
                <a:gd name="T6" fmla="*/ 2147483647 w 107"/>
                <a:gd name="T7" fmla="*/ 2147483647 h 583"/>
                <a:gd name="T8" fmla="*/ 2147483647 w 107"/>
                <a:gd name="T9" fmla="*/ 2147483647 h 583"/>
                <a:gd name="T10" fmla="*/ 2147483647 w 107"/>
                <a:gd name="T11" fmla="*/ 2147483647 h 583"/>
                <a:gd name="T12" fmla="*/ 2147483647 w 107"/>
                <a:gd name="T13" fmla="*/ 2147483647 h 583"/>
                <a:gd name="T14" fmla="*/ 2147483647 w 107"/>
                <a:gd name="T15" fmla="*/ 2147483647 h 583"/>
                <a:gd name="T16" fmla="*/ 2147483647 w 107"/>
                <a:gd name="T17" fmla="*/ 2147483647 h 583"/>
                <a:gd name="T18" fmla="*/ 2147483647 w 107"/>
                <a:gd name="T19" fmla="*/ 2147483647 h 583"/>
                <a:gd name="T20" fmla="*/ 2147483647 w 107"/>
                <a:gd name="T21" fmla="*/ 2147483647 h 583"/>
                <a:gd name="T22" fmla="*/ 2147483647 w 107"/>
                <a:gd name="T23" fmla="*/ 2147483647 h 583"/>
                <a:gd name="T24" fmla="*/ 2147483647 w 107"/>
                <a:gd name="T25" fmla="*/ 2147483647 h 583"/>
                <a:gd name="T26" fmla="*/ 2147483647 w 107"/>
                <a:gd name="T27" fmla="*/ 2147483647 h 583"/>
                <a:gd name="T28" fmla="*/ 2147483647 w 107"/>
                <a:gd name="T29" fmla="*/ 2147483647 h 583"/>
                <a:gd name="T30" fmla="*/ 2147483647 w 107"/>
                <a:gd name="T31" fmla="*/ 2147483647 h 583"/>
                <a:gd name="T32" fmla="*/ 2147483647 w 107"/>
                <a:gd name="T33" fmla="*/ 2147483647 h 583"/>
                <a:gd name="T34" fmla="*/ 2147483647 w 107"/>
                <a:gd name="T35" fmla="*/ 2147483647 h 583"/>
                <a:gd name="T36" fmla="*/ 2147483647 w 107"/>
                <a:gd name="T37" fmla="*/ 2147483647 h 583"/>
                <a:gd name="T38" fmla="*/ 2147483647 w 107"/>
                <a:gd name="T39" fmla="*/ 2147483647 h 583"/>
                <a:gd name="T40" fmla="*/ 2147483647 w 107"/>
                <a:gd name="T41" fmla="*/ 2147483647 h 583"/>
                <a:gd name="T42" fmla="*/ 2147483647 w 107"/>
                <a:gd name="T43" fmla="*/ 2147483647 h 583"/>
                <a:gd name="T44" fmla="*/ 2147483647 w 107"/>
                <a:gd name="T45" fmla="*/ 2147483647 h 583"/>
                <a:gd name="T46" fmla="*/ 2147483647 w 107"/>
                <a:gd name="T47" fmla="*/ 2147483647 h 583"/>
                <a:gd name="T48" fmla="*/ 2147483647 w 107"/>
                <a:gd name="T49" fmla="*/ 2147483647 h 583"/>
                <a:gd name="T50" fmla="*/ 2147483647 w 107"/>
                <a:gd name="T51" fmla="*/ 2147483647 h 583"/>
                <a:gd name="T52" fmla="*/ 2147483647 w 107"/>
                <a:gd name="T53" fmla="*/ 2147483647 h 583"/>
                <a:gd name="T54" fmla="*/ 2147483647 w 107"/>
                <a:gd name="T55" fmla="*/ 2147483647 h 583"/>
                <a:gd name="T56" fmla="*/ 0 w 107"/>
                <a:gd name="T57" fmla="*/ 2147483647 h 583"/>
                <a:gd name="T58" fmla="*/ 2147483647 w 107"/>
                <a:gd name="T59" fmla="*/ 2147483647 h 583"/>
                <a:gd name="T60" fmla="*/ 2147483647 w 107"/>
                <a:gd name="T61" fmla="*/ 2147483647 h 583"/>
                <a:gd name="T62" fmla="*/ 2147483647 w 107"/>
                <a:gd name="T63" fmla="*/ 2147483647 h 583"/>
                <a:gd name="T64" fmla="*/ 2147483647 w 107"/>
                <a:gd name="T65" fmla="*/ 2147483647 h 583"/>
                <a:gd name="T66" fmla="*/ 2147483647 w 107"/>
                <a:gd name="T67" fmla="*/ 2147483647 h 583"/>
                <a:gd name="T68" fmla="*/ 2147483647 w 107"/>
                <a:gd name="T69" fmla="*/ 2147483647 h 583"/>
                <a:gd name="T70" fmla="*/ 2147483647 w 107"/>
                <a:gd name="T71" fmla="*/ 2147483647 h 583"/>
                <a:gd name="T72" fmla="*/ 2147483647 w 107"/>
                <a:gd name="T73" fmla="*/ 2147483647 h 583"/>
                <a:gd name="T74" fmla="*/ 2147483647 w 107"/>
                <a:gd name="T75" fmla="*/ 2147483647 h 583"/>
                <a:gd name="T76" fmla="*/ 2147483647 w 107"/>
                <a:gd name="T77" fmla="*/ 2147483647 h 583"/>
                <a:gd name="T78" fmla="*/ 2147483647 w 107"/>
                <a:gd name="T79" fmla="*/ 2147483647 h 583"/>
                <a:gd name="T80" fmla="*/ 2147483647 w 107"/>
                <a:gd name="T81" fmla="*/ 2147483647 h 583"/>
                <a:gd name="T82" fmla="*/ 2147483647 w 107"/>
                <a:gd name="T83" fmla="*/ 2147483647 h 583"/>
                <a:gd name="T84" fmla="*/ 2147483647 w 107"/>
                <a:gd name="T85" fmla="*/ 2147483647 h 58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7"/>
                <a:gd name="T130" fmla="*/ 0 h 583"/>
                <a:gd name="T131" fmla="*/ 107 w 107"/>
                <a:gd name="T132" fmla="*/ 583 h 58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7" h="583">
                  <a:moveTo>
                    <a:pt x="66" y="7"/>
                  </a:moveTo>
                  <a:lnTo>
                    <a:pt x="82" y="0"/>
                  </a:lnTo>
                  <a:lnTo>
                    <a:pt x="89" y="24"/>
                  </a:lnTo>
                  <a:lnTo>
                    <a:pt x="89" y="32"/>
                  </a:lnTo>
                  <a:lnTo>
                    <a:pt x="97" y="72"/>
                  </a:lnTo>
                  <a:lnTo>
                    <a:pt x="106" y="72"/>
                  </a:lnTo>
                  <a:lnTo>
                    <a:pt x="106" y="90"/>
                  </a:lnTo>
                  <a:lnTo>
                    <a:pt x="89" y="97"/>
                  </a:lnTo>
                  <a:lnTo>
                    <a:pt x="97" y="121"/>
                  </a:lnTo>
                  <a:lnTo>
                    <a:pt x="82" y="146"/>
                  </a:lnTo>
                  <a:lnTo>
                    <a:pt x="66" y="193"/>
                  </a:lnTo>
                  <a:lnTo>
                    <a:pt x="72" y="227"/>
                  </a:lnTo>
                  <a:lnTo>
                    <a:pt x="66" y="252"/>
                  </a:lnTo>
                  <a:lnTo>
                    <a:pt x="66" y="268"/>
                  </a:lnTo>
                  <a:lnTo>
                    <a:pt x="57" y="275"/>
                  </a:lnTo>
                  <a:lnTo>
                    <a:pt x="57" y="308"/>
                  </a:lnTo>
                  <a:lnTo>
                    <a:pt x="48" y="323"/>
                  </a:lnTo>
                  <a:lnTo>
                    <a:pt x="48" y="357"/>
                  </a:lnTo>
                  <a:lnTo>
                    <a:pt x="48" y="373"/>
                  </a:lnTo>
                  <a:lnTo>
                    <a:pt x="48" y="405"/>
                  </a:lnTo>
                  <a:lnTo>
                    <a:pt x="57" y="405"/>
                  </a:lnTo>
                  <a:lnTo>
                    <a:pt x="57" y="414"/>
                  </a:lnTo>
                  <a:lnTo>
                    <a:pt x="48" y="445"/>
                  </a:lnTo>
                  <a:lnTo>
                    <a:pt x="41" y="460"/>
                  </a:lnTo>
                  <a:lnTo>
                    <a:pt x="41" y="477"/>
                  </a:lnTo>
                  <a:lnTo>
                    <a:pt x="32" y="502"/>
                  </a:lnTo>
                  <a:lnTo>
                    <a:pt x="32" y="519"/>
                  </a:lnTo>
                  <a:lnTo>
                    <a:pt x="32" y="526"/>
                  </a:lnTo>
                  <a:lnTo>
                    <a:pt x="41" y="519"/>
                  </a:lnTo>
                  <a:lnTo>
                    <a:pt x="41" y="542"/>
                  </a:lnTo>
                  <a:lnTo>
                    <a:pt x="48" y="551"/>
                  </a:lnTo>
                  <a:lnTo>
                    <a:pt x="72" y="551"/>
                  </a:lnTo>
                  <a:lnTo>
                    <a:pt x="89" y="551"/>
                  </a:lnTo>
                  <a:lnTo>
                    <a:pt x="89" y="559"/>
                  </a:lnTo>
                  <a:lnTo>
                    <a:pt x="82" y="559"/>
                  </a:lnTo>
                  <a:lnTo>
                    <a:pt x="66" y="566"/>
                  </a:lnTo>
                  <a:lnTo>
                    <a:pt x="66" y="582"/>
                  </a:lnTo>
                  <a:lnTo>
                    <a:pt x="57" y="582"/>
                  </a:lnTo>
                  <a:lnTo>
                    <a:pt x="48" y="575"/>
                  </a:lnTo>
                  <a:lnTo>
                    <a:pt x="57" y="575"/>
                  </a:lnTo>
                  <a:lnTo>
                    <a:pt x="57" y="566"/>
                  </a:lnTo>
                  <a:lnTo>
                    <a:pt x="41" y="575"/>
                  </a:lnTo>
                  <a:lnTo>
                    <a:pt x="32" y="566"/>
                  </a:lnTo>
                  <a:lnTo>
                    <a:pt x="32" y="559"/>
                  </a:lnTo>
                  <a:lnTo>
                    <a:pt x="23" y="559"/>
                  </a:lnTo>
                  <a:lnTo>
                    <a:pt x="17" y="551"/>
                  </a:lnTo>
                  <a:lnTo>
                    <a:pt x="17" y="559"/>
                  </a:lnTo>
                  <a:lnTo>
                    <a:pt x="8" y="551"/>
                  </a:lnTo>
                  <a:lnTo>
                    <a:pt x="8" y="542"/>
                  </a:lnTo>
                  <a:lnTo>
                    <a:pt x="17" y="534"/>
                  </a:lnTo>
                  <a:lnTo>
                    <a:pt x="17" y="526"/>
                  </a:lnTo>
                  <a:lnTo>
                    <a:pt x="17" y="534"/>
                  </a:lnTo>
                  <a:lnTo>
                    <a:pt x="8" y="542"/>
                  </a:lnTo>
                  <a:lnTo>
                    <a:pt x="17" y="534"/>
                  </a:lnTo>
                  <a:lnTo>
                    <a:pt x="17" y="526"/>
                  </a:lnTo>
                  <a:lnTo>
                    <a:pt x="17" y="510"/>
                  </a:lnTo>
                  <a:lnTo>
                    <a:pt x="8" y="510"/>
                  </a:lnTo>
                  <a:lnTo>
                    <a:pt x="0" y="502"/>
                  </a:lnTo>
                  <a:lnTo>
                    <a:pt x="0" y="494"/>
                  </a:lnTo>
                  <a:lnTo>
                    <a:pt x="8" y="470"/>
                  </a:lnTo>
                  <a:lnTo>
                    <a:pt x="8" y="460"/>
                  </a:lnTo>
                  <a:lnTo>
                    <a:pt x="17" y="477"/>
                  </a:lnTo>
                  <a:lnTo>
                    <a:pt x="23" y="454"/>
                  </a:lnTo>
                  <a:lnTo>
                    <a:pt x="8" y="445"/>
                  </a:lnTo>
                  <a:lnTo>
                    <a:pt x="0" y="445"/>
                  </a:lnTo>
                  <a:lnTo>
                    <a:pt x="8" y="429"/>
                  </a:lnTo>
                  <a:lnTo>
                    <a:pt x="17" y="429"/>
                  </a:lnTo>
                  <a:lnTo>
                    <a:pt x="17" y="405"/>
                  </a:lnTo>
                  <a:lnTo>
                    <a:pt x="23" y="395"/>
                  </a:lnTo>
                  <a:lnTo>
                    <a:pt x="23" y="414"/>
                  </a:lnTo>
                  <a:lnTo>
                    <a:pt x="41" y="364"/>
                  </a:lnTo>
                  <a:lnTo>
                    <a:pt x="41" y="357"/>
                  </a:lnTo>
                  <a:lnTo>
                    <a:pt x="32" y="357"/>
                  </a:lnTo>
                  <a:lnTo>
                    <a:pt x="23" y="348"/>
                  </a:lnTo>
                  <a:lnTo>
                    <a:pt x="23" y="323"/>
                  </a:lnTo>
                  <a:lnTo>
                    <a:pt x="32" y="315"/>
                  </a:lnTo>
                  <a:lnTo>
                    <a:pt x="23" y="292"/>
                  </a:lnTo>
                  <a:lnTo>
                    <a:pt x="32" y="283"/>
                  </a:lnTo>
                  <a:lnTo>
                    <a:pt x="57" y="209"/>
                  </a:lnTo>
                  <a:lnTo>
                    <a:pt x="48" y="186"/>
                  </a:lnTo>
                  <a:lnTo>
                    <a:pt x="57" y="171"/>
                  </a:lnTo>
                  <a:lnTo>
                    <a:pt x="57" y="153"/>
                  </a:lnTo>
                  <a:lnTo>
                    <a:pt x="66" y="121"/>
                  </a:lnTo>
                  <a:lnTo>
                    <a:pt x="66" y="72"/>
                  </a:lnTo>
                  <a:lnTo>
                    <a:pt x="72" y="49"/>
                  </a:lnTo>
                  <a:lnTo>
                    <a:pt x="66" y="7"/>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3" name="Freeform 179">
              <a:extLst>
                <a:ext uri="{FF2B5EF4-FFF2-40B4-BE49-F238E27FC236}">
                  <a16:creationId xmlns:a16="http://schemas.microsoft.com/office/drawing/2014/main" id="{C961ABCF-73AF-4202-A512-0AF293A59D1E}"/>
                </a:ext>
              </a:extLst>
            </p:cNvPr>
            <p:cNvSpPr>
              <a:spLocks/>
            </p:cNvSpPr>
            <p:nvPr/>
          </p:nvSpPr>
          <p:spPr bwMode="auto">
            <a:xfrm>
              <a:off x="3754438" y="5784850"/>
              <a:ext cx="130175" cy="103188"/>
            </a:xfrm>
            <a:custGeom>
              <a:avLst/>
              <a:gdLst>
                <a:gd name="T0" fmla="*/ 2147483647 w 67"/>
                <a:gd name="T1" fmla="*/ 2147483647 h 64"/>
                <a:gd name="T2" fmla="*/ 2147483647 w 67"/>
                <a:gd name="T3" fmla="*/ 0 h 64"/>
                <a:gd name="T4" fmla="*/ 2147483647 w 67"/>
                <a:gd name="T5" fmla="*/ 2147483647 h 64"/>
                <a:gd name="T6" fmla="*/ 2147483647 w 67"/>
                <a:gd name="T7" fmla="*/ 2147483647 h 64"/>
                <a:gd name="T8" fmla="*/ 2147483647 w 67"/>
                <a:gd name="T9" fmla="*/ 2147483647 h 64"/>
                <a:gd name="T10" fmla="*/ 2147483647 w 67"/>
                <a:gd name="T11" fmla="*/ 2147483647 h 64"/>
                <a:gd name="T12" fmla="*/ 2147483647 w 67"/>
                <a:gd name="T13" fmla="*/ 2147483647 h 64"/>
                <a:gd name="T14" fmla="*/ 0 w 67"/>
                <a:gd name="T15" fmla="*/ 2147483647 h 64"/>
                <a:gd name="T16" fmla="*/ 2147483647 w 67"/>
                <a:gd name="T17" fmla="*/ 2147483647 h 64"/>
                <a:gd name="T18" fmla="*/ 2147483647 w 67"/>
                <a:gd name="T19" fmla="*/ 2147483647 h 64"/>
                <a:gd name="T20" fmla="*/ 2147483647 w 67"/>
                <a:gd name="T21" fmla="*/ 2147483647 h 64"/>
                <a:gd name="T22" fmla="*/ 2147483647 w 67"/>
                <a:gd name="T23" fmla="*/ 2147483647 h 64"/>
                <a:gd name="T24" fmla="*/ 2147483647 w 67"/>
                <a:gd name="T25" fmla="*/ 2147483647 h 64"/>
                <a:gd name="T26" fmla="*/ 2147483647 w 67"/>
                <a:gd name="T27" fmla="*/ 2147483647 h 64"/>
                <a:gd name="T28" fmla="*/ 2147483647 w 67"/>
                <a:gd name="T29" fmla="*/ 2147483647 h 64"/>
                <a:gd name="T30" fmla="*/ 2147483647 w 67"/>
                <a:gd name="T31" fmla="*/ 2147483647 h 64"/>
                <a:gd name="T32" fmla="*/ 2147483647 w 67"/>
                <a:gd name="T33" fmla="*/ 2147483647 h 6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7"/>
                <a:gd name="T52" fmla="*/ 0 h 64"/>
                <a:gd name="T53" fmla="*/ 67 w 67"/>
                <a:gd name="T54" fmla="*/ 64 h 6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7" h="64">
                  <a:moveTo>
                    <a:pt x="66" y="48"/>
                  </a:moveTo>
                  <a:lnTo>
                    <a:pt x="66" y="0"/>
                  </a:lnTo>
                  <a:lnTo>
                    <a:pt x="49" y="7"/>
                  </a:lnTo>
                  <a:lnTo>
                    <a:pt x="49" y="23"/>
                  </a:lnTo>
                  <a:lnTo>
                    <a:pt x="43" y="32"/>
                  </a:lnTo>
                  <a:lnTo>
                    <a:pt x="34" y="32"/>
                  </a:lnTo>
                  <a:lnTo>
                    <a:pt x="9" y="16"/>
                  </a:lnTo>
                  <a:lnTo>
                    <a:pt x="0" y="23"/>
                  </a:lnTo>
                  <a:lnTo>
                    <a:pt x="9" y="32"/>
                  </a:lnTo>
                  <a:lnTo>
                    <a:pt x="18" y="32"/>
                  </a:lnTo>
                  <a:lnTo>
                    <a:pt x="18" y="40"/>
                  </a:lnTo>
                  <a:lnTo>
                    <a:pt x="25" y="40"/>
                  </a:lnTo>
                  <a:lnTo>
                    <a:pt x="25" y="48"/>
                  </a:lnTo>
                  <a:lnTo>
                    <a:pt x="43" y="57"/>
                  </a:lnTo>
                  <a:lnTo>
                    <a:pt x="49" y="57"/>
                  </a:lnTo>
                  <a:lnTo>
                    <a:pt x="59" y="63"/>
                  </a:lnTo>
                  <a:lnTo>
                    <a:pt x="66" y="48"/>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4" name="Freeform 180">
              <a:extLst>
                <a:ext uri="{FF2B5EF4-FFF2-40B4-BE49-F238E27FC236}">
                  <a16:creationId xmlns:a16="http://schemas.microsoft.com/office/drawing/2014/main" id="{E8B0202C-504E-408B-A86A-481585157644}"/>
                </a:ext>
              </a:extLst>
            </p:cNvPr>
            <p:cNvSpPr>
              <a:spLocks/>
            </p:cNvSpPr>
            <p:nvPr/>
          </p:nvSpPr>
          <p:spPr bwMode="auto">
            <a:xfrm>
              <a:off x="3881438" y="5784850"/>
              <a:ext cx="95250" cy="119063"/>
            </a:xfrm>
            <a:custGeom>
              <a:avLst/>
              <a:gdLst>
                <a:gd name="T0" fmla="*/ 0 w 50"/>
                <a:gd name="T1" fmla="*/ 2147483647 h 73"/>
                <a:gd name="T2" fmla="*/ 0 w 50"/>
                <a:gd name="T3" fmla="*/ 0 h 73"/>
                <a:gd name="T4" fmla="*/ 2147483647 w 50"/>
                <a:gd name="T5" fmla="*/ 2147483647 h 73"/>
                <a:gd name="T6" fmla="*/ 2147483647 w 50"/>
                <a:gd name="T7" fmla="*/ 2147483647 h 73"/>
                <a:gd name="T8" fmla="*/ 2147483647 w 50"/>
                <a:gd name="T9" fmla="*/ 2147483647 h 73"/>
                <a:gd name="T10" fmla="*/ 2147483647 w 50"/>
                <a:gd name="T11" fmla="*/ 2147483647 h 73"/>
                <a:gd name="T12" fmla="*/ 2147483647 w 50"/>
                <a:gd name="T13" fmla="*/ 2147483647 h 73"/>
                <a:gd name="T14" fmla="*/ 2147483647 w 50"/>
                <a:gd name="T15" fmla="*/ 2147483647 h 73"/>
                <a:gd name="T16" fmla="*/ 0 w 50"/>
                <a:gd name="T17" fmla="*/ 2147483647 h 7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0"/>
                <a:gd name="T28" fmla="*/ 0 h 73"/>
                <a:gd name="T29" fmla="*/ 50 w 50"/>
                <a:gd name="T30" fmla="*/ 73 h 7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0" h="73">
                  <a:moveTo>
                    <a:pt x="0" y="48"/>
                  </a:moveTo>
                  <a:lnTo>
                    <a:pt x="0" y="0"/>
                  </a:lnTo>
                  <a:lnTo>
                    <a:pt x="8" y="23"/>
                  </a:lnTo>
                  <a:lnTo>
                    <a:pt x="33" y="40"/>
                  </a:lnTo>
                  <a:lnTo>
                    <a:pt x="49" y="48"/>
                  </a:lnTo>
                  <a:lnTo>
                    <a:pt x="42" y="57"/>
                  </a:lnTo>
                  <a:lnTo>
                    <a:pt x="17" y="63"/>
                  </a:lnTo>
                  <a:lnTo>
                    <a:pt x="8" y="72"/>
                  </a:lnTo>
                  <a:lnTo>
                    <a:pt x="0" y="48"/>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5" name="Freeform 181">
              <a:extLst>
                <a:ext uri="{FF2B5EF4-FFF2-40B4-BE49-F238E27FC236}">
                  <a16:creationId xmlns:a16="http://schemas.microsoft.com/office/drawing/2014/main" id="{6A5A9433-C007-4D57-96AF-3FC3E8723452}"/>
                </a:ext>
              </a:extLst>
            </p:cNvPr>
            <p:cNvSpPr>
              <a:spLocks/>
            </p:cNvSpPr>
            <p:nvPr/>
          </p:nvSpPr>
          <p:spPr bwMode="auto">
            <a:xfrm>
              <a:off x="3771900" y="4965700"/>
              <a:ext cx="485775" cy="806450"/>
            </a:xfrm>
            <a:custGeom>
              <a:avLst/>
              <a:gdLst>
                <a:gd name="T0" fmla="*/ 2147483647 w 253"/>
                <a:gd name="T1" fmla="*/ 2147483647 h 496"/>
                <a:gd name="T2" fmla="*/ 2147483647 w 253"/>
                <a:gd name="T3" fmla="*/ 2147483647 h 496"/>
                <a:gd name="T4" fmla="*/ 2147483647 w 253"/>
                <a:gd name="T5" fmla="*/ 2147483647 h 496"/>
                <a:gd name="T6" fmla="*/ 2147483647 w 253"/>
                <a:gd name="T7" fmla="*/ 2147483647 h 496"/>
                <a:gd name="T8" fmla="*/ 2147483647 w 253"/>
                <a:gd name="T9" fmla="*/ 2147483647 h 496"/>
                <a:gd name="T10" fmla="*/ 2147483647 w 253"/>
                <a:gd name="T11" fmla="*/ 2147483647 h 496"/>
                <a:gd name="T12" fmla="*/ 2147483647 w 253"/>
                <a:gd name="T13" fmla="*/ 2147483647 h 496"/>
                <a:gd name="T14" fmla="*/ 2147483647 w 253"/>
                <a:gd name="T15" fmla="*/ 0 h 496"/>
                <a:gd name="T16" fmla="*/ 2147483647 w 253"/>
                <a:gd name="T17" fmla="*/ 0 h 496"/>
                <a:gd name="T18" fmla="*/ 2147483647 w 253"/>
                <a:gd name="T19" fmla="*/ 2147483647 h 496"/>
                <a:gd name="T20" fmla="*/ 2147483647 w 253"/>
                <a:gd name="T21" fmla="*/ 2147483647 h 496"/>
                <a:gd name="T22" fmla="*/ 2147483647 w 253"/>
                <a:gd name="T23" fmla="*/ 2147483647 h 496"/>
                <a:gd name="T24" fmla="*/ 2147483647 w 253"/>
                <a:gd name="T25" fmla="*/ 2147483647 h 496"/>
                <a:gd name="T26" fmla="*/ 2147483647 w 253"/>
                <a:gd name="T27" fmla="*/ 2147483647 h 496"/>
                <a:gd name="T28" fmla="*/ 2147483647 w 253"/>
                <a:gd name="T29" fmla="*/ 2147483647 h 496"/>
                <a:gd name="T30" fmla="*/ 2147483647 w 253"/>
                <a:gd name="T31" fmla="*/ 2147483647 h 496"/>
                <a:gd name="T32" fmla="*/ 2147483647 w 253"/>
                <a:gd name="T33" fmla="*/ 2147483647 h 496"/>
                <a:gd name="T34" fmla="*/ 2147483647 w 253"/>
                <a:gd name="T35" fmla="*/ 2147483647 h 496"/>
                <a:gd name="T36" fmla="*/ 2147483647 w 253"/>
                <a:gd name="T37" fmla="*/ 2147483647 h 496"/>
                <a:gd name="T38" fmla="*/ 0 w 253"/>
                <a:gd name="T39" fmla="*/ 2147483647 h 496"/>
                <a:gd name="T40" fmla="*/ 2147483647 w 253"/>
                <a:gd name="T41" fmla="*/ 2147483647 h 496"/>
                <a:gd name="T42" fmla="*/ 2147483647 w 253"/>
                <a:gd name="T43" fmla="*/ 2147483647 h 496"/>
                <a:gd name="T44" fmla="*/ 2147483647 w 253"/>
                <a:gd name="T45" fmla="*/ 2147483647 h 496"/>
                <a:gd name="T46" fmla="*/ 2147483647 w 253"/>
                <a:gd name="T47" fmla="*/ 2147483647 h 496"/>
                <a:gd name="T48" fmla="*/ 2147483647 w 253"/>
                <a:gd name="T49" fmla="*/ 2147483647 h 496"/>
                <a:gd name="T50" fmla="*/ 2147483647 w 253"/>
                <a:gd name="T51" fmla="*/ 2147483647 h 496"/>
                <a:gd name="T52" fmla="*/ 2147483647 w 253"/>
                <a:gd name="T53" fmla="*/ 2147483647 h 496"/>
                <a:gd name="T54" fmla="*/ 2147483647 w 253"/>
                <a:gd name="T55" fmla="*/ 2147483647 h 496"/>
                <a:gd name="T56" fmla="*/ 2147483647 w 253"/>
                <a:gd name="T57" fmla="*/ 2147483647 h 496"/>
                <a:gd name="T58" fmla="*/ 2147483647 w 253"/>
                <a:gd name="T59" fmla="*/ 2147483647 h 496"/>
                <a:gd name="T60" fmla="*/ 2147483647 w 253"/>
                <a:gd name="T61" fmla="*/ 2147483647 h 496"/>
                <a:gd name="T62" fmla="*/ 2147483647 w 253"/>
                <a:gd name="T63" fmla="*/ 2147483647 h 496"/>
                <a:gd name="T64" fmla="*/ 2147483647 w 253"/>
                <a:gd name="T65" fmla="*/ 2147483647 h 496"/>
                <a:gd name="T66" fmla="*/ 2147483647 w 253"/>
                <a:gd name="T67" fmla="*/ 2147483647 h 496"/>
                <a:gd name="T68" fmla="*/ 2147483647 w 253"/>
                <a:gd name="T69" fmla="*/ 2147483647 h 496"/>
                <a:gd name="T70" fmla="*/ 2147483647 w 253"/>
                <a:gd name="T71" fmla="*/ 2147483647 h 496"/>
                <a:gd name="T72" fmla="*/ 2147483647 w 253"/>
                <a:gd name="T73" fmla="*/ 2147483647 h 496"/>
                <a:gd name="T74" fmla="*/ 2147483647 w 253"/>
                <a:gd name="T75" fmla="*/ 2147483647 h 496"/>
                <a:gd name="T76" fmla="*/ 2147483647 w 253"/>
                <a:gd name="T77" fmla="*/ 2147483647 h 49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53"/>
                <a:gd name="T118" fmla="*/ 0 h 496"/>
                <a:gd name="T119" fmla="*/ 253 w 253"/>
                <a:gd name="T120" fmla="*/ 496 h 49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53" h="496">
                  <a:moveTo>
                    <a:pt x="187" y="178"/>
                  </a:moveTo>
                  <a:lnTo>
                    <a:pt x="202" y="122"/>
                  </a:lnTo>
                  <a:lnTo>
                    <a:pt x="236" y="81"/>
                  </a:lnTo>
                  <a:lnTo>
                    <a:pt x="252" y="74"/>
                  </a:lnTo>
                  <a:lnTo>
                    <a:pt x="244" y="50"/>
                  </a:lnTo>
                  <a:lnTo>
                    <a:pt x="236" y="50"/>
                  </a:lnTo>
                  <a:lnTo>
                    <a:pt x="236" y="65"/>
                  </a:lnTo>
                  <a:lnTo>
                    <a:pt x="221" y="74"/>
                  </a:lnTo>
                  <a:lnTo>
                    <a:pt x="211" y="81"/>
                  </a:lnTo>
                  <a:lnTo>
                    <a:pt x="187" y="74"/>
                  </a:lnTo>
                  <a:lnTo>
                    <a:pt x="196" y="57"/>
                  </a:lnTo>
                  <a:lnTo>
                    <a:pt x="196" y="50"/>
                  </a:lnTo>
                  <a:lnTo>
                    <a:pt x="179" y="34"/>
                  </a:lnTo>
                  <a:lnTo>
                    <a:pt x="155" y="34"/>
                  </a:lnTo>
                  <a:lnTo>
                    <a:pt x="139" y="10"/>
                  </a:lnTo>
                  <a:lnTo>
                    <a:pt x="122" y="0"/>
                  </a:lnTo>
                  <a:lnTo>
                    <a:pt x="115" y="10"/>
                  </a:lnTo>
                  <a:lnTo>
                    <a:pt x="90" y="0"/>
                  </a:lnTo>
                  <a:lnTo>
                    <a:pt x="74" y="16"/>
                  </a:lnTo>
                  <a:lnTo>
                    <a:pt x="74" y="34"/>
                  </a:lnTo>
                  <a:lnTo>
                    <a:pt x="57" y="41"/>
                  </a:lnTo>
                  <a:lnTo>
                    <a:pt x="65" y="65"/>
                  </a:lnTo>
                  <a:lnTo>
                    <a:pt x="50" y="90"/>
                  </a:lnTo>
                  <a:lnTo>
                    <a:pt x="34" y="137"/>
                  </a:lnTo>
                  <a:lnTo>
                    <a:pt x="40" y="171"/>
                  </a:lnTo>
                  <a:lnTo>
                    <a:pt x="34" y="196"/>
                  </a:lnTo>
                  <a:lnTo>
                    <a:pt x="34" y="212"/>
                  </a:lnTo>
                  <a:lnTo>
                    <a:pt x="25" y="219"/>
                  </a:lnTo>
                  <a:lnTo>
                    <a:pt x="25" y="252"/>
                  </a:lnTo>
                  <a:lnTo>
                    <a:pt x="16" y="267"/>
                  </a:lnTo>
                  <a:lnTo>
                    <a:pt x="16" y="301"/>
                  </a:lnTo>
                  <a:lnTo>
                    <a:pt x="16" y="317"/>
                  </a:lnTo>
                  <a:lnTo>
                    <a:pt x="16" y="349"/>
                  </a:lnTo>
                  <a:lnTo>
                    <a:pt x="25" y="349"/>
                  </a:lnTo>
                  <a:lnTo>
                    <a:pt x="25" y="358"/>
                  </a:lnTo>
                  <a:lnTo>
                    <a:pt x="16" y="389"/>
                  </a:lnTo>
                  <a:lnTo>
                    <a:pt x="9" y="404"/>
                  </a:lnTo>
                  <a:lnTo>
                    <a:pt x="9" y="421"/>
                  </a:lnTo>
                  <a:lnTo>
                    <a:pt x="0" y="446"/>
                  </a:lnTo>
                  <a:lnTo>
                    <a:pt x="0" y="463"/>
                  </a:lnTo>
                  <a:lnTo>
                    <a:pt x="0" y="470"/>
                  </a:lnTo>
                  <a:lnTo>
                    <a:pt x="9" y="463"/>
                  </a:lnTo>
                  <a:lnTo>
                    <a:pt x="9" y="486"/>
                  </a:lnTo>
                  <a:lnTo>
                    <a:pt x="16" y="495"/>
                  </a:lnTo>
                  <a:lnTo>
                    <a:pt x="40" y="495"/>
                  </a:lnTo>
                  <a:lnTo>
                    <a:pt x="57" y="495"/>
                  </a:lnTo>
                  <a:lnTo>
                    <a:pt x="50" y="470"/>
                  </a:lnTo>
                  <a:lnTo>
                    <a:pt x="57" y="463"/>
                  </a:lnTo>
                  <a:lnTo>
                    <a:pt x="65" y="454"/>
                  </a:lnTo>
                  <a:lnTo>
                    <a:pt x="74" y="429"/>
                  </a:lnTo>
                  <a:lnTo>
                    <a:pt x="99" y="414"/>
                  </a:lnTo>
                  <a:lnTo>
                    <a:pt x="99" y="398"/>
                  </a:lnTo>
                  <a:lnTo>
                    <a:pt x="90" y="398"/>
                  </a:lnTo>
                  <a:lnTo>
                    <a:pt x="74" y="381"/>
                  </a:lnTo>
                  <a:lnTo>
                    <a:pt x="74" y="373"/>
                  </a:lnTo>
                  <a:lnTo>
                    <a:pt x="82" y="364"/>
                  </a:lnTo>
                  <a:lnTo>
                    <a:pt x="99" y="358"/>
                  </a:lnTo>
                  <a:lnTo>
                    <a:pt x="99" y="349"/>
                  </a:lnTo>
                  <a:lnTo>
                    <a:pt x="106" y="349"/>
                  </a:lnTo>
                  <a:lnTo>
                    <a:pt x="106" y="333"/>
                  </a:lnTo>
                  <a:lnTo>
                    <a:pt x="115" y="324"/>
                  </a:lnTo>
                  <a:lnTo>
                    <a:pt x="115" y="317"/>
                  </a:lnTo>
                  <a:lnTo>
                    <a:pt x="122" y="317"/>
                  </a:lnTo>
                  <a:lnTo>
                    <a:pt x="122" y="308"/>
                  </a:lnTo>
                  <a:lnTo>
                    <a:pt x="106" y="308"/>
                  </a:lnTo>
                  <a:lnTo>
                    <a:pt x="106" y="284"/>
                  </a:lnTo>
                  <a:lnTo>
                    <a:pt x="122" y="292"/>
                  </a:lnTo>
                  <a:lnTo>
                    <a:pt x="139" y="284"/>
                  </a:lnTo>
                  <a:lnTo>
                    <a:pt x="147" y="259"/>
                  </a:lnTo>
                  <a:lnTo>
                    <a:pt x="139" y="252"/>
                  </a:lnTo>
                  <a:lnTo>
                    <a:pt x="147" y="252"/>
                  </a:lnTo>
                  <a:lnTo>
                    <a:pt x="162" y="252"/>
                  </a:lnTo>
                  <a:lnTo>
                    <a:pt x="202" y="243"/>
                  </a:lnTo>
                  <a:lnTo>
                    <a:pt x="211" y="219"/>
                  </a:lnTo>
                  <a:lnTo>
                    <a:pt x="211" y="212"/>
                  </a:lnTo>
                  <a:lnTo>
                    <a:pt x="202" y="202"/>
                  </a:lnTo>
                  <a:lnTo>
                    <a:pt x="202" y="196"/>
                  </a:lnTo>
                  <a:lnTo>
                    <a:pt x="187" y="187"/>
                  </a:lnTo>
                  <a:lnTo>
                    <a:pt x="187" y="178"/>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6" name="Freeform 182">
              <a:extLst>
                <a:ext uri="{FF2B5EF4-FFF2-40B4-BE49-F238E27FC236}">
                  <a16:creationId xmlns:a16="http://schemas.microsoft.com/office/drawing/2014/main" id="{FC3FC028-0811-432A-941A-CBD01699C183}"/>
                </a:ext>
              </a:extLst>
            </p:cNvPr>
            <p:cNvSpPr>
              <a:spLocks/>
            </p:cNvSpPr>
            <p:nvPr/>
          </p:nvSpPr>
          <p:spPr bwMode="auto">
            <a:xfrm>
              <a:off x="4067175" y="5743575"/>
              <a:ext cx="82550" cy="42863"/>
            </a:xfrm>
            <a:custGeom>
              <a:avLst/>
              <a:gdLst>
                <a:gd name="T0" fmla="*/ 0 w 42"/>
                <a:gd name="T1" fmla="*/ 2147483647 h 26"/>
                <a:gd name="T2" fmla="*/ 2147483647 w 42"/>
                <a:gd name="T3" fmla="*/ 2147483647 h 26"/>
                <a:gd name="T4" fmla="*/ 2147483647 w 42"/>
                <a:gd name="T5" fmla="*/ 2147483647 h 26"/>
                <a:gd name="T6" fmla="*/ 2147483647 w 42"/>
                <a:gd name="T7" fmla="*/ 2147483647 h 26"/>
                <a:gd name="T8" fmla="*/ 2147483647 w 42"/>
                <a:gd name="T9" fmla="*/ 0 h 26"/>
                <a:gd name="T10" fmla="*/ 2147483647 w 42"/>
                <a:gd name="T11" fmla="*/ 0 h 26"/>
                <a:gd name="T12" fmla="*/ 2147483647 w 42"/>
                <a:gd name="T13" fmla="*/ 0 h 26"/>
                <a:gd name="T14" fmla="*/ 0 w 42"/>
                <a:gd name="T15" fmla="*/ 2147483647 h 26"/>
                <a:gd name="T16" fmla="*/ 0 60000 65536"/>
                <a:gd name="T17" fmla="*/ 0 60000 65536"/>
                <a:gd name="T18" fmla="*/ 0 60000 65536"/>
                <a:gd name="T19" fmla="*/ 0 60000 65536"/>
                <a:gd name="T20" fmla="*/ 0 60000 65536"/>
                <a:gd name="T21" fmla="*/ 0 60000 65536"/>
                <a:gd name="T22" fmla="*/ 0 60000 65536"/>
                <a:gd name="T23" fmla="*/ 0 60000 65536"/>
                <a:gd name="T24" fmla="*/ 0 w 42"/>
                <a:gd name="T25" fmla="*/ 0 h 26"/>
                <a:gd name="T26" fmla="*/ 42 w 42"/>
                <a:gd name="T27" fmla="*/ 26 h 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2" h="26">
                  <a:moveTo>
                    <a:pt x="0" y="8"/>
                  </a:moveTo>
                  <a:lnTo>
                    <a:pt x="16" y="17"/>
                  </a:lnTo>
                  <a:lnTo>
                    <a:pt x="24" y="25"/>
                  </a:lnTo>
                  <a:lnTo>
                    <a:pt x="41" y="8"/>
                  </a:lnTo>
                  <a:lnTo>
                    <a:pt x="41" y="0"/>
                  </a:lnTo>
                  <a:lnTo>
                    <a:pt x="16" y="0"/>
                  </a:lnTo>
                  <a:lnTo>
                    <a:pt x="7" y="0"/>
                  </a:lnTo>
                  <a:lnTo>
                    <a:pt x="0" y="8"/>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7" name="Freeform 183">
              <a:extLst>
                <a:ext uri="{FF2B5EF4-FFF2-40B4-BE49-F238E27FC236}">
                  <a16:creationId xmlns:a16="http://schemas.microsoft.com/office/drawing/2014/main" id="{0A4FD374-57DE-4C39-950C-212FF9623B42}"/>
                </a:ext>
              </a:extLst>
            </p:cNvPr>
            <p:cNvSpPr>
              <a:spLocks/>
            </p:cNvSpPr>
            <p:nvPr/>
          </p:nvSpPr>
          <p:spPr bwMode="auto">
            <a:xfrm>
              <a:off x="3771900" y="3567113"/>
              <a:ext cx="49213" cy="26987"/>
            </a:xfrm>
            <a:custGeom>
              <a:avLst/>
              <a:gdLst>
                <a:gd name="T0" fmla="*/ 0 w 26"/>
                <a:gd name="T1" fmla="*/ 2147483647 h 17"/>
                <a:gd name="T2" fmla="*/ 2147483647 w 26"/>
                <a:gd name="T3" fmla="*/ 2147483647 h 17"/>
                <a:gd name="T4" fmla="*/ 2147483647 w 26"/>
                <a:gd name="T5" fmla="*/ 0 h 17"/>
                <a:gd name="T6" fmla="*/ 2147483647 w 26"/>
                <a:gd name="T7" fmla="*/ 0 h 17"/>
                <a:gd name="T8" fmla="*/ 0 w 26"/>
                <a:gd name="T9" fmla="*/ 2147483647 h 17"/>
                <a:gd name="T10" fmla="*/ 0 60000 65536"/>
                <a:gd name="T11" fmla="*/ 0 60000 65536"/>
                <a:gd name="T12" fmla="*/ 0 60000 65536"/>
                <a:gd name="T13" fmla="*/ 0 60000 65536"/>
                <a:gd name="T14" fmla="*/ 0 60000 65536"/>
                <a:gd name="T15" fmla="*/ 0 w 26"/>
                <a:gd name="T16" fmla="*/ 0 h 17"/>
                <a:gd name="T17" fmla="*/ 26 w 26"/>
                <a:gd name="T18" fmla="*/ 17 h 17"/>
              </a:gdLst>
              <a:ahLst/>
              <a:cxnLst>
                <a:cxn ang="T10">
                  <a:pos x="T0" y="T1"/>
                </a:cxn>
                <a:cxn ang="T11">
                  <a:pos x="T2" y="T3"/>
                </a:cxn>
                <a:cxn ang="T12">
                  <a:pos x="T4" y="T5"/>
                </a:cxn>
                <a:cxn ang="T13">
                  <a:pos x="T6" y="T7"/>
                </a:cxn>
                <a:cxn ang="T14">
                  <a:pos x="T8" y="T9"/>
                </a:cxn>
              </a:cxnLst>
              <a:rect l="T15" t="T16" r="T17" b="T18"/>
              <a:pathLst>
                <a:path w="26" h="17">
                  <a:moveTo>
                    <a:pt x="0" y="16"/>
                  </a:moveTo>
                  <a:lnTo>
                    <a:pt x="9" y="16"/>
                  </a:lnTo>
                  <a:lnTo>
                    <a:pt x="25" y="0"/>
                  </a:lnTo>
                  <a:lnTo>
                    <a:pt x="16" y="0"/>
                  </a:lnTo>
                  <a:lnTo>
                    <a:pt x="0" y="16"/>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8" name="Freeform 184">
              <a:extLst>
                <a:ext uri="{FF2B5EF4-FFF2-40B4-BE49-F238E27FC236}">
                  <a16:creationId xmlns:a16="http://schemas.microsoft.com/office/drawing/2014/main" id="{BF46D474-603C-4A18-AEF4-A1A6A0C8DEBD}"/>
                </a:ext>
              </a:extLst>
            </p:cNvPr>
            <p:cNvSpPr>
              <a:spLocks/>
            </p:cNvSpPr>
            <p:nvPr/>
          </p:nvSpPr>
          <p:spPr bwMode="auto">
            <a:xfrm>
              <a:off x="3771900" y="3567113"/>
              <a:ext cx="49213" cy="26987"/>
            </a:xfrm>
            <a:custGeom>
              <a:avLst/>
              <a:gdLst>
                <a:gd name="T0" fmla="*/ 0 w 26"/>
                <a:gd name="T1" fmla="*/ 2147483647 h 17"/>
                <a:gd name="T2" fmla="*/ 2147483647 w 26"/>
                <a:gd name="T3" fmla="*/ 2147483647 h 17"/>
                <a:gd name="T4" fmla="*/ 2147483647 w 26"/>
                <a:gd name="T5" fmla="*/ 0 h 17"/>
                <a:gd name="T6" fmla="*/ 2147483647 w 26"/>
                <a:gd name="T7" fmla="*/ 0 h 17"/>
                <a:gd name="T8" fmla="*/ 0 w 26"/>
                <a:gd name="T9" fmla="*/ 2147483647 h 17"/>
                <a:gd name="T10" fmla="*/ 0 60000 65536"/>
                <a:gd name="T11" fmla="*/ 0 60000 65536"/>
                <a:gd name="T12" fmla="*/ 0 60000 65536"/>
                <a:gd name="T13" fmla="*/ 0 60000 65536"/>
                <a:gd name="T14" fmla="*/ 0 60000 65536"/>
                <a:gd name="T15" fmla="*/ 0 w 26"/>
                <a:gd name="T16" fmla="*/ 0 h 17"/>
                <a:gd name="T17" fmla="*/ 26 w 26"/>
                <a:gd name="T18" fmla="*/ 17 h 17"/>
              </a:gdLst>
              <a:ahLst/>
              <a:cxnLst>
                <a:cxn ang="T10">
                  <a:pos x="T0" y="T1"/>
                </a:cxn>
                <a:cxn ang="T11">
                  <a:pos x="T2" y="T3"/>
                </a:cxn>
                <a:cxn ang="T12">
                  <a:pos x="T4" y="T5"/>
                </a:cxn>
                <a:cxn ang="T13">
                  <a:pos x="T6" y="T7"/>
                </a:cxn>
                <a:cxn ang="T14">
                  <a:pos x="T8" y="T9"/>
                </a:cxn>
              </a:cxnLst>
              <a:rect l="T15" t="T16" r="T17" b="T18"/>
              <a:pathLst>
                <a:path w="26" h="17">
                  <a:moveTo>
                    <a:pt x="0" y="16"/>
                  </a:moveTo>
                  <a:lnTo>
                    <a:pt x="9" y="16"/>
                  </a:lnTo>
                  <a:lnTo>
                    <a:pt x="25" y="0"/>
                  </a:lnTo>
                  <a:lnTo>
                    <a:pt x="16" y="0"/>
                  </a:lnTo>
                  <a:lnTo>
                    <a:pt x="0" y="16"/>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9" name="Freeform 185">
              <a:extLst>
                <a:ext uri="{FF2B5EF4-FFF2-40B4-BE49-F238E27FC236}">
                  <a16:creationId xmlns:a16="http://schemas.microsoft.com/office/drawing/2014/main" id="{A3C8219F-AB6B-4386-A22A-DA84F36FE5AE}"/>
                </a:ext>
              </a:extLst>
            </p:cNvPr>
            <p:cNvSpPr>
              <a:spLocks/>
            </p:cNvSpPr>
            <p:nvPr/>
          </p:nvSpPr>
          <p:spPr bwMode="auto">
            <a:xfrm>
              <a:off x="3992563" y="3302000"/>
              <a:ext cx="61912" cy="31750"/>
            </a:xfrm>
            <a:custGeom>
              <a:avLst/>
              <a:gdLst>
                <a:gd name="T0" fmla="*/ 0 w 33"/>
                <a:gd name="T1" fmla="*/ 0 h 18"/>
                <a:gd name="T2" fmla="*/ 2147483647 w 33"/>
                <a:gd name="T3" fmla="*/ 2147483647 h 18"/>
                <a:gd name="T4" fmla="*/ 2147483647 w 33"/>
                <a:gd name="T5" fmla="*/ 2147483647 h 18"/>
                <a:gd name="T6" fmla="*/ 2147483647 w 33"/>
                <a:gd name="T7" fmla="*/ 2147483647 h 18"/>
                <a:gd name="T8" fmla="*/ 0 w 33"/>
                <a:gd name="T9" fmla="*/ 0 h 18"/>
                <a:gd name="T10" fmla="*/ 0 60000 65536"/>
                <a:gd name="T11" fmla="*/ 0 60000 65536"/>
                <a:gd name="T12" fmla="*/ 0 60000 65536"/>
                <a:gd name="T13" fmla="*/ 0 60000 65536"/>
                <a:gd name="T14" fmla="*/ 0 60000 65536"/>
                <a:gd name="T15" fmla="*/ 0 w 33"/>
                <a:gd name="T16" fmla="*/ 0 h 18"/>
                <a:gd name="T17" fmla="*/ 33 w 33"/>
                <a:gd name="T18" fmla="*/ 18 h 18"/>
              </a:gdLst>
              <a:ahLst/>
              <a:cxnLst>
                <a:cxn ang="T10">
                  <a:pos x="T0" y="T1"/>
                </a:cxn>
                <a:cxn ang="T11">
                  <a:pos x="T2" y="T3"/>
                </a:cxn>
                <a:cxn ang="T12">
                  <a:pos x="T4" y="T5"/>
                </a:cxn>
                <a:cxn ang="T13">
                  <a:pos x="T6" y="T7"/>
                </a:cxn>
                <a:cxn ang="T14">
                  <a:pos x="T8" y="T9"/>
                </a:cxn>
              </a:cxnLst>
              <a:rect l="T15" t="T16" r="T17" b="T18"/>
              <a:pathLst>
                <a:path w="33" h="18">
                  <a:moveTo>
                    <a:pt x="0" y="0"/>
                  </a:moveTo>
                  <a:lnTo>
                    <a:pt x="16" y="17"/>
                  </a:lnTo>
                  <a:lnTo>
                    <a:pt x="32" y="17"/>
                  </a:lnTo>
                  <a:lnTo>
                    <a:pt x="16" y="9"/>
                  </a:lnTo>
                  <a:lnTo>
                    <a:pt x="0"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0" name="Freeform 186">
              <a:extLst>
                <a:ext uri="{FF2B5EF4-FFF2-40B4-BE49-F238E27FC236}">
                  <a16:creationId xmlns:a16="http://schemas.microsoft.com/office/drawing/2014/main" id="{B15201B1-A52D-4318-9DAB-BCFBB11BE73D}"/>
                </a:ext>
              </a:extLst>
            </p:cNvPr>
            <p:cNvSpPr>
              <a:spLocks/>
            </p:cNvSpPr>
            <p:nvPr/>
          </p:nvSpPr>
          <p:spPr bwMode="auto">
            <a:xfrm>
              <a:off x="3992563" y="3302000"/>
              <a:ext cx="61912" cy="31750"/>
            </a:xfrm>
            <a:custGeom>
              <a:avLst/>
              <a:gdLst>
                <a:gd name="T0" fmla="*/ 0 w 33"/>
                <a:gd name="T1" fmla="*/ 0 h 18"/>
                <a:gd name="T2" fmla="*/ 2147483647 w 33"/>
                <a:gd name="T3" fmla="*/ 2147483647 h 18"/>
                <a:gd name="T4" fmla="*/ 2147483647 w 33"/>
                <a:gd name="T5" fmla="*/ 2147483647 h 18"/>
                <a:gd name="T6" fmla="*/ 2147483647 w 33"/>
                <a:gd name="T7" fmla="*/ 2147483647 h 18"/>
                <a:gd name="T8" fmla="*/ 0 w 33"/>
                <a:gd name="T9" fmla="*/ 0 h 18"/>
                <a:gd name="T10" fmla="*/ 0 60000 65536"/>
                <a:gd name="T11" fmla="*/ 0 60000 65536"/>
                <a:gd name="T12" fmla="*/ 0 60000 65536"/>
                <a:gd name="T13" fmla="*/ 0 60000 65536"/>
                <a:gd name="T14" fmla="*/ 0 60000 65536"/>
                <a:gd name="T15" fmla="*/ 0 w 33"/>
                <a:gd name="T16" fmla="*/ 0 h 18"/>
                <a:gd name="T17" fmla="*/ 33 w 33"/>
                <a:gd name="T18" fmla="*/ 18 h 18"/>
              </a:gdLst>
              <a:ahLst/>
              <a:cxnLst>
                <a:cxn ang="T10">
                  <a:pos x="T0" y="T1"/>
                </a:cxn>
                <a:cxn ang="T11">
                  <a:pos x="T2" y="T3"/>
                </a:cxn>
                <a:cxn ang="T12">
                  <a:pos x="T4" y="T5"/>
                </a:cxn>
                <a:cxn ang="T13">
                  <a:pos x="T6" y="T7"/>
                </a:cxn>
                <a:cxn ang="T14">
                  <a:pos x="T8" y="T9"/>
                </a:cxn>
              </a:cxnLst>
              <a:rect l="T15" t="T16" r="T17" b="T18"/>
              <a:pathLst>
                <a:path w="33" h="18">
                  <a:moveTo>
                    <a:pt x="0" y="0"/>
                  </a:moveTo>
                  <a:lnTo>
                    <a:pt x="16" y="17"/>
                  </a:lnTo>
                  <a:lnTo>
                    <a:pt x="32" y="17"/>
                  </a:lnTo>
                  <a:lnTo>
                    <a:pt x="16" y="9"/>
                  </a:lnTo>
                  <a:lnTo>
                    <a:pt x="0" y="0"/>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1" name="Freeform 187">
              <a:extLst>
                <a:ext uri="{FF2B5EF4-FFF2-40B4-BE49-F238E27FC236}">
                  <a16:creationId xmlns:a16="http://schemas.microsoft.com/office/drawing/2014/main" id="{D8FD6650-796C-4F21-8869-C95E685B44AA}"/>
                </a:ext>
              </a:extLst>
            </p:cNvPr>
            <p:cNvSpPr>
              <a:spLocks/>
            </p:cNvSpPr>
            <p:nvPr/>
          </p:nvSpPr>
          <p:spPr bwMode="auto">
            <a:xfrm>
              <a:off x="3992563" y="3395663"/>
              <a:ext cx="61912" cy="41275"/>
            </a:xfrm>
            <a:custGeom>
              <a:avLst/>
              <a:gdLst>
                <a:gd name="T0" fmla="*/ 0 w 33"/>
                <a:gd name="T1" fmla="*/ 2147483647 h 25"/>
                <a:gd name="T2" fmla="*/ 2147483647 w 33"/>
                <a:gd name="T3" fmla="*/ 2147483647 h 25"/>
                <a:gd name="T4" fmla="*/ 2147483647 w 33"/>
                <a:gd name="T5" fmla="*/ 2147483647 h 25"/>
                <a:gd name="T6" fmla="*/ 2147483647 w 33"/>
                <a:gd name="T7" fmla="*/ 2147483647 h 25"/>
                <a:gd name="T8" fmla="*/ 2147483647 w 33"/>
                <a:gd name="T9" fmla="*/ 2147483647 h 25"/>
                <a:gd name="T10" fmla="*/ 2147483647 w 33"/>
                <a:gd name="T11" fmla="*/ 0 h 25"/>
                <a:gd name="T12" fmla="*/ 0 w 33"/>
                <a:gd name="T13" fmla="*/ 2147483647 h 25"/>
                <a:gd name="T14" fmla="*/ 0 60000 65536"/>
                <a:gd name="T15" fmla="*/ 0 60000 65536"/>
                <a:gd name="T16" fmla="*/ 0 60000 65536"/>
                <a:gd name="T17" fmla="*/ 0 60000 65536"/>
                <a:gd name="T18" fmla="*/ 0 60000 65536"/>
                <a:gd name="T19" fmla="*/ 0 60000 65536"/>
                <a:gd name="T20" fmla="*/ 0 60000 65536"/>
                <a:gd name="T21" fmla="*/ 0 w 33"/>
                <a:gd name="T22" fmla="*/ 0 h 25"/>
                <a:gd name="T23" fmla="*/ 33 w 33"/>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25">
                  <a:moveTo>
                    <a:pt x="0" y="8"/>
                  </a:moveTo>
                  <a:lnTo>
                    <a:pt x="24" y="24"/>
                  </a:lnTo>
                  <a:lnTo>
                    <a:pt x="24" y="15"/>
                  </a:lnTo>
                  <a:lnTo>
                    <a:pt x="32" y="8"/>
                  </a:lnTo>
                  <a:lnTo>
                    <a:pt x="16" y="8"/>
                  </a:lnTo>
                  <a:lnTo>
                    <a:pt x="7" y="0"/>
                  </a:lnTo>
                  <a:lnTo>
                    <a:pt x="0" y="8"/>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2" name="Freeform 188">
              <a:extLst>
                <a:ext uri="{FF2B5EF4-FFF2-40B4-BE49-F238E27FC236}">
                  <a16:creationId xmlns:a16="http://schemas.microsoft.com/office/drawing/2014/main" id="{168C3E20-BC19-4379-AD9F-5FECB72AF588}"/>
                </a:ext>
              </a:extLst>
            </p:cNvPr>
            <p:cNvSpPr>
              <a:spLocks/>
            </p:cNvSpPr>
            <p:nvPr/>
          </p:nvSpPr>
          <p:spPr bwMode="auto">
            <a:xfrm>
              <a:off x="3992563" y="3395663"/>
              <a:ext cx="61912" cy="41275"/>
            </a:xfrm>
            <a:custGeom>
              <a:avLst/>
              <a:gdLst>
                <a:gd name="T0" fmla="*/ 0 w 33"/>
                <a:gd name="T1" fmla="*/ 2147483647 h 25"/>
                <a:gd name="T2" fmla="*/ 2147483647 w 33"/>
                <a:gd name="T3" fmla="*/ 2147483647 h 25"/>
                <a:gd name="T4" fmla="*/ 2147483647 w 33"/>
                <a:gd name="T5" fmla="*/ 2147483647 h 25"/>
                <a:gd name="T6" fmla="*/ 2147483647 w 33"/>
                <a:gd name="T7" fmla="*/ 2147483647 h 25"/>
                <a:gd name="T8" fmla="*/ 2147483647 w 33"/>
                <a:gd name="T9" fmla="*/ 2147483647 h 25"/>
                <a:gd name="T10" fmla="*/ 2147483647 w 33"/>
                <a:gd name="T11" fmla="*/ 0 h 25"/>
                <a:gd name="T12" fmla="*/ 0 w 33"/>
                <a:gd name="T13" fmla="*/ 2147483647 h 25"/>
                <a:gd name="T14" fmla="*/ 0 60000 65536"/>
                <a:gd name="T15" fmla="*/ 0 60000 65536"/>
                <a:gd name="T16" fmla="*/ 0 60000 65536"/>
                <a:gd name="T17" fmla="*/ 0 60000 65536"/>
                <a:gd name="T18" fmla="*/ 0 60000 65536"/>
                <a:gd name="T19" fmla="*/ 0 60000 65536"/>
                <a:gd name="T20" fmla="*/ 0 60000 65536"/>
                <a:gd name="T21" fmla="*/ 0 w 33"/>
                <a:gd name="T22" fmla="*/ 0 h 25"/>
                <a:gd name="T23" fmla="*/ 33 w 33"/>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25">
                  <a:moveTo>
                    <a:pt x="0" y="8"/>
                  </a:moveTo>
                  <a:lnTo>
                    <a:pt x="24" y="24"/>
                  </a:lnTo>
                  <a:lnTo>
                    <a:pt x="24" y="15"/>
                  </a:lnTo>
                  <a:lnTo>
                    <a:pt x="32" y="8"/>
                  </a:lnTo>
                  <a:lnTo>
                    <a:pt x="16" y="8"/>
                  </a:lnTo>
                  <a:lnTo>
                    <a:pt x="7" y="0"/>
                  </a:lnTo>
                  <a:lnTo>
                    <a:pt x="0" y="8"/>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3" name="Freeform 189">
              <a:extLst>
                <a:ext uri="{FF2B5EF4-FFF2-40B4-BE49-F238E27FC236}">
                  <a16:creationId xmlns:a16="http://schemas.microsoft.com/office/drawing/2014/main" id="{43661F39-1042-4D58-8B3C-9851CCB1B66A}"/>
                </a:ext>
              </a:extLst>
            </p:cNvPr>
            <p:cNvSpPr>
              <a:spLocks/>
            </p:cNvSpPr>
            <p:nvPr/>
          </p:nvSpPr>
          <p:spPr bwMode="auto">
            <a:xfrm>
              <a:off x="4114800" y="3252788"/>
              <a:ext cx="158750" cy="157162"/>
            </a:xfrm>
            <a:custGeom>
              <a:avLst/>
              <a:gdLst>
                <a:gd name="T0" fmla="*/ 0 w 83"/>
                <a:gd name="T1" fmla="*/ 2147483647 h 97"/>
                <a:gd name="T2" fmla="*/ 0 w 83"/>
                <a:gd name="T3" fmla="*/ 2147483647 h 97"/>
                <a:gd name="T4" fmla="*/ 2147483647 w 83"/>
                <a:gd name="T5" fmla="*/ 2147483647 h 97"/>
                <a:gd name="T6" fmla="*/ 2147483647 w 83"/>
                <a:gd name="T7" fmla="*/ 2147483647 h 97"/>
                <a:gd name="T8" fmla="*/ 2147483647 w 83"/>
                <a:gd name="T9" fmla="*/ 2147483647 h 97"/>
                <a:gd name="T10" fmla="*/ 2147483647 w 83"/>
                <a:gd name="T11" fmla="*/ 2147483647 h 97"/>
                <a:gd name="T12" fmla="*/ 2147483647 w 83"/>
                <a:gd name="T13" fmla="*/ 2147483647 h 97"/>
                <a:gd name="T14" fmla="*/ 2147483647 w 83"/>
                <a:gd name="T15" fmla="*/ 2147483647 h 97"/>
                <a:gd name="T16" fmla="*/ 2147483647 w 83"/>
                <a:gd name="T17" fmla="*/ 2147483647 h 97"/>
                <a:gd name="T18" fmla="*/ 2147483647 w 83"/>
                <a:gd name="T19" fmla="*/ 2147483647 h 97"/>
                <a:gd name="T20" fmla="*/ 2147483647 w 83"/>
                <a:gd name="T21" fmla="*/ 2147483647 h 97"/>
                <a:gd name="T22" fmla="*/ 2147483647 w 83"/>
                <a:gd name="T23" fmla="*/ 2147483647 h 97"/>
                <a:gd name="T24" fmla="*/ 2147483647 w 83"/>
                <a:gd name="T25" fmla="*/ 2147483647 h 97"/>
                <a:gd name="T26" fmla="*/ 2147483647 w 83"/>
                <a:gd name="T27" fmla="*/ 2147483647 h 97"/>
                <a:gd name="T28" fmla="*/ 2147483647 w 83"/>
                <a:gd name="T29" fmla="*/ 2147483647 h 97"/>
                <a:gd name="T30" fmla="*/ 2147483647 w 83"/>
                <a:gd name="T31" fmla="*/ 2147483647 h 97"/>
                <a:gd name="T32" fmla="*/ 2147483647 w 83"/>
                <a:gd name="T33" fmla="*/ 2147483647 h 97"/>
                <a:gd name="T34" fmla="*/ 2147483647 w 83"/>
                <a:gd name="T35" fmla="*/ 0 h 97"/>
                <a:gd name="T36" fmla="*/ 2147483647 w 83"/>
                <a:gd name="T37" fmla="*/ 2147483647 h 97"/>
                <a:gd name="T38" fmla="*/ 2147483647 w 83"/>
                <a:gd name="T39" fmla="*/ 2147483647 h 97"/>
                <a:gd name="T40" fmla="*/ 2147483647 w 83"/>
                <a:gd name="T41" fmla="*/ 2147483647 h 97"/>
                <a:gd name="T42" fmla="*/ 0 w 83"/>
                <a:gd name="T43" fmla="*/ 2147483647 h 9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3"/>
                <a:gd name="T67" fmla="*/ 0 h 97"/>
                <a:gd name="T68" fmla="*/ 83 w 83"/>
                <a:gd name="T69" fmla="*/ 97 h 9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3" h="97">
                  <a:moveTo>
                    <a:pt x="0" y="72"/>
                  </a:moveTo>
                  <a:lnTo>
                    <a:pt x="0" y="80"/>
                  </a:lnTo>
                  <a:lnTo>
                    <a:pt x="48" y="80"/>
                  </a:lnTo>
                  <a:lnTo>
                    <a:pt x="48" y="88"/>
                  </a:lnTo>
                  <a:lnTo>
                    <a:pt x="57" y="80"/>
                  </a:lnTo>
                  <a:lnTo>
                    <a:pt x="73" y="88"/>
                  </a:lnTo>
                  <a:lnTo>
                    <a:pt x="73" y="96"/>
                  </a:lnTo>
                  <a:lnTo>
                    <a:pt x="82" y="96"/>
                  </a:lnTo>
                  <a:lnTo>
                    <a:pt x="82" y="80"/>
                  </a:lnTo>
                  <a:lnTo>
                    <a:pt x="65" y="72"/>
                  </a:lnTo>
                  <a:lnTo>
                    <a:pt x="73" y="63"/>
                  </a:lnTo>
                  <a:lnTo>
                    <a:pt x="65" y="56"/>
                  </a:lnTo>
                  <a:lnTo>
                    <a:pt x="73" y="48"/>
                  </a:lnTo>
                  <a:lnTo>
                    <a:pt x="48" y="48"/>
                  </a:lnTo>
                  <a:lnTo>
                    <a:pt x="42" y="40"/>
                  </a:lnTo>
                  <a:lnTo>
                    <a:pt x="48" y="31"/>
                  </a:lnTo>
                  <a:lnTo>
                    <a:pt x="42" y="31"/>
                  </a:lnTo>
                  <a:lnTo>
                    <a:pt x="48" y="0"/>
                  </a:lnTo>
                  <a:lnTo>
                    <a:pt x="32" y="6"/>
                  </a:lnTo>
                  <a:lnTo>
                    <a:pt x="8" y="56"/>
                  </a:lnTo>
                  <a:lnTo>
                    <a:pt x="8" y="63"/>
                  </a:lnTo>
                  <a:lnTo>
                    <a:pt x="0" y="72"/>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4" name="Freeform 190">
              <a:extLst>
                <a:ext uri="{FF2B5EF4-FFF2-40B4-BE49-F238E27FC236}">
                  <a16:creationId xmlns:a16="http://schemas.microsoft.com/office/drawing/2014/main" id="{EA2B7B4A-93CB-4C41-809F-7A121B4C59A6}"/>
                </a:ext>
              </a:extLst>
            </p:cNvPr>
            <p:cNvSpPr>
              <a:spLocks/>
            </p:cNvSpPr>
            <p:nvPr/>
          </p:nvSpPr>
          <p:spPr bwMode="auto">
            <a:xfrm>
              <a:off x="7750175" y="3895725"/>
              <a:ext cx="79375" cy="28575"/>
            </a:xfrm>
            <a:custGeom>
              <a:avLst/>
              <a:gdLst>
                <a:gd name="T0" fmla="*/ 2147483647 w 41"/>
                <a:gd name="T1" fmla="*/ 0 h 17"/>
                <a:gd name="T2" fmla="*/ 2147483647 w 41"/>
                <a:gd name="T3" fmla="*/ 0 h 17"/>
                <a:gd name="T4" fmla="*/ 0 w 41"/>
                <a:gd name="T5" fmla="*/ 2147483647 h 17"/>
                <a:gd name="T6" fmla="*/ 0 w 41"/>
                <a:gd name="T7" fmla="*/ 2147483647 h 17"/>
                <a:gd name="T8" fmla="*/ 2147483647 w 41"/>
                <a:gd name="T9" fmla="*/ 2147483647 h 17"/>
                <a:gd name="T10" fmla="*/ 2147483647 w 41"/>
                <a:gd name="T11" fmla="*/ 2147483647 h 17"/>
                <a:gd name="T12" fmla="*/ 2147483647 w 41"/>
                <a:gd name="T13" fmla="*/ 0 h 17"/>
                <a:gd name="T14" fmla="*/ 0 60000 65536"/>
                <a:gd name="T15" fmla="*/ 0 60000 65536"/>
                <a:gd name="T16" fmla="*/ 0 60000 65536"/>
                <a:gd name="T17" fmla="*/ 0 60000 65536"/>
                <a:gd name="T18" fmla="*/ 0 60000 65536"/>
                <a:gd name="T19" fmla="*/ 0 60000 65536"/>
                <a:gd name="T20" fmla="*/ 0 60000 65536"/>
                <a:gd name="T21" fmla="*/ 0 w 41"/>
                <a:gd name="T22" fmla="*/ 0 h 17"/>
                <a:gd name="T23" fmla="*/ 41 w 41"/>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17">
                  <a:moveTo>
                    <a:pt x="33" y="0"/>
                  </a:moveTo>
                  <a:lnTo>
                    <a:pt x="8" y="0"/>
                  </a:lnTo>
                  <a:lnTo>
                    <a:pt x="0" y="9"/>
                  </a:lnTo>
                  <a:lnTo>
                    <a:pt x="0" y="16"/>
                  </a:lnTo>
                  <a:lnTo>
                    <a:pt x="33" y="16"/>
                  </a:lnTo>
                  <a:lnTo>
                    <a:pt x="40" y="16"/>
                  </a:lnTo>
                  <a:lnTo>
                    <a:pt x="33"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5" name="Freeform 191">
              <a:extLst>
                <a:ext uri="{FF2B5EF4-FFF2-40B4-BE49-F238E27FC236}">
                  <a16:creationId xmlns:a16="http://schemas.microsoft.com/office/drawing/2014/main" id="{889DFDE3-82F4-4CD5-B53F-F52618BF9E6E}"/>
                </a:ext>
              </a:extLst>
            </p:cNvPr>
            <p:cNvSpPr>
              <a:spLocks/>
            </p:cNvSpPr>
            <p:nvPr/>
          </p:nvSpPr>
          <p:spPr bwMode="auto">
            <a:xfrm>
              <a:off x="7750175" y="3895725"/>
              <a:ext cx="79375" cy="28575"/>
            </a:xfrm>
            <a:custGeom>
              <a:avLst/>
              <a:gdLst>
                <a:gd name="T0" fmla="*/ 2147483647 w 41"/>
                <a:gd name="T1" fmla="*/ 0 h 17"/>
                <a:gd name="T2" fmla="*/ 2147483647 w 41"/>
                <a:gd name="T3" fmla="*/ 0 h 17"/>
                <a:gd name="T4" fmla="*/ 0 w 41"/>
                <a:gd name="T5" fmla="*/ 2147483647 h 17"/>
                <a:gd name="T6" fmla="*/ 0 w 41"/>
                <a:gd name="T7" fmla="*/ 2147483647 h 17"/>
                <a:gd name="T8" fmla="*/ 2147483647 w 41"/>
                <a:gd name="T9" fmla="*/ 2147483647 h 17"/>
                <a:gd name="T10" fmla="*/ 2147483647 w 41"/>
                <a:gd name="T11" fmla="*/ 2147483647 h 17"/>
                <a:gd name="T12" fmla="*/ 2147483647 w 41"/>
                <a:gd name="T13" fmla="*/ 0 h 17"/>
                <a:gd name="T14" fmla="*/ 0 60000 65536"/>
                <a:gd name="T15" fmla="*/ 0 60000 65536"/>
                <a:gd name="T16" fmla="*/ 0 60000 65536"/>
                <a:gd name="T17" fmla="*/ 0 60000 65536"/>
                <a:gd name="T18" fmla="*/ 0 60000 65536"/>
                <a:gd name="T19" fmla="*/ 0 60000 65536"/>
                <a:gd name="T20" fmla="*/ 0 60000 65536"/>
                <a:gd name="T21" fmla="*/ 0 w 41"/>
                <a:gd name="T22" fmla="*/ 0 h 17"/>
                <a:gd name="T23" fmla="*/ 41 w 41"/>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17">
                  <a:moveTo>
                    <a:pt x="33" y="0"/>
                  </a:moveTo>
                  <a:lnTo>
                    <a:pt x="8" y="0"/>
                  </a:lnTo>
                  <a:lnTo>
                    <a:pt x="0" y="9"/>
                  </a:lnTo>
                  <a:lnTo>
                    <a:pt x="0" y="16"/>
                  </a:lnTo>
                  <a:lnTo>
                    <a:pt x="33" y="16"/>
                  </a:lnTo>
                  <a:lnTo>
                    <a:pt x="40" y="16"/>
                  </a:lnTo>
                  <a:lnTo>
                    <a:pt x="33" y="0"/>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6" name="Freeform 192">
              <a:extLst>
                <a:ext uri="{FF2B5EF4-FFF2-40B4-BE49-F238E27FC236}">
                  <a16:creationId xmlns:a16="http://schemas.microsoft.com/office/drawing/2014/main" id="{855CC161-465C-45EF-97B1-F6B62A852077}"/>
                </a:ext>
              </a:extLst>
            </p:cNvPr>
            <p:cNvSpPr>
              <a:spLocks/>
            </p:cNvSpPr>
            <p:nvPr/>
          </p:nvSpPr>
          <p:spPr bwMode="auto">
            <a:xfrm>
              <a:off x="7237413" y="3698875"/>
              <a:ext cx="715962" cy="636588"/>
            </a:xfrm>
            <a:custGeom>
              <a:avLst/>
              <a:gdLst>
                <a:gd name="T0" fmla="*/ 2147483647 w 374"/>
                <a:gd name="T1" fmla="*/ 2147483647 h 390"/>
                <a:gd name="T2" fmla="*/ 2147483647 w 374"/>
                <a:gd name="T3" fmla="*/ 2147483647 h 390"/>
                <a:gd name="T4" fmla="*/ 2147483647 w 374"/>
                <a:gd name="T5" fmla="*/ 2147483647 h 390"/>
                <a:gd name="T6" fmla="*/ 2147483647 w 374"/>
                <a:gd name="T7" fmla="*/ 2147483647 h 390"/>
                <a:gd name="T8" fmla="*/ 2147483647 w 374"/>
                <a:gd name="T9" fmla="*/ 2147483647 h 390"/>
                <a:gd name="T10" fmla="*/ 2147483647 w 374"/>
                <a:gd name="T11" fmla="*/ 2147483647 h 390"/>
                <a:gd name="T12" fmla="*/ 2147483647 w 374"/>
                <a:gd name="T13" fmla="*/ 2147483647 h 390"/>
                <a:gd name="T14" fmla="*/ 2147483647 w 374"/>
                <a:gd name="T15" fmla="*/ 2147483647 h 390"/>
                <a:gd name="T16" fmla="*/ 2147483647 w 374"/>
                <a:gd name="T17" fmla="*/ 2147483647 h 390"/>
                <a:gd name="T18" fmla="*/ 2147483647 w 374"/>
                <a:gd name="T19" fmla="*/ 2147483647 h 390"/>
                <a:gd name="T20" fmla="*/ 2147483647 w 374"/>
                <a:gd name="T21" fmla="*/ 2147483647 h 390"/>
                <a:gd name="T22" fmla="*/ 2147483647 w 374"/>
                <a:gd name="T23" fmla="*/ 2147483647 h 390"/>
                <a:gd name="T24" fmla="*/ 2147483647 w 374"/>
                <a:gd name="T25" fmla="*/ 2147483647 h 390"/>
                <a:gd name="T26" fmla="*/ 2147483647 w 374"/>
                <a:gd name="T27" fmla="*/ 2147483647 h 390"/>
                <a:gd name="T28" fmla="*/ 2147483647 w 374"/>
                <a:gd name="T29" fmla="*/ 2147483647 h 390"/>
                <a:gd name="T30" fmla="*/ 2147483647 w 374"/>
                <a:gd name="T31" fmla="*/ 2147483647 h 390"/>
                <a:gd name="T32" fmla="*/ 2147483647 w 374"/>
                <a:gd name="T33" fmla="*/ 2147483647 h 390"/>
                <a:gd name="T34" fmla="*/ 2147483647 w 374"/>
                <a:gd name="T35" fmla="*/ 2147483647 h 390"/>
                <a:gd name="T36" fmla="*/ 2147483647 w 374"/>
                <a:gd name="T37" fmla="*/ 2147483647 h 390"/>
                <a:gd name="T38" fmla="*/ 2147483647 w 374"/>
                <a:gd name="T39" fmla="*/ 2147483647 h 390"/>
                <a:gd name="T40" fmla="*/ 2147483647 w 374"/>
                <a:gd name="T41" fmla="*/ 2147483647 h 390"/>
                <a:gd name="T42" fmla="*/ 2147483647 w 374"/>
                <a:gd name="T43" fmla="*/ 2147483647 h 390"/>
                <a:gd name="T44" fmla="*/ 2147483647 w 374"/>
                <a:gd name="T45" fmla="*/ 2147483647 h 390"/>
                <a:gd name="T46" fmla="*/ 2147483647 w 374"/>
                <a:gd name="T47" fmla="*/ 2147483647 h 390"/>
                <a:gd name="T48" fmla="*/ 2147483647 w 374"/>
                <a:gd name="T49" fmla="*/ 2147483647 h 390"/>
                <a:gd name="T50" fmla="*/ 2147483647 w 374"/>
                <a:gd name="T51" fmla="*/ 2147483647 h 390"/>
                <a:gd name="T52" fmla="*/ 2147483647 w 374"/>
                <a:gd name="T53" fmla="*/ 2147483647 h 390"/>
                <a:gd name="T54" fmla="*/ 2147483647 w 374"/>
                <a:gd name="T55" fmla="*/ 2147483647 h 390"/>
                <a:gd name="T56" fmla="*/ 2147483647 w 374"/>
                <a:gd name="T57" fmla="*/ 2147483647 h 390"/>
                <a:gd name="T58" fmla="*/ 2147483647 w 374"/>
                <a:gd name="T59" fmla="*/ 2147483647 h 390"/>
                <a:gd name="T60" fmla="*/ 2147483647 w 374"/>
                <a:gd name="T61" fmla="*/ 2147483647 h 390"/>
                <a:gd name="T62" fmla="*/ 2147483647 w 374"/>
                <a:gd name="T63" fmla="*/ 2147483647 h 390"/>
                <a:gd name="T64" fmla="*/ 2147483647 w 374"/>
                <a:gd name="T65" fmla="*/ 2147483647 h 390"/>
                <a:gd name="T66" fmla="*/ 2147483647 w 374"/>
                <a:gd name="T67" fmla="*/ 2147483647 h 390"/>
                <a:gd name="T68" fmla="*/ 2147483647 w 374"/>
                <a:gd name="T69" fmla="*/ 2147483647 h 390"/>
                <a:gd name="T70" fmla="*/ 2147483647 w 374"/>
                <a:gd name="T71" fmla="*/ 2147483647 h 390"/>
                <a:gd name="T72" fmla="*/ 2147483647 w 374"/>
                <a:gd name="T73" fmla="*/ 2147483647 h 390"/>
                <a:gd name="T74" fmla="*/ 2147483647 w 374"/>
                <a:gd name="T75" fmla="*/ 0 h 390"/>
                <a:gd name="T76" fmla="*/ 2147483647 w 374"/>
                <a:gd name="T77" fmla="*/ 2147483647 h 390"/>
                <a:gd name="T78" fmla="*/ 2147483647 w 374"/>
                <a:gd name="T79" fmla="*/ 2147483647 h 390"/>
                <a:gd name="T80" fmla="*/ 2147483647 w 374"/>
                <a:gd name="T81" fmla="*/ 2147483647 h 390"/>
                <a:gd name="T82" fmla="*/ 2147483647 w 374"/>
                <a:gd name="T83" fmla="*/ 2147483647 h 390"/>
                <a:gd name="T84" fmla="*/ 2147483647 w 374"/>
                <a:gd name="T85" fmla="*/ 2147483647 h 390"/>
                <a:gd name="T86" fmla="*/ 2147483647 w 374"/>
                <a:gd name="T87" fmla="*/ 2147483647 h 390"/>
                <a:gd name="T88" fmla="*/ 2147483647 w 374"/>
                <a:gd name="T89" fmla="*/ 2147483647 h 390"/>
                <a:gd name="T90" fmla="*/ 2147483647 w 374"/>
                <a:gd name="T91" fmla="*/ 2147483647 h 390"/>
                <a:gd name="T92" fmla="*/ 2147483647 w 374"/>
                <a:gd name="T93" fmla="*/ 2147483647 h 390"/>
                <a:gd name="T94" fmla="*/ 2147483647 w 374"/>
                <a:gd name="T95" fmla="*/ 2147483647 h 39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4"/>
                <a:gd name="T145" fmla="*/ 0 h 390"/>
                <a:gd name="T146" fmla="*/ 374 w 374"/>
                <a:gd name="T147" fmla="*/ 390 h 39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4" h="390">
                  <a:moveTo>
                    <a:pt x="342" y="105"/>
                  </a:moveTo>
                  <a:lnTo>
                    <a:pt x="358" y="105"/>
                  </a:lnTo>
                  <a:lnTo>
                    <a:pt x="373" y="121"/>
                  </a:lnTo>
                  <a:lnTo>
                    <a:pt x="373" y="137"/>
                  </a:lnTo>
                  <a:lnTo>
                    <a:pt x="358" y="137"/>
                  </a:lnTo>
                  <a:lnTo>
                    <a:pt x="349" y="146"/>
                  </a:lnTo>
                  <a:lnTo>
                    <a:pt x="333" y="178"/>
                  </a:lnTo>
                  <a:lnTo>
                    <a:pt x="326" y="187"/>
                  </a:lnTo>
                  <a:lnTo>
                    <a:pt x="318" y="202"/>
                  </a:lnTo>
                  <a:lnTo>
                    <a:pt x="318" y="211"/>
                  </a:lnTo>
                  <a:lnTo>
                    <a:pt x="308" y="187"/>
                  </a:lnTo>
                  <a:lnTo>
                    <a:pt x="308" y="178"/>
                  </a:lnTo>
                  <a:lnTo>
                    <a:pt x="301" y="187"/>
                  </a:lnTo>
                  <a:lnTo>
                    <a:pt x="293" y="187"/>
                  </a:lnTo>
                  <a:lnTo>
                    <a:pt x="293" y="178"/>
                  </a:lnTo>
                  <a:lnTo>
                    <a:pt x="308" y="162"/>
                  </a:lnTo>
                  <a:lnTo>
                    <a:pt x="276" y="162"/>
                  </a:lnTo>
                  <a:lnTo>
                    <a:pt x="276" y="146"/>
                  </a:lnTo>
                  <a:lnTo>
                    <a:pt x="268" y="146"/>
                  </a:lnTo>
                  <a:lnTo>
                    <a:pt x="261" y="146"/>
                  </a:lnTo>
                  <a:lnTo>
                    <a:pt x="261" y="153"/>
                  </a:lnTo>
                  <a:lnTo>
                    <a:pt x="252" y="170"/>
                  </a:lnTo>
                  <a:lnTo>
                    <a:pt x="261" y="170"/>
                  </a:lnTo>
                  <a:lnTo>
                    <a:pt x="268" y="211"/>
                  </a:lnTo>
                  <a:lnTo>
                    <a:pt x="261" y="211"/>
                  </a:lnTo>
                  <a:lnTo>
                    <a:pt x="261" y="202"/>
                  </a:lnTo>
                  <a:lnTo>
                    <a:pt x="243" y="211"/>
                  </a:lnTo>
                  <a:lnTo>
                    <a:pt x="236" y="236"/>
                  </a:lnTo>
                  <a:lnTo>
                    <a:pt x="221" y="242"/>
                  </a:lnTo>
                  <a:lnTo>
                    <a:pt x="180" y="276"/>
                  </a:lnTo>
                  <a:lnTo>
                    <a:pt x="180" y="283"/>
                  </a:lnTo>
                  <a:lnTo>
                    <a:pt x="171" y="283"/>
                  </a:lnTo>
                  <a:lnTo>
                    <a:pt x="162" y="292"/>
                  </a:lnTo>
                  <a:lnTo>
                    <a:pt x="156" y="292"/>
                  </a:lnTo>
                  <a:lnTo>
                    <a:pt x="156" y="299"/>
                  </a:lnTo>
                  <a:lnTo>
                    <a:pt x="156" y="324"/>
                  </a:lnTo>
                  <a:lnTo>
                    <a:pt x="147" y="339"/>
                  </a:lnTo>
                  <a:lnTo>
                    <a:pt x="147" y="364"/>
                  </a:lnTo>
                  <a:lnTo>
                    <a:pt x="139" y="373"/>
                  </a:lnTo>
                  <a:lnTo>
                    <a:pt x="131" y="380"/>
                  </a:lnTo>
                  <a:lnTo>
                    <a:pt x="122" y="389"/>
                  </a:lnTo>
                  <a:lnTo>
                    <a:pt x="106" y="380"/>
                  </a:lnTo>
                  <a:lnTo>
                    <a:pt x="82" y="307"/>
                  </a:lnTo>
                  <a:lnTo>
                    <a:pt x="65" y="283"/>
                  </a:lnTo>
                  <a:lnTo>
                    <a:pt x="59" y="236"/>
                  </a:lnTo>
                  <a:lnTo>
                    <a:pt x="59" y="202"/>
                  </a:lnTo>
                  <a:lnTo>
                    <a:pt x="50" y="218"/>
                  </a:lnTo>
                  <a:lnTo>
                    <a:pt x="34" y="227"/>
                  </a:lnTo>
                  <a:lnTo>
                    <a:pt x="9" y="202"/>
                  </a:lnTo>
                  <a:lnTo>
                    <a:pt x="25" y="202"/>
                  </a:lnTo>
                  <a:lnTo>
                    <a:pt x="25" y="195"/>
                  </a:lnTo>
                  <a:lnTo>
                    <a:pt x="19" y="195"/>
                  </a:lnTo>
                  <a:lnTo>
                    <a:pt x="0" y="187"/>
                  </a:lnTo>
                  <a:lnTo>
                    <a:pt x="9" y="178"/>
                  </a:lnTo>
                  <a:lnTo>
                    <a:pt x="34" y="178"/>
                  </a:lnTo>
                  <a:lnTo>
                    <a:pt x="34" y="170"/>
                  </a:lnTo>
                  <a:lnTo>
                    <a:pt x="34" y="153"/>
                  </a:lnTo>
                  <a:lnTo>
                    <a:pt x="25" y="153"/>
                  </a:lnTo>
                  <a:lnTo>
                    <a:pt x="25" y="146"/>
                  </a:lnTo>
                  <a:lnTo>
                    <a:pt x="19" y="146"/>
                  </a:lnTo>
                  <a:lnTo>
                    <a:pt x="19" y="130"/>
                  </a:lnTo>
                  <a:lnTo>
                    <a:pt x="25" y="121"/>
                  </a:lnTo>
                  <a:lnTo>
                    <a:pt x="34" y="130"/>
                  </a:lnTo>
                  <a:lnTo>
                    <a:pt x="50" y="121"/>
                  </a:lnTo>
                  <a:lnTo>
                    <a:pt x="90" y="74"/>
                  </a:lnTo>
                  <a:lnTo>
                    <a:pt x="82" y="65"/>
                  </a:lnTo>
                  <a:lnTo>
                    <a:pt x="90" y="65"/>
                  </a:lnTo>
                  <a:lnTo>
                    <a:pt x="90" y="56"/>
                  </a:lnTo>
                  <a:lnTo>
                    <a:pt x="74" y="50"/>
                  </a:lnTo>
                  <a:lnTo>
                    <a:pt x="82" y="33"/>
                  </a:lnTo>
                  <a:lnTo>
                    <a:pt x="74" y="25"/>
                  </a:lnTo>
                  <a:lnTo>
                    <a:pt x="82" y="16"/>
                  </a:lnTo>
                  <a:lnTo>
                    <a:pt x="99" y="25"/>
                  </a:lnTo>
                  <a:lnTo>
                    <a:pt x="114" y="16"/>
                  </a:lnTo>
                  <a:lnTo>
                    <a:pt x="122" y="8"/>
                  </a:lnTo>
                  <a:lnTo>
                    <a:pt x="147" y="0"/>
                  </a:lnTo>
                  <a:lnTo>
                    <a:pt x="156" y="8"/>
                  </a:lnTo>
                  <a:lnTo>
                    <a:pt x="156" y="25"/>
                  </a:lnTo>
                  <a:lnTo>
                    <a:pt x="139" y="40"/>
                  </a:lnTo>
                  <a:lnTo>
                    <a:pt x="147" y="56"/>
                  </a:lnTo>
                  <a:lnTo>
                    <a:pt x="131" y="56"/>
                  </a:lnTo>
                  <a:lnTo>
                    <a:pt x="139" y="81"/>
                  </a:lnTo>
                  <a:lnTo>
                    <a:pt x="162" y="90"/>
                  </a:lnTo>
                  <a:lnTo>
                    <a:pt x="156" y="113"/>
                  </a:lnTo>
                  <a:lnTo>
                    <a:pt x="171" y="121"/>
                  </a:lnTo>
                  <a:lnTo>
                    <a:pt x="243" y="146"/>
                  </a:lnTo>
                  <a:lnTo>
                    <a:pt x="252" y="146"/>
                  </a:lnTo>
                  <a:lnTo>
                    <a:pt x="252" y="137"/>
                  </a:lnTo>
                  <a:lnTo>
                    <a:pt x="252" y="121"/>
                  </a:lnTo>
                  <a:lnTo>
                    <a:pt x="261" y="121"/>
                  </a:lnTo>
                  <a:lnTo>
                    <a:pt x="268" y="130"/>
                  </a:lnTo>
                  <a:lnTo>
                    <a:pt x="268" y="137"/>
                  </a:lnTo>
                  <a:lnTo>
                    <a:pt x="301" y="137"/>
                  </a:lnTo>
                  <a:lnTo>
                    <a:pt x="308" y="137"/>
                  </a:lnTo>
                  <a:lnTo>
                    <a:pt x="301" y="121"/>
                  </a:lnTo>
                  <a:lnTo>
                    <a:pt x="342" y="105"/>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7" name="Freeform 193">
              <a:extLst>
                <a:ext uri="{FF2B5EF4-FFF2-40B4-BE49-F238E27FC236}">
                  <a16:creationId xmlns:a16="http://schemas.microsoft.com/office/drawing/2014/main" id="{AAEE491B-2D2C-4003-840D-A7E7B5F77B42}"/>
                </a:ext>
              </a:extLst>
            </p:cNvPr>
            <p:cNvSpPr>
              <a:spLocks/>
            </p:cNvSpPr>
            <p:nvPr/>
          </p:nvSpPr>
          <p:spPr bwMode="auto">
            <a:xfrm>
              <a:off x="7720013" y="3236913"/>
              <a:ext cx="782637" cy="319087"/>
            </a:xfrm>
            <a:custGeom>
              <a:avLst/>
              <a:gdLst>
                <a:gd name="T0" fmla="*/ 2147483647 w 408"/>
                <a:gd name="T1" fmla="*/ 2147483647 h 195"/>
                <a:gd name="T2" fmla="*/ 2147483647 w 408"/>
                <a:gd name="T3" fmla="*/ 2147483647 h 195"/>
                <a:gd name="T4" fmla="*/ 2147483647 w 408"/>
                <a:gd name="T5" fmla="*/ 2147483647 h 195"/>
                <a:gd name="T6" fmla="*/ 2147483647 w 408"/>
                <a:gd name="T7" fmla="*/ 2147483647 h 195"/>
                <a:gd name="T8" fmla="*/ 2147483647 w 408"/>
                <a:gd name="T9" fmla="*/ 2147483647 h 195"/>
                <a:gd name="T10" fmla="*/ 2147483647 w 408"/>
                <a:gd name="T11" fmla="*/ 0 h 195"/>
                <a:gd name="T12" fmla="*/ 2147483647 w 408"/>
                <a:gd name="T13" fmla="*/ 2147483647 h 195"/>
                <a:gd name="T14" fmla="*/ 2147483647 w 408"/>
                <a:gd name="T15" fmla="*/ 2147483647 h 195"/>
                <a:gd name="T16" fmla="*/ 2147483647 w 408"/>
                <a:gd name="T17" fmla="*/ 2147483647 h 195"/>
                <a:gd name="T18" fmla="*/ 2147483647 w 408"/>
                <a:gd name="T19" fmla="*/ 2147483647 h 195"/>
                <a:gd name="T20" fmla="*/ 2147483647 w 408"/>
                <a:gd name="T21" fmla="*/ 2147483647 h 195"/>
                <a:gd name="T22" fmla="*/ 2147483647 w 408"/>
                <a:gd name="T23" fmla="*/ 2147483647 h 195"/>
                <a:gd name="T24" fmla="*/ 2147483647 w 408"/>
                <a:gd name="T25" fmla="*/ 2147483647 h 195"/>
                <a:gd name="T26" fmla="*/ 0 w 408"/>
                <a:gd name="T27" fmla="*/ 2147483647 h 195"/>
                <a:gd name="T28" fmla="*/ 2147483647 w 408"/>
                <a:gd name="T29" fmla="*/ 2147483647 h 195"/>
                <a:gd name="T30" fmla="*/ 2147483647 w 408"/>
                <a:gd name="T31" fmla="*/ 2147483647 h 195"/>
                <a:gd name="T32" fmla="*/ 2147483647 w 408"/>
                <a:gd name="T33" fmla="*/ 2147483647 h 195"/>
                <a:gd name="T34" fmla="*/ 2147483647 w 408"/>
                <a:gd name="T35" fmla="*/ 2147483647 h 195"/>
                <a:gd name="T36" fmla="*/ 2147483647 w 408"/>
                <a:gd name="T37" fmla="*/ 2147483647 h 195"/>
                <a:gd name="T38" fmla="*/ 2147483647 w 408"/>
                <a:gd name="T39" fmla="*/ 2147483647 h 195"/>
                <a:gd name="T40" fmla="*/ 2147483647 w 408"/>
                <a:gd name="T41" fmla="*/ 2147483647 h 195"/>
                <a:gd name="T42" fmla="*/ 2147483647 w 408"/>
                <a:gd name="T43" fmla="*/ 2147483647 h 195"/>
                <a:gd name="T44" fmla="*/ 2147483647 w 408"/>
                <a:gd name="T45" fmla="*/ 2147483647 h 195"/>
                <a:gd name="T46" fmla="*/ 2147483647 w 408"/>
                <a:gd name="T47" fmla="*/ 2147483647 h 195"/>
                <a:gd name="T48" fmla="*/ 2147483647 w 408"/>
                <a:gd name="T49" fmla="*/ 2147483647 h 195"/>
                <a:gd name="T50" fmla="*/ 2147483647 w 408"/>
                <a:gd name="T51" fmla="*/ 2147483647 h 195"/>
                <a:gd name="T52" fmla="*/ 2147483647 w 408"/>
                <a:gd name="T53" fmla="*/ 2147483647 h 195"/>
                <a:gd name="T54" fmla="*/ 2147483647 w 408"/>
                <a:gd name="T55" fmla="*/ 2147483647 h 195"/>
                <a:gd name="T56" fmla="*/ 2147483647 w 408"/>
                <a:gd name="T57" fmla="*/ 2147483647 h 195"/>
                <a:gd name="T58" fmla="*/ 2147483647 w 408"/>
                <a:gd name="T59" fmla="*/ 2147483647 h 195"/>
                <a:gd name="T60" fmla="*/ 2147483647 w 408"/>
                <a:gd name="T61" fmla="*/ 2147483647 h 195"/>
                <a:gd name="T62" fmla="*/ 2147483647 w 408"/>
                <a:gd name="T63" fmla="*/ 2147483647 h 195"/>
                <a:gd name="T64" fmla="*/ 2147483647 w 408"/>
                <a:gd name="T65" fmla="*/ 2147483647 h 195"/>
                <a:gd name="T66" fmla="*/ 2147483647 w 408"/>
                <a:gd name="T67" fmla="*/ 2147483647 h 195"/>
                <a:gd name="T68" fmla="*/ 2147483647 w 408"/>
                <a:gd name="T69" fmla="*/ 2147483647 h 195"/>
                <a:gd name="T70" fmla="*/ 2147483647 w 408"/>
                <a:gd name="T71" fmla="*/ 2147483647 h 195"/>
                <a:gd name="T72" fmla="*/ 2147483647 w 408"/>
                <a:gd name="T73" fmla="*/ 2147483647 h 195"/>
                <a:gd name="T74" fmla="*/ 2147483647 w 408"/>
                <a:gd name="T75" fmla="*/ 2147483647 h 195"/>
                <a:gd name="T76" fmla="*/ 2147483647 w 408"/>
                <a:gd name="T77" fmla="*/ 2147483647 h 195"/>
                <a:gd name="T78" fmla="*/ 2147483647 w 408"/>
                <a:gd name="T79" fmla="*/ 2147483647 h 195"/>
                <a:gd name="T80" fmla="*/ 2147483647 w 408"/>
                <a:gd name="T81" fmla="*/ 2147483647 h 195"/>
                <a:gd name="T82" fmla="*/ 2147483647 w 408"/>
                <a:gd name="T83" fmla="*/ 2147483647 h 19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08"/>
                <a:gd name="T127" fmla="*/ 0 h 195"/>
                <a:gd name="T128" fmla="*/ 408 w 408"/>
                <a:gd name="T129" fmla="*/ 195 h 19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08" h="195">
                  <a:moveTo>
                    <a:pt x="268" y="49"/>
                  </a:moveTo>
                  <a:lnTo>
                    <a:pt x="220" y="24"/>
                  </a:lnTo>
                  <a:lnTo>
                    <a:pt x="205" y="32"/>
                  </a:lnTo>
                  <a:lnTo>
                    <a:pt x="195" y="32"/>
                  </a:lnTo>
                  <a:lnTo>
                    <a:pt x="180" y="9"/>
                  </a:lnTo>
                  <a:lnTo>
                    <a:pt x="146" y="0"/>
                  </a:lnTo>
                  <a:lnTo>
                    <a:pt x="130" y="9"/>
                  </a:lnTo>
                  <a:lnTo>
                    <a:pt x="130" y="24"/>
                  </a:lnTo>
                  <a:lnTo>
                    <a:pt x="130" y="40"/>
                  </a:lnTo>
                  <a:lnTo>
                    <a:pt x="97" y="40"/>
                  </a:lnTo>
                  <a:lnTo>
                    <a:pt x="81" y="32"/>
                  </a:lnTo>
                  <a:lnTo>
                    <a:pt x="49" y="24"/>
                  </a:lnTo>
                  <a:lnTo>
                    <a:pt x="9" y="49"/>
                  </a:lnTo>
                  <a:lnTo>
                    <a:pt x="0" y="57"/>
                  </a:lnTo>
                  <a:lnTo>
                    <a:pt x="16" y="81"/>
                  </a:lnTo>
                  <a:lnTo>
                    <a:pt x="34" y="81"/>
                  </a:lnTo>
                  <a:lnTo>
                    <a:pt x="41" y="97"/>
                  </a:lnTo>
                  <a:lnTo>
                    <a:pt x="41" y="130"/>
                  </a:lnTo>
                  <a:lnTo>
                    <a:pt x="90" y="146"/>
                  </a:lnTo>
                  <a:lnTo>
                    <a:pt x="115" y="171"/>
                  </a:lnTo>
                  <a:lnTo>
                    <a:pt x="162" y="171"/>
                  </a:lnTo>
                  <a:lnTo>
                    <a:pt x="186" y="186"/>
                  </a:lnTo>
                  <a:lnTo>
                    <a:pt x="220" y="194"/>
                  </a:lnTo>
                  <a:lnTo>
                    <a:pt x="252" y="177"/>
                  </a:lnTo>
                  <a:lnTo>
                    <a:pt x="285" y="177"/>
                  </a:lnTo>
                  <a:lnTo>
                    <a:pt x="308" y="152"/>
                  </a:lnTo>
                  <a:lnTo>
                    <a:pt x="302" y="146"/>
                  </a:lnTo>
                  <a:lnTo>
                    <a:pt x="317" y="130"/>
                  </a:lnTo>
                  <a:lnTo>
                    <a:pt x="333" y="137"/>
                  </a:lnTo>
                  <a:lnTo>
                    <a:pt x="357" y="121"/>
                  </a:lnTo>
                  <a:lnTo>
                    <a:pt x="373" y="105"/>
                  </a:lnTo>
                  <a:lnTo>
                    <a:pt x="407" y="105"/>
                  </a:lnTo>
                  <a:lnTo>
                    <a:pt x="397" y="89"/>
                  </a:lnTo>
                  <a:lnTo>
                    <a:pt x="389" y="81"/>
                  </a:lnTo>
                  <a:lnTo>
                    <a:pt x="373" y="89"/>
                  </a:lnTo>
                  <a:lnTo>
                    <a:pt x="357" y="89"/>
                  </a:lnTo>
                  <a:lnTo>
                    <a:pt x="357" y="57"/>
                  </a:lnTo>
                  <a:lnTo>
                    <a:pt x="366" y="40"/>
                  </a:lnTo>
                  <a:lnTo>
                    <a:pt x="342" y="32"/>
                  </a:lnTo>
                  <a:lnTo>
                    <a:pt x="325" y="49"/>
                  </a:lnTo>
                  <a:lnTo>
                    <a:pt x="292" y="57"/>
                  </a:lnTo>
                  <a:lnTo>
                    <a:pt x="268" y="49"/>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8" name="Freeform 194">
              <a:extLst>
                <a:ext uri="{FF2B5EF4-FFF2-40B4-BE49-F238E27FC236}">
                  <a16:creationId xmlns:a16="http://schemas.microsoft.com/office/drawing/2014/main" id="{0BD19E03-345B-4F88-9FC4-880C18FB952E}"/>
                </a:ext>
              </a:extLst>
            </p:cNvPr>
            <p:cNvSpPr>
              <a:spLocks/>
            </p:cNvSpPr>
            <p:nvPr/>
          </p:nvSpPr>
          <p:spPr bwMode="auto">
            <a:xfrm>
              <a:off x="6070600" y="2432050"/>
              <a:ext cx="269875" cy="503238"/>
            </a:xfrm>
            <a:custGeom>
              <a:avLst/>
              <a:gdLst>
                <a:gd name="T0" fmla="*/ 2147483647 w 141"/>
                <a:gd name="T1" fmla="*/ 2147483647 h 308"/>
                <a:gd name="T2" fmla="*/ 2147483647 w 141"/>
                <a:gd name="T3" fmla="*/ 2147483647 h 308"/>
                <a:gd name="T4" fmla="*/ 2147483647 w 141"/>
                <a:gd name="T5" fmla="*/ 2147483647 h 308"/>
                <a:gd name="T6" fmla="*/ 2147483647 w 141"/>
                <a:gd name="T7" fmla="*/ 2147483647 h 308"/>
                <a:gd name="T8" fmla="*/ 2147483647 w 141"/>
                <a:gd name="T9" fmla="*/ 2147483647 h 308"/>
                <a:gd name="T10" fmla="*/ 2147483647 w 141"/>
                <a:gd name="T11" fmla="*/ 2147483647 h 308"/>
                <a:gd name="T12" fmla="*/ 2147483647 w 141"/>
                <a:gd name="T13" fmla="*/ 2147483647 h 308"/>
                <a:gd name="T14" fmla="*/ 2147483647 w 141"/>
                <a:gd name="T15" fmla="*/ 2147483647 h 308"/>
                <a:gd name="T16" fmla="*/ 2147483647 w 141"/>
                <a:gd name="T17" fmla="*/ 2147483647 h 308"/>
                <a:gd name="T18" fmla="*/ 2147483647 w 141"/>
                <a:gd name="T19" fmla="*/ 2147483647 h 308"/>
                <a:gd name="T20" fmla="*/ 2147483647 w 141"/>
                <a:gd name="T21" fmla="*/ 2147483647 h 308"/>
                <a:gd name="T22" fmla="*/ 2147483647 w 141"/>
                <a:gd name="T23" fmla="*/ 2147483647 h 308"/>
                <a:gd name="T24" fmla="*/ 2147483647 w 141"/>
                <a:gd name="T25" fmla="*/ 2147483647 h 308"/>
                <a:gd name="T26" fmla="*/ 2147483647 w 141"/>
                <a:gd name="T27" fmla="*/ 2147483647 h 308"/>
                <a:gd name="T28" fmla="*/ 2147483647 w 141"/>
                <a:gd name="T29" fmla="*/ 2147483647 h 308"/>
                <a:gd name="T30" fmla="*/ 2147483647 w 141"/>
                <a:gd name="T31" fmla="*/ 2147483647 h 308"/>
                <a:gd name="T32" fmla="*/ 2147483647 w 141"/>
                <a:gd name="T33" fmla="*/ 2147483647 h 308"/>
                <a:gd name="T34" fmla="*/ 2147483647 w 141"/>
                <a:gd name="T35" fmla="*/ 2147483647 h 308"/>
                <a:gd name="T36" fmla="*/ 2147483647 w 141"/>
                <a:gd name="T37" fmla="*/ 2147483647 h 308"/>
                <a:gd name="T38" fmla="*/ 2147483647 w 141"/>
                <a:gd name="T39" fmla="*/ 2147483647 h 308"/>
                <a:gd name="T40" fmla="*/ 2147483647 w 141"/>
                <a:gd name="T41" fmla="*/ 2147483647 h 308"/>
                <a:gd name="T42" fmla="*/ 2147483647 w 141"/>
                <a:gd name="T43" fmla="*/ 2147483647 h 308"/>
                <a:gd name="T44" fmla="*/ 2147483647 w 141"/>
                <a:gd name="T45" fmla="*/ 2147483647 h 308"/>
                <a:gd name="T46" fmla="*/ 2147483647 w 141"/>
                <a:gd name="T47" fmla="*/ 2147483647 h 308"/>
                <a:gd name="T48" fmla="*/ 0 w 141"/>
                <a:gd name="T49" fmla="*/ 2147483647 h 308"/>
                <a:gd name="T50" fmla="*/ 2147483647 w 141"/>
                <a:gd name="T51" fmla="*/ 2147483647 h 308"/>
                <a:gd name="T52" fmla="*/ 2147483647 w 141"/>
                <a:gd name="T53" fmla="*/ 2147483647 h 308"/>
                <a:gd name="T54" fmla="*/ 2147483647 w 141"/>
                <a:gd name="T55" fmla="*/ 2147483647 h 308"/>
                <a:gd name="T56" fmla="*/ 2147483647 w 141"/>
                <a:gd name="T57" fmla="*/ 2147483647 h 308"/>
                <a:gd name="T58" fmla="*/ 2147483647 w 141"/>
                <a:gd name="T59" fmla="*/ 2147483647 h 308"/>
                <a:gd name="T60" fmla="*/ 2147483647 w 141"/>
                <a:gd name="T61" fmla="*/ 0 h 308"/>
                <a:gd name="T62" fmla="*/ 2147483647 w 141"/>
                <a:gd name="T63" fmla="*/ 2147483647 h 308"/>
                <a:gd name="T64" fmla="*/ 2147483647 w 141"/>
                <a:gd name="T65" fmla="*/ 2147483647 h 30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1"/>
                <a:gd name="T100" fmla="*/ 0 h 308"/>
                <a:gd name="T101" fmla="*/ 141 w 141"/>
                <a:gd name="T102" fmla="*/ 308 h 30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1" h="308">
                  <a:moveTo>
                    <a:pt x="106" y="40"/>
                  </a:moveTo>
                  <a:lnTo>
                    <a:pt x="106" y="65"/>
                  </a:lnTo>
                  <a:lnTo>
                    <a:pt x="124" y="81"/>
                  </a:lnTo>
                  <a:lnTo>
                    <a:pt x="115" y="105"/>
                  </a:lnTo>
                  <a:lnTo>
                    <a:pt x="124" y="145"/>
                  </a:lnTo>
                  <a:lnTo>
                    <a:pt x="115" y="170"/>
                  </a:lnTo>
                  <a:lnTo>
                    <a:pt x="131" y="195"/>
                  </a:lnTo>
                  <a:lnTo>
                    <a:pt x="124" y="210"/>
                  </a:lnTo>
                  <a:lnTo>
                    <a:pt x="140" y="227"/>
                  </a:lnTo>
                  <a:lnTo>
                    <a:pt x="140" y="235"/>
                  </a:lnTo>
                  <a:lnTo>
                    <a:pt x="115" y="276"/>
                  </a:lnTo>
                  <a:lnTo>
                    <a:pt x="91" y="292"/>
                  </a:lnTo>
                  <a:lnTo>
                    <a:pt x="83" y="292"/>
                  </a:lnTo>
                  <a:lnTo>
                    <a:pt x="41" y="307"/>
                  </a:lnTo>
                  <a:lnTo>
                    <a:pt x="9" y="292"/>
                  </a:lnTo>
                  <a:lnTo>
                    <a:pt x="18" y="267"/>
                  </a:lnTo>
                  <a:lnTo>
                    <a:pt x="9" y="242"/>
                  </a:lnTo>
                  <a:lnTo>
                    <a:pt x="18" y="227"/>
                  </a:lnTo>
                  <a:lnTo>
                    <a:pt x="49" y="177"/>
                  </a:lnTo>
                  <a:lnTo>
                    <a:pt x="59" y="170"/>
                  </a:lnTo>
                  <a:lnTo>
                    <a:pt x="59" y="153"/>
                  </a:lnTo>
                  <a:lnTo>
                    <a:pt x="49" y="145"/>
                  </a:lnTo>
                  <a:lnTo>
                    <a:pt x="41" y="145"/>
                  </a:lnTo>
                  <a:lnTo>
                    <a:pt x="34" y="71"/>
                  </a:lnTo>
                  <a:lnTo>
                    <a:pt x="0" y="40"/>
                  </a:lnTo>
                  <a:lnTo>
                    <a:pt x="9" y="31"/>
                  </a:lnTo>
                  <a:lnTo>
                    <a:pt x="25" y="49"/>
                  </a:lnTo>
                  <a:lnTo>
                    <a:pt x="59" y="49"/>
                  </a:lnTo>
                  <a:lnTo>
                    <a:pt x="66" y="40"/>
                  </a:lnTo>
                  <a:lnTo>
                    <a:pt x="74" y="8"/>
                  </a:lnTo>
                  <a:lnTo>
                    <a:pt x="91" y="0"/>
                  </a:lnTo>
                  <a:lnTo>
                    <a:pt x="115" y="16"/>
                  </a:lnTo>
                  <a:lnTo>
                    <a:pt x="106" y="40"/>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9" name="Freeform 195">
              <a:extLst>
                <a:ext uri="{FF2B5EF4-FFF2-40B4-BE49-F238E27FC236}">
                  <a16:creationId xmlns:a16="http://schemas.microsoft.com/office/drawing/2014/main" id="{3AEF45AF-3787-4F26-AC39-3E42C8C59B9E}"/>
                </a:ext>
              </a:extLst>
            </p:cNvPr>
            <p:cNvSpPr>
              <a:spLocks/>
            </p:cNvSpPr>
            <p:nvPr/>
          </p:nvSpPr>
          <p:spPr bwMode="auto">
            <a:xfrm>
              <a:off x="2700338" y="3790950"/>
              <a:ext cx="733425" cy="411163"/>
            </a:xfrm>
            <a:custGeom>
              <a:avLst/>
              <a:gdLst>
                <a:gd name="T0" fmla="*/ 2147483647 w 383"/>
                <a:gd name="T1" fmla="*/ 2147483647 h 252"/>
                <a:gd name="T2" fmla="*/ 2147483647 w 383"/>
                <a:gd name="T3" fmla="*/ 2147483647 h 252"/>
                <a:gd name="T4" fmla="*/ 2147483647 w 383"/>
                <a:gd name="T5" fmla="*/ 2147483647 h 252"/>
                <a:gd name="T6" fmla="*/ 2147483647 w 383"/>
                <a:gd name="T7" fmla="*/ 2147483647 h 252"/>
                <a:gd name="T8" fmla="*/ 2147483647 w 383"/>
                <a:gd name="T9" fmla="*/ 2147483647 h 252"/>
                <a:gd name="T10" fmla="*/ 2147483647 w 383"/>
                <a:gd name="T11" fmla="*/ 2147483647 h 252"/>
                <a:gd name="T12" fmla="*/ 2147483647 w 383"/>
                <a:gd name="T13" fmla="*/ 2147483647 h 252"/>
                <a:gd name="T14" fmla="*/ 2147483647 w 383"/>
                <a:gd name="T15" fmla="*/ 2147483647 h 252"/>
                <a:gd name="T16" fmla="*/ 2147483647 w 383"/>
                <a:gd name="T17" fmla="*/ 2147483647 h 252"/>
                <a:gd name="T18" fmla="*/ 2147483647 w 383"/>
                <a:gd name="T19" fmla="*/ 2147483647 h 252"/>
                <a:gd name="T20" fmla="*/ 2147483647 w 383"/>
                <a:gd name="T21" fmla="*/ 2147483647 h 252"/>
                <a:gd name="T22" fmla="*/ 2147483647 w 383"/>
                <a:gd name="T23" fmla="*/ 2147483647 h 252"/>
                <a:gd name="T24" fmla="*/ 2147483647 w 383"/>
                <a:gd name="T25" fmla="*/ 2147483647 h 252"/>
                <a:gd name="T26" fmla="*/ 2147483647 w 383"/>
                <a:gd name="T27" fmla="*/ 2147483647 h 252"/>
                <a:gd name="T28" fmla="*/ 2147483647 w 383"/>
                <a:gd name="T29" fmla="*/ 2147483647 h 252"/>
                <a:gd name="T30" fmla="*/ 2147483647 w 383"/>
                <a:gd name="T31" fmla="*/ 2147483647 h 252"/>
                <a:gd name="T32" fmla="*/ 2147483647 w 383"/>
                <a:gd name="T33" fmla="*/ 2147483647 h 252"/>
                <a:gd name="T34" fmla="*/ 2147483647 w 383"/>
                <a:gd name="T35" fmla="*/ 2147483647 h 252"/>
                <a:gd name="T36" fmla="*/ 2147483647 w 383"/>
                <a:gd name="T37" fmla="*/ 2147483647 h 252"/>
                <a:gd name="T38" fmla="*/ 2147483647 w 383"/>
                <a:gd name="T39" fmla="*/ 2147483647 h 252"/>
                <a:gd name="T40" fmla="*/ 2147483647 w 383"/>
                <a:gd name="T41" fmla="*/ 2147483647 h 252"/>
                <a:gd name="T42" fmla="*/ 2147483647 w 383"/>
                <a:gd name="T43" fmla="*/ 2147483647 h 252"/>
                <a:gd name="T44" fmla="*/ 2147483647 w 383"/>
                <a:gd name="T45" fmla="*/ 2147483647 h 252"/>
                <a:gd name="T46" fmla="*/ 2147483647 w 383"/>
                <a:gd name="T47" fmla="*/ 2147483647 h 252"/>
                <a:gd name="T48" fmla="*/ 2147483647 w 383"/>
                <a:gd name="T49" fmla="*/ 2147483647 h 252"/>
                <a:gd name="T50" fmla="*/ 2147483647 w 383"/>
                <a:gd name="T51" fmla="*/ 2147483647 h 252"/>
                <a:gd name="T52" fmla="*/ 2147483647 w 383"/>
                <a:gd name="T53" fmla="*/ 2147483647 h 252"/>
                <a:gd name="T54" fmla="*/ 2147483647 w 383"/>
                <a:gd name="T55" fmla="*/ 2147483647 h 252"/>
                <a:gd name="T56" fmla="*/ 2147483647 w 383"/>
                <a:gd name="T57" fmla="*/ 2147483647 h 252"/>
                <a:gd name="T58" fmla="*/ 2147483647 w 383"/>
                <a:gd name="T59" fmla="*/ 2147483647 h 252"/>
                <a:gd name="T60" fmla="*/ 2147483647 w 383"/>
                <a:gd name="T61" fmla="*/ 0 h 252"/>
                <a:gd name="T62" fmla="*/ 2147483647 w 383"/>
                <a:gd name="T63" fmla="*/ 2147483647 h 252"/>
                <a:gd name="T64" fmla="*/ 2147483647 w 383"/>
                <a:gd name="T65" fmla="*/ 2147483647 h 252"/>
                <a:gd name="T66" fmla="*/ 2147483647 w 383"/>
                <a:gd name="T67" fmla="*/ 2147483647 h 252"/>
                <a:gd name="T68" fmla="*/ 2147483647 w 383"/>
                <a:gd name="T69" fmla="*/ 2147483647 h 252"/>
                <a:gd name="T70" fmla="*/ 2147483647 w 383"/>
                <a:gd name="T71" fmla="*/ 2147483647 h 25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83"/>
                <a:gd name="T109" fmla="*/ 0 h 252"/>
                <a:gd name="T110" fmla="*/ 383 w 383"/>
                <a:gd name="T111" fmla="*/ 252 h 25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83" h="252">
                  <a:moveTo>
                    <a:pt x="251" y="97"/>
                  </a:moveTo>
                  <a:lnTo>
                    <a:pt x="243" y="114"/>
                  </a:lnTo>
                  <a:lnTo>
                    <a:pt x="243" y="146"/>
                  </a:lnTo>
                  <a:lnTo>
                    <a:pt x="251" y="155"/>
                  </a:lnTo>
                  <a:lnTo>
                    <a:pt x="251" y="162"/>
                  </a:lnTo>
                  <a:lnTo>
                    <a:pt x="268" y="196"/>
                  </a:lnTo>
                  <a:lnTo>
                    <a:pt x="292" y="203"/>
                  </a:lnTo>
                  <a:lnTo>
                    <a:pt x="317" y="196"/>
                  </a:lnTo>
                  <a:lnTo>
                    <a:pt x="332" y="196"/>
                  </a:lnTo>
                  <a:lnTo>
                    <a:pt x="323" y="196"/>
                  </a:lnTo>
                  <a:lnTo>
                    <a:pt x="332" y="186"/>
                  </a:lnTo>
                  <a:lnTo>
                    <a:pt x="341" y="162"/>
                  </a:lnTo>
                  <a:lnTo>
                    <a:pt x="348" y="162"/>
                  </a:lnTo>
                  <a:lnTo>
                    <a:pt x="373" y="155"/>
                  </a:lnTo>
                  <a:lnTo>
                    <a:pt x="382" y="162"/>
                  </a:lnTo>
                  <a:lnTo>
                    <a:pt x="373" y="196"/>
                  </a:lnTo>
                  <a:lnTo>
                    <a:pt x="373" y="203"/>
                  </a:lnTo>
                  <a:lnTo>
                    <a:pt x="364" y="196"/>
                  </a:lnTo>
                  <a:lnTo>
                    <a:pt x="357" y="203"/>
                  </a:lnTo>
                  <a:lnTo>
                    <a:pt x="332" y="203"/>
                  </a:lnTo>
                  <a:lnTo>
                    <a:pt x="323" y="211"/>
                  </a:lnTo>
                  <a:lnTo>
                    <a:pt x="341" y="227"/>
                  </a:lnTo>
                  <a:lnTo>
                    <a:pt x="323" y="227"/>
                  </a:lnTo>
                  <a:lnTo>
                    <a:pt x="317" y="251"/>
                  </a:lnTo>
                  <a:lnTo>
                    <a:pt x="292" y="227"/>
                  </a:lnTo>
                  <a:lnTo>
                    <a:pt x="276" y="227"/>
                  </a:lnTo>
                  <a:lnTo>
                    <a:pt x="268" y="236"/>
                  </a:lnTo>
                  <a:lnTo>
                    <a:pt x="243" y="227"/>
                  </a:lnTo>
                  <a:lnTo>
                    <a:pt x="202" y="211"/>
                  </a:lnTo>
                  <a:lnTo>
                    <a:pt x="195" y="203"/>
                  </a:lnTo>
                  <a:lnTo>
                    <a:pt x="171" y="203"/>
                  </a:lnTo>
                  <a:lnTo>
                    <a:pt x="155" y="186"/>
                  </a:lnTo>
                  <a:lnTo>
                    <a:pt x="146" y="171"/>
                  </a:lnTo>
                  <a:lnTo>
                    <a:pt x="155" y="162"/>
                  </a:lnTo>
                  <a:lnTo>
                    <a:pt x="146" y="146"/>
                  </a:lnTo>
                  <a:lnTo>
                    <a:pt x="114" y="106"/>
                  </a:lnTo>
                  <a:lnTo>
                    <a:pt x="96" y="97"/>
                  </a:lnTo>
                  <a:lnTo>
                    <a:pt x="96" y="90"/>
                  </a:lnTo>
                  <a:lnTo>
                    <a:pt x="81" y="74"/>
                  </a:lnTo>
                  <a:lnTo>
                    <a:pt x="81" y="65"/>
                  </a:lnTo>
                  <a:lnTo>
                    <a:pt x="72" y="65"/>
                  </a:lnTo>
                  <a:lnTo>
                    <a:pt x="64" y="49"/>
                  </a:lnTo>
                  <a:lnTo>
                    <a:pt x="49" y="18"/>
                  </a:lnTo>
                  <a:lnTo>
                    <a:pt x="40" y="18"/>
                  </a:lnTo>
                  <a:lnTo>
                    <a:pt x="24" y="9"/>
                  </a:lnTo>
                  <a:lnTo>
                    <a:pt x="32" y="34"/>
                  </a:lnTo>
                  <a:lnTo>
                    <a:pt x="72" y="90"/>
                  </a:lnTo>
                  <a:lnTo>
                    <a:pt x="81" y="122"/>
                  </a:lnTo>
                  <a:lnTo>
                    <a:pt x="89" y="122"/>
                  </a:lnTo>
                  <a:lnTo>
                    <a:pt x="96" y="131"/>
                  </a:lnTo>
                  <a:lnTo>
                    <a:pt x="89" y="139"/>
                  </a:lnTo>
                  <a:lnTo>
                    <a:pt x="81" y="131"/>
                  </a:lnTo>
                  <a:lnTo>
                    <a:pt x="56" y="114"/>
                  </a:lnTo>
                  <a:lnTo>
                    <a:pt x="64" y="106"/>
                  </a:lnTo>
                  <a:lnTo>
                    <a:pt x="56" y="90"/>
                  </a:lnTo>
                  <a:lnTo>
                    <a:pt x="32" y="81"/>
                  </a:lnTo>
                  <a:lnTo>
                    <a:pt x="24" y="65"/>
                  </a:lnTo>
                  <a:lnTo>
                    <a:pt x="32" y="74"/>
                  </a:lnTo>
                  <a:lnTo>
                    <a:pt x="40" y="57"/>
                  </a:lnTo>
                  <a:lnTo>
                    <a:pt x="16" y="41"/>
                  </a:lnTo>
                  <a:lnTo>
                    <a:pt x="0" y="0"/>
                  </a:lnTo>
                  <a:lnTo>
                    <a:pt x="24" y="0"/>
                  </a:lnTo>
                  <a:lnTo>
                    <a:pt x="72" y="18"/>
                  </a:lnTo>
                  <a:lnTo>
                    <a:pt x="137" y="9"/>
                  </a:lnTo>
                  <a:lnTo>
                    <a:pt x="155" y="25"/>
                  </a:lnTo>
                  <a:lnTo>
                    <a:pt x="155" y="41"/>
                  </a:lnTo>
                  <a:lnTo>
                    <a:pt x="171" y="49"/>
                  </a:lnTo>
                  <a:lnTo>
                    <a:pt x="179" y="49"/>
                  </a:lnTo>
                  <a:lnTo>
                    <a:pt x="186" y="41"/>
                  </a:lnTo>
                  <a:lnTo>
                    <a:pt x="195" y="41"/>
                  </a:lnTo>
                  <a:lnTo>
                    <a:pt x="226" y="90"/>
                  </a:lnTo>
                  <a:lnTo>
                    <a:pt x="251" y="97"/>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0" name="Freeform 196">
              <a:extLst>
                <a:ext uri="{FF2B5EF4-FFF2-40B4-BE49-F238E27FC236}">
                  <a16:creationId xmlns:a16="http://schemas.microsoft.com/office/drawing/2014/main" id="{270D9F96-EAC2-4997-AA2E-671BD879E643}"/>
                </a:ext>
              </a:extLst>
            </p:cNvPr>
            <p:cNvSpPr>
              <a:spLocks/>
            </p:cNvSpPr>
            <p:nvPr/>
          </p:nvSpPr>
          <p:spPr bwMode="auto">
            <a:xfrm>
              <a:off x="3386138" y="4110038"/>
              <a:ext cx="30162" cy="50800"/>
            </a:xfrm>
            <a:custGeom>
              <a:avLst/>
              <a:gdLst>
                <a:gd name="T0" fmla="*/ 0 w 17"/>
                <a:gd name="T1" fmla="*/ 2147483647 h 32"/>
                <a:gd name="T2" fmla="*/ 2147483647 w 17"/>
                <a:gd name="T3" fmla="*/ 2147483647 h 32"/>
                <a:gd name="T4" fmla="*/ 2147483647 w 17"/>
                <a:gd name="T5" fmla="*/ 0 h 32"/>
                <a:gd name="T6" fmla="*/ 0 w 17"/>
                <a:gd name="T7" fmla="*/ 2147483647 h 32"/>
                <a:gd name="T8" fmla="*/ 0 w 17"/>
                <a:gd name="T9" fmla="*/ 2147483647 h 32"/>
                <a:gd name="T10" fmla="*/ 0 60000 65536"/>
                <a:gd name="T11" fmla="*/ 0 60000 65536"/>
                <a:gd name="T12" fmla="*/ 0 60000 65536"/>
                <a:gd name="T13" fmla="*/ 0 60000 65536"/>
                <a:gd name="T14" fmla="*/ 0 60000 65536"/>
                <a:gd name="T15" fmla="*/ 0 w 17"/>
                <a:gd name="T16" fmla="*/ 0 h 32"/>
                <a:gd name="T17" fmla="*/ 17 w 17"/>
                <a:gd name="T18" fmla="*/ 32 h 32"/>
              </a:gdLst>
              <a:ahLst/>
              <a:cxnLst>
                <a:cxn ang="T10">
                  <a:pos x="T0" y="T1"/>
                </a:cxn>
                <a:cxn ang="T11">
                  <a:pos x="T2" y="T3"/>
                </a:cxn>
                <a:cxn ang="T12">
                  <a:pos x="T4" y="T5"/>
                </a:cxn>
                <a:cxn ang="T13">
                  <a:pos x="T6" y="T7"/>
                </a:cxn>
                <a:cxn ang="T14">
                  <a:pos x="T8" y="T9"/>
                </a:cxn>
              </a:cxnLst>
              <a:rect l="T15" t="T16" r="T17" b="T18"/>
              <a:pathLst>
                <a:path w="17" h="32">
                  <a:moveTo>
                    <a:pt x="0" y="31"/>
                  </a:moveTo>
                  <a:lnTo>
                    <a:pt x="16" y="31"/>
                  </a:lnTo>
                  <a:lnTo>
                    <a:pt x="16" y="0"/>
                  </a:lnTo>
                  <a:lnTo>
                    <a:pt x="0" y="7"/>
                  </a:lnTo>
                  <a:lnTo>
                    <a:pt x="0" y="31"/>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1" name="Freeform 197">
              <a:extLst>
                <a:ext uri="{FF2B5EF4-FFF2-40B4-BE49-F238E27FC236}">
                  <a16:creationId xmlns:a16="http://schemas.microsoft.com/office/drawing/2014/main" id="{8251AE8C-988D-457B-9D5B-89595DC22AA1}"/>
                </a:ext>
              </a:extLst>
            </p:cNvPr>
            <p:cNvSpPr>
              <a:spLocks/>
            </p:cNvSpPr>
            <p:nvPr/>
          </p:nvSpPr>
          <p:spPr bwMode="auto">
            <a:xfrm>
              <a:off x="3308350" y="4121150"/>
              <a:ext cx="92075" cy="96838"/>
            </a:xfrm>
            <a:custGeom>
              <a:avLst/>
              <a:gdLst>
                <a:gd name="T0" fmla="*/ 2147483647 w 48"/>
                <a:gd name="T1" fmla="*/ 2147483647 h 59"/>
                <a:gd name="T2" fmla="*/ 2147483647 w 48"/>
                <a:gd name="T3" fmla="*/ 2147483647 h 59"/>
                <a:gd name="T4" fmla="*/ 2147483647 w 48"/>
                <a:gd name="T5" fmla="*/ 2147483647 h 59"/>
                <a:gd name="T6" fmla="*/ 2147483647 w 48"/>
                <a:gd name="T7" fmla="*/ 2147483647 h 59"/>
                <a:gd name="T8" fmla="*/ 0 w 48"/>
                <a:gd name="T9" fmla="*/ 2147483647 h 59"/>
                <a:gd name="T10" fmla="*/ 2147483647 w 48"/>
                <a:gd name="T11" fmla="*/ 2147483647 h 59"/>
                <a:gd name="T12" fmla="*/ 2147483647 w 48"/>
                <a:gd name="T13" fmla="*/ 2147483647 h 59"/>
                <a:gd name="T14" fmla="*/ 2147483647 w 48"/>
                <a:gd name="T15" fmla="*/ 2147483647 h 59"/>
                <a:gd name="T16" fmla="*/ 2147483647 w 48"/>
                <a:gd name="T17" fmla="*/ 0 h 59"/>
                <a:gd name="T18" fmla="*/ 2147483647 w 48"/>
                <a:gd name="T19" fmla="*/ 0 h 59"/>
                <a:gd name="T20" fmla="*/ 2147483647 w 48"/>
                <a:gd name="T21" fmla="*/ 2147483647 h 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
                <a:gd name="T34" fmla="*/ 0 h 59"/>
                <a:gd name="T35" fmla="*/ 48 w 48"/>
                <a:gd name="T36" fmla="*/ 59 h 5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 h="59">
                  <a:moveTo>
                    <a:pt x="40" y="24"/>
                  </a:moveTo>
                  <a:lnTo>
                    <a:pt x="47" y="33"/>
                  </a:lnTo>
                  <a:lnTo>
                    <a:pt x="31" y="48"/>
                  </a:lnTo>
                  <a:lnTo>
                    <a:pt x="24" y="58"/>
                  </a:lnTo>
                  <a:lnTo>
                    <a:pt x="0" y="48"/>
                  </a:lnTo>
                  <a:lnTo>
                    <a:pt x="6" y="24"/>
                  </a:lnTo>
                  <a:lnTo>
                    <a:pt x="24" y="24"/>
                  </a:lnTo>
                  <a:lnTo>
                    <a:pt x="6" y="8"/>
                  </a:lnTo>
                  <a:lnTo>
                    <a:pt x="15" y="0"/>
                  </a:lnTo>
                  <a:lnTo>
                    <a:pt x="40" y="0"/>
                  </a:lnTo>
                  <a:lnTo>
                    <a:pt x="40" y="24"/>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2" name="Freeform 198">
              <a:extLst>
                <a:ext uri="{FF2B5EF4-FFF2-40B4-BE49-F238E27FC236}">
                  <a16:creationId xmlns:a16="http://schemas.microsoft.com/office/drawing/2014/main" id="{3756B45F-2865-45A4-A29C-47512D839A41}"/>
                </a:ext>
              </a:extLst>
            </p:cNvPr>
            <p:cNvSpPr>
              <a:spLocks/>
            </p:cNvSpPr>
            <p:nvPr/>
          </p:nvSpPr>
          <p:spPr bwMode="auto">
            <a:xfrm>
              <a:off x="3368675" y="4175125"/>
              <a:ext cx="157163" cy="53975"/>
            </a:xfrm>
            <a:custGeom>
              <a:avLst/>
              <a:gdLst>
                <a:gd name="T0" fmla="*/ 2147483647 w 82"/>
                <a:gd name="T1" fmla="*/ 0 h 33"/>
                <a:gd name="T2" fmla="*/ 2147483647 w 82"/>
                <a:gd name="T3" fmla="*/ 0 h 33"/>
                <a:gd name="T4" fmla="*/ 2147483647 w 82"/>
                <a:gd name="T5" fmla="*/ 2147483647 h 33"/>
                <a:gd name="T6" fmla="*/ 2147483647 w 82"/>
                <a:gd name="T7" fmla="*/ 2147483647 h 33"/>
                <a:gd name="T8" fmla="*/ 2147483647 w 82"/>
                <a:gd name="T9" fmla="*/ 2147483647 h 33"/>
                <a:gd name="T10" fmla="*/ 2147483647 w 82"/>
                <a:gd name="T11" fmla="*/ 2147483647 h 33"/>
                <a:gd name="T12" fmla="*/ 2147483647 w 82"/>
                <a:gd name="T13" fmla="*/ 2147483647 h 33"/>
                <a:gd name="T14" fmla="*/ 0 w 82"/>
                <a:gd name="T15" fmla="*/ 2147483647 h 33"/>
                <a:gd name="T16" fmla="*/ 2147483647 w 82"/>
                <a:gd name="T17" fmla="*/ 0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2"/>
                <a:gd name="T28" fmla="*/ 0 h 33"/>
                <a:gd name="T29" fmla="*/ 82 w 82"/>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2" h="33">
                  <a:moveTo>
                    <a:pt x="16" y="0"/>
                  </a:moveTo>
                  <a:lnTo>
                    <a:pt x="59" y="0"/>
                  </a:lnTo>
                  <a:lnTo>
                    <a:pt x="81" y="7"/>
                  </a:lnTo>
                  <a:lnTo>
                    <a:pt x="65" y="15"/>
                  </a:lnTo>
                  <a:lnTo>
                    <a:pt x="34" y="32"/>
                  </a:lnTo>
                  <a:lnTo>
                    <a:pt x="25" y="32"/>
                  </a:lnTo>
                  <a:lnTo>
                    <a:pt x="25" y="25"/>
                  </a:lnTo>
                  <a:lnTo>
                    <a:pt x="0" y="15"/>
                  </a:lnTo>
                  <a:lnTo>
                    <a:pt x="16"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3" name="Freeform 199">
              <a:extLst>
                <a:ext uri="{FF2B5EF4-FFF2-40B4-BE49-F238E27FC236}">
                  <a16:creationId xmlns:a16="http://schemas.microsoft.com/office/drawing/2014/main" id="{B76A8D34-3B4C-44D9-98B2-57CEDB7B67E6}"/>
                </a:ext>
              </a:extLst>
            </p:cNvPr>
            <p:cNvSpPr>
              <a:spLocks/>
            </p:cNvSpPr>
            <p:nvPr/>
          </p:nvSpPr>
          <p:spPr bwMode="auto">
            <a:xfrm>
              <a:off x="3354388" y="4200525"/>
              <a:ext cx="61912" cy="28575"/>
            </a:xfrm>
            <a:custGeom>
              <a:avLst/>
              <a:gdLst>
                <a:gd name="T0" fmla="*/ 2147483647 w 33"/>
                <a:gd name="T1" fmla="*/ 0 h 18"/>
                <a:gd name="T2" fmla="*/ 0 w 33"/>
                <a:gd name="T3" fmla="*/ 2147483647 h 18"/>
                <a:gd name="T4" fmla="*/ 2147483647 w 33"/>
                <a:gd name="T5" fmla="*/ 2147483647 h 18"/>
                <a:gd name="T6" fmla="*/ 2147483647 w 33"/>
                <a:gd name="T7" fmla="*/ 2147483647 h 18"/>
                <a:gd name="T8" fmla="*/ 2147483647 w 33"/>
                <a:gd name="T9" fmla="*/ 2147483647 h 18"/>
                <a:gd name="T10" fmla="*/ 2147483647 w 33"/>
                <a:gd name="T11" fmla="*/ 0 h 18"/>
                <a:gd name="T12" fmla="*/ 0 60000 65536"/>
                <a:gd name="T13" fmla="*/ 0 60000 65536"/>
                <a:gd name="T14" fmla="*/ 0 60000 65536"/>
                <a:gd name="T15" fmla="*/ 0 60000 65536"/>
                <a:gd name="T16" fmla="*/ 0 60000 65536"/>
                <a:gd name="T17" fmla="*/ 0 60000 65536"/>
                <a:gd name="T18" fmla="*/ 0 w 33"/>
                <a:gd name="T19" fmla="*/ 0 h 18"/>
                <a:gd name="T20" fmla="*/ 33 w 33"/>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3" h="18">
                  <a:moveTo>
                    <a:pt x="7" y="0"/>
                  </a:moveTo>
                  <a:lnTo>
                    <a:pt x="0" y="10"/>
                  </a:lnTo>
                  <a:lnTo>
                    <a:pt x="7" y="17"/>
                  </a:lnTo>
                  <a:lnTo>
                    <a:pt x="32" y="17"/>
                  </a:lnTo>
                  <a:lnTo>
                    <a:pt x="32" y="10"/>
                  </a:lnTo>
                  <a:lnTo>
                    <a:pt x="7"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4" name="Freeform 200">
              <a:extLst>
                <a:ext uri="{FF2B5EF4-FFF2-40B4-BE49-F238E27FC236}">
                  <a16:creationId xmlns:a16="http://schemas.microsoft.com/office/drawing/2014/main" id="{2BFA76B7-4274-496F-AB09-FDC9A84E4567}"/>
                </a:ext>
              </a:extLst>
            </p:cNvPr>
            <p:cNvSpPr>
              <a:spLocks/>
            </p:cNvSpPr>
            <p:nvPr/>
          </p:nvSpPr>
          <p:spPr bwMode="auto">
            <a:xfrm>
              <a:off x="3432175" y="4186238"/>
              <a:ext cx="93663" cy="96837"/>
            </a:xfrm>
            <a:custGeom>
              <a:avLst/>
              <a:gdLst>
                <a:gd name="T0" fmla="*/ 2147483647 w 48"/>
                <a:gd name="T1" fmla="*/ 0 h 59"/>
                <a:gd name="T2" fmla="*/ 2147483647 w 48"/>
                <a:gd name="T3" fmla="*/ 2147483647 h 59"/>
                <a:gd name="T4" fmla="*/ 2147483647 w 48"/>
                <a:gd name="T5" fmla="*/ 2147483647 h 59"/>
                <a:gd name="T6" fmla="*/ 2147483647 w 48"/>
                <a:gd name="T7" fmla="*/ 2147483647 h 59"/>
                <a:gd name="T8" fmla="*/ 2147483647 w 48"/>
                <a:gd name="T9" fmla="*/ 2147483647 h 59"/>
                <a:gd name="T10" fmla="*/ 2147483647 w 48"/>
                <a:gd name="T11" fmla="*/ 2147483647 h 59"/>
                <a:gd name="T12" fmla="*/ 0 w 48"/>
                <a:gd name="T13" fmla="*/ 2147483647 h 59"/>
                <a:gd name="T14" fmla="*/ 0 w 48"/>
                <a:gd name="T15" fmla="*/ 2147483647 h 59"/>
                <a:gd name="T16" fmla="*/ 2147483647 w 48"/>
                <a:gd name="T17" fmla="*/ 2147483647 h 59"/>
                <a:gd name="T18" fmla="*/ 2147483647 w 48"/>
                <a:gd name="T19" fmla="*/ 0 h 5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8"/>
                <a:gd name="T31" fmla="*/ 0 h 59"/>
                <a:gd name="T32" fmla="*/ 48 w 48"/>
                <a:gd name="T33" fmla="*/ 59 h 5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8" h="59">
                  <a:moveTo>
                    <a:pt x="47" y="0"/>
                  </a:moveTo>
                  <a:lnTo>
                    <a:pt x="47" y="8"/>
                  </a:lnTo>
                  <a:lnTo>
                    <a:pt x="40" y="50"/>
                  </a:lnTo>
                  <a:lnTo>
                    <a:pt x="47" y="58"/>
                  </a:lnTo>
                  <a:lnTo>
                    <a:pt x="40" y="58"/>
                  </a:lnTo>
                  <a:lnTo>
                    <a:pt x="15" y="50"/>
                  </a:lnTo>
                  <a:lnTo>
                    <a:pt x="0" y="33"/>
                  </a:lnTo>
                  <a:lnTo>
                    <a:pt x="0" y="25"/>
                  </a:lnTo>
                  <a:lnTo>
                    <a:pt x="31" y="8"/>
                  </a:lnTo>
                  <a:lnTo>
                    <a:pt x="47"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5" name="Freeform 201">
              <a:extLst>
                <a:ext uri="{FF2B5EF4-FFF2-40B4-BE49-F238E27FC236}">
                  <a16:creationId xmlns:a16="http://schemas.microsoft.com/office/drawing/2014/main" id="{985C911C-8BCD-412C-A6DD-8DE548F827CE}"/>
                </a:ext>
              </a:extLst>
            </p:cNvPr>
            <p:cNvSpPr>
              <a:spLocks/>
            </p:cNvSpPr>
            <p:nvPr/>
          </p:nvSpPr>
          <p:spPr bwMode="auto">
            <a:xfrm>
              <a:off x="3462338" y="4267200"/>
              <a:ext cx="79375" cy="68263"/>
            </a:xfrm>
            <a:custGeom>
              <a:avLst/>
              <a:gdLst>
                <a:gd name="T0" fmla="*/ 2147483647 w 42"/>
                <a:gd name="T1" fmla="*/ 2147483647 h 41"/>
                <a:gd name="T2" fmla="*/ 2147483647 w 42"/>
                <a:gd name="T3" fmla="*/ 2147483647 h 41"/>
                <a:gd name="T4" fmla="*/ 2147483647 w 42"/>
                <a:gd name="T5" fmla="*/ 2147483647 h 41"/>
                <a:gd name="T6" fmla="*/ 2147483647 w 42"/>
                <a:gd name="T7" fmla="*/ 2147483647 h 41"/>
                <a:gd name="T8" fmla="*/ 2147483647 w 42"/>
                <a:gd name="T9" fmla="*/ 2147483647 h 41"/>
                <a:gd name="T10" fmla="*/ 0 w 42"/>
                <a:gd name="T11" fmla="*/ 0 h 41"/>
                <a:gd name="T12" fmla="*/ 0 w 42"/>
                <a:gd name="T13" fmla="*/ 2147483647 h 41"/>
                <a:gd name="T14" fmla="*/ 2147483647 w 42"/>
                <a:gd name="T15" fmla="*/ 2147483647 h 41"/>
                <a:gd name="T16" fmla="*/ 2147483647 w 42"/>
                <a:gd name="T17" fmla="*/ 2147483647 h 41"/>
                <a:gd name="T18" fmla="*/ 2147483647 w 42"/>
                <a:gd name="T19" fmla="*/ 2147483647 h 41"/>
                <a:gd name="T20" fmla="*/ 2147483647 w 42"/>
                <a:gd name="T21" fmla="*/ 2147483647 h 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2"/>
                <a:gd name="T34" fmla="*/ 0 h 41"/>
                <a:gd name="T35" fmla="*/ 42 w 42"/>
                <a:gd name="T36" fmla="*/ 41 h 4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2" h="41">
                  <a:moveTo>
                    <a:pt x="41" y="40"/>
                  </a:moveTo>
                  <a:lnTo>
                    <a:pt x="41" y="24"/>
                  </a:lnTo>
                  <a:lnTo>
                    <a:pt x="32" y="15"/>
                  </a:lnTo>
                  <a:lnTo>
                    <a:pt x="32" y="8"/>
                  </a:lnTo>
                  <a:lnTo>
                    <a:pt x="25" y="8"/>
                  </a:lnTo>
                  <a:lnTo>
                    <a:pt x="0" y="0"/>
                  </a:lnTo>
                  <a:lnTo>
                    <a:pt x="0" y="15"/>
                  </a:lnTo>
                  <a:lnTo>
                    <a:pt x="10" y="24"/>
                  </a:lnTo>
                  <a:lnTo>
                    <a:pt x="16" y="15"/>
                  </a:lnTo>
                  <a:lnTo>
                    <a:pt x="25" y="31"/>
                  </a:lnTo>
                  <a:lnTo>
                    <a:pt x="41" y="4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6" name="Freeform 202">
              <a:extLst>
                <a:ext uri="{FF2B5EF4-FFF2-40B4-BE49-F238E27FC236}">
                  <a16:creationId xmlns:a16="http://schemas.microsoft.com/office/drawing/2014/main" id="{1D7748AE-1E8E-4B17-8629-A02EF4E121C3}"/>
                </a:ext>
              </a:extLst>
            </p:cNvPr>
            <p:cNvSpPr>
              <a:spLocks/>
            </p:cNvSpPr>
            <p:nvPr/>
          </p:nvSpPr>
          <p:spPr bwMode="auto">
            <a:xfrm>
              <a:off x="3540125" y="4306888"/>
              <a:ext cx="80963" cy="52387"/>
            </a:xfrm>
            <a:custGeom>
              <a:avLst/>
              <a:gdLst>
                <a:gd name="T0" fmla="*/ 0 w 42"/>
                <a:gd name="T1" fmla="*/ 2147483647 h 32"/>
                <a:gd name="T2" fmla="*/ 2147483647 w 42"/>
                <a:gd name="T3" fmla="*/ 2147483647 h 32"/>
                <a:gd name="T4" fmla="*/ 2147483647 w 42"/>
                <a:gd name="T5" fmla="*/ 2147483647 h 32"/>
                <a:gd name="T6" fmla="*/ 2147483647 w 42"/>
                <a:gd name="T7" fmla="*/ 2147483647 h 32"/>
                <a:gd name="T8" fmla="*/ 2147483647 w 42"/>
                <a:gd name="T9" fmla="*/ 2147483647 h 32"/>
                <a:gd name="T10" fmla="*/ 2147483647 w 42"/>
                <a:gd name="T11" fmla="*/ 2147483647 h 32"/>
                <a:gd name="T12" fmla="*/ 2147483647 w 42"/>
                <a:gd name="T13" fmla="*/ 0 h 32"/>
                <a:gd name="T14" fmla="*/ 2147483647 w 42"/>
                <a:gd name="T15" fmla="*/ 2147483647 h 32"/>
                <a:gd name="T16" fmla="*/ 2147483647 w 42"/>
                <a:gd name="T17" fmla="*/ 2147483647 h 32"/>
                <a:gd name="T18" fmla="*/ 0 w 42"/>
                <a:gd name="T19" fmla="*/ 0 h 32"/>
                <a:gd name="T20" fmla="*/ 0 w 42"/>
                <a:gd name="T21" fmla="*/ 2147483647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2"/>
                <a:gd name="T34" fmla="*/ 0 h 32"/>
                <a:gd name="T35" fmla="*/ 42 w 42"/>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2" h="32">
                  <a:moveTo>
                    <a:pt x="0" y="16"/>
                  </a:moveTo>
                  <a:lnTo>
                    <a:pt x="24" y="25"/>
                  </a:lnTo>
                  <a:lnTo>
                    <a:pt x="24" y="31"/>
                  </a:lnTo>
                  <a:lnTo>
                    <a:pt x="32" y="25"/>
                  </a:lnTo>
                  <a:lnTo>
                    <a:pt x="24" y="16"/>
                  </a:lnTo>
                  <a:lnTo>
                    <a:pt x="41" y="7"/>
                  </a:lnTo>
                  <a:lnTo>
                    <a:pt x="32" y="0"/>
                  </a:lnTo>
                  <a:lnTo>
                    <a:pt x="16" y="7"/>
                  </a:lnTo>
                  <a:lnTo>
                    <a:pt x="9" y="7"/>
                  </a:lnTo>
                  <a:lnTo>
                    <a:pt x="0" y="0"/>
                  </a:lnTo>
                  <a:lnTo>
                    <a:pt x="0" y="16"/>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7" name="Freeform 203">
              <a:extLst>
                <a:ext uri="{FF2B5EF4-FFF2-40B4-BE49-F238E27FC236}">
                  <a16:creationId xmlns:a16="http://schemas.microsoft.com/office/drawing/2014/main" id="{A93DAE36-631B-47E3-8B39-C25C605E4EAD}"/>
                </a:ext>
              </a:extLst>
            </p:cNvPr>
            <p:cNvSpPr>
              <a:spLocks/>
            </p:cNvSpPr>
            <p:nvPr/>
          </p:nvSpPr>
          <p:spPr bwMode="auto">
            <a:xfrm>
              <a:off x="3619500" y="4306888"/>
              <a:ext cx="60325" cy="52387"/>
            </a:xfrm>
            <a:custGeom>
              <a:avLst/>
              <a:gdLst>
                <a:gd name="T0" fmla="*/ 2147483647 w 32"/>
                <a:gd name="T1" fmla="*/ 2147483647 h 32"/>
                <a:gd name="T2" fmla="*/ 2147483647 w 32"/>
                <a:gd name="T3" fmla="*/ 2147483647 h 32"/>
                <a:gd name="T4" fmla="*/ 2147483647 w 32"/>
                <a:gd name="T5" fmla="*/ 2147483647 h 32"/>
                <a:gd name="T6" fmla="*/ 2147483647 w 32"/>
                <a:gd name="T7" fmla="*/ 2147483647 h 32"/>
                <a:gd name="T8" fmla="*/ 2147483647 w 32"/>
                <a:gd name="T9" fmla="*/ 2147483647 h 32"/>
                <a:gd name="T10" fmla="*/ 0 w 32"/>
                <a:gd name="T11" fmla="*/ 2147483647 h 32"/>
                <a:gd name="T12" fmla="*/ 0 w 32"/>
                <a:gd name="T13" fmla="*/ 0 h 32"/>
                <a:gd name="T14" fmla="*/ 2147483647 w 32"/>
                <a:gd name="T15" fmla="*/ 0 h 32"/>
                <a:gd name="T16" fmla="*/ 2147483647 w 32"/>
                <a:gd name="T17" fmla="*/ 0 h 32"/>
                <a:gd name="T18" fmla="*/ 2147483647 w 32"/>
                <a:gd name="T19" fmla="*/ 2147483647 h 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2"/>
                <a:gd name="T31" fmla="*/ 0 h 32"/>
                <a:gd name="T32" fmla="*/ 32 w 32"/>
                <a:gd name="T33" fmla="*/ 32 h 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2" h="32">
                  <a:moveTo>
                    <a:pt x="24" y="7"/>
                  </a:moveTo>
                  <a:lnTo>
                    <a:pt x="31" y="16"/>
                  </a:lnTo>
                  <a:lnTo>
                    <a:pt x="24" y="25"/>
                  </a:lnTo>
                  <a:lnTo>
                    <a:pt x="24" y="31"/>
                  </a:lnTo>
                  <a:lnTo>
                    <a:pt x="15" y="16"/>
                  </a:lnTo>
                  <a:lnTo>
                    <a:pt x="0" y="7"/>
                  </a:lnTo>
                  <a:lnTo>
                    <a:pt x="0" y="0"/>
                  </a:lnTo>
                  <a:lnTo>
                    <a:pt x="8" y="0"/>
                  </a:lnTo>
                  <a:lnTo>
                    <a:pt x="15" y="0"/>
                  </a:lnTo>
                  <a:lnTo>
                    <a:pt x="24" y="7"/>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8" name="Freeform 204">
              <a:extLst>
                <a:ext uri="{FF2B5EF4-FFF2-40B4-BE49-F238E27FC236}">
                  <a16:creationId xmlns:a16="http://schemas.microsoft.com/office/drawing/2014/main" id="{2E15F0A4-3A7D-4B4F-96FD-546E5BACD1F3}"/>
                </a:ext>
              </a:extLst>
            </p:cNvPr>
            <p:cNvSpPr>
              <a:spLocks/>
            </p:cNvSpPr>
            <p:nvPr/>
          </p:nvSpPr>
          <p:spPr bwMode="auto">
            <a:xfrm>
              <a:off x="3619500" y="4306888"/>
              <a:ext cx="60325" cy="52387"/>
            </a:xfrm>
            <a:custGeom>
              <a:avLst/>
              <a:gdLst>
                <a:gd name="T0" fmla="*/ 2147483647 w 32"/>
                <a:gd name="T1" fmla="*/ 2147483647 h 32"/>
                <a:gd name="T2" fmla="*/ 2147483647 w 32"/>
                <a:gd name="T3" fmla="*/ 2147483647 h 32"/>
                <a:gd name="T4" fmla="*/ 2147483647 w 32"/>
                <a:gd name="T5" fmla="*/ 2147483647 h 32"/>
                <a:gd name="T6" fmla="*/ 2147483647 w 32"/>
                <a:gd name="T7" fmla="*/ 2147483647 h 32"/>
                <a:gd name="T8" fmla="*/ 2147483647 w 32"/>
                <a:gd name="T9" fmla="*/ 2147483647 h 32"/>
                <a:gd name="T10" fmla="*/ 0 w 32"/>
                <a:gd name="T11" fmla="*/ 2147483647 h 32"/>
                <a:gd name="T12" fmla="*/ 0 w 32"/>
                <a:gd name="T13" fmla="*/ 0 h 32"/>
                <a:gd name="T14" fmla="*/ 2147483647 w 32"/>
                <a:gd name="T15" fmla="*/ 0 h 32"/>
                <a:gd name="T16" fmla="*/ 2147483647 w 32"/>
                <a:gd name="T17" fmla="*/ 0 h 32"/>
                <a:gd name="T18" fmla="*/ 2147483647 w 32"/>
                <a:gd name="T19" fmla="*/ 2147483647 h 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2"/>
                <a:gd name="T31" fmla="*/ 0 h 32"/>
                <a:gd name="T32" fmla="*/ 32 w 32"/>
                <a:gd name="T33" fmla="*/ 32 h 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2" h="32">
                  <a:moveTo>
                    <a:pt x="24" y="7"/>
                  </a:moveTo>
                  <a:lnTo>
                    <a:pt x="31" y="16"/>
                  </a:lnTo>
                  <a:lnTo>
                    <a:pt x="24" y="25"/>
                  </a:lnTo>
                  <a:lnTo>
                    <a:pt x="24" y="31"/>
                  </a:lnTo>
                  <a:lnTo>
                    <a:pt x="15" y="16"/>
                  </a:lnTo>
                  <a:lnTo>
                    <a:pt x="0" y="7"/>
                  </a:lnTo>
                  <a:lnTo>
                    <a:pt x="0" y="0"/>
                  </a:lnTo>
                  <a:lnTo>
                    <a:pt x="8" y="0"/>
                  </a:lnTo>
                  <a:lnTo>
                    <a:pt x="15" y="0"/>
                  </a:lnTo>
                  <a:lnTo>
                    <a:pt x="24" y="7"/>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9" name="Freeform 205">
              <a:extLst>
                <a:ext uri="{FF2B5EF4-FFF2-40B4-BE49-F238E27FC236}">
                  <a16:creationId xmlns:a16="http://schemas.microsoft.com/office/drawing/2014/main" id="{BD1A35A3-0537-4E37-A21D-8592749BF6BE}"/>
                </a:ext>
              </a:extLst>
            </p:cNvPr>
            <p:cNvSpPr>
              <a:spLocks/>
            </p:cNvSpPr>
            <p:nvPr/>
          </p:nvSpPr>
          <p:spPr bwMode="auto">
            <a:xfrm>
              <a:off x="3602038" y="4306888"/>
              <a:ext cx="31750" cy="28575"/>
            </a:xfrm>
            <a:custGeom>
              <a:avLst/>
              <a:gdLst>
                <a:gd name="T0" fmla="*/ 2147483647 w 17"/>
                <a:gd name="T1" fmla="*/ 2147483647 h 17"/>
                <a:gd name="T2" fmla="*/ 2147483647 w 17"/>
                <a:gd name="T3" fmla="*/ 0 h 17"/>
                <a:gd name="T4" fmla="*/ 0 w 17"/>
                <a:gd name="T5" fmla="*/ 0 h 17"/>
                <a:gd name="T6" fmla="*/ 2147483647 w 17"/>
                <a:gd name="T7" fmla="*/ 2147483647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16" y="16"/>
                  </a:moveTo>
                  <a:lnTo>
                    <a:pt x="16" y="0"/>
                  </a:lnTo>
                  <a:lnTo>
                    <a:pt x="0" y="0"/>
                  </a:lnTo>
                  <a:lnTo>
                    <a:pt x="16" y="16"/>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0" name="Freeform 206">
              <a:extLst>
                <a:ext uri="{FF2B5EF4-FFF2-40B4-BE49-F238E27FC236}">
                  <a16:creationId xmlns:a16="http://schemas.microsoft.com/office/drawing/2014/main" id="{2BC432FC-E920-4771-8356-A12114656E9F}"/>
                </a:ext>
              </a:extLst>
            </p:cNvPr>
            <p:cNvSpPr>
              <a:spLocks/>
            </p:cNvSpPr>
            <p:nvPr/>
          </p:nvSpPr>
          <p:spPr bwMode="auto">
            <a:xfrm>
              <a:off x="3602038" y="4306888"/>
              <a:ext cx="31750" cy="28575"/>
            </a:xfrm>
            <a:custGeom>
              <a:avLst/>
              <a:gdLst>
                <a:gd name="T0" fmla="*/ 2147483647 w 17"/>
                <a:gd name="T1" fmla="*/ 2147483647 h 17"/>
                <a:gd name="T2" fmla="*/ 2147483647 w 17"/>
                <a:gd name="T3" fmla="*/ 0 h 17"/>
                <a:gd name="T4" fmla="*/ 0 w 17"/>
                <a:gd name="T5" fmla="*/ 0 h 17"/>
                <a:gd name="T6" fmla="*/ 2147483647 w 17"/>
                <a:gd name="T7" fmla="*/ 2147483647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16" y="16"/>
                  </a:moveTo>
                  <a:lnTo>
                    <a:pt x="16" y="0"/>
                  </a:lnTo>
                  <a:lnTo>
                    <a:pt x="0" y="0"/>
                  </a:lnTo>
                  <a:lnTo>
                    <a:pt x="16" y="16"/>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1" name="Freeform 207">
              <a:extLst>
                <a:ext uri="{FF2B5EF4-FFF2-40B4-BE49-F238E27FC236}">
                  <a16:creationId xmlns:a16="http://schemas.microsoft.com/office/drawing/2014/main" id="{7F19532E-611D-4B98-AA6A-86BA607ABFC5}"/>
                </a:ext>
              </a:extLst>
            </p:cNvPr>
            <p:cNvSpPr>
              <a:spLocks/>
            </p:cNvSpPr>
            <p:nvPr/>
          </p:nvSpPr>
          <p:spPr bwMode="auto">
            <a:xfrm>
              <a:off x="3602038" y="4306888"/>
              <a:ext cx="31750" cy="28575"/>
            </a:xfrm>
            <a:custGeom>
              <a:avLst/>
              <a:gdLst>
                <a:gd name="T0" fmla="*/ 2147483647 w 17"/>
                <a:gd name="T1" fmla="*/ 2147483647 h 17"/>
                <a:gd name="T2" fmla="*/ 2147483647 w 17"/>
                <a:gd name="T3" fmla="*/ 0 h 17"/>
                <a:gd name="T4" fmla="*/ 0 w 17"/>
                <a:gd name="T5" fmla="*/ 0 h 17"/>
                <a:gd name="T6" fmla="*/ 2147483647 w 17"/>
                <a:gd name="T7" fmla="*/ 2147483647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16" y="16"/>
                  </a:moveTo>
                  <a:lnTo>
                    <a:pt x="16" y="0"/>
                  </a:lnTo>
                  <a:lnTo>
                    <a:pt x="0" y="0"/>
                  </a:lnTo>
                  <a:lnTo>
                    <a:pt x="16" y="16"/>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2" name="Freeform 208">
              <a:extLst>
                <a:ext uri="{FF2B5EF4-FFF2-40B4-BE49-F238E27FC236}">
                  <a16:creationId xmlns:a16="http://schemas.microsoft.com/office/drawing/2014/main" id="{D1977112-9069-4862-AB64-0F1849486032}"/>
                </a:ext>
              </a:extLst>
            </p:cNvPr>
            <p:cNvSpPr>
              <a:spLocks/>
            </p:cNvSpPr>
            <p:nvPr/>
          </p:nvSpPr>
          <p:spPr bwMode="auto">
            <a:xfrm>
              <a:off x="3802063" y="4084638"/>
              <a:ext cx="96837" cy="50800"/>
            </a:xfrm>
            <a:custGeom>
              <a:avLst/>
              <a:gdLst>
                <a:gd name="T0" fmla="*/ 0 w 50"/>
                <a:gd name="T1" fmla="*/ 2147483647 h 32"/>
                <a:gd name="T2" fmla="*/ 0 w 50"/>
                <a:gd name="T3" fmla="*/ 0 h 32"/>
                <a:gd name="T4" fmla="*/ 2147483647 w 50"/>
                <a:gd name="T5" fmla="*/ 0 h 32"/>
                <a:gd name="T6" fmla="*/ 2147483647 w 50"/>
                <a:gd name="T7" fmla="*/ 2147483647 h 32"/>
                <a:gd name="T8" fmla="*/ 2147483647 w 50"/>
                <a:gd name="T9" fmla="*/ 2147483647 h 32"/>
                <a:gd name="T10" fmla="*/ 2147483647 w 50"/>
                <a:gd name="T11" fmla="*/ 2147483647 h 32"/>
                <a:gd name="T12" fmla="*/ 2147483647 w 50"/>
                <a:gd name="T13" fmla="*/ 2147483647 h 32"/>
                <a:gd name="T14" fmla="*/ 2147483647 w 50"/>
                <a:gd name="T15" fmla="*/ 2147483647 h 32"/>
                <a:gd name="T16" fmla="*/ 2147483647 w 50"/>
                <a:gd name="T17" fmla="*/ 2147483647 h 32"/>
                <a:gd name="T18" fmla="*/ 2147483647 w 50"/>
                <a:gd name="T19" fmla="*/ 2147483647 h 32"/>
                <a:gd name="T20" fmla="*/ 2147483647 w 50"/>
                <a:gd name="T21" fmla="*/ 2147483647 h 32"/>
                <a:gd name="T22" fmla="*/ 2147483647 w 50"/>
                <a:gd name="T23" fmla="*/ 2147483647 h 32"/>
                <a:gd name="T24" fmla="*/ 0 w 50"/>
                <a:gd name="T25" fmla="*/ 2147483647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0"/>
                <a:gd name="T40" fmla="*/ 0 h 32"/>
                <a:gd name="T41" fmla="*/ 50 w 50"/>
                <a:gd name="T42" fmla="*/ 32 h 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0" h="32">
                  <a:moveTo>
                    <a:pt x="0" y="23"/>
                  </a:moveTo>
                  <a:lnTo>
                    <a:pt x="0" y="0"/>
                  </a:lnTo>
                  <a:lnTo>
                    <a:pt x="24" y="0"/>
                  </a:lnTo>
                  <a:lnTo>
                    <a:pt x="24" y="6"/>
                  </a:lnTo>
                  <a:lnTo>
                    <a:pt x="34" y="6"/>
                  </a:lnTo>
                  <a:lnTo>
                    <a:pt x="49" y="16"/>
                  </a:lnTo>
                  <a:lnTo>
                    <a:pt x="41" y="23"/>
                  </a:lnTo>
                  <a:lnTo>
                    <a:pt x="41" y="16"/>
                  </a:lnTo>
                  <a:lnTo>
                    <a:pt x="18" y="23"/>
                  </a:lnTo>
                  <a:lnTo>
                    <a:pt x="18" y="16"/>
                  </a:lnTo>
                  <a:lnTo>
                    <a:pt x="9" y="23"/>
                  </a:lnTo>
                  <a:lnTo>
                    <a:pt x="9" y="31"/>
                  </a:lnTo>
                  <a:lnTo>
                    <a:pt x="0" y="23"/>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3" name="Freeform 209">
              <a:extLst>
                <a:ext uri="{FF2B5EF4-FFF2-40B4-BE49-F238E27FC236}">
                  <a16:creationId xmlns:a16="http://schemas.microsoft.com/office/drawing/2014/main" id="{AF12C6EC-F939-4339-A249-61D19DA7B1AE}"/>
                </a:ext>
              </a:extLst>
            </p:cNvPr>
            <p:cNvSpPr>
              <a:spLocks/>
            </p:cNvSpPr>
            <p:nvPr/>
          </p:nvSpPr>
          <p:spPr bwMode="auto">
            <a:xfrm>
              <a:off x="3743325" y="4084638"/>
              <a:ext cx="61913" cy="38100"/>
            </a:xfrm>
            <a:custGeom>
              <a:avLst/>
              <a:gdLst>
                <a:gd name="T0" fmla="*/ 2147483647 w 32"/>
                <a:gd name="T1" fmla="*/ 2147483647 h 24"/>
                <a:gd name="T2" fmla="*/ 2147483647 w 32"/>
                <a:gd name="T3" fmla="*/ 0 h 24"/>
                <a:gd name="T4" fmla="*/ 2147483647 w 32"/>
                <a:gd name="T5" fmla="*/ 0 h 24"/>
                <a:gd name="T6" fmla="*/ 2147483647 w 32"/>
                <a:gd name="T7" fmla="*/ 2147483647 h 24"/>
                <a:gd name="T8" fmla="*/ 0 w 32"/>
                <a:gd name="T9" fmla="*/ 2147483647 h 24"/>
                <a:gd name="T10" fmla="*/ 2147483647 w 32"/>
                <a:gd name="T11" fmla="*/ 2147483647 h 24"/>
                <a:gd name="T12" fmla="*/ 2147483647 w 32"/>
                <a:gd name="T13" fmla="*/ 2147483647 h 24"/>
                <a:gd name="T14" fmla="*/ 0 60000 65536"/>
                <a:gd name="T15" fmla="*/ 0 60000 65536"/>
                <a:gd name="T16" fmla="*/ 0 60000 65536"/>
                <a:gd name="T17" fmla="*/ 0 60000 65536"/>
                <a:gd name="T18" fmla="*/ 0 60000 65536"/>
                <a:gd name="T19" fmla="*/ 0 60000 65536"/>
                <a:gd name="T20" fmla="*/ 0 60000 65536"/>
                <a:gd name="T21" fmla="*/ 0 w 32"/>
                <a:gd name="T22" fmla="*/ 0 h 24"/>
                <a:gd name="T23" fmla="*/ 32 w 32"/>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24">
                  <a:moveTo>
                    <a:pt x="31" y="23"/>
                  </a:moveTo>
                  <a:lnTo>
                    <a:pt x="31" y="0"/>
                  </a:lnTo>
                  <a:lnTo>
                    <a:pt x="15" y="0"/>
                  </a:lnTo>
                  <a:lnTo>
                    <a:pt x="24" y="16"/>
                  </a:lnTo>
                  <a:lnTo>
                    <a:pt x="0" y="23"/>
                  </a:lnTo>
                  <a:lnTo>
                    <a:pt x="6" y="23"/>
                  </a:lnTo>
                  <a:lnTo>
                    <a:pt x="31" y="23"/>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4" name="Freeform 210">
              <a:extLst>
                <a:ext uri="{FF2B5EF4-FFF2-40B4-BE49-F238E27FC236}">
                  <a16:creationId xmlns:a16="http://schemas.microsoft.com/office/drawing/2014/main" id="{B988954C-E648-4FD4-ACF2-600709EA6B13}"/>
                </a:ext>
              </a:extLst>
            </p:cNvPr>
            <p:cNvSpPr>
              <a:spLocks/>
            </p:cNvSpPr>
            <p:nvPr/>
          </p:nvSpPr>
          <p:spPr bwMode="auto">
            <a:xfrm>
              <a:off x="3633788" y="4238625"/>
              <a:ext cx="280987" cy="346075"/>
            </a:xfrm>
            <a:custGeom>
              <a:avLst/>
              <a:gdLst>
                <a:gd name="T0" fmla="*/ 2147483647 w 147"/>
                <a:gd name="T1" fmla="*/ 2147483647 h 212"/>
                <a:gd name="T2" fmla="*/ 2147483647 w 147"/>
                <a:gd name="T3" fmla="*/ 2147483647 h 212"/>
                <a:gd name="T4" fmla="*/ 2147483647 w 147"/>
                <a:gd name="T5" fmla="*/ 2147483647 h 212"/>
                <a:gd name="T6" fmla="*/ 2147483647 w 147"/>
                <a:gd name="T7" fmla="*/ 2147483647 h 212"/>
                <a:gd name="T8" fmla="*/ 2147483647 w 147"/>
                <a:gd name="T9" fmla="*/ 2147483647 h 212"/>
                <a:gd name="T10" fmla="*/ 2147483647 w 147"/>
                <a:gd name="T11" fmla="*/ 2147483647 h 212"/>
                <a:gd name="T12" fmla="*/ 2147483647 w 147"/>
                <a:gd name="T13" fmla="*/ 2147483647 h 212"/>
                <a:gd name="T14" fmla="*/ 2147483647 w 147"/>
                <a:gd name="T15" fmla="*/ 2147483647 h 212"/>
                <a:gd name="T16" fmla="*/ 2147483647 w 147"/>
                <a:gd name="T17" fmla="*/ 2147483647 h 212"/>
                <a:gd name="T18" fmla="*/ 2147483647 w 147"/>
                <a:gd name="T19" fmla="*/ 2147483647 h 212"/>
                <a:gd name="T20" fmla="*/ 2147483647 w 147"/>
                <a:gd name="T21" fmla="*/ 2147483647 h 212"/>
                <a:gd name="T22" fmla="*/ 2147483647 w 147"/>
                <a:gd name="T23" fmla="*/ 2147483647 h 212"/>
                <a:gd name="T24" fmla="*/ 2147483647 w 147"/>
                <a:gd name="T25" fmla="*/ 2147483647 h 212"/>
                <a:gd name="T26" fmla="*/ 2147483647 w 147"/>
                <a:gd name="T27" fmla="*/ 2147483647 h 212"/>
                <a:gd name="T28" fmla="*/ 2147483647 w 147"/>
                <a:gd name="T29" fmla="*/ 2147483647 h 212"/>
                <a:gd name="T30" fmla="*/ 2147483647 w 147"/>
                <a:gd name="T31" fmla="*/ 2147483647 h 212"/>
                <a:gd name="T32" fmla="*/ 2147483647 w 147"/>
                <a:gd name="T33" fmla="*/ 2147483647 h 212"/>
                <a:gd name="T34" fmla="*/ 2147483647 w 147"/>
                <a:gd name="T35" fmla="*/ 2147483647 h 212"/>
                <a:gd name="T36" fmla="*/ 2147483647 w 147"/>
                <a:gd name="T37" fmla="*/ 2147483647 h 212"/>
                <a:gd name="T38" fmla="*/ 2147483647 w 147"/>
                <a:gd name="T39" fmla="*/ 0 h 212"/>
                <a:gd name="T40" fmla="*/ 2147483647 w 147"/>
                <a:gd name="T41" fmla="*/ 2147483647 h 212"/>
                <a:gd name="T42" fmla="*/ 2147483647 w 147"/>
                <a:gd name="T43" fmla="*/ 2147483647 h 212"/>
                <a:gd name="T44" fmla="*/ 2147483647 w 147"/>
                <a:gd name="T45" fmla="*/ 2147483647 h 212"/>
                <a:gd name="T46" fmla="*/ 2147483647 w 147"/>
                <a:gd name="T47" fmla="*/ 2147483647 h 212"/>
                <a:gd name="T48" fmla="*/ 2147483647 w 147"/>
                <a:gd name="T49" fmla="*/ 2147483647 h 212"/>
                <a:gd name="T50" fmla="*/ 2147483647 w 147"/>
                <a:gd name="T51" fmla="*/ 2147483647 h 212"/>
                <a:gd name="T52" fmla="*/ 2147483647 w 147"/>
                <a:gd name="T53" fmla="*/ 2147483647 h 212"/>
                <a:gd name="T54" fmla="*/ 2147483647 w 147"/>
                <a:gd name="T55" fmla="*/ 2147483647 h 212"/>
                <a:gd name="T56" fmla="*/ 2147483647 w 147"/>
                <a:gd name="T57" fmla="*/ 2147483647 h 212"/>
                <a:gd name="T58" fmla="*/ 2147483647 w 147"/>
                <a:gd name="T59" fmla="*/ 2147483647 h 212"/>
                <a:gd name="T60" fmla="*/ 2147483647 w 147"/>
                <a:gd name="T61" fmla="*/ 2147483647 h 212"/>
                <a:gd name="T62" fmla="*/ 2147483647 w 147"/>
                <a:gd name="T63" fmla="*/ 2147483647 h 212"/>
                <a:gd name="T64" fmla="*/ 2147483647 w 147"/>
                <a:gd name="T65" fmla="*/ 2147483647 h 212"/>
                <a:gd name="T66" fmla="*/ 2147483647 w 147"/>
                <a:gd name="T67" fmla="*/ 2147483647 h 212"/>
                <a:gd name="T68" fmla="*/ 2147483647 w 147"/>
                <a:gd name="T69" fmla="*/ 2147483647 h 212"/>
                <a:gd name="T70" fmla="*/ 0 w 147"/>
                <a:gd name="T71" fmla="*/ 2147483647 h 212"/>
                <a:gd name="T72" fmla="*/ 0 w 147"/>
                <a:gd name="T73" fmla="*/ 2147483647 h 212"/>
                <a:gd name="T74" fmla="*/ 2147483647 w 147"/>
                <a:gd name="T75" fmla="*/ 2147483647 h 212"/>
                <a:gd name="T76" fmla="*/ 2147483647 w 147"/>
                <a:gd name="T77" fmla="*/ 2147483647 h 212"/>
                <a:gd name="T78" fmla="*/ 2147483647 w 147"/>
                <a:gd name="T79" fmla="*/ 2147483647 h 212"/>
                <a:gd name="T80" fmla="*/ 2147483647 w 147"/>
                <a:gd name="T81" fmla="*/ 2147483647 h 212"/>
                <a:gd name="T82" fmla="*/ 2147483647 w 147"/>
                <a:gd name="T83" fmla="*/ 2147483647 h 212"/>
                <a:gd name="T84" fmla="*/ 2147483647 w 147"/>
                <a:gd name="T85" fmla="*/ 2147483647 h 212"/>
                <a:gd name="T86" fmla="*/ 2147483647 w 147"/>
                <a:gd name="T87" fmla="*/ 2147483647 h 212"/>
                <a:gd name="T88" fmla="*/ 2147483647 w 147"/>
                <a:gd name="T89" fmla="*/ 2147483647 h 212"/>
                <a:gd name="T90" fmla="*/ 2147483647 w 147"/>
                <a:gd name="T91" fmla="*/ 2147483647 h 212"/>
                <a:gd name="T92" fmla="*/ 2147483647 w 147"/>
                <a:gd name="T93" fmla="*/ 2147483647 h 21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47"/>
                <a:gd name="T142" fmla="*/ 0 h 212"/>
                <a:gd name="T143" fmla="*/ 147 w 147"/>
                <a:gd name="T144" fmla="*/ 212 h 21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47" h="212">
                  <a:moveTo>
                    <a:pt x="112" y="211"/>
                  </a:moveTo>
                  <a:lnTo>
                    <a:pt x="122" y="178"/>
                  </a:lnTo>
                  <a:lnTo>
                    <a:pt x="112" y="154"/>
                  </a:lnTo>
                  <a:lnTo>
                    <a:pt x="122" y="154"/>
                  </a:lnTo>
                  <a:lnTo>
                    <a:pt x="112" y="146"/>
                  </a:lnTo>
                  <a:lnTo>
                    <a:pt x="112" y="137"/>
                  </a:lnTo>
                  <a:lnTo>
                    <a:pt x="146" y="137"/>
                  </a:lnTo>
                  <a:lnTo>
                    <a:pt x="146" y="122"/>
                  </a:lnTo>
                  <a:lnTo>
                    <a:pt x="137" y="106"/>
                  </a:lnTo>
                  <a:lnTo>
                    <a:pt x="146" y="81"/>
                  </a:lnTo>
                  <a:lnTo>
                    <a:pt x="122" y="81"/>
                  </a:lnTo>
                  <a:lnTo>
                    <a:pt x="112" y="72"/>
                  </a:lnTo>
                  <a:lnTo>
                    <a:pt x="88" y="72"/>
                  </a:lnTo>
                  <a:lnTo>
                    <a:pt x="81" y="66"/>
                  </a:lnTo>
                  <a:lnTo>
                    <a:pt x="81" y="57"/>
                  </a:lnTo>
                  <a:lnTo>
                    <a:pt x="72" y="41"/>
                  </a:lnTo>
                  <a:lnTo>
                    <a:pt x="81" y="25"/>
                  </a:lnTo>
                  <a:lnTo>
                    <a:pt x="88" y="17"/>
                  </a:lnTo>
                  <a:lnTo>
                    <a:pt x="97" y="7"/>
                  </a:lnTo>
                  <a:lnTo>
                    <a:pt x="88" y="0"/>
                  </a:lnTo>
                  <a:lnTo>
                    <a:pt x="72" y="17"/>
                  </a:lnTo>
                  <a:lnTo>
                    <a:pt x="48" y="25"/>
                  </a:lnTo>
                  <a:lnTo>
                    <a:pt x="40" y="41"/>
                  </a:lnTo>
                  <a:lnTo>
                    <a:pt x="23" y="48"/>
                  </a:lnTo>
                  <a:lnTo>
                    <a:pt x="23" y="66"/>
                  </a:lnTo>
                  <a:lnTo>
                    <a:pt x="16" y="48"/>
                  </a:lnTo>
                  <a:lnTo>
                    <a:pt x="23" y="57"/>
                  </a:lnTo>
                  <a:lnTo>
                    <a:pt x="16" y="66"/>
                  </a:lnTo>
                  <a:lnTo>
                    <a:pt x="16" y="72"/>
                  </a:lnTo>
                  <a:lnTo>
                    <a:pt x="16" y="81"/>
                  </a:lnTo>
                  <a:lnTo>
                    <a:pt x="16" y="113"/>
                  </a:lnTo>
                  <a:lnTo>
                    <a:pt x="23" y="113"/>
                  </a:lnTo>
                  <a:lnTo>
                    <a:pt x="16" y="131"/>
                  </a:lnTo>
                  <a:lnTo>
                    <a:pt x="7" y="131"/>
                  </a:lnTo>
                  <a:lnTo>
                    <a:pt x="7" y="137"/>
                  </a:lnTo>
                  <a:lnTo>
                    <a:pt x="0" y="137"/>
                  </a:lnTo>
                  <a:lnTo>
                    <a:pt x="0" y="146"/>
                  </a:lnTo>
                  <a:lnTo>
                    <a:pt x="23" y="162"/>
                  </a:lnTo>
                  <a:lnTo>
                    <a:pt x="40" y="154"/>
                  </a:lnTo>
                  <a:lnTo>
                    <a:pt x="48" y="162"/>
                  </a:lnTo>
                  <a:lnTo>
                    <a:pt x="63" y="178"/>
                  </a:lnTo>
                  <a:lnTo>
                    <a:pt x="72" y="194"/>
                  </a:lnTo>
                  <a:lnTo>
                    <a:pt x="106" y="187"/>
                  </a:lnTo>
                  <a:lnTo>
                    <a:pt x="112" y="194"/>
                  </a:lnTo>
                  <a:lnTo>
                    <a:pt x="112" y="203"/>
                  </a:lnTo>
                  <a:lnTo>
                    <a:pt x="106" y="203"/>
                  </a:lnTo>
                  <a:lnTo>
                    <a:pt x="112" y="211"/>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5" name="Freeform 211">
              <a:extLst>
                <a:ext uri="{FF2B5EF4-FFF2-40B4-BE49-F238E27FC236}">
                  <a16:creationId xmlns:a16="http://schemas.microsoft.com/office/drawing/2014/main" id="{C53CBB49-ECE0-4EB4-BF81-8AA51D224F57}"/>
                </a:ext>
              </a:extLst>
            </p:cNvPr>
            <p:cNvSpPr>
              <a:spLocks/>
            </p:cNvSpPr>
            <p:nvPr/>
          </p:nvSpPr>
          <p:spPr bwMode="auto">
            <a:xfrm>
              <a:off x="3586163" y="4478338"/>
              <a:ext cx="142875" cy="133350"/>
            </a:xfrm>
            <a:custGeom>
              <a:avLst/>
              <a:gdLst>
                <a:gd name="T0" fmla="*/ 2147483647 w 74"/>
                <a:gd name="T1" fmla="*/ 2147483647 h 82"/>
                <a:gd name="T2" fmla="*/ 2147483647 w 74"/>
                <a:gd name="T3" fmla="*/ 2147483647 h 82"/>
                <a:gd name="T4" fmla="*/ 2147483647 w 74"/>
                <a:gd name="T5" fmla="*/ 2147483647 h 82"/>
                <a:gd name="T6" fmla="*/ 2147483647 w 74"/>
                <a:gd name="T7" fmla="*/ 0 h 82"/>
                <a:gd name="T8" fmla="*/ 2147483647 w 74"/>
                <a:gd name="T9" fmla="*/ 2147483647 h 82"/>
                <a:gd name="T10" fmla="*/ 2147483647 w 74"/>
                <a:gd name="T11" fmla="*/ 2147483647 h 82"/>
                <a:gd name="T12" fmla="*/ 0 w 74"/>
                <a:gd name="T13" fmla="*/ 2147483647 h 82"/>
                <a:gd name="T14" fmla="*/ 0 w 74"/>
                <a:gd name="T15" fmla="*/ 2147483647 h 82"/>
                <a:gd name="T16" fmla="*/ 2147483647 w 74"/>
                <a:gd name="T17" fmla="*/ 2147483647 h 82"/>
                <a:gd name="T18" fmla="*/ 2147483647 w 74"/>
                <a:gd name="T19" fmla="*/ 2147483647 h 82"/>
                <a:gd name="T20" fmla="*/ 2147483647 w 74"/>
                <a:gd name="T21" fmla="*/ 2147483647 h 82"/>
                <a:gd name="T22" fmla="*/ 2147483647 w 74"/>
                <a:gd name="T23" fmla="*/ 2147483647 h 82"/>
                <a:gd name="T24" fmla="*/ 0 w 74"/>
                <a:gd name="T25" fmla="*/ 2147483647 h 82"/>
                <a:gd name="T26" fmla="*/ 2147483647 w 74"/>
                <a:gd name="T27" fmla="*/ 2147483647 h 82"/>
                <a:gd name="T28" fmla="*/ 2147483647 w 74"/>
                <a:gd name="T29" fmla="*/ 2147483647 h 82"/>
                <a:gd name="T30" fmla="*/ 2147483647 w 74"/>
                <a:gd name="T31" fmla="*/ 2147483647 h 82"/>
                <a:gd name="T32" fmla="*/ 2147483647 w 74"/>
                <a:gd name="T33" fmla="*/ 2147483647 h 82"/>
                <a:gd name="T34" fmla="*/ 2147483647 w 74"/>
                <a:gd name="T35" fmla="*/ 2147483647 h 82"/>
                <a:gd name="T36" fmla="*/ 2147483647 w 74"/>
                <a:gd name="T37" fmla="*/ 2147483647 h 82"/>
                <a:gd name="T38" fmla="*/ 2147483647 w 74"/>
                <a:gd name="T39" fmla="*/ 2147483647 h 8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74"/>
                <a:gd name="T61" fmla="*/ 0 h 82"/>
                <a:gd name="T62" fmla="*/ 74 w 74"/>
                <a:gd name="T63" fmla="*/ 82 h 8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74" h="82">
                  <a:moveTo>
                    <a:pt x="73" y="16"/>
                  </a:moveTo>
                  <a:lnTo>
                    <a:pt x="65" y="8"/>
                  </a:lnTo>
                  <a:lnTo>
                    <a:pt x="48" y="16"/>
                  </a:lnTo>
                  <a:lnTo>
                    <a:pt x="25" y="0"/>
                  </a:lnTo>
                  <a:lnTo>
                    <a:pt x="8" y="8"/>
                  </a:lnTo>
                  <a:lnTo>
                    <a:pt x="8" y="16"/>
                  </a:lnTo>
                  <a:lnTo>
                    <a:pt x="0" y="25"/>
                  </a:lnTo>
                  <a:lnTo>
                    <a:pt x="0" y="41"/>
                  </a:lnTo>
                  <a:lnTo>
                    <a:pt x="8" y="57"/>
                  </a:lnTo>
                  <a:lnTo>
                    <a:pt x="8" y="48"/>
                  </a:lnTo>
                  <a:lnTo>
                    <a:pt x="17" y="48"/>
                  </a:lnTo>
                  <a:lnTo>
                    <a:pt x="8" y="57"/>
                  </a:lnTo>
                  <a:lnTo>
                    <a:pt x="0" y="73"/>
                  </a:lnTo>
                  <a:lnTo>
                    <a:pt x="17" y="81"/>
                  </a:lnTo>
                  <a:lnTo>
                    <a:pt x="41" y="57"/>
                  </a:lnTo>
                  <a:lnTo>
                    <a:pt x="57" y="48"/>
                  </a:lnTo>
                  <a:lnTo>
                    <a:pt x="65" y="41"/>
                  </a:lnTo>
                  <a:lnTo>
                    <a:pt x="73" y="25"/>
                  </a:lnTo>
                  <a:lnTo>
                    <a:pt x="65" y="16"/>
                  </a:lnTo>
                  <a:lnTo>
                    <a:pt x="73" y="16"/>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6" name="Freeform 212">
              <a:extLst>
                <a:ext uri="{FF2B5EF4-FFF2-40B4-BE49-F238E27FC236}">
                  <a16:creationId xmlns:a16="http://schemas.microsoft.com/office/drawing/2014/main" id="{6E86D136-ADF1-40ED-A638-722714B86F63}"/>
                </a:ext>
              </a:extLst>
            </p:cNvPr>
            <p:cNvSpPr>
              <a:spLocks/>
            </p:cNvSpPr>
            <p:nvPr/>
          </p:nvSpPr>
          <p:spPr bwMode="auto">
            <a:xfrm>
              <a:off x="3570288" y="4503738"/>
              <a:ext cx="314325" cy="382587"/>
            </a:xfrm>
            <a:custGeom>
              <a:avLst/>
              <a:gdLst>
                <a:gd name="T0" fmla="*/ 2147483647 w 163"/>
                <a:gd name="T1" fmla="*/ 2147483647 h 235"/>
                <a:gd name="T2" fmla="*/ 2147483647 w 163"/>
                <a:gd name="T3" fmla="*/ 2147483647 h 235"/>
                <a:gd name="T4" fmla="*/ 2147483647 w 163"/>
                <a:gd name="T5" fmla="*/ 2147483647 h 235"/>
                <a:gd name="T6" fmla="*/ 2147483647 w 163"/>
                <a:gd name="T7" fmla="*/ 2147483647 h 235"/>
                <a:gd name="T8" fmla="*/ 2147483647 w 163"/>
                <a:gd name="T9" fmla="*/ 2147483647 h 235"/>
                <a:gd name="T10" fmla="*/ 2147483647 w 163"/>
                <a:gd name="T11" fmla="*/ 2147483647 h 235"/>
                <a:gd name="T12" fmla="*/ 2147483647 w 163"/>
                <a:gd name="T13" fmla="*/ 2147483647 h 235"/>
                <a:gd name="T14" fmla="*/ 2147483647 w 163"/>
                <a:gd name="T15" fmla="*/ 2147483647 h 235"/>
                <a:gd name="T16" fmla="*/ 2147483647 w 163"/>
                <a:gd name="T17" fmla="*/ 2147483647 h 235"/>
                <a:gd name="T18" fmla="*/ 2147483647 w 163"/>
                <a:gd name="T19" fmla="*/ 2147483647 h 235"/>
                <a:gd name="T20" fmla="*/ 2147483647 w 163"/>
                <a:gd name="T21" fmla="*/ 2147483647 h 235"/>
                <a:gd name="T22" fmla="*/ 2147483647 w 163"/>
                <a:gd name="T23" fmla="*/ 2147483647 h 235"/>
                <a:gd name="T24" fmla="*/ 2147483647 w 163"/>
                <a:gd name="T25" fmla="*/ 2147483647 h 235"/>
                <a:gd name="T26" fmla="*/ 2147483647 w 163"/>
                <a:gd name="T27" fmla="*/ 2147483647 h 235"/>
                <a:gd name="T28" fmla="*/ 2147483647 w 163"/>
                <a:gd name="T29" fmla="*/ 0 h 235"/>
                <a:gd name="T30" fmla="*/ 2147483647 w 163"/>
                <a:gd name="T31" fmla="*/ 0 h 235"/>
                <a:gd name="T32" fmla="*/ 2147483647 w 163"/>
                <a:gd name="T33" fmla="*/ 2147483647 h 235"/>
                <a:gd name="T34" fmla="*/ 2147483647 w 163"/>
                <a:gd name="T35" fmla="*/ 2147483647 h 235"/>
                <a:gd name="T36" fmla="*/ 2147483647 w 163"/>
                <a:gd name="T37" fmla="*/ 2147483647 h 235"/>
                <a:gd name="T38" fmla="*/ 2147483647 w 163"/>
                <a:gd name="T39" fmla="*/ 2147483647 h 235"/>
                <a:gd name="T40" fmla="*/ 2147483647 w 163"/>
                <a:gd name="T41" fmla="*/ 2147483647 h 235"/>
                <a:gd name="T42" fmla="*/ 2147483647 w 163"/>
                <a:gd name="T43" fmla="*/ 2147483647 h 235"/>
                <a:gd name="T44" fmla="*/ 2147483647 w 163"/>
                <a:gd name="T45" fmla="*/ 2147483647 h 235"/>
                <a:gd name="T46" fmla="*/ 0 w 163"/>
                <a:gd name="T47" fmla="*/ 2147483647 h 235"/>
                <a:gd name="T48" fmla="*/ 2147483647 w 163"/>
                <a:gd name="T49" fmla="*/ 2147483647 h 235"/>
                <a:gd name="T50" fmla="*/ 0 w 163"/>
                <a:gd name="T51" fmla="*/ 2147483647 h 235"/>
                <a:gd name="T52" fmla="*/ 2147483647 w 163"/>
                <a:gd name="T53" fmla="*/ 2147483647 h 235"/>
                <a:gd name="T54" fmla="*/ 2147483647 w 163"/>
                <a:gd name="T55" fmla="*/ 2147483647 h 235"/>
                <a:gd name="T56" fmla="*/ 2147483647 w 163"/>
                <a:gd name="T57" fmla="*/ 2147483647 h 235"/>
                <a:gd name="T58" fmla="*/ 2147483647 w 163"/>
                <a:gd name="T59" fmla="*/ 2147483647 h 235"/>
                <a:gd name="T60" fmla="*/ 2147483647 w 163"/>
                <a:gd name="T61" fmla="*/ 2147483647 h 235"/>
                <a:gd name="T62" fmla="*/ 2147483647 w 163"/>
                <a:gd name="T63" fmla="*/ 2147483647 h 235"/>
                <a:gd name="T64" fmla="*/ 2147483647 w 163"/>
                <a:gd name="T65" fmla="*/ 2147483647 h 235"/>
                <a:gd name="T66" fmla="*/ 2147483647 w 163"/>
                <a:gd name="T67" fmla="*/ 2147483647 h 235"/>
                <a:gd name="T68" fmla="*/ 2147483647 w 163"/>
                <a:gd name="T69" fmla="*/ 2147483647 h 23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63"/>
                <a:gd name="T106" fmla="*/ 0 h 235"/>
                <a:gd name="T107" fmla="*/ 163 w 163"/>
                <a:gd name="T108" fmla="*/ 235 h 23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63" h="235">
                  <a:moveTo>
                    <a:pt x="155" y="137"/>
                  </a:moveTo>
                  <a:lnTo>
                    <a:pt x="139" y="137"/>
                  </a:lnTo>
                  <a:lnTo>
                    <a:pt x="139" y="122"/>
                  </a:lnTo>
                  <a:lnTo>
                    <a:pt x="121" y="131"/>
                  </a:lnTo>
                  <a:lnTo>
                    <a:pt x="105" y="122"/>
                  </a:lnTo>
                  <a:lnTo>
                    <a:pt x="96" y="97"/>
                  </a:lnTo>
                  <a:lnTo>
                    <a:pt x="114" y="65"/>
                  </a:lnTo>
                  <a:lnTo>
                    <a:pt x="145" y="49"/>
                  </a:lnTo>
                  <a:lnTo>
                    <a:pt x="139" y="41"/>
                  </a:lnTo>
                  <a:lnTo>
                    <a:pt x="145" y="41"/>
                  </a:lnTo>
                  <a:lnTo>
                    <a:pt x="145" y="32"/>
                  </a:lnTo>
                  <a:lnTo>
                    <a:pt x="139" y="25"/>
                  </a:lnTo>
                  <a:lnTo>
                    <a:pt x="105" y="32"/>
                  </a:lnTo>
                  <a:lnTo>
                    <a:pt x="96" y="16"/>
                  </a:lnTo>
                  <a:lnTo>
                    <a:pt x="81" y="0"/>
                  </a:lnTo>
                  <a:lnTo>
                    <a:pt x="73" y="0"/>
                  </a:lnTo>
                  <a:lnTo>
                    <a:pt x="81" y="9"/>
                  </a:lnTo>
                  <a:lnTo>
                    <a:pt x="73" y="25"/>
                  </a:lnTo>
                  <a:lnTo>
                    <a:pt x="65" y="32"/>
                  </a:lnTo>
                  <a:lnTo>
                    <a:pt x="49" y="41"/>
                  </a:lnTo>
                  <a:lnTo>
                    <a:pt x="25" y="65"/>
                  </a:lnTo>
                  <a:lnTo>
                    <a:pt x="8" y="57"/>
                  </a:lnTo>
                  <a:lnTo>
                    <a:pt x="16" y="41"/>
                  </a:lnTo>
                  <a:lnTo>
                    <a:pt x="0" y="57"/>
                  </a:lnTo>
                  <a:lnTo>
                    <a:pt x="8" y="72"/>
                  </a:lnTo>
                  <a:lnTo>
                    <a:pt x="0" y="72"/>
                  </a:lnTo>
                  <a:lnTo>
                    <a:pt x="16" y="89"/>
                  </a:lnTo>
                  <a:lnTo>
                    <a:pt x="33" y="106"/>
                  </a:lnTo>
                  <a:lnTo>
                    <a:pt x="73" y="186"/>
                  </a:lnTo>
                  <a:lnTo>
                    <a:pt x="139" y="234"/>
                  </a:lnTo>
                  <a:lnTo>
                    <a:pt x="155" y="227"/>
                  </a:lnTo>
                  <a:lnTo>
                    <a:pt x="162" y="211"/>
                  </a:lnTo>
                  <a:lnTo>
                    <a:pt x="155" y="203"/>
                  </a:lnTo>
                  <a:lnTo>
                    <a:pt x="162" y="154"/>
                  </a:lnTo>
                  <a:lnTo>
                    <a:pt x="155" y="137"/>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7" name="Freeform 213">
              <a:extLst>
                <a:ext uri="{FF2B5EF4-FFF2-40B4-BE49-F238E27FC236}">
                  <a16:creationId xmlns:a16="http://schemas.microsoft.com/office/drawing/2014/main" id="{A8B37573-2596-426D-ADD4-7F6A6D5D1FD4}"/>
                </a:ext>
              </a:extLst>
            </p:cNvPr>
            <p:cNvSpPr>
              <a:spLocks/>
            </p:cNvSpPr>
            <p:nvPr/>
          </p:nvSpPr>
          <p:spPr bwMode="auto">
            <a:xfrm>
              <a:off x="3867150" y="4702175"/>
              <a:ext cx="282575" cy="290513"/>
            </a:xfrm>
            <a:custGeom>
              <a:avLst/>
              <a:gdLst>
                <a:gd name="T0" fmla="*/ 2147483647 w 147"/>
                <a:gd name="T1" fmla="*/ 2147483647 h 178"/>
                <a:gd name="T2" fmla="*/ 2147483647 w 147"/>
                <a:gd name="T3" fmla="*/ 2147483647 h 178"/>
                <a:gd name="T4" fmla="*/ 2147483647 w 147"/>
                <a:gd name="T5" fmla="*/ 2147483647 h 178"/>
                <a:gd name="T6" fmla="*/ 2147483647 w 147"/>
                <a:gd name="T7" fmla="*/ 2147483647 h 178"/>
                <a:gd name="T8" fmla="*/ 2147483647 w 147"/>
                <a:gd name="T9" fmla="*/ 2147483647 h 178"/>
                <a:gd name="T10" fmla="*/ 2147483647 w 147"/>
                <a:gd name="T11" fmla="*/ 2147483647 h 178"/>
                <a:gd name="T12" fmla="*/ 2147483647 w 147"/>
                <a:gd name="T13" fmla="*/ 2147483647 h 178"/>
                <a:gd name="T14" fmla="*/ 2147483647 w 147"/>
                <a:gd name="T15" fmla="*/ 2147483647 h 178"/>
                <a:gd name="T16" fmla="*/ 2147483647 w 147"/>
                <a:gd name="T17" fmla="*/ 2147483647 h 178"/>
                <a:gd name="T18" fmla="*/ 2147483647 w 147"/>
                <a:gd name="T19" fmla="*/ 2147483647 h 178"/>
                <a:gd name="T20" fmla="*/ 2147483647 w 147"/>
                <a:gd name="T21" fmla="*/ 0 h 178"/>
                <a:gd name="T22" fmla="*/ 2147483647 w 147"/>
                <a:gd name="T23" fmla="*/ 0 h 178"/>
                <a:gd name="T24" fmla="*/ 2147483647 w 147"/>
                <a:gd name="T25" fmla="*/ 2147483647 h 178"/>
                <a:gd name="T26" fmla="*/ 0 w 147"/>
                <a:gd name="T27" fmla="*/ 2147483647 h 178"/>
                <a:gd name="T28" fmla="*/ 2147483647 w 147"/>
                <a:gd name="T29" fmla="*/ 2147483647 h 178"/>
                <a:gd name="T30" fmla="*/ 0 w 147"/>
                <a:gd name="T31" fmla="*/ 2147483647 h 178"/>
                <a:gd name="T32" fmla="*/ 2147483647 w 147"/>
                <a:gd name="T33" fmla="*/ 2147483647 h 178"/>
                <a:gd name="T34" fmla="*/ 0 w 147"/>
                <a:gd name="T35" fmla="*/ 2147483647 h 178"/>
                <a:gd name="T36" fmla="*/ 2147483647 w 147"/>
                <a:gd name="T37" fmla="*/ 2147483647 h 178"/>
                <a:gd name="T38" fmla="*/ 2147483647 w 147"/>
                <a:gd name="T39" fmla="*/ 2147483647 h 178"/>
                <a:gd name="T40" fmla="*/ 2147483647 w 147"/>
                <a:gd name="T41" fmla="*/ 2147483647 h 178"/>
                <a:gd name="T42" fmla="*/ 2147483647 w 147"/>
                <a:gd name="T43" fmla="*/ 2147483647 h 178"/>
                <a:gd name="T44" fmla="*/ 2147483647 w 147"/>
                <a:gd name="T45" fmla="*/ 2147483647 h 178"/>
                <a:gd name="T46" fmla="*/ 2147483647 w 147"/>
                <a:gd name="T47" fmla="*/ 2147483647 h 178"/>
                <a:gd name="T48" fmla="*/ 2147483647 w 147"/>
                <a:gd name="T49" fmla="*/ 2147483647 h 178"/>
                <a:gd name="T50" fmla="*/ 2147483647 w 147"/>
                <a:gd name="T51" fmla="*/ 2147483647 h 178"/>
                <a:gd name="T52" fmla="*/ 2147483647 w 147"/>
                <a:gd name="T53" fmla="*/ 2147483647 h 178"/>
                <a:gd name="T54" fmla="*/ 2147483647 w 147"/>
                <a:gd name="T55" fmla="*/ 2147483647 h 178"/>
                <a:gd name="T56" fmla="*/ 2147483647 w 147"/>
                <a:gd name="T57" fmla="*/ 2147483647 h 17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47"/>
                <a:gd name="T88" fmla="*/ 0 h 178"/>
                <a:gd name="T89" fmla="*/ 147 w 147"/>
                <a:gd name="T90" fmla="*/ 178 h 17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47" h="178">
                  <a:moveTo>
                    <a:pt x="146" y="137"/>
                  </a:moveTo>
                  <a:lnTo>
                    <a:pt x="146" y="112"/>
                  </a:lnTo>
                  <a:lnTo>
                    <a:pt x="137" y="96"/>
                  </a:lnTo>
                  <a:lnTo>
                    <a:pt x="137" y="89"/>
                  </a:lnTo>
                  <a:lnTo>
                    <a:pt x="121" y="89"/>
                  </a:lnTo>
                  <a:lnTo>
                    <a:pt x="112" y="72"/>
                  </a:lnTo>
                  <a:lnTo>
                    <a:pt x="112" y="64"/>
                  </a:lnTo>
                  <a:lnTo>
                    <a:pt x="105" y="49"/>
                  </a:lnTo>
                  <a:lnTo>
                    <a:pt x="56" y="32"/>
                  </a:lnTo>
                  <a:lnTo>
                    <a:pt x="49" y="24"/>
                  </a:lnTo>
                  <a:lnTo>
                    <a:pt x="49" y="0"/>
                  </a:lnTo>
                  <a:lnTo>
                    <a:pt x="32" y="0"/>
                  </a:lnTo>
                  <a:lnTo>
                    <a:pt x="15" y="15"/>
                  </a:lnTo>
                  <a:lnTo>
                    <a:pt x="0" y="15"/>
                  </a:lnTo>
                  <a:lnTo>
                    <a:pt x="7" y="32"/>
                  </a:lnTo>
                  <a:lnTo>
                    <a:pt x="0" y="81"/>
                  </a:lnTo>
                  <a:lnTo>
                    <a:pt x="7" y="89"/>
                  </a:lnTo>
                  <a:lnTo>
                    <a:pt x="0" y="105"/>
                  </a:lnTo>
                  <a:lnTo>
                    <a:pt x="7" y="129"/>
                  </a:lnTo>
                  <a:lnTo>
                    <a:pt x="7" y="137"/>
                  </a:lnTo>
                  <a:lnTo>
                    <a:pt x="15" y="177"/>
                  </a:lnTo>
                  <a:lnTo>
                    <a:pt x="24" y="177"/>
                  </a:lnTo>
                  <a:lnTo>
                    <a:pt x="40" y="161"/>
                  </a:lnTo>
                  <a:lnTo>
                    <a:pt x="65" y="171"/>
                  </a:lnTo>
                  <a:lnTo>
                    <a:pt x="72" y="161"/>
                  </a:lnTo>
                  <a:lnTo>
                    <a:pt x="89" y="171"/>
                  </a:lnTo>
                  <a:lnTo>
                    <a:pt x="97" y="129"/>
                  </a:lnTo>
                  <a:lnTo>
                    <a:pt x="129" y="129"/>
                  </a:lnTo>
                  <a:lnTo>
                    <a:pt x="146" y="137"/>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8" name="Freeform 214">
              <a:extLst>
                <a:ext uri="{FF2B5EF4-FFF2-40B4-BE49-F238E27FC236}">
                  <a16:creationId xmlns:a16="http://schemas.microsoft.com/office/drawing/2014/main" id="{325569B8-91E7-4019-B1B2-39DD8E85162E}"/>
                </a:ext>
              </a:extLst>
            </p:cNvPr>
            <p:cNvSpPr>
              <a:spLocks/>
            </p:cNvSpPr>
            <p:nvPr/>
          </p:nvSpPr>
          <p:spPr bwMode="auto">
            <a:xfrm>
              <a:off x="4037013" y="4913313"/>
              <a:ext cx="204787" cy="184150"/>
            </a:xfrm>
            <a:custGeom>
              <a:avLst/>
              <a:gdLst>
                <a:gd name="T0" fmla="*/ 2147483647 w 106"/>
                <a:gd name="T1" fmla="*/ 2147483647 h 114"/>
                <a:gd name="T2" fmla="*/ 2147483647 w 106"/>
                <a:gd name="T3" fmla="*/ 2147483647 h 114"/>
                <a:gd name="T4" fmla="*/ 2147483647 w 106"/>
                <a:gd name="T5" fmla="*/ 2147483647 h 114"/>
                <a:gd name="T6" fmla="*/ 2147483647 w 106"/>
                <a:gd name="T7" fmla="*/ 2147483647 h 114"/>
                <a:gd name="T8" fmla="*/ 2147483647 w 106"/>
                <a:gd name="T9" fmla="*/ 2147483647 h 114"/>
                <a:gd name="T10" fmla="*/ 2147483647 w 106"/>
                <a:gd name="T11" fmla="*/ 2147483647 h 114"/>
                <a:gd name="T12" fmla="*/ 2147483647 w 106"/>
                <a:gd name="T13" fmla="*/ 2147483647 h 114"/>
                <a:gd name="T14" fmla="*/ 2147483647 w 106"/>
                <a:gd name="T15" fmla="*/ 0 h 114"/>
                <a:gd name="T16" fmla="*/ 2147483647 w 106"/>
                <a:gd name="T17" fmla="*/ 0 h 114"/>
                <a:gd name="T18" fmla="*/ 0 w 106"/>
                <a:gd name="T19" fmla="*/ 2147483647 h 114"/>
                <a:gd name="T20" fmla="*/ 2147483647 w 106"/>
                <a:gd name="T21" fmla="*/ 2147483647 h 114"/>
                <a:gd name="T22" fmla="*/ 2147483647 w 106"/>
                <a:gd name="T23" fmla="*/ 2147483647 h 114"/>
                <a:gd name="T24" fmla="*/ 2147483647 w 106"/>
                <a:gd name="T25" fmla="*/ 2147483647 h 114"/>
                <a:gd name="T26" fmla="*/ 2147483647 w 106"/>
                <a:gd name="T27" fmla="*/ 2147483647 h 114"/>
                <a:gd name="T28" fmla="*/ 2147483647 w 106"/>
                <a:gd name="T29" fmla="*/ 2147483647 h 114"/>
                <a:gd name="T30" fmla="*/ 2147483647 w 106"/>
                <a:gd name="T31" fmla="*/ 2147483647 h 114"/>
                <a:gd name="T32" fmla="*/ 2147483647 w 106"/>
                <a:gd name="T33" fmla="*/ 2147483647 h 114"/>
                <a:gd name="T34" fmla="*/ 2147483647 w 106"/>
                <a:gd name="T35" fmla="*/ 2147483647 h 114"/>
                <a:gd name="T36" fmla="*/ 2147483647 w 106"/>
                <a:gd name="T37" fmla="*/ 2147483647 h 11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6"/>
                <a:gd name="T58" fmla="*/ 0 h 114"/>
                <a:gd name="T59" fmla="*/ 106 w 106"/>
                <a:gd name="T60" fmla="*/ 114 h 11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6" h="114">
                  <a:moveTo>
                    <a:pt x="97" y="82"/>
                  </a:moveTo>
                  <a:lnTo>
                    <a:pt x="105" y="66"/>
                  </a:lnTo>
                  <a:lnTo>
                    <a:pt x="88" y="57"/>
                  </a:lnTo>
                  <a:lnTo>
                    <a:pt x="88" y="42"/>
                  </a:lnTo>
                  <a:lnTo>
                    <a:pt x="82" y="42"/>
                  </a:lnTo>
                  <a:lnTo>
                    <a:pt x="57" y="32"/>
                  </a:lnTo>
                  <a:lnTo>
                    <a:pt x="57" y="8"/>
                  </a:lnTo>
                  <a:lnTo>
                    <a:pt x="40" y="0"/>
                  </a:lnTo>
                  <a:lnTo>
                    <a:pt x="8" y="0"/>
                  </a:lnTo>
                  <a:lnTo>
                    <a:pt x="0" y="42"/>
                  </a:lnTo>
                  <a:lnTo>
                    <a:pt x="16" y="66"/>
                  </a:lnTo>
                  <a:lnTo>
                    <a:pt x="40" y="66"/>
                  </a:lnTo>
                  <a:lnTo>
                    <a:pt x="57" y="82"/>
                  </a:lnTo>
                  <a:lnTo>
                    <a:pt x="57" y="89"/>
                  </a:lnTo>
                  <a:lnTo>
                    <a:pt x="48" y="106"/>
                  </a:lnTo>
                  <a:lnTo>
                    <a:pt x="72" y="113"/>
                  </a:lnTo>
                  <a:lnTo>
                    <a:pt x="82" y="106"/>
                  </a:lnTo>
                  <a:lnTo>
                    <a:pt x="97" y="97"/>
                  </a:lnTo>
                  <a:lnTo>
                    <a:pt x="97" y="82"/>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9" name="Freeform 215">
              <a:extLst>
                <a:ext uri="{FF2B5EF4-FFF2-40B4-BE49-F238E27FC236}">
                  <a16:creationId xmlns:a16="http://schemas.microsoft.com/office/drawing/2014/main" id="{3260E603-065D-4CC4-9DE1-979117B29F37}"/>
                </a:ext>
              </a:extLst>
            </p:cNvPr>
            <p:cNvSpPr>
              <a:spLocks/>
            </p:cNvSpPr>
            <p:nvPr/>
          </p:nvSpPr>
          <p:spPr bwMode="auto">
            <a:xfrm>
              <a:off x="4130675" y="5164138"/>
              <a:ext cx="142875" cy="107950"/>
            </a:xfrm>
            <a:custGeom>
              <a:avLst/>
              <a:gdLst>
                <a:gd name="T0" fmla="*/ 2147483647 w 75"/>
                <a:gd name="T1" fmla="*/ 2147483647 h 66"/>
                <a:gd name="T2" fmla="*/ 2147483647 w 75"/>
                <a:gd name="T3" fmla="*/ 2147483647 h 66"/>
                <a:gd name="T4" fmla="*/ 2147483647 w 75"/>
                <a:gd name="T5" fmla="*/ 2147483647 h 66"/>
                <a:gd name="T6" fmla="*/ 2147483647 w 75"/>
                <a:gd name="T7" fmla="*/ 2147483647 h 66"/>
                <a:gd name="T8" fmla="*/ 2147483647 w 75"/>
                <a:gd name="T9" fmla="*/ 2147483647 h 66"/>
                <a:gd name="T10" fmla="*/ 2147483647 w 75"/>
                <a:gd name="T11" fmla="*/ 0 h 66"/>
                <a:gd name="T12" fmla="*/ 2147483647 w 75"/>
                <a:gd name="T13" fmla="*/ 0 h 66"/>
                <a:gd name="T14" fmla="*/ 0 w 75"/>
                <a:gd name="T15" fmla="*/ 2147483647 h 66"/>
                <a:gd name="T16" fmla="*/ 2147483647 w 75"/>
                <a:gd name="T17" fmla="*/ 2147483647 h 66"/>
                <a:gd name="T18" fmla="*/ 2147483647 w 75"/>
                <a:gd name="T19" fmla="*/ 2147483647 h 66"/>
                <a:gd name="T20" fmla="*/ 2147483647 w 75"/>
                <a:gd name="T21" fmla="*/ 2147483647 h 66"/>
                <a:gd name="T22" fmla="*/ 2147483647 w 75"/>
                <a:gd name="T23" fmla="*/ 2147483647 h 6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5"/>
                <a:gd name="T37" fmla="*/ 0 h 66"/>
                <a:gd name="T38" fmla="*/ 75 w 75"/>
                <a:gd name="T39" fmla="*/ 66 h 6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5" h="66">
                  <a:moveTo>
                    <a:pt x="65" y="49"/>
                  </a:moveTo>
                  <a:lnTo>
                    <a:pt x="74" y="31"/>
                  </a:lnTo>
                  <a:lnTo>
                    <a:pt x="65" y="25"/>
                  </a:lnTo>
                  <a:lnTo>
                    <a:pt x="40" y="8"/>
                  </a:lnTo>
                  <a:lnTo>
                    <a:pt x="34" y="8"/>
                  </a:lnTo>
                  <a:lnTo>
                    <a:pt x="24" y="0"/>
                  </a:lnTo>
                  <a:lnTo>
                    <a:pt x="15" y="0"/>
                  </a:lnTo>
                  <a:lnTo>
                    <a:pt x="0" y="56"/>
                  </a:lnTo>
                  <a:lnTo>
                    <a:pt x="9" y="56"/>
                  </a:lnTo>
                  <a:lnTo>
                    <a:pt x="34" y="65"/>
                  </a:lnTo>
                  <a:lnTo>
                    <a:pt x="57" y="65"/>
                  </a:lnTo>
                  <a:lnTo>
                    <a:pt x="65" y="49"/>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0" name="Freeform 216">
              <a:extLst>
                <a:ext uri="{FF2B5EF4-FFF2-40B4-BE49-F238E27FC236}">
                  <a16:creationId xmlns:a16="http://schemas.microsoft.com/office/drawing/2014/main" id="{0FAEDFFB-E59E-4D7E-9D80-3163859F6E7E}"/>
                </a:ext>
              </a:extLst>
            </p:cNvPr>
            <p:cNvSpPr>
              <a:spLocks/>
            </p:cNvSpPr>
            <p:nvPr/>
          </p:nvSpPr>
          <p:spPr bwMode="auto">
            <a:xfrm>
              <a:off x="3754438" y="4397375"/>
              <a:ext cx="966787" cy="847725"/>
            </a:xfrm>
            <a:custGeom>
              <a:avLst/>
              <a:gdLst>
                <a:gd name="T0" fmla="*/ 2147483647 w 505"/>
                <a:gd name="T1" fmla="*/ 2147483647 h 520"/>
                <a:gd name="T2" fmla="*/ 2147483647 w 505"/>
                <a:gd name="T3" fmla="*/ 2147483647 h 520"/>
                <a:gd name="T4" fmla="*/ 2147483647 w 505"/>
                <a:gd name="T5" fmla="*/ 2147483647 h 520"/>
                <a:gd name="T6" fmla="*/ 2147483647 w 505"/>
                <a:gd name="T7" fmla="*/ 2147483647 h 520"/>
                <a:gd name="T8" fmla="*/ 2147483647 w 505"/>
                <a:gd name="T9" fmla="*/ 2147483647 h 520"/>
                <a:gd name="T10" fmla="*/ 2147483647 w 505"/>
                <a:gd name="T11" fmla="*/ 2147483647 h 520"/>
                <a:gd name="T12" fmla="*/ 2147483647 w 505"/>
                <a:gd name="T13" fmla="*/ 0 h 520"/>
                <a:gd name="T14" fmla="*/ 2147483647 w 505"/>
                <a:gd name="T15" fmla="*/ 2147483647 h 520"/>
                <a:gd name="T16" fmla="*/ 2147483647 w 505"/>
                <a:gd name="T17" fmla="*/ 2147483647 h 520"/>
                <a:gd name="T18" fmla="*/ 2147483647 w 505"/>
                <a:gd name="T19" fmla="*/ 2147483647 h 520"/>
                <a:gd name="T20" fmla="*/ 2147483647 w 505"/>
                <a:gd name="T21" fmla="*/ 2147483647 h 520"/>
                <a:gd name="T22" fmla="*/ 2147483647 w 505"/>
                <a:gd name="T23" fmla="*/ 2147483647 h 520"/>
                <a:gd name="T24" fmla="*/ 2147483647 w 505"/>
                <a:gd name="T25" fmla="*/ 2147483647 h 520"/>
                <a:gd name="T26" fmla="*/ 2147483647 w 505"/>
                <a:gd name="T27" fmla="*/ 2147483647 h 520"/>
                <a:gd name="T28" fmla="*/ 2147483647 w 505"/>
                <a:gd name="T29" fmla="*/ 2147483647 h 520"/>
                <a:gd name="T30" fmla="*/ 0 w 505"/>
                <a:gd name="T31" fmla="*/ 2147483647 h 520"/>
                <a:gd name="T32" fmla="*/ 2147483647 w 505"/>
                <a:gd name="T33" fmla="*/ 2147483647 h 520"/>
                <a:gd name="T34" fmla="*/ 2147483647 w 505"/>
                <a:gd name="T35" fmla="*/ 2147483647 h 520"/>
                <a:gd name="T36" fmla="*/ 2147483647 w 505"/>
                <a:gd name="T37" fmla="*/ 2147483647 h 520"/>
                <a:gd name="T38" fmla="*/ 2147483647 w 505"/>
                <a:gd name="T39" fmla="*/ 2147483647 h 520"/>
                <a:gd name="T40" fmla="*/ 2147483647 w 505"/>
                <a:gd name="T41" fmla="*/ 2147483647 h 520"/>
                <a:gd name="T42" fmla="*/ 2147483647 w 505"/>
                <a:gd name="T43" fmla="*/ 2147483647 h 520"/>
                <a:gd name="T44" fmla="*/ 2147483647 w 505"/>
                <a:gd name="T45" fmla="*/ 2147483647 h 520"/>
                <a:gd name="T46" fmla="*/ 2147483647 w 505"/>
                <a:gd name="T47" fmla="*/ 2147483647 h 520"/>
                <a:gd name="T48" fmla="*/ 2147483647 w 505"/>
                <a:gd name="T49" fmla="*/ 2147483647 h 520"/>
                <a:gd name="T50" fmla="*/ 2147483647 w 505"/>
                <a:gd name="T51" fmla="*/ 2147483647 h 520"/>
                <a:gd name="T52" fmla="*/ 2147483647 w 505"/>
                <a:gd name="T53" fmla="*/ 2147483647 h 520"/>
                <a:gd name="T54" fmla="*/ 2147483647 w 505"/>
                <a:gd name="T55" fmla="*/ 2147483647 h 520"/>
                <a:gd name="T56" fmla="*/ 2147483647 w 505"/>
                <a:gd name="T57" fmla="*/ 2147483647 h 520"/>
                <a:gd name="T58" fmla="*/ 2147483647 w 505"/>
                <a:gd name="T59" fmla="*/ 2147483647 h 520"/>
                <a:gd name="T60" fmla="*/ 2147483647 w 505"/>
                <a:gd name="T61" fmla="*/ 2147483647 h 520"/>
                <a:gd name="T62" fmla="*/ 2147483647 w 505"/>
                <a:gd name="T63" fmla="*/ 2147483647 h 520"/>
                <a:gd name="T64" fmla="*/ 2147483647 w 505"/>
                <a:gd name="T65" fmla="*/ 2147483647 h 520"/>
                <a:gd name="T66" fmla="*/ 2147483647 w 505"/>
                <a:gd name="T67" fmla="*/ 2147483647 h 520"/>
                <a:gd name="T68" fmla="*/ 2147483647 w 505"/>
                <a:gd name="T69" fmla="*/ 2147483647 h 520"/>
                <a:gd name="T70" fmla="*/ 2147483647 w 505"/>
                <a:gd name="T71" fmla="*/ 2147483647 h 520"/>
                <a:gd name="T72" fmla="*/ 2147483647 w 505"/>
                <a:gd name="T73" fmla="*/ 2147483647 h 520"/>
                <a:gd name="T74" fmla="*/ 2147483647 w 505"/>
                <a:gd name="T75" fmla="*/ 2147483647 h 520"/>
                <a:gd name="T76" fmla="*/ 2147483647 w 505"/>
                <a:gd name="T77" fmla="*/ 2147483647 h 520"/>
                <a:gd name="T78" fmla="*/ 2147483647 w 505"/>
                <a:gd name="T79" fmla="*/ 2147483647 h 520"/>
                <a:gd name="T80" fmla="*/ 2147483647 w 505"/>
                <a:gd name="T81" fmla="*/ 2147483647 h 520"/>
                <a:gd name="T82" fmla="*/ 2147483647 w 505"/>
                <a:gd name="T83" fmla="*/ 2147483647 h 520"/>
                <a:gd name="T84" fmla="*/ 2147483647 w 505"/>
                <a:gd name="T85" fmla="*/ 2147483647 h 520"/>
                <a:gd name="T86" fmla="*/ 2147483647 w 505"/>
                <a:gd name="T87" fmla="*/ 2147483647 h 520"/>
                <a:gd name="T88" fmla="*/ 2147483647 w 505"/>
                <a:gd name="T89" fmla="*/ 2147483647 h 520"/>
                <a:gd name="T90" fmla="*/ 2147483647 w 505"/>
                <a:gd name="T91" fmla="*/ 2147483647 h 520"/>
                <a:gd name="T92" fmla="*/ 2147483647 w 505"/>
                <a:gd name="T93" fmla="*/ 2147483647 h 520"/>
                <a:gd name="T94" fmla="*/ 2147483647 w 505"/>
                <a:gd name="T95" fmla="*/ 2147483647 h 520"/>
                <a:gd name="T96" fmla="*/ 2147483647 w 505"/>
                <a:gd name="T97" fmla="*/ 2147483647 h 520"/>
                <a:gd name="T98" fmla="*/ 2147483647 w 505"/>
                <a:gd name="T99" fmla="*/ 2147483647 h 520"/>
                <a:gd name="T100" fmla="*/ 2147483647 w 505"/>
                <a:gd name="T101" fmla="*/ 2147483647 h 520"/>
                <a:gd name="T102" fmla="*/ 2147483647 w 505"/>
                <a:gd name="T103" fmla="*/ 2147483647 h 520"/>
                <a:gd name="T104" fmla="*/ 2147483647 w 505"/>
                <a:gd name="T105" fmla="*/ 2147483647 h 52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05"/>
                <a:gd name="T160" fmla="*/ 0 h 520"/>
                <a:gd name="T161" fmla="*/ 505 w 505"/>
                <a:gd name="T162" fmla="*/ 520 h 52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05" h="520">
                  <a:moveTo>
                    <a:pt x="293" y="16"/>
                  </a:moveTo>
                  <a:lnTo>
                    <a:pt x="285" y="16"/>
                  </a:lnTo>
                  <a:lnTo>
                    <a:pt x="270" y="34"/>
                  </a:lnTo>
                  <a:lnTo>
                    <a:pt x="261" y="40"/>
                  </a:lnTo>
                  <a:lnTo>
                    <a:pt x="253" y="34"/>
                  </a:lnTo>
                  <a:lnTo>
                    <a:pt x="236" y="34"/>
                  </a:lnTo>
                  <a:lnTo>
                    <a:pt x="230" y="40"/>
                  </a:lnTo>
                  <a:lnTo>
                    <a:pt x="220" y="40"/>
                  </a:lnTo>
                  <a:lnTo>
                    <a:pt x="196" y="49"/>
                  </a:lnTo>
                  <a:lnTo>
                    <a:pt x="188" y="49"/>
                  </a:lnTo>
                  <a:lnTo>
                    <a:pt x="180" y="34"/>
                  </a:lnTo>
                  <a:lnTo>
                    <a:pt x="180" y="9"/>
                  </a:lnTo>
                  <a:lnTo>
                    <a:pt x="180" y="0"/>
                  </a:lnTo>
                  <a:lnTo>
                    <a:pt x="171" y="0"/>
                  </a:lnTo>
                  <a:lnTo>
                    <a:pt x="164" y="9"/>
                  </a:lnTo>
                  <a:lnTo>
                    <a:pt x="140" y="16"/>
                  </a:lnTo>
                  <a:lnTo>
                    <a:pt x="115" y="9"/>
                  </a:lnTo>
                  <a:lnTo>
                    <a:pt x="124" y="16"/>
                  </a:lnTo>
                  <a:lnTo>
                    <a:pt x="124" y="34"/>
                  </a:lnTo>
                  <a:lnTo>
                    <a:pt x="131" y="40"/>
                  </a:lnTo>
                  <a:lnTo>
                    <a:pt x="108" y="57"/>
                  </a:lnTo>
                  <a:lnTo>
                    <a:pt x="99" y="57"/>
                  </a:lnTo>
                  <a:lnTo>
                    <a:pt x="91" y="49"/>
                  </a:lnTo>
                  <a:lnTo>
                    <a:pt x="83" y="40"/>
                  </a:lnTo>
                  <a:lnTo>
                    <a:pt x="49" y="40"/>
                  </a:lnTo>
                  <a:lnTo>
                    <a:pt x="49" y="49"/>
                  </a:lnTo>
                  <a:lnTo>
                    <a:pt x="59" y="57"/>
                  </a:lnTo>
                  <a:lnTo>
                    <a:pt x="49" y="57"/>
                  </a:lnTo>
                  <a:lnTo>
                    <a:pt x="59" y="81"/>
                  </a:lnTo>
                  <a:lnTo>
                    <a:pt x="49" y="114"/>
                  </a:lnTo>
                  <a:lnTo>
                    <a:pt x="18" y="130"/>
                  </a:lnTo>
                  <a:lnTo>
                    <a:pt x="0" y="162"/>
                  </a:lnTo>
                  <a:lnTo>
                    <a:pt x="9" y="187"/>
                  </a:lnTo>
                  <a:lnTo>
                    <a:pt x="25" y="196"/>
                  </a:lnTo>
                  <a:lnTo>
                    <a:pt x="43" y="187"/>
                  </a:lnTo>
                  <a:lnTo>
                    <a:pt x="43" y="202"/>
                  </a:lnTo>
                  <a:lnTo>
                    <a:pt x="59" y="202"/>
                  </a:lnTo>
                  <a:lnTo>
                    <a:pt x="74" y="202"/>
                  </a:lnTo>
                  <a:lnTo>
                    <a:pt x="91" y="187"/>
                  </a:lnTo>
                  <a:lnTo>
                    <a:pt x="108" y="187"/>
                  </a:lnTo>
                  <a:lnTo>
                    <a:pt x="108" y="211"/>
                  </a:lnTo>
                  <a:lnTo>
                    <a:pt x="115" y="219"/>
                  </a:lnTo>
                  <a:lnTo>
                    <a:pt x="164" y="236"/>
                  </a:lnTo>
                  <a:lnTo>
                    <a:pt x="171" y="251"/>
                  </a:lnTo>
                  <a:lnTo>
                    <a:pt x="171" y="259"/>
                  </a:lnTo>
                  <a:lnTo>
                    <a:pt x="180" y="276"/>
                  </a:lnTo>
                  <a:lnTo>
                    <a:pt x="196" y="276"/>
                  </a:lnTo>
                  <a:lnTo>
                    <a:pt x="196" y="283"/>
                  </a:lnTo>
                  <a:lnTo>
                    <a:pt x="205" y="299"/>
                  </a:lnTo>
                  <a:lnTo>
                    <a:pt x="205" y="324"/>
                  </a:lnTo>
                  <a:lnTo>
                    <a:pt x="205" y="348"/>
                  </a:lnTo>
                  <a:lnTo>
                    <a:pt x="230" y="358"/>
                  </a:lnTo>
                  <a:lnTo>
                    <a:pt x="236" y="358"/>
                  </a:lnTo>
                  <a:lnTo>
                    <a:pt x="236" y="373"/>
                  </a:lnTo>
                  <a:lnTo>
                    <a:pt x="253" y="382"/>
                  </a:lnTo>
                  <a:lnTo>
                    <a:pt x="245" y="398"/>
                  </a:lnTo>
                  <a:lnTo>
                    <a:pt x="253" y="398"/>
                  </a:lnTo>
                  <a:lnTo>
                    <a:pt x="261" y="422"/>
                  </a:lnTo>
                  <a:lnTo>
                    <a:pt x="245" y="429"/>
                  </a:lnTo>
                  <a:lnTo>
                    <a:pt x="211" y="470"/>
                  </a:lnTo>
                  <a:lnTo>
                    <a:pt x="220" y="470"/>
                  </a:lnTo>
                  <a:lnTo>
                    <a:pt x="230" y="478"/>
                  </a:lnTo>
                  <a:lnTo>
                    <a:pt x="236" y="478"/>
                  </a:lnTo>
                  <a:lnTo>
                    <a:pt x="261" y="495"/>
                  </a:lnTo>
                  <a:lnTo>
                    <a:pt x="270" y="501"/>
                  </a:lnTo>
                  <a:lnTo>
                    <a:pt x="261" y="519"/>
                  </a:lnTo>
                  <a:lnTo>
                    <a:pt x="277" y="501"/>
                  </a:lnTo>
                  <a:lnTo>
                    <a:pt x="293" y="485"/>
                  </a:lnTo>
                  <a:lnTo>
                    <a:pt x="310" y="453"/>
                  </a:lnTo>
                  <a:lnTo>
                    <a:pt x="326" y="438"/>
                  </a:lnTo>
                  <a:lnTo>
                    <a:pt x="326" y="405"/>
                  </a:lnTo>
                  <a:lnTo>
                    <a:pt x="333" y="389"/>
                  </a:lnTo>
                  <a:lnTo>
                    <a:pt x="350" y="382"/>
                  </a:lnTo>
                  <a:lnTo>
                    <a:pt x="375" y="364"/>
                  </a:lnTo>
                  <a:lnTo>
                    <a:pt x="407" y="364"/>
                  </a:lnTo>
                  <a:lnTo>
                    <a:pt x="407" y="358"/>
                  </a:lnTo>
                  <a:lnTo>
                    <a:pt x="423" y="348"/>
                  </a:lnTo>
                  <a:lnTo>
                    <a:pt x="423" y="341"/>
                  </a:lnTo>
                  <a:lnTo>
                    <a:pt x="439" y="316"/>
                  </a:lnTo>
                  <a:lnTo>
                    <a:pt x="439" y="299"/>
                  </a:lnTo>
                  <a:lnTo>
                    <a:pt x="447" y="292"/>
                  </a:lnTo>
                  <a:lnTo>
                    <a:pt x="447" y="236"/>
                  </a:lnTo>
                  <a:lnTo>
                    <a:pt x="488" y="187"/>
                  </a:lnTo>
                  <a:lnTo>
                    <a:pt x="504" y="162"/>
                  </a:lnTo>
                  <a:lnTo>
                    <a:pt x="497" y="130"/>
                  </a:lnTo>
                  <a:lnTo>
                    <a:pt x="472" y="130"/>
                  </a:lnTo>
                  <a:lnTo>
                    <a:pt x="432" y="97"/>
                  </a:lnTo>
                  <a:lnTo>
                    <a:pt x="416" y="106"/>
                  </a:lnTo>
                  <a:lnTo>
                    <a:pt x="392" y="97"/>
                  </a:lnTo>
                  <a:lnTo>
                    <a:pt x="375" y="97"/>
                  </a:lnTo>
                  <a:lnTo>
                    <a:pt x="375" y="90"/>
                  </a:lnTo>
                  <a:lnTo>
                    <a:pt x="375" y="81"/>
                  </a:lnTo>
                  <a:lnTo>
                    <a:pt x="367" y="81"/>
                  </a:lnTo>
                  <a:lnTo>
                    <a:pt x="333" y="74"/>
                  </a:lnTo>
                  <a:lnTo>
                    <a:pt x="326" y="81"/>
                  </a:lnTo>
                  <a:lnTo>
                    <a:pt x="326" y="65"/>
                  </a:lnTo>
                  <a:lnTo>
                    <a:pt x="317" y="65"/>
                  </a:lnTo>
                  <a:lnTo>
                    <a:pt x="302" y="65"/>
                  </a:lnTo>
                  <a:lnTo>
                    <a:pt x="302" y="81"/>
                  </a:lnTo>
                  <a:lnTo>
                    <a:pt x="293" y="74"/>
                  </a:lnTo>
                  <a:lnTo>
                    <a:pt x="285" y="81"/>
                  </a:lnTo>
                  <a:lnTo>
                    <a:pt x="293" y="65"/>
                  </a:lnTo>
                  <a:lnTo>
                    <a:pt x="310" y="49"/>
                  </a:lnTo>
                  <a:lnTo>
                    <a:pt x="310" y="40"/>
                  </a:lnTo>
                  <a:lnTo>
                    <a:pt x="302" y="40"/>
                  </a:lnTo>
                  <a:lnTo>
                    <a:pt x="293" y="16"/>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1" name="Freeform 217">
              <a:extLst>
                <a:ext uri="{FF2B5EF4-FFF2-40B4-BE49-F238E27FC236}">
                  <a16:creationId xmlns:a16="http://schemas.microsoft.com/office/drawing/2014/main" id="{870CF6A5-11FD-4665-8A43-95E03197B43F}"/>
                </a:ext>
              </a:extLst>
            </p:cNvPr>
            <p:cNvSpPr>
              <a:spLocks/>
            </p:cNvSpPr>
            <p:nvPr/>
          </p:nvSpPr>
          <p:spPr bwMode="auto">
            <a:xfrm>
              <a:off x="4240213" y="4386263"/>
              <a:ext cx="61912" cy="77787"/>
            </a:xfrm>
            <a:custGeom>
              <a:avLst/>
              <a:gdLst>
                <a:gd name="T0" fmla="*/ 0 w 33"/>
                <a:gd name="T1" fmla="*/ 2147483647 h 48"/>
                <a:gd name="T2" fmla="*/ 2147483647 w 33"/>
                <a:gd name="T3" fmla="*/ 2147483647 h 48"/>
                <a:gd name="T4" fmla="*/ 2147483647 w 33"/>
                <a:gd name="T5" fmla="*/ 2147483647 h 48"/>
                <a:gd name="T6" fmla="*/ 2147483647 w 33"/>
                <a:gd name="T7" fmla="*/ 2147483647 h 48"/>
                <a:gd name="T8" fmla="*/ 0 w 33"/>
                <a:gd name="T9" fmla="*/ 0 h 48"/>
                <a:gd name="T10" fmla="*/ 0 w 33"/>
                <a:gd name="T11" fmla="*/ 2147483647 h 48"/>
                <a:gd name="T12" fmla="*/ 0 w 33"/>
                <a:gd name="T13" fmla="*/ 2147483647 h 48"/>
                <a:gd name="T14" fmla="*/ 0 w 33"/>
                <a:gd name="T15" fmla="*/ 2147483647 h 48"/>
                <a:gd name="T16" fmla="*/ 0 60000 65536"/>
                <a:gd name="T17" fmla="*/ 0 60000 65536"/>
                <a:gd name="T18" fmla="*/ 0 60000 65536"/>
                <a:gd name="T19" fmla="*/ 0 60000 65536"/>
                <a:gd name="T20" fmla="*/ 0 60000 65536"/>
                <a:gd name="T21" fmla="*/ 0 60000 65536"/>
                <a:gd name="T22" fmla="*/ 0 60000 65536"/>
                <a:gd name="T23" fmla="*/ 0 60000 65536"/>
                <a:gd name="T24" fmla="*/ 0 w 33"/>
                <a:gd name="T25" fmla="*/ 0 h 48"/>
                <a:gd name="T26" fmla="*/ 33 w 33"/>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3" h="48">
                  <a:moveTo>
                    <a:pt x="0" y="41"/>
                  </a:moveTo>
                  <a:lnTo>
                    <a:pt x="8" y="47"/>
                  </a:lnTo>
                  <a:lnTo>
                    <a:pt x="17" y="41"/>
                  </a:lnTo>
                  <a:lnTo>
                    <a:pt x="32" y="23"/>
                  </a:lnTo>
                  <a:lnTo>
                    <a:pt x="0" y="0"/>
                  </a:lnTo>
                  <a:lnTo>
                    <a:pt x="0" y="7"/>
                  </a:lnTo>
                  <a:lnTo>
                    <a:pt x="0" y="23"/>
                  </a:lnTo>
                  <a:lnTo>
                    <a:pt x="0" y="41"/>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2" name="Freeform 218">
              <a:extLst>
                <a:ext uri="{FF2B5EF4-FFF2-40B4-BE49-F238E27FC236}">
                  <a16:creationId xmlns:a16="http://schemas.microsoft.com/office/drawing/2014/main" id="{9C1EA475-D5A0-4167-8A0E-41CA299739D2}"/>
                </a:ext>
              </a:extLst>
            </p:cNvPr>
            <p:cNvSpPr>
              <a:spLocks/>
            </p:cNvSpPr>
            <p:nvPr/>
          </p:nvSpPr>
          <p:spPr bwMode="auto">
            <a:xfrm>
              <a:off x="4148138" y="4386263"/>
              <a:ext cx="93662" cy="77787"/>
            </a:xfrm>
            <a:custGeom>
              <a:avLst/>
              <a:gdLst>
                <a:gd name="T0" fmla="*/ 2147483647 w 49"/>
                <a:gd name="T1" fmla="*/ 2147483647 h 48"/>
                <a:gd name="T2" fmla="*/ 2147483647 w 49"/>
                <a:gd name="T3" fmla="*/ 2147483647 h 48"/>
                <a:gd name="T4" fmla="*/ 2147483647 w 49"/>
                <a:gd name="T5" fmla="*/ 2147483647 h 48"/>
                <a:gd name="T6" fmla="*/ 2147483647 w 49"/>
                <a:gd name="T7" fmla="*/ 0 h 48"/>
                <a:gd name="T8" fmla="*/ 2147483647 w 49"/>
                <a:gd name="T9" fmla="*/ 0 h 48"/>
                <a:gd name="T10" fmla="*/ 0 w 49"/>
                <a:gd name="T11" fmla="*/ 2147483647 h 48"/>
                <a:gd name="T12" fmla="*/ 2147483647 w 49"/>
                <a:gd name="T13" fmla="*/ 2147483647 h 48"/>
                <a:gd name="T14" fmla="*/ 2147483647 w 49"/>
                <a:gd name="T15" fmla="*/ 2147483647 h 48"/>
                <a:gd name="T16" fmla="*/ 2147483647 w 49"/>
                <a:gd name="T17" fmla="*/ 2147483647 h 48"/>
                <a:gd name="T18" fmla="*/ 2147483647 w 49"/>
                <a:gd name="T19" fmla="*/ 2147483647 h 4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9"/>
                <a:gd name="T31" fmla="*/ 0 h 48"/>
                <a:gd name="T32" fmla="*/ 49 w 49"/>
                <a:gd name="T33" fmla="*/ 48 h 4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9" h="48">
                  <a:moveTo>
                    <a:pt x="48" y="41"/>
                  </a:moveTo>
                  <a:lnTo>
                    <a:pt x="48" y="23"/>
                  </a:lnTo>
                  <a:lnTo>
                    <a:pt x="48" y="7"/>
                  </a:lnTo>
                  <a:lnTo>
                    <a:pt x="48" y="0"/>
                  </a:lnTo>
                  <a:lnTo>
                    <a:pt x="15" y="0"/>
                  </a:lnTo>
                  <a:lnTo>
                    <a:pt x="0" y="16"/>
                  </a:lnTo>
                  <a:lnTo>
                    <a:pt x="15" y="47"/>
                  </a:lnTo>
                  <a:lnTo>
                    <a:pt x="25" y="47"/>
                  </a:lnTo>
                  <a:lnTo>
                    <a:pt x="31" y="41"/>
                  </a:lnTo>
                  <a:lnTo>
                    <a:pt x="48" y="41"/>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3" name="Freeform 219">
              <a:extLst>
                <a:ext uri="{FF2B5EF4-FFF2-40B4-BE49-F238E27FC236}">
                  <a16:creationId xmlns:a16="http://schemas.microsoft.com/office/drawing/2014/main" id="{FB1D0CA2-AFCA-49CA-8AE4-5B4D716CDB71}"/>
                </a:ext>
              </a:extLst>
            </p:cNvPr>
            <p:cNvSpPr>
              <a:spLocks/>
            </p:cNvSpPr>
            <p:nvPr/>
          </p:nvSpPr>
          <p:spPr bwMode="auto">
            <a:xfrm>
              <a:off x="4067175" y="4333875"/>
              <a:ext cx="111125" cy="144463"/>
            </a:xfrm>
            <a:custGeom>
              <a:avLst/>
              <a:gdLst>
                <a:gd name="T0" fmla="*/ 2147483647 w 57"/>
                <a:gd name="T1" fmla="*/ 0 h 90"/>
                <a:gd name="T2" fmla="*/ 2147483647 w 57"/>
                <a:gd name="T3" fmla="*/ 2147483647 h 90"/>
                <a:gd name="T4" fmla="*/ 2147483647 w 57"/>
                <a:gd name="T5" fmla="*/ 2147483647 h 90"/>
                <a:gd name="T6" fmla="*/ 2147483647 w 57"/>
                <a:gd name="T7" fmla="*/ 2147483647 h 90"/>
                <a:gd name="T8" fmla="*/ 2147483647 w 57"/>
                <a:gd name="T9" fmla="*/ 2147483647 h 90"/>
                <a:gd name="T10" fmla="*/ 2147483647 w 57"/>
                <a:gd name="T11" fmla="*/ 2147483647 h 90"/>
                <a:gd name="T12" fmla="*/ 2147483647 w 57"/>
                <a:gd name="T13" fmla="*/ 2147483647 h 90"/>
                <a:gd name="T14" fmla="*/ 2147483647 w 57"/>
                <a:gd name="T15" fmla="*/ 2147483647 h 90"/>
                <a:gd name="T16" fmla="*/ 2147483647 w 57"/>
                <a:gd name="T17" fmla="*/ 2147483647 h 90"/>
                <a:gd name="T18" fmla="*/ 2147483647 w 57"/>
                <a:gd name="T19" fmla="*/ 2147483647 h 90"/>
                <a:gd name="T20" fmla="*/ 2147483647 w 57"/>
                <a:gd name="T21" fmla="*/ 2147483647 h 90"/>
                <a:gd name="T22" fmla="*/ 2147483647 w 57"/>
                <a:gd name="T23" fmla="*/ 2147483647 h 90"/>
                <a:gd name="T24" fmla="*/ 2147483647 w 57"/>
                <a:gd name="T25" fmla="*/ 2147483647 h 90"/>
                <a:gd name="T26" fmla="*/ 0 w 57"/>
                <a:gd name="T27" fmla="*/ 2147483647 h 90"/>
                <a:gd name="T28" fmla="*/ 0 w 57"/>
                <a:gd name="T29" fmla="*/ 2147483647 h 90"/>
                <a:gd name="T30" fmla="*/ 2147483647 w 57"/>
                <a:gd name="T31" fmla="*/ 2147483647 h 90"/>
                <a:gd name="T32" fmla="*/ 2147483647 w 57"/>
                <a:gd name="T33" fmla="*/ 2147483647 h 90"/>
                <a:gd name="T34" fmla="*/ 2147483647 w 57"/>
                <a:gd name="T35" fmla="*/ 0 h 9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7"/>
                <a:gd name="T55" fmla="*/ 0 h 90"/>
                <a:gd name="T56" fmla="*/ 57 w 57"/>
                <a:gd name="T57" fmla="*/ 90 h 9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7" h="90">
                  <a:moveTo>
                    <a:pt x="16" y="0"/>
                  </a:moveTo>
                  <a:lnTo>
                    <a:pt x="32" y="9"/>
                  </a:lnTo>
                  <a:lnTo>
                    <a:pt x="32" y="15"/>
                  </a:lnTo>
                  <a:lnTo>
                    <a:pt x="41" y="15"/>
                  </a:lnTo>
                  <a:lnTo>
                    <a:pt x="56" y="33"/>
                  </a:lnTo>
                  <a:lnTo>
                    <a:pt x="41" y="49"/>
                  </a:lnTo>
                  <a:lnTo>
                    <a:pt x="56" y="80"/>
                  </a:lnTo>
                  <a:lnTo>
                    <a:pt x="32" y="89"/>
                  </a:lnTo>
                  <a:lnTo>
                    <a:pt x="24" y="89"/>
                  </a:lnTo>
                  <a:lnTo>
                    <a:pt x="16" y="74"/>
                  </a:lnTo>
                  <a:lnTo>
                    <a:pt x="16" y="49"/>
                  </a:lnTo>
                  <a:lnTo>
                    <a:pt x="16" y="40"/>
                  </a:lnTo>
                  <a:lnTo>
                    <a:pt x="7" y="40"/>
                  </a:lnTo>
                  <a:lnTo>
                    <a:pt x="0" y="33"/>
                  </a:lnTo>
                  <a:lnTo>
                    <a:pt x="0" y="15"/>
                  </a:lnTo>
                  <a:lnTo>
                    <a:pt x="7" y="15"/>
                  </a:lnTo>
                  <a:lnTo>
                    <a:pt x="7" y="9"/>
                  </a:lnTo>
                  <a:lnTo>
                    <a:pt x="16"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4" name="Freeform 220">
              <a:extLst>
                <a:ext uri="{FF2B5EF4-FFF2-40B4-BE49-F238E27FC236}">
                  <a16:creationId xmlns:a16="http://schemas.microsoft.com/office/drawing/2014/main" id="{F7B86D58-C404-46A9-A00B-5867632F4174}"/>
                </a:ext>
              </a:extLst>
            </p:cNvPr>
            <p:cNvSpPr>
              <a:spLocks/>
            </p:cNvSpPr>
            <p:nvPr/>
          </p:nvSpPr>
          <p:spPr bwMode="auto">
            <a:xfrm>
              <a:off x="3771900" y="4251325"/>
              <a:ext cx="330200" cy="241300"/>
            </a:xfrm>
            <a:custGeom>
              <a:avLst/>
              <a:gdLst>
                <a:gd name="T0" fmla="*/ 2147483647 w 172"/>
                <a:gd name="T1" fmla="*/ 2147483647 h 148"/>
                <a:gd name="T2" fmla="*/ 2147483647 w 172"/>
                <a:gd name="T3" fmla="*/ 2147483647 h 148"/>
                <a:gd name="T4" fmla="*/ 2147483647 w 172"/>
                <a:gd name="T5" fmla="*/ 2147483647 h 148"/>
                <a:gd name="T6" fmla="*/ 2147483647 w 172"/>
                <a:gd name="T7" fmla="*/ 2147483647 h 148"/>
                <a:gd name="T8" fmla="*/ 2147483647 w 172"/>
                <a:gd name="T9" fmla="*/ 2147483647 h 148"/>
                <a:gd name="T10" fmla="*/ 2147483647 w 172"/>
                <a:gd name="T11" fmla="*/ 2147483647 h 148"/>
                <a:gd name="T12" fmla="*/ 2147483647 w 172"/>
                <a:gd name="T13" fmla="*/ 2147483647 h 148"/>
                <a:gd name="T14" fmla="*/ 2147483647 w 172"/>
                <a:gd name="T15" fmla="*/ 2147483647 h 148"/>
                <a:gd name="T16" fmla="*/ 2147483647 w 172"/>
                <a:gd name="T17" fmla="*/ 2147483647 h 148"/>
                <a:gd name="T18" fmla="*/ 2147483647 w 172"/>
                <a:gd name="T19" fmla="*/ 2147483647 h 148"/>
                <a:gd name="T20" fmla="*/ 2147483647 w 172"/>
                <a:gd name="T21" fmla="*/ 2147483647 h 148"/>
                <a:gd name="T22" fmla="*/ 2147483647 w 172"/>
                <a:gd name="T23" fmla="*/ 2147483647 h 148"/>
                <a:gd name="T24" fmla="*/ 2147483647 w 172"/>
                <a:gd name="T25" fmla="*/ 2147483647 h 148"/>
                <a:gd name="T26" fmla="*/ 2147483647 w 172"/>
                <a:gd name="T27" fmla="*/ 2147483647 h 148"/>
                <a:gd name="T28" fmla="*/ 2147483647 w 172"/>
                <a:gd name="T29" fmla="*/ 2147483647 h 148"/>
                <a:gd name="T30" fmla="*/ 2147483647 w 172"/>
                <a:gd name="T31" fmla="*/ 2147483647 h 148"/>
                <a:gd name="T32" fmla="*/ 2147483647 w 172"/>
                <a:gd name="T33" fmla="*/ 2147483647 h 148"/>
                <a:gd name="T34" fmla="*/ 2147483647 w 172"/>
                <a:gd name="T35" fmla="*/ 2147483647 h 148"/>
                <a:gd name="T36" fmla="*/ 2147483647 w 172"/>
                <a:gd name="T37" fmla="*/ 2147483647 h 148"/>
                <a:gd name="T38" fmla="*/ 2147483647 w 172"/>
                <a:gd name="T39" fmla="*/ 2147483647 h 148"/>
                <a:gd name="T40" fmla="*/ 2147483647 w 172"/>
                <a:gd name="T41" fmla="*/ 2147483647 h 148"/>
                <a:gd name="T42" fmla="*/ 2147483647 w 172"/>
                <a:gd name="T43" fmla="*/ 2147483647 h 148"/>
                <a:gd name="T44" fmla="*/ 2147483647 w 172"/>
                <a:gd name="T45" fmla="*/ 2147483647 h 148"/>
                <a:gd name="T46" fmla="*/ 2147483647 w 172"/>
                <a:gd name="T47" fmla="*/ 2147483647 h 148"/>
                <a:gd name="T48" fmla="*/ 0 w 172"/>
                <a:gd name="T49" fmla="*/ 2147483647 h 148"/>
                <a:gd name="T50" fmla="*/ 2147483647 w 172"/>
                <a:gd name="T51" fmla="*/ 2147483647 h 148"/>
                <a:gd name="T52" fmla="*/ 2147483647 w 172"/>
                <a:gd name="T53" fmla="*/ 2147483647 h 148"/>
                <a:gd name="T54" fmla="*/ 2147483647 w 172"/>
                <a:gd name="T55" fmla="*/ 2147483647 h 148"/>
                <a:gd name="T56" fmla="*/ 2147483647 w 172"/>
                <a:gd name="T57" fmla="*/ 2147483647 h 148"/>
                <a:gd name="T58" fmla="*/ 2147483647 w 172"/>
                <a:gd name="T59" fmla="*/ 2147483647 h 148"/>
                <a:gd name="T60" fmla="*/ 2147483647 w 172"/>
                <a:gd name="T61" fmla="*/ 2147483647 h 148"/>
                <a:gd name="T62" fmla="*/ 2147483647 w 172"/>
                <a:gd name="T63" fmla="*/ 2147483647 h 148"/>
                <a:gd name="T64" fmla="*/ 2147483647 w 172"/>
                <a:gd name="T65" fmla="*/ 2147483647 h 148"/>
                <a:gd name="T66" fmla="*/ 2147483647 w 172"/>
                <a:gd name="T67" fmla="*/ 0 h 148"/>
                <a:gd name="T68" fmla="*/ 2147483647 w 172"/>
                <a:gd name="T69" fmla="*/ 2147483647 h 148"/>
                <a:gd name="T70" fmla="*/ 2147483647 w 172"/>
                <a:gd name="T71" fmla="*/ 2147483647 h 148"/>
                <a:gd name="T72" fmla="*/ 2147483647 w 172"/>
                <a:gd name="T73" fmla="*/ 2147483647 h 148"/>
                <a:gd name="T74" fmla="*/ 2147483647 w 172"/>
                <a:gd name="T75" fmla="*/ 2147483647 h 148"/>
                <a:gd name="T76" fmla="*/ 2147483647 w 172"/>
                <a:gd name="T77" fmla="*/ 2147483647 h 148"/>
                <a:gd name="T78" fmla="*/ 2147483647 w 172"/>
                <a:gd name="T79" fmla="*/ 2147483647 h 148"/>
                <a:gd name="T80" fmla="*/ 2147483647 w 172"/>
                <a:gd name="T81" fmla="*/ 2147483647 h 148"/>
                <a:gd name="T82" fmla="*/ 2147483647 w 172"/>
                <a:gd name="T83" fmla="*/ 2147483647 h 148"/>
                <a:gd name="T84" fmla="*/ 2147483647 w 172"/>
                <a:gd name="T85" fmla="*/ 2147483647 h 148"/>
                <a:gd name="T86" fmla="*/ 2147483647 w 172"/>
                <a:gd name="T87" fmla="*/ 2147483647 h 148"/>
                <a:gd name="T88" fmla="*/ 2147483647 w 172"/>
                <a:gd name="T89" fmla="*/ 2147483647 h 148"/>
                <a:gd name="T90" fmla="*/ 2147483647 w 172"/>
                <a:gd name="T91" fmla="*/ 2147483647 h 148"/>
                <a:gd name="T92" fmla="*/ 2147483647 w 172"/>
                <a:gd name="T93" fmla="*/ 2147483647 h 14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72"/>
                <a:gd name="T142" fmla="*/ 0 h 148"/>
                <a:gd name="T143" fmla="*/ 172 w 172"/>
                <a:gd name="T144" fmla="*/ 148 h 14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72" h="148">
                  <a:moveTo>
                    <a:pt x="171" y="50"/>
                  </a:moveTo>
                  <a:lnTo>
                    <a:pt x="162" y="59"/>
                  </a:lnTo>
                  <a:lnTo>
                    <a:pt x="162" y="65"/>
                  </a:lnTo>
                  <a:lnTo>
                    <a:pt x="155" y="65"/>
                  </a:lnTo>
                  <a:lnTo>
                    <a:pt x="155" y="83"/>
                  </a:lnTo>
                  <a:lnTo>
                    <a:pt x="162" y="90"/>
                  </a:lnTo>
                  <a:lnTo>
                    <a:pt x="155" y="99"/>
                  </a:lnTo>
                  <a:lnTo>
                    <a:pt x="131" y="106"/>
                  </a:lnTo>
                  <a:lnTo>
                    <a:pt x="106" y="99"/>
                  </a:lnTo>
                  <a:lnTo>
                    <a:pt x="115" y="106"/>
                  </a:lnTo>
                  <a:lnTo>
                    <a:pt x="115" y="124"/>
                  </a:lnTo>
                  <a:lnTo>
                    <a:pt x="122" y="130"/>
                  </a:lnTo>
                  <a:lnTo>
                    <a:pt x="99" y="147"/>
                  </a:lnTo>
                  <a:lnTo>
                    <a:pt x="90" y="147"/>
                  </a:lnTo>
                  <a:lnTo>
                    <a:pt x="82" y="139"/>
                  </a:lnTo>
                  <a:lnTo>
                    <a:pt x="74" y="130"/>
                  </a:lnTo>
                  <a:lnTo>
                    <a:pt x="74" y="115"/>
                  </a:lnTo>
                  <a:lnTo>
                    <a:pt x="65" y="99"/>
                  </a:lnTo>
                  <a:lnTo>
                    <a:pt x="74" y="74"/>
                  </a:lnTo>
                  <a:lnTo>
                    <a:pt x="50" y="74"/>
                  </a:lnTo>
                  <a:lnTo>
                    <a:pt x="40" y="65"/>
                  </a:lnTo>
                  <a:lnTo>
                    <a:pt x="16" y="65"/>
                  </a:lnTo>
                  <a:lnTo>
                    <a:pt x="9" y="59"/>
                  </a:lnTo>
                  <a:lnTo>
                    <a:pt x="9" y="50"/>
                  </a:lnTo>
                  <a:lnTo>
                    <a:pt x="0" y="34"/>
                  </a:lnTo>
                  <a:lnTo>
                    <a:pt x="9" y="18"/>
                  </a:lnTo>
                  <a:lnTo>
                    <a:pt x="16" y="10"/>
                  </a:lnTo>
                  <a:lnTo>
                    <a:pt x="25" y="18"/>
                  </a:lnTo>
                  <a:lnTo>
                    <a:pt x="16" y="25"/>
                  </a:lnTo>
                  <a:lnTo>
                    <a:pt x="16" y="41"/>
                  </a:lnTo>
                  <a:lnTo>
                    <a:pt x="25" y="34"/>
                  </a:lnTo>
                  <a:lnTo>
                    <a:pt x="25" y="18"/>
                  </a:lnTo>
                  <a:lnTo>
                    <a:pt x="40" y="10"/>
                  </a:lnTo>
                  <a:lnTo>
                    <a:pt x="40" y="0"/>
                  </a:lnTo>
                  <a:lnTo>
                    <a:pt x="40" y="10"/>
                  </a:lnTo>
                  <a:lnTo>
                    <a:pt x="65" y="10"/>
                  </a:lnTo>
                  <a:lnTo>
                    <a:pt x="65" y="18"/>
                  </a:lnTo>
                  <a:lnTo>
                    <a:pt x="90" y="18"/>
                  </a:lnTo>
                  <a:lnTo>
                    <a:pt x="106" y="25"/>
                  </a:lnTo>
                  <a:lnTo>
                    <a:pt x="122" y="18"/>
                  </a:lnTo>
                  <a:lnTo>
                    <a:pt x="139" y="18"/>
                  </a:lnTo>
                  <a:lnTo>
                    <a:pt x="131" y="18"/>
                  </a:lnTo>
                  <a:lnTo>
                    <a:pt x="139" y="25"/>
                  </a:lnTo>
                  <a:lnTo>
                    <a:pt x="155" y="34"/>
                  </a:lnTo>
                  <a:lnTo>
                    <a:pt x="155" y="50"/>
                  </a:lnTo>
                  <a:lnTo>
                    <a:pt x="162" y="41"/>
                  </a:lnTo>
                  <a:lnTo>
                    <a:pt x="171" y="50"/>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5" name="Freeform 221">
              <a:extLst>
                <a:ext uri="{FF2B5EF4-FFF2-40B4-BE49-F238E27FC236}">
                  <a16:creationId xmlns:a16="http://schemas.microsoft.com/office/drawing/2014/main" id="{4ACB1C26-7EC1-4A93-98BA-B82405AE220F}"/>
                </a:ext>
              </a:extLst>
            </p:cNvPr>
            <p:cNvSpPr>
              <a:spLocks/>
            </p:cNvSpPr>
            <p:nvPr/>
          </p:nvSpPr>
          <p:spPr bwMode="auto">
            <a:xfrm>
              <a:off x="6135688" y="3078163"/>
              <a:ext cx="234950" cy="176212"/>
            </a:xfrm>
            <a:custGeom>
              <a:avLst/>
              <a:gdLst>
                <a:gd name="T0" fmla="*/ 2147483647 w 123"/>
                <a:gd name="T1" fmla="*/ 2147483647 h 107"/>
                <a:gd name="T2" fmla="*/ 2147483647 w 123"/>
                <a:gd name="T3" fmla="*/ 2147483647 h 107"/>
                <a:gd name="T4" fmla="*/ 2147483647 w 123"/>
                <a:gd name="T5" fmla="*/ 2147483647 h 107"/>
                <a:gd name="T6" fmla="*/ 2147483647 w 123"/>
                <a:gd name="T7" fmla="*/ 2147483647 h 107"/>
                <a:gd name="T8" fmla="*/ 2147483647 w 123"/>
                <a:gd name="T9" fmla="*/ 2147483647 h 107"/>
                <a:gd name="T10" fmla="*/ 2147483647 w 123"/>
                <a:gd name="T11" fmla="*/ 2147483647 h 107"/>
                <a:gd name="T12" fmla="*/ 2147483647 w 123"/>
                <a:gd name="T13" fmla="*/ 2147483647 h 107"/>
                <a:gd name="T14" fmla="*/ 2147483647 w 123"/>
                <a:gd name="T15" fmla="*/ 2147483647 h 107"/>
                <a:gd name="T16" fmla="*/ 2147483647 w 123"/>
                <a:gd name="T17" fmla="*/ 2147483647 h 107"/>
                <a:gd name="T18" fmla="*/ 2147483647 w 123"/>
                <a:gd name="T19" fmla="*/ 0 h 107"/>
                <a:gd name="T20" fmla="*/ 2147483647 w 123"/>
                <a:gd name="T21" fmla="*/ 2147483647 h 107"/>
                <a:gd name="T22" fmla="*/ 2147483647 w 123"/>
                <a:gd name="T23" fmla="*/ 2147483647 h 107"/>
                <a:gd name="T24" fmla="*/ 2147483647 w 123"/>
                <a:gd name="T25" fmla="*/ 2147483647 h 107"/>
                <a:gd name="T26" fmla="*/ 2147483647 w 123"/>
                <a:gd name="T27" fmla="*/ 2147483647 h 107"/>
                <a:gd name="T28" fmla="*/ 2147483647 w 123"/>
                <a:gd name="T29" fmla="*/ 2147483647 h 107"/>
                <a:gd name="T30" fmla="*/ 2147483647 w 123"/>
                <a:gd name="T31" fmla="*/ 2147483647 h 107"/>
                <a:gd name="T32" fmla="*/ 0 w 123"/>
                <a:gd name="T33" fmla="*/ 2147483647 h 107"/>
                <a:gd name="T34" fmla="*/ 2147483647 w 123"/>
                <a:gd name="T35" fmla="*/ 2147483647 h 107"/>
                <a:gd name="T36" fmla="*/ 0 w 123"/>
                <a:gd name="T37" fmla="*/ 2147483647 h 107"/>
                <a:gd name="T38" fmla="*/ 0 w 123"/>
                <a:gd name="T39" fmla="*/ 2147483647 h 107"/>
                <a:gd name="T40" fmla="*/ 2147483647 w 123"/>
                <a:gd name="T41" fmla="*/ 2147483647 h 107"/>
                <a:gd name="T42" fmla="*/ 2147483647 w 123"/>
                <a:gd name="T43" fmla="*/ 2147483647 h 107"/>
                <a:gd name="T44" fmla="*/ 2147483647 w 123"/>
                <a:gd name="T45" fmla="*/ 2147483647 h 107"/>
                <a:gd name="T46" fmla="*/ 2147483647 w 123"/>
                <a:gd name="T47" fmla="*/ 2147483647 h 107"/>
                <a:gd name="T48" fmla="*/ 2147483647 w 123"/>
                <a:gd name="T49" fmla="*/ 2147483647 h 107"/>
                <a:gd name="T50" fmla="*/ 2147483647 w 123"/>
                <a:gd name="T51" fmla="*/ 2147483647 h 107"/>
                <a:gd name="T52" fmla="*/ 2147483647 w 123"/>
                <a:gd name="T53" fmla="*/ 2147483647 h 107"/>
                <a:gd name="T54" fmla="*/ 2147483647 w 123"/>
                <a:gd name="T55" fmla="*/ 2147483647 h 107"/>
                <a:gd name="T56" fmla="*/ 2147483647 w 123"/>
                <a:gd name="T57" fmla="*/ 2147483647 h 10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23"/>
                <a:gd name="T88" fmla="*/ 0 h 107"/>
                <a:gd name="T89" fmla="*/ 123 w 123"/>
                <a:gd name="T90" fmla="*/ 107 h 10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23" h="107">
                  <a:moveTo>
                    <a:pt x="112" y="88"/>
                  </a:moveTo>
                  <a:lnTo>
                    <a:pt x="106" y="72"/>
                  </a:lnTo>
                  <a:lnTo>
                    <a:pt x="106" y="65"/>
                  </a:lnTo>
                  <a:lnTo>
                    <a:pt x="112" y="72"/>
                  </a:lnTo>
                  <a:lnTo>
                    <a:pt x="122" y="57"/>
                  </a:lnTo>
                  <a:lnTo>
                    <a:pt x="112" y="57"/>
                  </a:lnTo>
                  <a:lnTo>
                    <a:pt x="97" y="32"/>
                  </a:lnTo>
                  <a:lnTo>
                    <a:pt x="97" y="16"/>
                  </a:lnTo>
                  <a:lnTo>
                    <a:pt x="90" y="7"/>
                  </a:lnTo>
                  <a:lnTo>
                    <a:pt x="65" y="0"/>
                  </a:lnTo>
                  <a:lnTo>
                    <a:pt x="49" y="16"/>
                  </a:lnTo>
                  <a:lnTo>
                    <a:pt x="49" y="25"/>
                  </a:lnTo>
                  <a:lnTo>
                    <a:pt x="32" y="32"/>
                  </a:lnTo>
                  <a:lnTo>
                    <a:pt x="32" y="47"/>
                  </a:lnTo>
                  <a:lnTo>
                    <a:pt x="25" y="47"/>
                  </a:lnTo>
                  <a:lnTo>
                    <a:pt x="7" y="57"/>
                  </a:lnTo>
                  <a:lnTo>
                    <a:pt x="0" y="57"/>
                  </a:lnTo>
                  <a:lnTo>
                    <a:pt x="7" y="72"/>
                  </a:lnTo>
                  <a:lnTo>
                    <a:pt x="0" y="88"/>
                  </a:lnTo>
                  <a:lnTo>
                    <a:pt x="0" y="106"/>
                  </a:lnTo>
                  <a:lnTo>
                    <a:pt x="15" y="97"/>
                  </a:lnTo>
                  <a:lnTo>
                    <a:pt x="32" y="97"/>
                  </a:lnTo>
                  <a:lnTo>
                    <a:pt x="57" y="106"/>
                  </a:lnTo>
                  <a:lnTo>
                    <a:pt x="65" y="106"/>
                  </a:lnTo>
                  <a:lnTo>
                    <a:pt x="72" y="106"/>
                  </a:lnTo>
                  <a:lnTo>
                    <a:pt x="81" y="106"/>
                  </a:lnTo>
                  <a:lnTo>
                    <a:pt x="97" y="106"/>
                  </a:lnTo>
                  <a:lnTo>
                    <a:pt x="106" y="88"/>
                  </a:lnTo>
                  <a:lnTo>
                    <a:pt x="112" y="88"/>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6" name="Freeform 222">
              <a:extLst>
                <a:ext uri="{FF2B5EF4-FFF2-40B4-BE49-F238E27FC236}">
                  <a16:creationId xmlns:a16="http://schemas.microsoft.com/office/drawing/2014/main" id="{8FD80180-2213-4740-B298-407B743DFC29}"/>
                </a:ext>
              </a:extLst>
            </p:cNvPr>
            <p:cNvSpPr>
              <a:spLocks/>
            </p:cNvSpPr>
            <p:nvPr/>
          </p:nvSpPr>
          <p:spPr bwMode="auto">
            <a:xfrm>
              <a:off x="6105525" y="3224213"/>
              <a:ext cx="449263" cy="252412"/>
            </a:xfrm>
            <a:custGeom>
              <a:avLst/>
              <a:gdLst>
                <a:gd name="T0" fmla="*/ 2147483647 w 235"/>
                <a:gd name="T1" fmla="*/ 2147483647 h 155"/>
                <a:gd name="T2" fmla="*/ 2147483647 w 235"/>
                <a:gd name="T3" fmla="*/ 2147483647 h 155"/>
                <a:gd name="T4" fmla="*/ 2147483647 w 235"/>
                <a:gd name="T5" fmla="*/ 2147483647 h 155"/>
                <a:gd name="T6" fmla="*/ 2147483647 w 235"/>
                <a:gd name="T7" fmla="*/ 2147483647 h 155"/>
                <a:gd name="T8" fmla="*/ 2147483647 w 235"/>
                <a:gd name="T9" fmla="*/ 2147483647 h 155"/>
                <a:gd name="T10" fmla="*/ 2147483647 w 235"/>
                <a:gd name="T11" fmla="*/ 2147483647 h 155"/>
                <a:gd name="T12" fmla="*/ 2147483647 w 235"/>
                <a:gd name="T13" fmla="*/ 2147483647 h 155"/>
                <a:gd name="T14" fmla="*/ 2147483647 w 235"/>
                <a:gd name="T15" fmla="*/ 2147483647 h 155"/>
                <a:gd name="T16" fmla="*/ 2147483647 w 235"/>
                <a:gd name="T17" fmla="*/ 2147483647 h 155"/>
                <a:gd name="T18" fmla="*/ 2147483647 w 235"/>
                <a:gd name="T19" fmla="*/ 2147483647 h 155"/>
                <a:gd name="T20" fmla="*/ 2147483647 w 235"/>
                <a:gd name="T21" fmla="*/ 2147483647 h 155"/>
                <a:gd name="T22" fmla="*/ 2147483647 w 235"/>
                <a:gd name="T23" fmla="*/ 2147483647 h 155"/>
                <a:gd name="T24" fmla="*/ 2147483647 w 235"/>
                <a:gd name="T25" fmla="*/ 2147483647 h 155"/>
                <a:gd name="T26" fmla="*/ 0 w 235"/>
                <a:gd name="T27" fmla="*/ 2147483647 h 155"/>
                <a:gd name="T28" fmla="*/ 2147483647 w 235"/>
                <a:gd name="T29" fmla="*/ 2147483647 h 155"/>
                <a:gd name="T30" fmla="*/ 2147483647 w 235"/>
                <a:gd name="T31" fmla="*/ 2147483647 h 155"/>
                <a:gd name="T32" fmla="*/ 2147483647 w 235"/>
                <a:gd name="T33" fmla="*/ 2147483647 h 155"/>
                <a:gd name="T34" fmla="*/ 2147483647 w 235"/>
                <a:gd name="T35" fmla="*/ 2147483647 h 155"/>
                <a:gd name="T36" fmla="*/ 2147483647 w 235"/>
                <a:gd name="T37" fmla="*/ 2147483647 h 155"/>
                <a:gd name="T38" fmla="*/ 2147483647 w 235"/>
                <a:gd name="T39" fmla="*/ 2147483647 h 155"/>
                <a:gd name="T40" fmla="*/ 2147483647 w 235"/>
                <a:gd name="T41" fmla="*/ 2147483647 h 155"/>
                <a:gd name="T42" fmla="*/ 2147483647 w 235"/>
                <a:gd name="T43" fmla="*/ 2147483647 h 155"/>
                <a:gd name="T44" fmla="*/ 2147483647 w 235"/>
                <a:gd name="T45" fmla="*/ 2147483647 h 155"/>
                <a:gd name="T46" fmla="*/ 2147483647 w 235"/>
                <a:gd name="T47" fmla="*/ 2147483647 h 155"/>
                <a:gd name="T48" fmla="*/ 2147483647 w 235"/>
                <a:gd name="T49" fmla="*/ 2147483647 h 155"/>
                <a:gd name="T50" fmla="*/ 2147483647 w 235"/>
                <a:gd name="T51" fmla="*/ 0 h 155"/>
                <a:gd name="T52" fmla="*/ 2147483647 w 235"/>
                <a:gd name="T53" fmla="*/ 0 h 155"/>
                <a:gd name="T54" fmla="*/ 2147483647 w 235"/>
                <a:gd name="T55" fmla="*/ 0 h 155"/>
                <a:gd name="T56" fmla="*/ 2147483647 w 235"/>
                <a:gd name="T57" fmla="*/ 2147483647 h 155"/>
                <a:gd name="T58" fmla="*/ 2147483647 w 235"/>
                <a:gd name="T59" fmla="*/ 2147483647 h 155"/>
                <a:gd name="T60" fmla="*/ 2147483647 w 235"/>
                <a:gd name="T61" fmla="*/ 2147483647 h 155"/>
                <a:gd name="T62" fmla="*/ 2147483647 w 235"/>
                <a:gd name="T63" fmla="*/ 2147483647 h 155"/>
                <a:gd name="T64" fmla="*/ 2147483647 w 235"/>
                <a:gd name="T65" fmla="*/ 2147483647 h 155"/>
                <a:gd name="T66" fmla="*/ 2147483647 w 235"/>
                <a:gd name="T67" fmla="*/ 2147483647 h 155"/>
                <a:gd name="T68" fmla="*/ 2147483647 w 235"/>
                <a:gd name="T69" fmla="*/ 2147483647 h 155"/>
                <a:gd name="T70" fmla="*/ 2147483647 w 235"/>
                <a:gd name="T71" fmla="*/ 2147483647 h 155"/>
                <a:gd name="T72" fmla="*/ 2147483647 w 235"/>
                <a:gd name="T73" fmla="*/ 2147483647 h 155"/>
                <a:gd name="T74" fmla="*/ 2147483647 w 235"/>
                <a:gd name="T75" fmla="*/ 2147483647 h 155"/>
                <a:gd name="T76" fmla="*/ 2147483647 w 235"/>
                <a:gd name="T77" fmla="*/ 2147483647 h 155"/>
                <a:gd name="T78" fmla="*/ 2147483647 w 235"/>
                <a:gd name="T79" fmla="*/ 2147483647 h 155"/>
                <a:gd name="T80" fmla="*/ 2147483647 w 235"/>
                <a:gd name="T81" fmla="*/ 2147483647 h 155"/>
                <a:gd name="T82" fmla="*/ 2147483647 w 235"/>
                <a:gd name="T83" fmla="*/ 2147483647 h 155"/>
                <a:gd name="T84" fmla="*/ 2147483647 w 235"/>
                <a:gd name="T85" fmla="*/ 2147483647 h 155"/>
                <a:gd name="T86" fmla="*/ 2147483647 w 235"/>
                <a:gd name="T87" fmla="*/ 2147483647 h 155"/>
                <a:gd name="T88" fmla="*/ 2147483647 w 235"/>
                <a:gd name="T89" fmla="*/ 2147483647 h 155"/>
                <a:gd name="T90" fmla="*/ 2147483647 w 235"/>
                <a:gd name="T91" fmla="*/ 2147483647 h 155"/>
                <a:gd name="T92" fmla="*/ 2147483647 w 235"/>
                <a:gd name="T93" fmla="*/ 2147483647 h 155"/>
                <a:gd name="T94" fmla="*/ 2147483647 w 235"/>
                <a:gd name="T95" fmla="*/ 2147483647 h 155"/>
                <a:gd name="T96" fmla="*/ 2147483647 w 235"/>
                <a:gd name="T97" fmla="*/ 2147483647 h 155"/>
                <a:gd name="T98" fmla="*/ 2147483647 w 235"/>
                <a:gd name="T99" fmla="*/ 2147483647 h 155"/>
                <a:gd name="T100" fmla="*/ 2147483647 w 235"/>
                <a:gd name="T101" fmla="*/ 2147483647 h 155"/>
                <a:gd name="T102" fmla="*/ 2147483647 w 235"/>
                <a:gd name="T103" fmla="*/ 2147483647 h 155"/>
                <a:gd name="T104" fmla="*/ 2147483647 w 235"/>
                <a:gd name="T105" fmla="*/ 2147483647 h 155"/>
                <a:gd name="T106" fmla="*/ 2147483647 w 235"/>
                <a:gd name="T107" fmla="*/ 2147483647 h 155"/>
                <a:gd name="T108" fmla="*/ 2147483647 w 235"/>
                <a:gd name="T109" fmla="*/ 2147483647 h 15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35"/>
                <a:gd name="T166" fmla="*/ 0 h 155"/>
                <a:gd name="T167" fmla="*/ 235 w 235"/>
                <a:gd name="T168" fmla="*/ 155 h 15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35" h="155">
                  <a:moveTo>
                    <a:pt x="97" y="139"/>
                  </a:moveTo>
                  <a:lnTo>
                    <a:pt x="81" y="139"/>
                  </a:lnTo>
                  <a:lnTo>
                    <a:pt x="81" y="130"/>
                  </a:lnTo>
                  <a:lnTo>
                    <a:pt x="88" y="114"/>
                  </a:lnTo>
                  <a:lnTo>
                    <a:pt x="106" y="114"/>
                  </a:lnTo>
                  <a:lnTo>
                    <a:pt x="106" y="106"/>
                  </a:lnTo>
                  <a:lnTo>
                    <a:pt x="97" y="90"/>
                  </a:lnTo>
                  <a:lnTo>
                    <a:pt x="97" y="81"/>
                  </a:lnTo>
                  <a:lnTo>
                    <a:pt x="73" y="74"/>
                  </a:lnTo>
                  <a:lnTo>
                    <a:pt x="56" y="81"/>
                  </a:lnTo>
                  <a:lnTo>
                    <a:pt x="41" y="90"/>
                  </a:lnTo>
                  <a:lnTo>
                    <a:pt x="31" y="90"/>
                  </a:lnTo>
                  <a:lnTo>
                    <a:pt x="7" y="90"/>
                  </a:lnTo>
                  <a:lnTo>
                    <a:pt x="0" y="81"/>
                  </a:lnTo>
                  <a:lnTo>
                    <a:pt x="7" y="66"/>
                  </a:lnTo>
                  <a:lnTo>
                    <a:pt x="16" y="49"/>
                  </a:lnTo>
                  <a:lnTo>
                    <a:pt x="23" y="41"/>
                  </a:lnTo>
                  <a:lnTo>
                    <a:pt x="16" y="18"/>
                  </a:lnTo>
                  <a:lnTo>
                    <a:pt x="31" y="9"/>
                  </a:lnTo>
                  <a:lnTo>
                    <a:pt x="48" y="9"/>
                  </a:lnTo>
                  <a:lnTo>
                    <a:pt x="73" y="18"/>
                  </a:lnTo>
                  <a:lnTo>
                    <a:pt x="81" y="18"/>
                  </a:lnTo>
                  <a:lnTo>
                    <a:pt x="88" y="18"/>
                  </a:lnTo>
                  <a:lnTo>
                    <a:pt x="97" y="18"/>
                  </a:lnTo>
                  <a:lnTo>
                    <a:pt x="113" y="18"/>
                  </a:lnTo>
                  <a:lnTo>
                    <a:pt x="122" y="0"/>
                  </a:lnTo>
                  <a:lnTo>
                    <a:pt x="128" y="0"/>
                  </a:lnTo>
                  <a:lnTo>
                    <a:pt x="153" y="0"/>
                  </a:lnTo>
                  <a:lnTo>
                    <a:pt x="162" y="9"/>
                  </a:lnTo>
                  <a:lnTo>
                    <a:pt x="153" y="9"/>
                  </a:lnTo>
                  <a:lnTo>
                    <a:pt x="162" y="18"/>
                  </a:lnTo>
                  <a:lnTo>
                    <a:pt x="170" y="18"/>
                  </a:lnTo>
                  <a:lnTo>
                    <a:pt x="178" y="33"/>
                  </a:lnTo>
                  <a:lnTo>
                    <a:pt x="187" y="41"/>
                  </a:lnTo>
                  <a:lnTo>
                    <a:pt x="193" y="33"/>
                  </a:lnTo>
                  <a:lnTo>
                    <a:pt x="235" y="58"/>
                  </a:lnTo>
                  <a:lnTo>
                    <a:pt x="227" y="90"/>
                  </a:lnTo>
                  <a:lnTo>
                    <a:pt x="218" y="81"/>
                  </a:lnTo>
                  <a:lnTo>
                    <a:pt x="212" y="90"/>
                  </a:lnTo>
                  <a:lnTo>
                    <a:pt x="212" y="106"/>
                  </a:lnTo>
                  <a:lnTo>
                    <a:pt x="203" y="106"/>
                  </a:lnTo>
                  <a:lnTo>
                    <a:pt x="162" y="130"/>
                  </a:lnTo>
                  <a:lnTo>
                    <a:pt x="178" y="139"/>
                  </a:lnTo>
                  <a:lnTo>
                    <a:pt x="153" y="155"/>
                  </a:lnTo>
                  <a:lnTo>
                    <a:pt x="146" y="155"/>
                  </a:lnTo>
                  <a:lnTo>
                    <a:pt x="146" y="146"/>
                  </a:lnTo>
                  <a:lnTo>
                    <a:pt x="138" y="139"/>
                  </a:lnTo>
                  <a:lnTo>
                    <a:pt x="153" y="130"/>
                  </a:lnTo>
                  <a:lnTo>
                    <a:pt x="128" y="121"/>
                  </a:lnTo>
                  <a:lnTo>
                    <a:pt x="128" y="114"/>
                  </a:lnTo>
                  <a:lnTo>
                    <a:pt x="113" y="114"/>
                  </a:lnTo>
                  <a:lnTo>
                    <a:pt x="106" y="130"/>
                  </a:lnTo>
                  <a:lnTo>
                    <a:pt x="97" y="130"/>
                  </a:lnTo>
                  <a:lnTo>
                    <a:pt x="97" y="139"/>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7" name="Freeform 223">
              <a:extLst>
                <a:ext uri="{FF2B5EF4-FFF2-40B4-BE49-F238E27FC236}">
                  <a16:creationId xmlns:a16="http://schemas.microsoft.com/office/drawing/2014/main" id="{6D5CD4FA-B453-4B69-B6E3-F485D655B61D}"/>
                </a:ext>
              </a:extLst>
            </p:cNvPr>
            <p:cNvSpPr>
              <a:spLocks/>
            </p:cNvSpPr>
            <p:nvPr/>
          </p:nvSpPr>
          <p:spPr bwMode="auto">
            <a:xfrm>
              <a:off x="6086475" y="3014663"/>
              <a:ext cx="176213" cy="93662"/>
            </a:xfrm>
            <a:custGeom>
              <a:avLst/>
              <a:gdLst>
                <a:gd name="T0" fmla="*/ 2147483647 w 91"/>
                <a:gd name="T1" fmla="*/ 0 h 57"/>
                <a:gd name="T2" fmla="*/ 2147483647 w 91"/>
                <a:gd name="T3" fmla="*/ 2147483647 h 57"/>
                <a:gd name="T4" fmla="*/ 2147483647 w 91"/>
                <a:gd name="T5" fmla="*/ 2147483647 h 57"/>
                <a:gd name="T6" fmla="*/ 2147483647 w 91"/>
                <a:gd name="T7" fmla="*/ 2147483647 h 57"/>
                <a:gd name="T8" fmla="*/ 2147483647 w 91"/>
                <a:gd name="T9" fmla="*/ 2147483647 h 57"/>
                <a:gd name="T10" fmla="*/ 0 w 91"/>
                <a:gd name="T11" fmla="*/ 2147483647 h 57"/>
                <a:gd name="T12" fmla="*/ 0 w 91"/>
                <a:gd name="T13" fmla="*/ 2147483647 h 57"/>
                <a:gd name="T14" fmla="*/ 2147483647 w 91"/>
                <a:gd name="T15" fmla="*/ 2147483647 h 57"/>
                <a:gd name="T16" fmla="*/ 2147483647 w 91"/>
                <a:gd name="T17" fmla="*/ 2147483647 h 57"/>
                <a:gd name="T18" fmla="*/ 2147483647 w 91"/>
                <a:gd name="T19" fmla="*/ 2147483647 h 57"/>
                <a:gd name="T20" fmla="*/ 2147483647 w 91"/>
                <a:gd name="T21" fmla="*/ 2147483647 h 57"/>
                <a:gd name="T22" fmla="*/ 2147483647 w 91"/>
                <a:gd name="T23" fmla="*/ 2147483647 h 57"/>
                <a:gd name="T24" fmla="*/ 2147483647 w 91"/>
                <a:gd name="T25" fmla="*/ 2147483647 h 57"/>
                <a:gd name="T26" fmla="*/ 2147483647 w 91"/>
                <a:gd name="T27" fmla="*/ 2147483647 h 57"/>
                <a:gd name="T28" fmla="*/ 2147483647 w 91"/>
                <a:gd name="T29" fmla="*/ 0 h 57"/>
                <a:gd name="T30" fmla="*/ 2147483647 w 91"/>
                <a:gd name="T31" fmla="*/ 0 h 5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1"/>
                <a:gd name="T49" fmla="*/ 0 h 57"/>
                <a:gd name="T50" fmla="*/ 91 w 91"/>
                <a:gd name="T51" fmla="*/ 57 h 5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1" h="57">
                  <a:moveTo>
                    <a:pt x="40" y="0"/>
                  </a:moveTo>
                  <a:lnTo>
                    <a:pt x="40" y="23"/>
                  </a:lnTo>
                  <a:lnTo>
                    <a:pt x="25" y="23"/>
                  </a:lnTo>
                  <a:lnTo>
                    <a:pt x="16" y="7"/>
                  </a:lnTo>
                  <a:lnTo>
                    <a:pt x="9" y="15"/>
                  </a:lnTo>
                  <a:lnTo>
                    <a:pt x="0" y="32"/>
                  </a:lnTo>
                  <a:lnTo>
                    <a:pt x="0" y="47"/>
                  </a:lnTo>
                  <a:lnTo>
                    <a:pt x="9" y="40"/>
                  </a:lnTo>
                  <a:lnTo>
                    <a:pt x="50" y="40"/>
                  </a:lnTo>
                  <a:lnTo>
                    <a:pt x="74" y="56"/>
                  </a:lnTo>
                  <a:lnTo>
                    <a:pt x="90" y="40"/>
                  </a:lnTo>
                  <a:lnTo>
                    <a:pt x="82" y="23"/>
                  </a:lnTo>
                  <a:lnTo>
                    <a:pt x="82" y="7"/>
                  </a:lnTo>
                  <a:lnTo>
                    <a:pt x="65" y="7"/>
                  </a:lnTo>
                  <a:lnTo>
                    <a:pt x="50" y="0"/>
                  </a:lnTo>
                  <a:lnTo>
                    <a:pt x="40"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8" name="Freeform 224">
              <a:extLst>
                <a:ext uri="{FF2B5EF4-FFF2-40B4-BE49-F238E27FC236}">
                  <a16:creationId xmlns:a16="http://schemas.microsoft.com/office/drawing/2014/main" id="{AA67BDF9-8090-4A62-8E19-304F236C2179}"/>
                </a:ext>
              </a:extLst>
            </p:cNvPr>
            <p:cNvSpPr>
              <a:spLocks/>
            </p:cNvSpPr>
            <p:nvPr/>
          </p:nvSpPr>
          <p:spPr bwMode="auto">
            <a:xfrm>
              <a:off x="6086475" y="3078163"/>
              <a:ext cx="144463" cy="95250"/>
            </a:xfrm>
            <a:custGeom>
              <a:avLst/>
              <a:gdLst>
                <a:gd name="T0" fmla="*/ 0 w 75"/>
                <a:gd name="T1" fmla="*/ 2147483647 h 58"/>
                <a:gd name="T2" fmla="*/ 0 w 75"/>
                <a:gd name="T3" fmla="*/ 2147483647 h 58"/>
                <a:gd name="T4" fmla="*/ 0 w 75"/>
                <a:gd name="T5" fmla="*/ 2147483647 h 58"/>
                <a:gd name="T6" fmla="*/ 2147483647 w 75"/>
                <a:gd name="T7" fmla="*/ 0 h 58"/>
                <a:gd name="T8" fmla="*/ 2147483647 w 75"/>
                <a:gd name="T9" fmla="*/ 0 h 58"/>
                <a:gd name="T10" fmla="*/ 2147483647 w 75"/>
                <a:gd name="T11" fmla="*/ 2147483647 h 58"/>
                <a:gd name="T12" fmla="*/ 2147483647 w 75"/>
                <a:gd name="T13" fmla="*/ 2147483647 h 58"/>
                <a:gd name="T14" fmla="*/ 2147483647 w 75"/>
                <a:gd name="T15" fmla="*/ 2147483647 h 58"/>
                <a:gd name="T16" fmla="*/ 2147483647 w 75"/>
                <a:gd name="T17" fmla="*/ 2147483647 h 58"/>
                <a:gd name="T18" fmla="*/ 2147483647 w 75"/>
                <a:gd name="T19" fmla="*/ 2147483647 h 58"/>
                <a:gd name="T20" fmla="*/ 2147483647 w 75"/>
                <a:gd name="T21" fmla="*/ 2147483647 h 58"/>
                <a:gd name="T22" fmla="*/ 2147483647 w 75"/>
                <a:gd name="T23" fmla="*/ 2147483647 h 58"/>
                <a:gd name="T24" fmla="*/ 2147483647 w 75"/>
                <a:gd name="T25" fmla="*/ 2147483647 h 58"/>
                <a:gd name="T26" fmla="*/ 2147483647 w 75"/>
                <a:gd name="T27" fmla="*/ 2147483647 h 58"/>
                <a:gd name="T28" fmla="*/ 0 w 75"/>
                <a:gd name="T29" fmla="*/ 2147483647 h 5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5"/>
                <a:gd name="T46" fmla="*/ 0 h 58"/>
                <a:gd name="T47" fmla="*/ 75 w 75"/>
                <a:gd name="T48" fmla="*/ 58 h 5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5" h="58">
                  <a:moveTo>
                    <a:pt x="0" y="25"/>
                  </a:moveTo>
                  <a:lnTo>
                    <a:pt x="0" y="16"/>
                  </a:lnTo>
                  <a:lnTo>
                    <a:pt x="0" y="7"/>
                  </a:lnTo>
                  <a:lnTo>
                    <a:pt x="9" y="0"/>
                  </a:lnTo>
                  <a:lnTo>
                    <a:pt x="50" y="0"/>
                  </a:lnTo>
                  <a:lnTo>
                    <a:pt x="74" y="16"/>
                  </a:lnTo>
                  <a:lnTo>
                    <a:pt x="74" y="25"/>
                  </a:lnTo>
                  <a:lnTo>
                    <a:pt x="57" y="32"/>
                  </a:lnTo>
                  <a:lnTo>
                    <a:pt x="57" y="47"/>
                  </a:lnTo>
                  <a:lnTo>
                    <a:pt x="50" y="47"/>
                  </a:lnTo>
                  <a:lnTo>
                    <a:pt x="32" y="57"/>
                  </a:lnTo>
                  <a:lnTo>
                    <a:pt x="25" y="57"/>
                  </a:lnTo>
                  <a:lnTo>
                    <a:pt x="16" y="47"/>
                  </a:lnTo>
                  <a:lnTo>
                    <a:pt x="16" y="25"/>
                  </a:lnTo>
                  <a:lnTo>
                    <a:pt x="0" y="25"/>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9" name="Freeform 225">
              <a:extLst>
                <a:ext uri="{FF2B5EF4-FFF2-40B4-BE49-F238E27FC236}">
                  <a16:creationId xmlns:a16="http://schemas.microsoft.com/office/drawing/2014/main" id="{42487655-22BC-40F1-94B1-56D6CC1B84B2}"/>
                </a:ext>
              </a:extLst>
            </p:cNvPr>
            <p:cNvSpPr>
              <a:spLocks/>
            </p:cNvSpPr>
            <p:nvPr/>
          </p:nvSpPr>
          <p:spPr bwMode="auto">
            <a:xfrm>
              <a:off x="6149975" y="2959100"/>
              <a:ext cx="112713" cy="68263"/>
            </a:xfrm>
            <a:custGeom>
              <a:avLst/>
              <a:gdLst>
                <a:gd name="T0" fmla="*/ 2147483647 w 59"/>
                <a:gd name="T1" fmla="*/ 2147483647 h 42"/>
                <a:gd name="T2" fmla="*/ 0 w 59"/>
                <a:gd name="T3" fmla="*/ 2147483647 h 42"/>
                <a:gd name="T4" fmla="*/ 0 w 59"/>
                <a:gd name="T5" fmla="*/ 2147483647 h 42"/>
                <a:gd name="T6" fmla="*/ 2147483647 w 59"/>
                <a:gd name="T7" fmla="*/ 0 h 42"/>
                <a:gd name="T8" fmla="*/ 2147483647 w 59"/>
                <a:gd name="T9" fmla="*/ 0 h 42"/>
                <a:gd name="T10" fmla="*/ 2147483647 w 59"/>
                <a:gd name="T11" fmla="*/ 2147483647 h 42"/>
                <a:gd name="T12" fmla="*/ 2147483647 w 59"/>
                <a:gd name="T13" fmla="*/ 2147483647 h 42"/>
                <a:gd name="T14" fmla="*/ 2147483647 w 59"/>
                <a:gd name="T15" fmla="*/ 2147483647 h 42"/>
                <a:gd name="T16" fmla="*/ 2147483647 w 59"/>
                <a:gd name="T17" fmla="*/ 2147483647 h 42"/>
                <a:gd name="T18" fmla="*/ 2147483647 w 59"/>
                <a:gd name="T19" fmla="*/ 2147483647 h 42"/>
                <a:gd name="T20" fmla="*/ 2147483647 w 59"/>
                <a:gd name="T21" fmla="*/ 2147483647 h 42"/>
                <a:gd name="T22" fmla="*/ 2147483647 w 59"/>
                <a:gd name="T23" fmla="*/ 2147483647 h 4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9"/>
                <a:gd name="T37" fmla="*/ 0 h 42"/>
                <a:gd name="T38" fmla="*/ 59 w 59"/>
                <a:gd name="T39" fmla="*/ 42 h 4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9" h="42">
                  <a:moveTo>
                    <a:pt x="8" y="34"/>
                  </a:moveTo>
                  <a:lnTo>
                    <a:pt x="0" y="24"/>
                  </a:lnTo>
                  <a:lnTo>
                    <a:pt x="0" y="9"/>
                  </a:lnTo>
                  <a:lnTo>
                    <a:pt x="8" y="0"/>
                  </a:lnTo>
                  <a:lnTo>
                    <a:pt x="58" y="0"/>
                  </a:lnTo>
                  <a:lnTo>
                    <a:pt x="50" y="9"/>
                  </a:lnTo>
                  <a:lnTo>
                    <a:pt x="42" y="9"/>
                  </a:lnTo>
                  <a:lnTo>
                    <a:pt x="50" y="34"/>
                  </a:lnTo>
                  <a:lnTo>
                    <a:pt x="50" y="41"/>
                  </a:lnTo>
                  <a:lnTo>
                    <a:pt x="33" y="41"/>
                  </a:lnTo>
                  <a:lnTo>
                    <a:pt x="18" y="34"/>
                  </a:lnTo>
                  <a:lnTo>
                    <a:pt x="8" y="34"/>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0" name="Freeform 226">
              <a:extLst>
                <a:ext uri="{FF2B5EF4-FFF2-40B4-BE49-F238E27FC236}">
                  <a16:creationId xmlns:a16="http://schemas.microsoft.com/office/drawing/2014/main" id="{68AAEC20-2AA1-4E87-BE98-FEEA6265D716}"/>
                </a:ext>
              </a:extLst>
            </p:cNvPr>
            <p:cNvSpPr>
              <a:spLocks/>
            </p:cNvSpPr>
            <p:nvPr/>
          </p:nvSpPr>
          <p:spPr bwMode="auto">
            <a:xfrm>
              <a:off x="6042025" y="3121025"/>
              <a:ext cx="79375" cy="38100"/>
            </a:xfrm>
            <a:custGeom>
              <a:avLst/>
              <a:gdLst>
                <a:gd name="T0" fmla="*/ 2147483647 w 41"/>
                <a:gd name="T1" fmla="*/ 0 h 23"/>
                <a:gd name="T2" fmla="*/ 2147483647 w 41"/>
                <a:gd name="T3" fmla="*/ 2147483647 h 23"/>
                <a:gd name="T4" fmla="*/ 2147483647 w 41"/>
                <a:gd name="T5" fmla="*/ 2147483647 h 23"/>
                <a:gd name="T6" fmla="*/ 0 w 41"/>
                <a:gd name="T7" fmla="*/ 2147483647 h 23"/>
                <a:gd name="T8" fmla="*/ 2147483647 w 41"/>
                <a:gd name="T9" fmla="*/ 2147483647 h 23"/>
                <a:gd name="T10" fmla="*/ 2147483647 w 41"/>
                <a:gd name="T11" fmla="*/ 0 h 23"/>
                <a:gd name="T12" fmla="*/ 2147483647 w 41"/>
                <a:gd name="T13" fmla="*/ 0 h 23"/>
                <a:gd name="T14" fmla="*/ 0 60000 65536"/>
                <a:gd name="T15" fmla="*/ 0 60000 65536"/>
                <a:gd name="T16" fmla="*/ 0 60000 65536"/>
                <a:gd name="T17" fmla="*/ 0 60000 65536"/>
                <a:gd name="T18" fmla="*/ 0 60000 65536"/>
                <a:gd name="T19" fmla="*/ 0 60000 65536"/>
                <a:gd name="T20" fmla="*/ 0 60000 65536"/>
                <a:gd name="T21" fmla="*/ 0 w 41"/>
                <a:gd name="T22" fmla="*/ 0 h 23"/>
                <a:gd name="T23" fmla="*/ 41 w 41"/>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3">
                  <a:moveTo>
                    <a:pt x="40" y="0"/>
                  </a:moveTo>
                  <a:lnTo>
                    <a:pt x="40" y="22"/>
                  </a:lnTo>
                  <a:lnTo>
                    <a:pt x="24" y="22"/>
                  </a:lnTo>
                  <a:lnTo>
                    <a:pt x="0" y="16"/>
                  </a:lnTo>
                  <a:lnTo>
                    <a:pt x="15" y="7"/>
                  </a:lnTo>
                  <a:lnTo>
                    <a:pt x="24" y="0"/>
                  </a:lnTo>
                  <a:lnTo>
                    <a:pt x="40"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1" name="Freeform 227">
              <a:extLst>
                <a:ext uri="{FF2B5EF4-FFF2-40B4-BE49-F238E27FC236}">
                  <a16:creationId xmlns:a16="http://schemas.microsoft.com/office/drawing/2014/main" id="{8316460B-84AA-42E8-BFA2-9C3371BEBD47}"/>
                </a:ext>
              </a:extLst>
            </p:cNvPr>
            <p:cNvSpPr>
              <a:spLocks/>
            </p:cNvSpPr>
            <p:nvPr/>
          </p:nvSpPr>
          <p:spPr bwMode="auto">
            <a:xfrm>
              <a:off x="6540500" y="3502025"/>
              <a:ext cx="169863" cy="53975"/>
            </a:xfrm>
            <a:custGeom>
              <a:avLst/>
              <a:gdLst>
                <a:gd name="T0" fmla="*/ 2147483647 w 89"/>
                <a:gd name="T1" fmla="*/ 2147483647 h 33"/>
                <a:gd name="T2" fmla="*/ 2147483647 w 89"/>
                <a:gd name="T3" fmla="*/ 2147483647 h 33"/>
                <a:gd name="T4" fmla="*/ 2147483647 w 89"/>
                <a:gd name="T5" fmla="*/ 2147483647 h 33"/>
                <a:gd name="T6" fmla="*/ 0 w 89"/>
                <a:gd name="T7" fmla="*/ 0 h 33"/>
                <a:gd name="T8" fmla="*/ 2147483647 w 89"/>
                <a:gd name="T9" fmla="*/ 0 h 33"/>
                <a:gd name="T10" fmla="*/ 2147483647 w 89"/>
                <a:gd name="T11" fmla="*/ 2147483647 h 33"/>
                <a:gd name="T12" fmla="*/ 2147483647 w 89"/>
                <a:gd name="T13" fmla="*/ 2147483647 h 33"/>
                <a:gd name="T14" fmla="*/ 2147483647 w 89"/>
                <a:gd name="T15" fmla="*/ 2147483647 h 33"/>
                <a:gd name="T16" fmla="*/ 2147483647 w 89"/>
                <a:gd name="T17" fmla="*/ 2147483647 h 33"/>
                <a:gd name="T18" fmla="*/ 2147483647 w 89"/>
                <a:gd name="T19" fmla="*/ 2147483647 h 33"/>
                <a:gd name="T20" fmla="*/ 2147483647 w 89"/>
                <a:gd name="T21" fmla="*/ 2147483647 h 33"/>
                <a:gd name="T22" fmla="*/ 2147483647 w 89"/>
                <a:gd name="T23" fmla="*/ 2147483647 h 33"/>
                <a:gd name="T24" fmla="*/ 2147483647 w 89"/>
                <a:gd name="T25" fmla="*/ 2147483647 h 33"/>
                <a:gd name="T26" fmla="*/ 2147483647 w 89"/>
                <a:gd name="T27" fmla="*/ 2147483647 h 3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9"/>
                <a:gd name="T43" fmla="*/ 0 h 33"/>
                <a:gd name="T44" fmla="*/ 89 w 89"/>
                <a:gd name="T45" fmla="*/ 33 h 3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9" h="33">
                  <a:moveTo>
                    <a:pt x="25" y="32"/>
                  </a:moveTo>
                  <a:lnTo>
                    <a:pt x="25" y="24"/>
                  </a:lnTo>
                  <a:lnTo>
                    <a:pt x="25" y="15"/>
                  </a:lnTo>
                  <a:lnTo>
                    <a:pt x="0" y="0"/>
                  </a:lnTo>
                  <a:lnTo>
                    <a:pt x="40" y="0"/>
                  </a:lnTo>
                  <a:lnTo>
                    <a:pt x="57" y="9"/>
                  </a:lnTo>
                  <a:lnTo>
                    <a:pt x="72" y="9"/>
                  </a:lnTo>
                  <a:lnTo>
                    <a:pt x="88" y="24"/>
                  </a:lnTo>
                  <a:lnTo>
                    <a:pt x="81" y="24"/>
                  </a:lnTo>
                  <a:lnTo>
                    <a:pt x="88" y="32"/>
                  </a:lnTo>
                  <a:lnTo>
                    <a:pt x="72" y="32"/>
                  </a:lnTo>
                  <a:lnTo>
                    <a:pt x="65" y="32"/>
                  </a:lnTo>
                  <a:lnTo>
                    <a:pt x="48" y="32"/>
                  </a:lnTo>
                  <a:lnTo>
                    <a:pt x="25" y="32"/>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2" name="Freeform 228">
              <a:extLst>
                <a:ext uri="{FF2B5EF4-FFF2-40B4-BE49-F238E27FC236}">
                  <a16:creationId xmlns:a16="http://schemas.microsoft.com/office/drawing/2014/main" id="{9EAE629E-0578-4330-BD9F-30431B70A3A1}"/>
                </a:ext>
              </a:extLst>
            </p:cNvPr>
            <p:cNvSpPr>
              <a:spLocks/>
            </p:cNvSpPr>
            <p:nvPr/>
          </p:nvSpPr>
          <p:spPr bwMode="auto">
            <a:xfrm>
              <a:off x="6632575" y="3554413"/>
              <a:ext cx="77788" cy="65087"/>
            </a:xfrm>
            <a:custGeom>
              <a:avLst/>
              <a:gdLst>
                <a:gd name="T0" fmla="*/ 2147483647 w 41"/>
                <a:gd name="T1" fmla="*/ 2147483647 h 41"/>
                <a:gd name="T2" fmla="*/ 2147483647 w 41"/>
                <a:gd name="T3" fmla="*/ 2147483647 h 41"/>
                <a:gd name="T4" fmla="*/ 2147483647 w 41"/>
                <a:gd name="T5" fmla="*/ 2147483647 h 41"/>
                <a:gd name="T6" fmla="*/ 2147483647 w 41"/>
                <a:gd name="T7" fmla="*/ 2147483647 h 41"/>
                <a:gd name="T8" fmla="*/ 2147483647 w 41"/>
                <a:gd name="T9" fmla="*/ 0 h 41"/>
                <a:gd name="T10" fmla="*/ 0 w 41"/>
                <a:gd name="T11" fmla="*/ 0 h 41"/>
                <a:gd name="T12" fmla="*/ 2147483647 w 41"/>
                <a:gd name="T13" fmla="*/ 2147483647 h 41"/>
                <a:gd name="T14" fmla="*/ 2147483647 w 41"/>
                <a:gd name="T15" fmla="*/ 2147483647 h 41"/>
                <a:gd name="T16" fmla="*/ 2147483647 w 41"/>
                <a:gd name="T17" fmla="*/ 2147483647 h 41"/>
                <a:gd name="T18" fmla="*/ 2147483647 w 41"/>
                <a:gd name="T19" fmla="*/ 2147483647 h 41"/>
                <a:gd name="T20" fmla="*/ 2147483647 w 41"/>
                <a:gd name="T21" fmla="*/ 2147483647 h 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1"/>
                <a:gd name="T34" fmla="*/ 0 h 41"/>
                <a:gd name="T35" fmla="*/ 41 w 41"/>
                <a:gd name="T36" fmla="*/ 41 h 4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1" h="41">
                  <a:moveTo>
                    <a:pt x="40" y="40"/>
                  </a:moveTo>
                  <a:lnTo>
                    <a:pt x="40" y="33"/>
                  </a:lnTo>
                  <a:lnTo>
                    <a:pt x="33" y="24"/>
                  </a:lnTo>
                  <a:lnTo>
                    <a:pt x="33" y="17"/>
                  </a:lnTo>
                  <a:lnTo>
                    <a:pt x="17" y="0"/>
                  </a:lnTo>
                  <a:lnTo>
                    <a:pt x="0" y="0"/>
                  </a:lnTo>
                  <a:lnTo>
                    <a:pt x="9" y="24"/>
                  </a:lnTo>
                  <a:lnTo>
                    <a:pt x="17" y="24"/>
                  </a:lnTo>
                  <a:lnTo>
                    <a:pt x="33" y="33"/>
                  </a:lnTo>
                  <a:lnTo>
                    <a:pt x="33" y="40"/>
                  </a:lnTo>
                  <a:lnTo>
                    <a:pt x="40" y="4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3" name="Freeform 229">
              <a:extLst>
                <a:ext uri="{FF2B5EF4-FFF2-40B4-BE49-F238E27FC236}">
                  <a16:creationId xmlns:a16="http://schemas.microsoft.com/office/drawing/2014/main" id="{C137D173-AFF0-4F1A-B07F-1BEE40EFA7B9}"/>
                </a:ext>
              </a:extLst>
            </p:cNvPr>
            <p:cNvSpPr>
              <a:spLocks/>
            </p:cNvSpPr>
            <p:nvPr/>
          </p:nvSpPr>
          <p:spPr bwMode="auto">
            <a:xfrm>
              <a:off x="6664325" y="3592513"/>
              <a:ext cx="33338" cy="26987"/>
            </a:xfrm>
            <a:custGeom>
              <a:avLst/>
              <a:gdLst>
                <a:gd name="T0" fmla="*/ 2147483647 w 17"/>
                <a:gd name="T1" fmla="*/ 2147483647 h 17"/>
                <a:gd name="T2" fmla="*/ 2147483647 w 17"/>
                <a:gd name="T3" fmla="*/ 2147483647 h 17"/>
                <a:gd name="T4" fmla="*/ 0 w 17"/>
                <a:gd name="T5" fmla="*/ 0 h 17"/>
                <a:gd name="T6" fmla="*/ 2147483647 w 17"/>
                <a:gd name="T7" fmla="*/ 2147483647 h 17"/>
                <a:gd name="T8" fmla="*/ 2147483647 w 17"/>
                <a:gd name="T9" fmla="*/ 2147483647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16" y="16"/>
                  </a:moveTo>
                  <a:lnTo>
                    <a:pt x="7" y="16"/>
                  </a:lnTo>
                  <a:lnTo>
                    <a:pt x="0" y="0"/>
                  </a:lnTo>
                  <a:lnTo>
                    <a:pt x="16" y="9"/>
                  </a:lnTo>
                  <a:lnTo>
                    <a:pt x="16" y="16"/>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4" name="Freeform 230">
              <a:extLst>
                <a:ext uri="{FF2B5EF4-FFF2-40B4-BE49-F238E27FC236}">
                  <a16:creationId xmlns:a16="http://schemas.microsoft.com/office/drawing/2014/main" id="{858B74E3-4C9E-4773-AFA0-8BF7D1148161}"/>
                </a:ext>
              </a:extLst>
            </p:cNvPr>
            <p:cNvSpPr>
              <a:spLocks/>
            </p:cNvSpPr>
            <p:nvPr/>
          </p:nvSpPr>
          <p:spPr bwMode="auto">
            <a:xfrm>
              <a:off x="6664325" y="3541713"/>
              <a:ext cx="138113" cy="93662"/>
            </a:xfrm>
            <a:custGeom>
              <a:avLst/>
              <a:gdLst>
                <a:gd name="T0" fmla="*/ 2147483647 w 73"/>
                <a:gd name="T1" fmla="*/ 2147483647 h 58"/>
                <a:gd name="T2" fmla="*/ 2147483647 w 73"/>
                <a:gd name="T3" fmla="*/ 2147483647 h 58"/>
                <a:gd name="T4" fmla="*/ 2147483647 w 73"/>
                <a:gd name="T5" fmla="*/ 2147483647 h 58"/>
                <a:gd name="T6" fmla="*/ 2147483647 w 73"/>
                <a:gd name="T7" fmla="*/ 2147483647 h 58"/>
                <a:gd name="T8" fmla="*/ 2147483647 w 73"/>
                <a:gd name="T9" fmla="*/ 2147483647 h 58"/>
                <a:gd name="T10" fmla="*/ 2147483647 w 73"/>
                <a:gd name="T11" fmla="*/ 2147483647 h 58"/>
                <a:gd name="T12" fmla="*/ 2147483647 w 73"/>
                <a:gd name="T13" fmla="*/ 2147483647 h 58"/>
                <a:gd name="T14" fmla="*/ 2147483647 w 73"/>
                <a:gd name="T15" fmla="*/ 2147483647 h 58"/>
                <a:gd name="T16" fmla="*/ 2147483647 w 73"/>
                <a:gd name="T17" fmla="*/ 2147483647 h 58"/>
                <a:gd name="T18" fmla="*/ 2147483647 w 73"/>
                <a:gd name="T19" fmla="*/ 2147483647 h 58"/>
                <a:gd name="T20" fmla="*/ 2147483647 w 73"/>
                <a:gd name="T21" fmla="*/ 0 h 58"/>
                <a:gd name="T22" fmla="*/ 2147483647 w 73"/>
                <a:gd name="T23" fmla="*/ 2147483647 h 58"/>
                <a:gd name="T24" fmla="*/ 2147483647 w 73"/>
                <a:gd name="T25" fmla="*/ 2147483647 h 58"/>
                <a:gd name="T26" fmla="*/ 2147483647 w 73"/>
                <a:gd name="T27" fmla="*/ 0 h 58"/>
                <a:gd name="T28" fmla="*/ 2147483647 w 73"/>
                <a:gd name="T29" fmla="*/ 0 h 58"/>
                <a:gd name="T30" fmla="*/ 2147483647 w 73"/>
                <a:gd name="T31" fmla="*/ 2147483647 h 58"/>
                <a:gd name="T32" fmla="*/ 2147483647 w 73"/>
                <a:gd name="T33" fmla="*/ 2147483647 h 58"/>
                <a:gd name="T34" fmla="*/ 0 w 73"/>
                <a:gd name="T35" fmla="*/ 2147483647 h 58"/>
                <a:gd name="T36" fmla="*/ 2147483647 w 73"/>
                <a:gd name="T37" fmla="*/ 2147483647 h 58"/>
                <a:gd name="T38" fmla="*/ 2147483647 w 73"/>
                <a:gd name="T39" fmla="*/ 2147483647 h 58"/>
                <a:gd name="T40" fmla="*/ 2147483647 w 73"/>
                <a:gd name="T41" fmla="*/ 2147483647 h 58"/>
                <a:gd name="T42" fmla="*/ 2147483647 w 73"/>
                <a:gd name="T43" fmla="*/ 2147483647 h 5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3"/>
                <a:gd name="T67" fmla="*/ 0 h 58"/>
                <a:gd name="T68" fmla="*/ 73 w 73"/>
                <a:gd name="T69" fmla="*/ 58 h 5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3" h="58">
                  <a:moveTo>
                    <a:pt x="23" y="48"/>
                  </a:moveTo>
                  <a:lnTo>
                    <a:pt x="40" y="41"/>
                  </a:lnTo>
                  <a:lnTo>
                    <a:pt x="48" y="41"/>
                  </a:lnTo>
                  <a:lnTo>
                    <a:pt x="40" y="48"/>
                  </a:lnTo>
                  <a:lnTo>
                    <a:pt x="57" y="57"/>
                  </a:lnTo>
                  <a:lnTo>
                    <a:pt x="48" y="48"/>
                  </a:lnTo>
                  <a:lnTo>
                    <a:pt x="57" y="48"/>
                  </a:lnTo>
                  <a:lnTo>
                    <a:pt x="57" y="32"/>
                  </a:lnTo>
                  <a:lnTo>
                    <a:pt x="72" y="25"/>
                  </a:lnTo>
                  <a:lnTo>
                    <a:pt x="57" y="16"/>
                  </a:lnTo>
                  <a:lnTo>
                    <a:pt x="48" y="0"/>
                  </a:lnTo>
                  <a:lnTo>
                    <a:pt x="40" y="8"/>
                  </a:lnTo>
                  <a:lnTo>
                    <a:pt x="32" y="8"/>
                  </a:lnTo>
                  <a:lnTo>
                    <a:pt x="23" y="0"/>
                  </a:lnTo>
                  <a:lnTo>
                    <a:pt x="16" y="0"/>
                  </a:lnTo>
                  <a:lnTo>
                    <a:pt x="23" y="8"/>
                  </a:lnTo>
                  <a:lnTo>
                    <a:pt x="7" y="8"/>
                  </a:lnTo>
                  <a:lnTo>
                    <a:pt x="0" y="8"/>
                  </a:lnTo>
                  <a:lnTo>
                    <a:pt x="16" y="25"/>
                  </a:lnTo>
                  <a:lnTo>
                    <a:pt x="16" y="32"/>
                  </a:lnTo>
                  <a:lnTo>
                    <a:pt x="23" y="41"/>
                  </a:lnTo>
                  <a:lnTo>
                    <a:pt x="23" y="48"/>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5" name="Freeform 231">
              <a:extLst>
                <a:ext uri="{FF2B5EF4-FFF2-40B4-BE49-F238E27FC236}">
                  <a16:creationId xmlns:a16="http://schemas.microsoft.com/office/drawing/2014/main" id="{BAED1ABC-123A-469E-A8AF-182009724CEA}"/>
                </a:ext>
              </a:extLst>
            </p:cNvPr>
            <p:cNvSpPr>
              <a:spLocks/>
            </p:cNvSpPr>
            <p:nvPr/>
          </p:nvSpPr>
          <p:spPr bwMode="auto">
            <a:xfrm>
              <a:off x="5838825" y="2498725"/>
              <a:ext cx="312738" cy="622300"/>
            </a:xfrm>
            <a:custGeom>
              <a:avLst/>
              <a:gdLst>
                <a:gd name="T0" fmla="*/ 0 w 163"/>
                <a:gd name="T1" fmla="*/ 2147483647 h 383"/>
                <a:gd name="T2" fmla="*/ 2147483647 w 163"/>
                <a:gd name="T3" fmla="*/ 2147483647 h 383"/>
                <a:gd name="T4" fmla="*/ 2147483647 w 163"/>
                <a:gd name="T5" fmla="*/ 2147483647 h 383"/>
                <a:gd name="T6" fmla="*/ 2147483647 w 163"/>
                <a:gd name="T7" fmla="*/ 2147483647 h 383"/>
                <a:gd name="T8" fmla="*/ 2147483647 w 163"/>
                <a:gd name="T9" fmla="*/ 2147483647 h 383"/>
                <a:gd name="T10" fmla="*/ 2147483647 w 163"/>
                <a:gd name="T11" fmla="*/ 2147483647 h 383"/>
                <a:gd name="T12" fmla="*/ 2147483647 w 163"/>
                <a:gd name="T13" fmla="*/ 2147483647 h 383"/>
                <a:gd name="T14" fmla="*/ 2147483647 w 163"/>
                <a:gd name="T15" fmla="*/ 2147483647 h 383"/>
                <a:gd name="T16" fmla="*/ 2147483647 w 163"/>
                <a:gd name="T17" fmla="*/ 2147483647 h 383"/>
                <a:gd name="T18" fmla="*/ 2147483647 w 163"/>
                <a:gd name="T19" fmla="*/ 2147483647 h 383"/>
                <a:gd name="T20" fmla="*/ 2147483647 w 163"/>
                <a:gd name="T21" fmla="*/ 2147483647 h 383"/>
                <a:gd name="T22" fmla="*/ 2147483647 w 163"/>
                <a:gd name="T23" fmla="*/ 2147483647 h 383"/>
                <a:gd name="T24" fmla="*/ 2147483647 w 163"/>
                <a:gd name="T25" fmla="*/ 2147483647 h 383"/>
                <a:gd name="T26" fmla="*/ 2147483647 w 163"/>
                <a:gd name="T27" fmla="*/ 2147483647 h 383"/>
                <a:gd name="T28" fmla="*/ 2147483647 w 163"/>
                <a:gd name="T29" fmla="*/ 2147483647 h 383"/>
                <a:gd name="T30" fmla="*/ 2147483647 w 163"/>
                <a:gd name="T31" fmla="*/ 2147483647 h 383"/>
                <a:gd name="T32" fmla="*/ 2147483647 w 163"/>
                <a:gd name="T33" fmla="*/ 2147483647 h 383"/>
                <a:gd name="T34" fmla="*/ 2147483647 w 163"/>
                <a:gd name="T35" fmla="*/ 2147483647 h 383"/>
                <a:gd name="T36" fmla="*/ 2147483647 w 163"/>
                <a:gd name="T37" fmla="*/ 2147483647 h 383"/>
                <a:gd name="T38" fmla="*/ 2147483647 w 163"/>
                <a:gd name="T39" fmla="*/ 2147483647 h 383"/>
                <a:gd name="T40" fmla="*/ 2147483647 w 163"/>
                <a:gd name="T41" fmla="*/ 2147483647 h 383"/>
                <a:gd name="T42" fmla="*/ 2147483647 w 163"/>
                <a:gd name="T43" fmla="*/ 0 h 383"/>
                <a:gd name="T44" fmla="*/ 2147483647 w 163"/>
                <a:gd name="T45" fmla="*/ 0 h 383"/>
                <a:gd name="T46" fmla="*/ 2147483647 w 163"/>
                <a:gd name="T47" fmla="*/ 2147483647 h 383"/>
                <a:gd name="T48" fmla="*/ 2147483647 w 163"/>
                <a:gd name="T49" fmla="*/ 2147483647 h 383"/>
                <a:gd name="T50" fmla="*/ 2147483647 w 163"/>
                <a:gd name="T51" fmla="*/ 2147483647 h 383"/>
                <a:gd name="T52" fmla="*/ 2147483647 w 163"/>
                <a:gd name="T53" fmla="*/ 2147483647 h 383"/>
                <a:gd name="T54" fmla="*/ 2147483647 w 163"/>
                <a:gd name="T55" fmla="*/ 2147483647 h 383"/>
                <a:gd name="T56" fmla="*/ 2147483647 w 163"/>
                <a:gd name="T57" fmla="*/ 2147483647 h 383"/>
                <a:gd name="T58" fmla="*/ 2147483647 w 163"/>
                <a:gd name="T59" fmla="*/ 2147483647 h 383"/>
                <a:gd name="T60" fmla="*/ 2147483647 w 163"/>
                <a:gd name="T61" fmla="*/ 2147483647 h 383"/>
                <a:gd name="T62" fmla="*/ 2147483647 w 163"/>
                <a:gd name="T63" fmla="*/ 2147483647 h 383"/>
                <a:gd name="T64" fmla="*/ 2147483647 w 163"/>
                <a:gd name="T65" fmla="*/ 2147483647 h 383"/>
                <a:gd name="T66" fmla="*/ 2147483647 w 163"/>
                <a:gd name="T67" fmla="*/ 2147483647 h 383"/>
                <a:gd name="T68" fmla="*/ 2147483647 w 163"/>
                <a:gd name="T69" fmla="*/ 2147483647 h 383"/>
                <a:gd name="T70" fmla="*/ 2147483647 w 163"/>
                <a:gd name="T71" fmla="*/ 2147483647 h 383"/>
                <a:gd name="T72" fmla="*/ 2147483647 w 163"/>
                <a:gd name="T73" fmla="*/ 2147483647 h 383"/>
                <a:gd name="T74" fmla="*/ 2147483647 w 163"/>
                <a:gd name="T75" fmla="*/ 2147483647 h 383"/>
                <a:gd name="T76" fmla="*/ 2147483647 w 163"/>
                <a:gd name="T77" fmla="*/ 2147483647 h 383"/>
                <a:gd name="T78" fmla="*/ 2147483647 w 163"/>
                <a:gd name="T79" fmla="*/ 2147483647 h 383"/>
                <a:gd name="T80" fmla="*/ 2147483647 w 163"/>
                <a:gd name="T81" fmla="*/ 2147483647 h 383"/>
                <a:gd name="T82" fmla="*/ 2147483647 w 163"/>
                <a:gd name="T83" fmla="*/ 2147483647 h 383"/>
                <a:gd name="T84" fmla="*/ 2147483647 w 163"/>
                <a:gd name="T85" fmla="*/ 2147483647 h 383"/>
                <a:gd name="T86" fmla="*/ 2147483647 w 163"/>
                <a:gd name="T87" fmla="*/ 2147483647 h 383"/>
                <a:gd name="T88" fmla="*/ 2147483647 w 163"/>
                <a:gd name="T89" fmla="*/ 2147483647 h 383"/>
                <a:gd name="T90" fmla="*/ 2147483647 w 163"/>
                <a:gd name="T91" fmla="*/ 2147483647 h 383"/>
                <a:gd name="T92" fmla="*/ 0 w 163"/>
                <a:gd name="T93" fmla="*/ 2147483647 h 38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3"/>
                <a:gd name="T142" fmla="*/ 0 h 383"/>
                <a:gd name="T143" fmla="*/ 163 w 163"/>
                <a:gd name="T144" fmla="*/ 383 h 38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3" h="383">
                  <a:moveTo>
                    <a:pt x="0" y="299"/>
                  </a:moveTo>
                  <a:lnTo>
                    <a:pt x="9" y="299"/>
                  </a:lnTo>
                  <a:lnTo>
                    <a:pt x="9" y="276"/>
                  </a:lnTo>
                  <a:lnTo>
                    <a:pt x="18" y="267"/>
                  </a:lnTo>
                  <a:lnTo>
                    <a:pt x="18" y="243"/>
                  </a:lnTo>
                  <a:lnTo>
                    <a:pt x="18" y="236"/>
                  </a:lnTo>
                  <a:lnTo>
                    <a:pt x="9" y="202"/>
                  </a:lnTo>
                  <a:lnTo>
                    <a:pt x="18" y="170"/>
                  </a:lnTo>
                  <a:lnTo>
                    <a:pt x="25" y="162"/>
                  </a:lnTo>
                  <a:lnTo>
                    <a:pt x="41" y="155"/>
                  </a:lnTo>
                  <a:lnTo>
                    <a:pt x="33" y="137"/>
                  </a:lnTo>
                  <a:lnTo>
                    <a:pt x="41" y="122"/>
                  </a:lnTo>
                  <a:lnTo>
                    <a:pt x="50" y="97"/>
                  </a:lnTo>
                  <a:lnTo>
                    <a:pt x="65" y="73"/>
                  </a:lnTo>
                  <a:lnTo>
                    <a:pt x="65" y="56"/>
                  </a:lnTo>
                  <a:lnTo>
                    <a:pt x="75" y="41"/>
                  </a:lnTo>
                  <a:lnTo>
                    <a:pt x="81" y="31"/>
                  </a:lnTo>
                  <a:lnTo>
                    <a:pt x="90" y="31"/>
                  </a:lnTo>
                  <a:lnTo>
                    <a:pt x="90" y="16"/>
                  </a:lnTo>
                  <a:lnTo>
                    <a:pt x="98" y="16"/>
                  </a:lnTo>
                  <a:lnTo>
                    <a:pt x="115" y="16"/>
                  </a:lnTo>
                  <a:lnTo>
                    <a:pt x="115" y="0"/>
                  </a:lnTo>
                  <a:lnTo>
                    <a:pt x="121" y="0"/>
                  </a:lnTo>
                  <a:lnTo>
                    <a:pt x="155" y="31"/>
                  </a:lnTo>
                  <a:lnTo>
                    <a:pt x="162" y="105"/>
                  </a:lnTo>
                  <a:lnTo>
                    <a:pt x="146" y="105"/>
                  </a:lnTo>
                  <a:lnTo>
                    <a:pt x="130" y="122"/>
                  </a:lnTo>
                  <a:lnTo>
                    <a:pt x="130" y="130"/>
                  </a:lnTo>
                  <a:lnTo>
                    <a:pt x="130" y="137"/>
                  </a:lnTo>
                  <a:lnTo>
                    <a:pt x="139" y="146"/>
                  </a:lnTo>
                  <a:lnTo>
                    <a:pt x="121" y="162"/>
                  </a:lnTo>
                  <a:lnTo>
                    <a:pt x="98" y="187"/>
                  </a:lnTo>
                  <a:lnTo>
                    <a:pt x="81" y="212"/>
                  </a:lnTo>
                  <a:lnTo>
                    <a:pt x="81" y="252"/>
                  </a:lnTo>
                  <a:lnTo>
                    <a:pt x="98" y="276"/>
                  </a:lnTo>
                  <a:lnTo>
                    <a:pt x="90" y="283"/>
                  </a:lnTo>
                  <a:lnTo>
                    <a:pt x="90" y="292"/>
                  </a:lnTo>
                  <a:lnTo>
                    <a:pt x="75" y="307"/>
                  </a:lnTo>
                  <a:lnTo>
                    <a:pt x="65" y="364"/>
                  </a:lnTo>
                  <a:lnTo>
                    <a:pt x="50" y="364"/>
                  </a:lnTo>
                  <a:lnTo>
                    <a:pt x="41" y="373"/>
                  </a:lnTo>
                  <a:lnTo>
                    <a:pt x="41" y="382"/>
                  </a:lnTo>
                  <a:lnTo>
                    <a:pt x="25" y="382"/>
                  </a:lnTo>
                  <a:lnTo>
                    <a:pt x="18" y="364"/>
                  </a:lnTo>
                  <a:lnTo>
                    <a:pt x="25" y="357"/>
                  </a:lnTo>
                  <a:lnTo>
                    <a:pt x="18" y="349"/>
                  </a:lnTo>
                  <a:lnTo>
                    <a:pt x="0" y="299"/>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6" name="Freeform 232">
              <a:extLst>
                <a:ext uri="{FF2B5EF4-FFF2-40B4-BE49-F238E27FC236}">
                  <a16:creationId xmlns:a16="http://schemas.microsoft.com/office/drawing/2014/main" id="{87BF06D3-2CDC-464B-B26B-5C4F1395C27F}"/>
                </a:ext>
              </a:extLst>
            </p:cNvPr>
            <p:cNvSpPr>
              <a:spLocks/>
            </p:cNvSpPr>
            <p:nvPr/>
          </p:nvSpPr>
          <p:spPr bwMode="auto">
            <a:xfrm>
              <a:off x="5373688" y="3121025"/>
              <a:ext cx="65087" cy="52388"/>
            </a:xfrm>
            <a:custGeom>
              <a:avLst/>
              <a:gdLst>
                <a:gd name="T0" fmla="*/ 2147483647 w 35"/>
                <a:gd name="T1" fmla="*/ 2147483647 h 33"/>
                <a:gd name="T2" fmla="*/ 2147483647 w 35"/>
                <a:gd name="T3" fmla="*/ 2147483647 h 33"/>
                <a:gd name="T4" fmla="*/ 2147483647 w 35"/>
                <a:gd name="T5" fmla="*/ 2147483647 h 33"/>
                <a:gd name="T6" fmla="*/ 0 w 35"/>
                <a:gd name="T7" fmla="*/ 2147483647 h 33"/>
                <a:gd name="T8" fmla="*/ 2147483647 w 35"/>
                <a:gd name="T9" fmla="*/ 0 h 33"/>
                <a:gd name="T10" fmla="*/ 2147483647 w 35"/>
                <a:gd name="T11" fmla="*/ 2147483647 h 33"/>
                <a:gd name="T12" fmla="*/ 2147483647 w 35"/>
                <a:gd name="T13" fmla="*/ 2147483647 h 33"/>
                <a:gd name="T14" fmla="*/ 2147483647 w 35"/>
                <a:gd name="T15" fmla="*/ 2147483647 h 33"/>
                <a:gd name="T16" fmla="*/ 0 60000 65536"/>
                <a:gd name="T17" fmla="*/ 0 60000 65536"/>
                <a:gd name="T18" fmla="*/ 0 60000 65536"/>
                <a:gd name="T19" fmla="*/ 0 60000 65536"/>
                <a:gd name="T20" fmla="*/ 0 60000 65536"/>
                <a:gd name="T21" fmla="*/ 0 60000 65536"/>
                <a:gd name="T22" fmla="*/ 0 60000 65536"/>
                <a:gd name="T23" fmla="*/ 0 60000 65536"/>
                <a:gd name="T24" fmla="*/ 0 w 35"/>
                <a:gd name="T25" fmla="*/ 0 h 33"/>
                <a:gd name="T26" fmla="*/ 35 w 35"/>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 h="33">
                  <a:moveTo>
                    <a:pt x="25" y="32"/>
                  </a:moveTo>
                  <a:lnTo>
                    <a:pt x="25" y="22"/>
                  </a:lnTo>
                  <a:lnTo>
                    <a:pt x="9" y="22"/>
                  </a:lnTo>
                  <a:lnTo>
                    <a:pt x="0" y="16"/>
                  </a:lnTo>
                  <a:lnTo>
                    <a:pt x="9" y="0"/>
                  </a:lnTo>
                  <a:lnTo>
                    <a:pt x="25" y="7"/>
                  </a:lnTo>
                  <a:lnTo>
                    <a:pt x="34" y="22"/>
                  </a:lnTo>
                  <a:lnTo>
                    <a:pt x="25" y="32"/>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7" name="Freeform 233">
              <a:extLst>
                <a:ext uri="{FF2B5EF4-FFF2-40B4-BE49-F238E27FC236}">
                  <a16:creationId xmlns:a16="http://schemas.microsoft.com/office/drawing/2014/main" id="{DBF6E75E-1B89-4506-9C0A-BCF048013C19}"/>
                </a:ext>
              </a:extLst>
            </p:cNvPr>
            <p:cNvSpPr>
              <a:spLocks/>
            </p:cNvSpPr>
            <p:nvPr/>
          </p:nvSpPr>
          <p:spPr bwMode="auto">
            <a:xfrm>
              <a:off x="5310188" y="3121025"/>
              <a:ext cx="112712" cy="133350"/>
            </a:xfrm>
            <a:custGeom>
              <a:avLst/>
              <a:gdLst>
                <a:gd name="T0" fmla="*/ 2147483647 w 59"/>
                <a:gd name="T1" fmla="*/ 0 h 82"/>
                <a:gd name="T2" fmla="*/ 2147483647 w 59"/>
                <a:gd name="T3" fmla="*/ 2147483647 h 82"/>
                <a:gd name="T4" fmla="*/ 2147483647 w 59"/>
                <a:gd name="T5" fmla="*/ 2147483647 h 82"/>
                <a:gd name="T6" fmla="*/ 2147483647 w 59"/>
                <a:gd name="T7" fmla="*/ 2147483647 h 82"/>
                <a:gd name="T8" fmla="*/ 2147483647 w 59"/>
                <a:gd name="T9" fmla="*/ 2147483647 h 82"/>
                <a:gd name="T10" fmla="*/ 2147483647 w 59"/>
                <a:gd name="T11" fmla="*/ 2147483647 h 82"/>
                <a:gd name="T12" fmla="*/ 2147483647 w 59"/>
                <a:gd name="T13" fmla="*/ 2147483647 h 82"/>
                <a:gd name="T14" fmla="*/ 2147483647 w 59"/>
                <a:gd name="T15" fmla="*/ 2147483647 h 82"/>
                <a:gd name="T16" fmla="*/ 0 w 59"/>
                <a:gd name="T17" fmla="*/ 2147483647 h 82"/>
                <a:gd name="T18" fmla="*/ 2147483647 w 59"/>
                <a:gd name="T19" fmla="*/ 2147483647 h 82"/>
                <a:gd name="T20" fmla="*/ 2147483647 w 59"/>
                <a:gd name="T21" fmla="*/ 2147483647 h 82"/>
                <a:gd name="T22" fmla="*/ 2147483647 w 59"/>
                <a:gd name="T23" fmla="*/ 2147483647 h 82"/>
                <a:gd name="T24" fmla="*/ 2147483647 w 59"/>
                <a:gd name="T25" fmla="*/ 2147483647 h 82"/>
                <a:gd name="T26" fmla="*/ 2147483647 w 59"/>
                <a:gd name="T27" fmla="*/ 2147483647 h 82"/>
                <a:gd name="T28" fmla="*/ 2147483647 w 59"/>
                <a:gd name="T29" fmla="*/ 2147483647 h 82"/>
                <a:gd name="T30" fmla="*/ 2147483647 w 59"/>
                <a:gd name="T31" fmla="*/ 2147483647 h 82"/>
                <a:gd name="T32" fmla="*/ 2147483647 w 59"/>
                <a:gd name="T33" fmla="*/ 2147483647 h 82"/>
                <a:gd name="T34" fmla="*/ 2147483647 w 59"/>
                <a:gd name="T35" fmla="*/ 2147483647 h 82"/>
                <a:gd name="T36" fmla="*/ 2147483647 w 59"/>
                <a:gd name="T37" fmla="*/ 2147483647 h 82"/>
                <a:gd name="T38" fmla="*/ 2147483647 w 59"/>
                <a:gd name="T39" fmla="*/ 0 h 8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9"/>
                <a:gd name="T61" fmla="*/ 0 h 82"/>
                <a:gd name="T62" fmla="*/ 59 w 59"/>
                <a:gd name="T63" fmla="*/ 82 h 8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9" h="82">
                  <a:moveTo>
                    <a:pt x="42" y="0"/>
                  </a:moveTo>
                  <a:lnTo>
                    <a:pt x="33" y="16"/>
                  </a:lnTo>
                  <a:lnTo>
                    <a:pt x="42" y="22"/>
                  </a:lnTo>
                  <a:lnTo>
                    <a:pt x="58" y="22"/>
                  </a:lnTo>
                  <a:lnTo>
                    <a:pt x="58" y="32"/>
                  </a:lnTo>
                  <a:lnTo>
                    <a:pt x="58" y="47"/>
                  </a:lnTo>
                  <a:lnTo>
                    <a:pt x="49" y="72"/>
                  </a:lnTo>
                  <a:lnTo>
                    <a:pt x="8" y="81"/>
                  </a:lnTo>
                  <a:lnTo>
                    <a:pt x="0" y="72"/>
                  </a:lnTo>
                  <a:lnTo>
                    <a:pt x="8" y="72"/>
                  </a:lnTo>
                  <a:lnTo>
                    <a:pt x="18" y="47"/>
                  </a:lnTo>
                  <a:lnTo>
                    <a:pt x="8" y="40"/>
                  </a:lnTo>
                  <a:lnTo>
                    <a:pt x="18" y="32"/>
                  </a:lnTo>
                  <a:lnTo>
                    <a:pt x="8" y="32"/>
                  </a:lnTo>
                  <a:lnTo>
                    <a:pt x="8" y="22"/>
                  </a:lnTo>
                  <a:lnTo>
                    <a:pt x="25" y="22"/>
                  </a:lnTo>
                  <a:lnTo>
                    <a:pt x="33" y="16"/>
                  </a:lnTo>
                  <a:lnTo>
                    <a:pt x="25" y="16"/>
                  </a:lnTo>
                  <a:lnTo>
                    <a:pt x="25" y="7"/>
                  </a:lnTo>
                  <a:lnTo>
                    <a:pt x="42"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8" name="Freeform 234">
              <a:extLst>
                <a:ext uri="{FF2B5EF4-FFF2-40B4-BE49-F238E27FC236}">
                  <a16:creationId xmlns:a16="http://schemas.microsoft.com/office/drawing/2014/main" id="{EE2405C9-E932-4CEB-8888-0DE553EE1ED2}"/>
                </a:ext>
              </a:extLst>
            </p:cNvPr>
            <p:cNvSpPr>
              <a:spLocks/>
            </p:cNvSpPr>
            <p:nvPr/>
          </p:nvSpPr>
          <p:spPr bwMode="auto">
            <a:xfrm>
              <a:off x="5761038" y="3038475"/>
              <a:ext cx="79375" cy="95250"/>
            </a:xfrm>
            <a:custGeom>
              <a:avLst/>
              <a:gdLst>
                <a:gd name="T0" fmla="*/ 2147483647 w 42"/>
                <a:gd name="T1" fmla="*/ 2147483647 h 58"/>
                <a:gd name="T2" fmla="*/ 2147483647 w 42"/>
                <a:gd name="T3" fmla="*/ 2147483647 h 58"/>
                <a:gd name="T4" fmla="*/ 2147483647 w 42"/>
                <a:gd name="T5" fmla="*/ 2147483647 h 58"/>
                <a:gd name="T6" fmla="*/ 2147483647 w 42"/>
                <a:gd name="T7" fmla="*/ 2147483647 h 58"/>
                <a:gd name="T8" fmla="*/ 2147483647 w 42"/>
                <a:gd name="T9" fmla="*/ 2147483647 h 58"/>
                <a:gd name="T10" fmla="*/ 2147483647 w 42"/>
                <a:gd name="T11" fmla="*/ 2147483647 h 58"/>
                <a:gd name="T12" fmla="*/ 2147483647 w 42"/>
                <a:gd name="T13" fmla="*/ 2147483647 h 58"/>
                <a:gd name="T14" fmla="*/ 2147483647 w 42"/>
                <a:gd name="T15" fmla="*/ 0 h 58"/>
                <a:gd name="T16" fmla="*/ 2147483647 w 42"/>
                <a:gd name="T17" fmla="*/ 2147483647 h 58"/>
                <a:gd name="T18" fmla="*/ 0 w 42"/>
                <a:gd name="T19" fmla="*/ 2147483647 h 58"/>
                <a:gd name="T20" fmla="*/ 0 w 42"/>
                <a:gd name="T21" fmla="*/ 2147483647 h 58"/>
                <a:gd name="T22" fmla="*/ 2147483647 w 42"/>
                <a:gd name="T23" fmla="*/ 2147483647 h 58"/>
                <a:gd name="T24" fmla="*/ 2147483647 w 42"/>
                <a:gd name="T25" fmla="*/ 2147483647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2"/>
                <a:gd name="T40" fmla="*/ 0 h 58"/>
                <a:gd name="T41" fmla="*/ 42 w 42"/>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2" h="58">
                  <a:moveTo>
                    <a:pt x="9" y="57"/>
                  </a:moveTo>
                  <a:lnTo>
                    <a:pt x="19" y="57"/>
                  </a:lnTo>
                  <a:lnTo>
                    <a:pt x="25" y="57"/>
                  </a:lnTo>
                  <a:lnTo>
                    <a:pt x="34" y="32"/>
                  </a:lnTo>
                  <a:lnTo>
                    <a:pt x="41" y="32"/>
                  </a:lnTo>
                  <a:lnTo>
                    <a:pt x="41" y="25"/>
                  </a:lnTo>
                  <a:lnTo>
                    <a:pt x="34" y="25"/>
                  </a:lnTo>
                  <a:lnTo>
                    <a:pt x="34" y="0"/>
                  </a:lnTo>
                  <a:lnTo>
                    <a:pt x="9" y="8"/>
                  </a:lnTo>
                  <a:lnTo>
                    <a:pt x="0" y="25"/>
                  </a:lnTo>
                  <a:lnTo>
                    <a:pt x="0" y="41"/>
                  </a:lnTo>
                  <a:lnTo>
                    <a:pt x="9" y="50"/>
                  </a:lnTo>
                  <a:lnTo>
                    <a:pt x="9" y="57"/>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9" name="Freeform 235">
              <a:extLst>
                <a:ext uri="{FF2B5EF4-FFF2-40B4-BE49-F238E27FC236}">
                  <a16:creationId xmlns:a16="http://schemas.microsoft.com/office/drawing/2014/main" id="{2D2627F6-D0EB-4D51-9EE8-1793D2825E51}"/>
                </a:ext>
              </a:extLst>
            </p:cNvPr>
            <p:cNvSpPr>
              <a:spLocks/>
            </p:cNvSpPr>
            <p:nvPr/>
          </p:nvSpPr>
          <p:spPr bwMode="auto">
            <a:xfrm>
              <a:off x="5653088" y="3184525"/>
              <a:ext cx="98425" cy="93663"/>
            </a:xfrm>
            <a:custGeom>
              <a:avLst/>
              <a:gdLst>
                <a:gd name="T0" fmla="*/ 2147483647 w 51"/>
                <a:gd name="T1" fmla="*/ 2147483647 h 57"/>
                <a:gd name="T2" fmla="*/ 2147483647 w 51"/>
                <a:gd name="T3" fmla="*/ 2147483647 h 57"/>
                <a:gd name="T4" fmla="*/ 2147483647 w 51"/>
                <a:gd name="T5" fmla="*/ 2147483647 h 57"/>
                <a:gd name="T6" fmla="*/ 2147483647 w 51"/>
                <a:gd name="T7" fmla="*/ 0 h 57"/>
                <a:gd name="T8" fmla="*/ 2147483647 w 51"/>
                <a:gd name="T9" fmla="*/ 2147483647 h 57"/>
                <a:gd name="T10" fmla="*/ 2147483647 w 51"/>
                <a:gd name="T11" fmla="*/ 2147483647 h 57"/>
                <a:gd name="T12" fmla="*/ 2147483647 w 51"/>
                <a:gd name="T13" fmla="*/ 2147483647 h 57"/>
                <a:gd name="T14" fmla="*/ 2147483647 w 51"/>
                <a:gd name="T15" fmla="*/ 2147483647 h 57"/>
                <a:gd name="T16" fmla="*/ 2147483647 w 51"/>
                <a:gd name="T17" fmla="*/ 2147483647 h 57"/>
                <a:gd name="T18" fmla="*/ 0 w 51"/>
                <a:gd name="T19" fmla="*/ 2147483647 h 57"/>
                <a:gd name="T20" fmla="*/ 2147483647 w 51"/>
                <a:gd name="T21" fmla="*/ 2147483647 h 57"/>
                <a:gd name="T22" fmla="*/ 2147483647 w 51"/>
                <a:gd name="T23" fmla="*/ 2147483647 h 5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1"/>
                <a:gd name="T37" fmla="*/ 0 h 57"/>
                <a:gd name="T38" fmla="*/ 51 w 51"/>
                <a:gd name="T39" fmla="*/ 57 h 5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1" h="57">
                  <a:moveTo>
                    <a:pt x="33" y="56"/>
                  </a:moveTo>
                  <a:lnTo>
                    <a:pt x="33" y="32"/>
                  </a:lnTo>
                  <a:lnTo>
                    <a:pt x="41" y="23"/>
                  </a:lnTo>
                  <a:lnTo>
                    <a:pt x="50" y="0"/>
                  </a:lnTo>
                  <a:lnTo>
                    <a:pt x="25" y="7"/>
                  </a:lnTo>
                  <a:lnTo>
                    <a:pt x="33" y="23"/>
                  </a:lnTo>
                  <a:lnTo>
                    <a:pt x="25" y="23"/>
                  </a:lnTo>
                  <a:lnTo>
                    <a:pt x="25" y="16"/>
                  </a:lnTo>
                  <a:lnTo>
                    <a:pt x="16" y="16"/>
                  </a:lnTo>
                  <a:lnTo>
                    <a:pt x="0" y="47"/>
                  </a:lnTo>
                  <a:lnTo>
                    <a:pt x="25" y="47"/>
                  </a:lnTo>
                  <a:lnTo>
                    <a:pt x="33" y="56"/>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0" name="Freeform 236">
              <a:extLst>
                <a:ext uri="{FF2B5EF4-FFF2-40B4-BE49-F238E27FC236}">
                  <a16:creationId xmlns:a16="http://schemas.microsoft.com/office/drawing/2014/main" id="{C3C77B7C-01C0-4801-8FE9-29018C6A8D56}"/>
                </a:ext>
              </a:extLst>
            </p:cNvPr>
            <p:cNvSpPr>
              <a:spLocks/>
            </p:cNvSpPr>
            <p:nvPr/>
          </p:nvSpPr>
          <p:spPr bwMode="auto">
            <a:xfrm>
              <a:off x="5635625" y="3262313"/>
              <a:ext cx="82550" cy="57150"/>
            </a:xfrm>
            <a:custGeom>
              <a:avLst/>
              <a:gdLst>
                <a:gd name="T0" fmla="*/ 2147483647 w 43"/>
                <a:gd name="T1" fmla="*/ 2147483647 h 35"/>
                <a:gd name="T2" fmla="*/ 2147483647 w 43"/>
                <a:gd name="T3" fmla="*/ 2147483647 h 35"/>
                <a:gd name="T4" fmla="*/ 2147483647 w 43"/>
                <a:gd name="T5" fmla="*/ 2147483647 h 35"/>
                <a:gd name="T6" fmla="*/ 2147483647 w 43"/>
                <a:gd name="T7" fmla="*/ 2147483647 h 35"/>
                <a:gd name="T8" fmla="*/ 2147483647 w 43"/>
                <a:gd name="T9" fmla="*/ 2147483647 h 35"/>
                <a:gd name="T10" fmla="*/ 0 w 43"/>
                <a:gd name="T11" fmla="*/ 2147483647 h 35"/>
                <a:gd name="T12" fmla="*/ 0 w 43"/>
                <a:gd name="T13" fmla="*/ 0 h 35"/>
                <a:gd name="T14" fmla="*/ 2147483647 w 43"/>
                <a:gd name="T15" fmla="*/ 0 h 35"/>
                <a:gd name="T16" fmla="*/ 2147483647 w 43"/>
                <a:gd name="T17" fmla="*/ 0 h 35"/>
                <a:gd name="T18" fmla="*/ 2147483647 w 43"/>
                <a:gd name="T19" fmla="*/ 2147483647 h 35"/>
                <a:gd name="T20" fmla="*/ 2147483647 w 43"/>
                <a:gd name="T21" fmla="*/ 2147483647 h 35"/>
                <a:gd name="T22" fmla="*/ 2147483647 w 43"/>
                <a:gd name="T23" fmla="*/ 2147483647 h 35"/>
                <a:gd name="T24" fmla="*/ 2147483647 w 43"/>
                <a:gd name="T25" fmla="*/ 2147483647 h 3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3"/>
                <a:gd name="T40" fmla="*/ 0 h 35"/>
                <a:gd name="T41" fmla="*/ 43 w 43"/>
                <a:gd name="T42" fmla="*/ 35 h 3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3" h="35">
                  <a:moveTo>
                    <a:pt x="34" y="34"/>
                  </a:moveTo>
                  <a:lnTo>
                    <a:pt x="25" y="34"/>
                  </a:lnTo>
                  <a:lnTo>
                    <a:pt x="25" y="25"/>
                  </a:lnTo>
                  <a:lnTo>
                    <a:pt x="18" y="25"/>
                  </a:lnTo>
                  <a:lnTo>
                    <a:pt x="18" y="17"/>
                  </a:lnTo>
                  <a:lnTo>
                    <a:pt x="0" y="9"/>
                  </a:lnTo>
                  <a:lnTo>
                    <a:pt x="0" y="0"/>
                  </a:lnTo>
                  <a:lnTo>
                    <a:pt x="9" y="0"/>
                  </a:lnTo>
                  <a:lnTo>
                    <a:pt x="34" y="0"/>
                  </a:lnTo>
                  <a:lnTo>
                    <a:pt x="42" y="9"/>
                  </a:lnTo>
                  <a:lnTo>
                    <a:pt x="42" y="25"/>
                  </a:lnTo>
                  <a:lnTo>
                    <a:pt x="34" y="25"/>
                  </a:lnTo>
                  <a:lnTo>
                    <a:pt x="34" y="34"/>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1" name="Freeform 237">
              <a:extLst>
                <a:ext uri="{FF2B5EF4-FFF2-40B4-BE49-F238E27FC236}">
                  <a16:creationId xmlns:a16="http://schemas.microsoft.com/office/drawing/2014/main" id="{2FD3929B-7F8B-4DD8-AC98-839A763B1EF9}"/>
                </a:ext>
              </a:extLst>
            </p:cNvPr>
            <p:cNvSpPr>
              <a:spLocks/>
            </p:cNvSpPr>
            <p:nvPr/>
          </p:nvSpPr>
          <p:spPr bwMode="auto">
            <a:xfrm>
              <a:off x="5700713" y="3302000"/>
              <a:ext cx="31750" cy="28575"/>
            </a:xfrm>
            <a:custGeom>
              <a:avLst/>
              <a:gdLst>
                <a:gd name="T0" fmla="*/ 0 w 17"/>
                <a:gd name="T1" fmla="*/ 2147483647 h 17"/>
                <a:gd name="T2" fmla="*/ 0 w 17"/>
                <a:gd name="T3" fmla="*/ 0 h 17"/>
                <a:gd name="T4" fmla="*/ 2147483647 w 17"/>
                <a:gd name="T5" fmla="*/ 0 h 17"/>
                <a:gd name="T6" fmla="*/ 2147483647 w 17"/>
                <a:gd name="T7" fmla="*/ 2147483647 h 17"/>
                <a:gd name="T8" fmla="*/ 0 w 17"/>
                <a:gd name="T9" fmla="*/ 2147483647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0" y="0"/>
                  </a:lnTo>
                  <a:lnTo>
                    <a:pt x="16" y="0"/>
                  </a:lnTo>
                  <a:lnTo>
                    <a:pt x="16" y="16"/>
                  </a:lnTo>
                  <a:lnTo>
                    <a:pt x="0" y="16"/>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2" name="Freeform 238">
              <a:extLst>
                <a:ext uri="{FF2B5EF4-FFF2-40B4-BE49-F238E27FC236}">
                  <a16:creationId xmlns:a16="http://schemas.microsoft.com/office/drawing/2014/main" id="{E0ED0CD0-2EFF-4ED9-B889-F4FD2BD6DE41}"/>
                </a:ext>
              </a:extLst>
            </p:cNvPr>
            <p:cNvSpPr>
              <a:spLocks/>
            </p:cNvSpPr>
            <p:nvPr/>
          </p:nvSpPr>
          <p:spPr bwMode="auto">
            <a:xfrm>
              <a:off x="5700713" y="3302000"/>
              <a:ext cx="31750" cy="28575"/>
            </a:xfrm>
            <a:custGeom>
              <a:avLst/>
              <a:gdLst>
                <a:gd name="T0" fmla="*/ 0 w 17"/>
                <a:gd name="T1" fmla="*/ 2147483647 h 17"/>
                <a:gd name="T2" fmla="*/ 0 w 17"/>
                <a:gd name="T3" fmla="*/ 0 h 17"/>
                <a:gd name="T4" fmla="*/ 2147483647 w 17"/>
                <a:gd name="T5" fmla="*/ 0 h 17"/>
                <a:gd name="T6" fmla="*/ 2147483647 w 17"/>
                <a:gd name="T7" fmla="*/ 2147483647 h 17"/>
                <a:gd name="T8" fmla="*/ 0 w 17"/>
                <a:gd name="T9" fmla="*/ 2147483647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0" y="0"/>
                  </a:lnTo>
                  <a:lnTo>
                    <a:pt x="16" y="0"/>
                  </a:lnTo>
                  <a:lnTo>
                    <a:pt x="16" y="16"/>
                  </a:lnTo>
                  <a:lnTo>
                    <a:pt x="0" y="16"/>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3" name="Freeform 239">
              <a:extLst>
                <a:ext uri="{FF2B5EF4-FFF2-40B4-BE49-F238E27FC236}">
                  <a16:creationId xmlns:a16="http://schemas.microsoft.com/office/drawing/2014/main" id="{EFDF86F6-D719-4F9E-B12B-733C1732512C}"/>
                </a:ext>
              </a:extLst>
            </p:cNvPr>
            <p:cNvSpPr>
              <a:spLocks/>
            </p:cNvSpPr>
            <p:nvPr/>
          </p:nvSpPr>
          <p:spPr bwMode="auto">
            <a:xfrm>
              <a:off x="5916613" y="3132138"/>
              <a:ext cx="234950" cy="201612"/>
            </a:xfrm>
            <a:custGeom>
              <a:avLst/>
              <a:gdLst>
                <a:gd name="T0" fmla="*/ 2147483647 w 122"/>
                <a:gd name="T1" fmla="*/ 2147483647 h 123"/>
                <a:gd name="T2" fmla="*/ 2147483647 w 122"/>
                <a:gd name="T3" fmla="*/ 2147483647 h 123"/>
                <a:gd name="T4" fmla="*/ 2147483647 w 122"/>
                <a:gd name="T5" fmla="*/ 2147483647 h 123"/>
                <a:gd name="T6" fmla="*/ 2147483647 w 122"/>
                <a:gd name="T7" fmla="*/ 2147483647 h 123"/>
                <a:gd name="T8" fmla="*/ 2147483647 w 122"/>
                <a:gd name="T9" fmla="*/ 2147483647 h 123"/>
                <a:gd name="T10" fmla="*/ 2147483647 w 122"/>
                <a:gd name="T11" fmla="*/ 2147483647 h 123"/>
                <a:gd name="T12" fmla="*/ 2147483647 w 122"/>
                <a:gd name="T13" fmla="*/ 2147483647 h 123"/>
                <a:gd name="T14" fmla="*/ 2147483647 w 122"/>
                <a:gd name="T15" fmla="*/ 2147483647 h 123"/>
                <a:gd name="T16" fmla="*/ 2147483647 w 122"/>
                <a:gd name="T17" fmla="*/ 2147483647 h 123"/>
                <a:gd name="T18" fmla="*/ 2147483647 w 122"/>
                <a:gd name="T19" fmla="*/ 2147483647 h 123"/>
                <a:gd name="T20" fmla="*/ 2147483647 w 122"/>
                <a:gd name="T21" fmla="*/ 2147483647 h 123"/>
                <a:gd name="T22" fmla="*/ 2147483647 w 122"/>
                <a:gd name="T23" fmla="*/ 0 h 123"/>
                <a:gd name="T24" fmla="*/ 0 w 122"/>
                <a:gd name="T25" fmla="*/ 2147483647 h 123"/>
                <a:gd name="T26" fmla="*/ 2147483647 w 122"/>
                <a:gd name="T27" fmla="*/ 2147483647 h 123"/>
                <a:gd name="T28" fmla="*/ 2147483647 w 122"/>
                <a:gd name="T29" fmla="*/ 2147483647 h 123"/>
                <a:gd name="T30" fmla="*/ 2147483647 w 122"/>
                <a:gd name="T31" fmla="*/ 2147483647 h 123"/>
                <a:gd name="T32" fmla="*/ 2147483647 w 122"/>
                <a:gd name="T33" fmla="*/ 2147483647 h 123"/>
                <a:gd name="T34" fmla="*/ 2147483647 w 122"/>
                <a:gd name="T35" fmla="*/ 2147483647 h 123"/>
                <a:gd name="T36" fmla="*/ 2147483647 w 122"/>
                <a:gd name="T37" fmla="*/ 2147483647 h 123"/>
                <a:gd name="T38" fmla="*/ 2147483647 w 122"/>
                <a:gd name="T39" fmla="*/ 2147483647 h 123"/>
                <a:gd name="T40" fmla="*/ 2147483647 w 122"/>
                <a:gd name="T41" fmla="*/ 2147483647 h 123"/>
                <a:gd name="T42" fmla="*/ 2147483647 w 122"/>
                <a:gd name="T43" fmla="*/ 2147483647 h 12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22"/>
                <a:gd name="T67" fmla="*/ 0 h 123"/>
                <a:gd name="T68" fmla="*/ 122 w 122"/>
                <a:gd name="T69" fmla="*/ 123 h 12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22" h="123">
                  <a:moveTo>
                    <a:pt x="105" y="122"/>
                  </a:moveTo>
                  <a:lnTo>
                    <a:pt x="114" y="105"/>
                  </a:lnTo>
                  <a:lnTo>
                    <a:pt x="121" y="97"/>
                  </a:lnTo>
                  <a:lnTo>
                    <a:pt x="114" y="56"/>
                  </a:lnTo>
                  <a:lnTo>
                    <a:pt x="121" y="40"/>
                  </a:lnTo>
                  <a:lnTo>
                    <a:pt x="114" y="25"/>
                  </a:lnTo>
                  <a:lnTo>
                    <a:pt x="105" y="15"/>
                  </a:lnTo>
                  <a:lnTo>
                    <a:pt x="89" y="15"/>
                  </a:lnTo>
                  <a:lnTo>
                    <a:pt x="65" y="9"/>
                  </a:lnTo>
                  <a:lnTo>
                    <a:pt x="65" y="15"/>
                  </a:lnTo>
                  <a:lnTo>
                    <a:pt x="57" y="15"/>
                  </a:lnTo>
                  <a:lnTo>
                    <a:pt x="49" y="0"/>
                  </a:lnTo>
                  <a:lnTo>
                    <a:pt x="0" y="25"/>
                  </a:lnTo>
                  <a:lnTo>
                    <a:pt x="9" y="80"/>
                  </a:lnTo>
                  <a:lnTo>
                    <a:pt x="17" y="89"/>
                  </a:lnTo>
                  <a:lnTo>
                    <a:pt x="34" y="97"/>
                  </a:lnTo>
                  <a:lnTo>
                    <a:pt x="40" y="97"/>
                  </a:lnTo>
                  <a:lnTo>
                    <a:pt x="57" y="114"/>
                  </a:lnTo>
                  <a:lnTo>
                    <a:pt x="65" y="114"/>
                  </a:lnTo>
                  <a:lnTo>
                    <a:pt x="74" y="122"/>
                  </a:lnTo>
                  <a:lnTo>
                    <a:pt x="89" y="114"/>
                  </a:lnTo>
                  <a:lnTo>
                    <a:pt x="105" y="122"/>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4" name="Freeform 240">
              <a:extLst>
                <a:ext uri="{FF2B5EF4-FFF2-40B4-BE49-F238E27FC236}">
                  <a16:creationId xmlns:a16="http://schemas.microsoft.com/office/drawing/2014/main" id="{59FA8D8E-A167-4813-9E6A-800009DF5A59}"/>
                </a:ext>
              </a:extLst>
            </p:cNvPr>
            <p:cNvSpPr>
              <a:spLocks/>
            </p:cNvSpPr>
            <p:nvPr/>
          </p:nvSpPr>
          <p:spPr bwMode="auto">
            <a:xfrm>
              <a:off x="5716588" y="3132138"/>
              <a:ext cx="219075" cy="252412"/>
            </a:xfrm>
            <a:custGeom>
              <a:avLst/>
              <a:gdLst>
                <a:gd name="T0" fmla="*/ 2147483647 w 115"/>
                <a:gd name="T1" fmla="*/ 2147483647 h 155"/>
                <a:gd name="T2" fmla="*/ 2147483647 w 115"/>
                <a:gd name="T3" fmla="*/ 2147483647 h 155"/>
                <a:gd name="T4" fmla="*/ 2147483647 w 115"/>
                <a:gd name="T5" fmla="*/ 2147483647 h 155"/>
                <a:gd name="T6" fmla="*/ 2147483647 w 115"/>
                <a:gd name="T7" fmla="*/ 2147483647 h 155"/>
                <a:gd name="T8" fmla="*/ 2147483647 w 115"/>
                <a:gd name="T9" fmla="*/ 2147483647 h 155"/>
                <a:gd name="T10" fmla="*/ 2147483647 w 115"/>
                <a:gd name="T11" fmla="*/ 2147483647 h 155"/>
                <a:gd name="T12" fmla="*/ 2147483647 w 115"/>
                <a:gd name="T13" fmla="*/ 2147483647 h 155"/>
                <a:gd name="T14" fmla="*/ 2147483647 w 115"/>
                <a:gd name="T15" fmla="*/ 2147483647 h 155"/>
                <a:gd name="T16" fmla="*/ 2147483647 w 115"/>
                <a:gd name="T17" fmla="*/ 2147483647 h 155"/>
                <a:gd name="T18" fmla="*/ 2147483647 w 115"/>
                <a:gd name="T19" fmla="*/ 2147483647 h 155"/>
                <a:gd name="T20" fmla="*/ 2147483647 w 115"/>
                <a:gd name="T21" fmla="*/ 2147483647 h 155"/>
                <a:gd name="T22" fmla="*/ 2147483647 w 115"/>
                <a:gd name="T23" fmla="*/ 2147483647 h 155"/>
                <a:gd name="T24" fmla="*/ 2147483647 w 115"/>
                <a:gd name="T25" fmla="*/ 2147483647 h 155"/>
                <a:gd name="T26" fmla="*/ 2147483647 w 115"/>
                <a:gd name="T27" fmla="*/ 2147483647 h 155"/>
                <a:gd name="T28" fmla="*/ 2147483647 w 115"/>
                <a:gd name="T29" fmla="*/ 2147483647 h 155"/>
                <a:gd name="T30" fmla="*/ 2147483647 w 115"/>
                <a:gd name="T31" fmla="*/ 2147483647 h 155"/>
                <a:gd name="T32" fmla="*/ 2147483647 w 115"/>
                <a:gd name="T33" fmla="*/ 2147483647 h 155"/>
                <a:gd name="T34" fmla="*/ 0 w 115"/>
                <a:gd name="T35" fmla="*/ 2147483647 h 155"/>
                <a:gd name="T36" fmla="*/ 0 w 115"/>
                <a:gd name="T37" fmla="*/ 2147483647 h 155"/>
                <a:gd name="T38" fmla="*/ 0 w 115"/>
                <a:gd name="T39" fmla="*/ 2147483647 h 155"/>
                <a:gd name="T40" fmla="*/ 0 w 115"/>
                <a:gd name="T41" fmla="*/ 2147483647 h 155"/>
                <a:gd name="T42" fmla="*/ 2147483647 w 115"/>
                <a:gd name="T43" fmla="*/ 2147483647 h 155"/>
                <a:gd name="T44" fmla="*/ 2147483647 w 115"/>
                <a:gd name="T45" fmla="*/ 2147483647 h 155"/>
                <a:gd name="T46" fmla="*/ 2147483647 w 115"/>
                <a:gd name="T47" fmla="*/ 2147483647 h 155"/>
                <a:gd name="T48" fmla="*/ 2147483647 w 115"/>
                <a:gd name="T49" fmla="*/ 2147483647 h 155"/>
                <a:gd name="T50" fmla="*/ 2147483647 w 115"/>
                <a:gd name="T51" fmla="*/ 2147483647 h 155"/>
                <a:gd name="T52" fmla="*/ 2147483647 w 115"/>
                <a:gd name="T53" fmla="*/ 2147483647 h 155"/>
                <a:gd name="T54" fmla="*/ 2147483647 w 115"/>
                <a:gd name="T55" fmla="*/ 0 h 155"/>
                <a:gd name="T56" fmla="*/ 2147483647 w 115"/>
                <a:gd name="T57" fmla="*/ 0 h 155"/>
                <a:gd name="T58" fmla="*/ 2147483647 w 115"/>
                <a:gd name="T59" fmla="*/ 0 h 155"/>
                <a:gd name="T60" fmla="*/ 2147483647 w 115"/>
                <a:gd name="T61" fmla="*/ 2147483647 h 155"/>
                <a:gd name="T62" fmla="*/ 2147483647 w 115"/>
                <a:gd name="T63" fmla="*/ 2147483647 h 155"/>
                <a:gd name="T64" fmla="*/ 2147483647 w 115"/>
                <a:gd name="T65" fmla="*/ 2147483647 h 155"/>
                <a:gd name="T66" fmla="*/ 2147483647 w 115"/>
                <a:gd name="T67" fmla="*/ 2147483647 h 15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15"/>
                <a:gd name="T103" fmla="*/ 0 h 155"/>
                <a:gd name="T104" fmla="*/ 115 w 115"/>
                <a:gd name="T105" fmla="*/ 155 h 15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15" h="155">
                  <a:moveTo>
                    <a:pt x="64" y="25"/>
                  </a:moveTo>
                  <a:lnTo>
                    <a:pt x="97" y="9"/>
                  </a:lnTo>
                  <a:lnTo>
                    <a:pt x="97" y="15"/>
                  </a:lnTo>
                  <a:lnTo>
                    <a:pt x="89" y="15"/>
                  </a:lnTo>
                  <a:lnTo>
                    <a:pt x="105" y="25"/>
                  </a:lnTo>
                  <a:lnTo>
                    <a:pt x="114" y="80"/>
                  </a:lnTo>
                  <a:lnTo>
                    <a:pt x="105" y="80"/>
                  </a:lnTo>
                  <a:lnTo>
                    <a:pt x="89" y="89"/>
                  </a:lnTo>
                  <a:lnTo>
                    <a:pt x="73" y="97"/>
                  </a:lnTo>
                  <a:lnTo>
                    <a:pt x="82" y="114"/>
                  </a:lnTo>
                  <a:lnTo>
                    <a:pt x="97" y="130"/>
                  </a:lnTo>
                  <a:lnTo>
                    <a:pt x="89" y="137"/>
                  </a:lnTo>
                  <a:lnTo>
                    <a:pt x="89" y="146"/>
                  </a:lnTo>
                  <a:lnTo>
                    <a:pt x="57" y="154"/>
                  </a:lnTo>
                  <a:lnTo>
                    <a:pt x="42" y="154"/>
                  </a:lnTo>
                  <a:lnTo>
                    <a:pt x="17" y="154"/>
                  </a:lnTo>
                  <a:lnTo>
                    <a:pt x="23" y="130"/>
                  </a:lnTo>
                  <a:lnTo>
                    <a:pt x="0" y="114"/>
                  </a:lnTo>
                  <a:lnTo>
                    <a:pt x="0" y="105"/>
                  </a:lnTo>
                  <a:lnTo>
                    <a:pt x="0" y="89"/>
                  </a:lnTo>
                  <a:lnTo>
                    <a:pt x="0" y="65"/>
                  </a:lnTo>
                  <a:lnTo>
                    <a:pt x="8" y="56"/>
                  </a:lnTo>
                  <a:lnTo>
                    <a:pt x="17" y="33"/>
                  </a:lnTo>
                  <a:lnTo>
                    <a:pt x="32" y="33"/>
                  </a:lnTo>
                  <a:lnTo>
                    <a:pt x="42" y="15"/>
                  </a:lnTo>
                  <a:lnTo>
                    <a:pt x="32" y="15"/>
                  </a:lnTo>
                  <a:lnTo>
                    <a:pt x="42" y="9"/>
                  </a:lnTo>
                  <a:lnTo>
                    <a:pt x="32" y="0"/>
                  </a:lnTo>
                  <a:lnTo>
                    <a:pt x="42" y="0"/>
                  </a:lnTo>
                  <a:lnTo>
                    <a:pt x="48" y="0"/>
                  </a:lnTo>
                  <a:lnTo>
                    <a:pt x="48" y="9"/>
                  </a:lnTo>
                  <a:lnTo>
                    <a:pt x="64" y="15"/>
                  </a:lnTo>
                  <a:lnTo>
                    <a:pt x="57" y="25"/>
                  </a:lnTo>
                  <a:lnTo>
                    <a:pt x="64" y="25"/>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5" name="Freeform 241">
              <a:extLst>
                <a:ext uri="{FF2B5EF4-FFF2-40B4-BE49-F238E27FC236}">
                  <a16:creationId xmlns:a16="http://schemas.microsoft.com/office/drawing/2014/main" id="{5CF960F9-9150-4D05-BB8A-1B9ACF992747}"/>
                </a:ext>
              </a:extLst>
            </p:cNvPr>
            <p:cNvSpPr>
              <a:spLocks/>
            </p:cNvSpPr>
            <p:nvPr/>
          </p:nvSpPr>
          <p:spPr bwMode="auto">
            <a:xfrm>
              <a:off x="5795963" y="3330575"/>
              <a:ext cx="188912" cy="79375"/>
            </a:xfrm>
            <a:custGeom>
              <a:avLst/>
              <a:gdLst>
                <a:gd name="T0" fmla="*/ 0 w 98"/>
                <a:gd name="T1" fmla="*/ 2147483647 h 49"/>
                <a:gd name="T2" fmla="*/ 2147483647 w 98"/>
                <a:gd name="T3" fmla="*/ 2147483647 h 49"/>
                <a:gd name="T4" fmla="*/ 2147483647 w 98"/>
                <a:gd name="T5" fmla="*/ 2147483647 h 49"/>
                <a:gd name="T6" fmla="*/ 2147483647 w 98"/>
                <a:gd name="T7" fmla="*/ 2147483647 h 49"/>
                <a:gd name="T8" fmla="*/ 2147483647 w 98"/>
                <a:gd name="T9" fmla="*/ 2147483647 h 49"/>
                <a:gd name="T10" fmla="*/ 2147483647 w 98"/>
                <a:gd name="T11" fmla="*/ 2147483647 h 49"/>
                <a:gd name="T12" fmla="*/ 2147483647 w 98"/>
                <a:gd name="T13" fmla="*/ 0 h 49"/>
                <a:gd name="T14" fmla="*/ 2147483647 w 98"/>
                <a:gd name="T15" fmla="*/ 2147483647 h 49"/>
                <a:gd name="T16" fmla="*/ 2147483647 w 98"/>
                <a:gd name="T17" fmla="*/ 2147483647 h 49"/>
                <a:gd name="T18" fmla="*/ 2147483647 w 98"/>
                <a:gd name="T19" fmla="*/ 2147483647 h 49"/>
                <a:gd name="T20" fmla="*/ 2147483647 w 98"/>
                <a:gd name="T21" fmla="*/ 2147483647 h 49"/>
                <a:gd name="T22" fmla="*/ 2147483647 w 98"/>
                <a:gd name="T23" fmla="*/ 2147483647 h 49"/>
                <a:gd name="T24" fmla="*/ 2147483647 w 98"/>
                <a:gd name="T25" fmla="*/ 2147483647 h 49"/>
                <a:gd name="T26" fmla="*/ 2147483647 w 98"/>
                <a:gd name="T27" fmla="*/ 2147483647 h 49"/>
                <a:gd name="T28" fmla="*/ 0 w 98"/>
                <a:gd name="T29" fmla="*/ 2147483647 h 4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8"/>
                <a:gd name="T46" fmla="*/ 0 h 49"/>
                <a:gd name="T47" fmla="*/ 98 w 98"/>
                <a:gd name="T48" fmla="*/ 49 h 4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8" h="49">
                  <a:moveTo>
                    <a:pt x="0" y="32"/>
                  </a:moveTo>
                  <a:lnTo>
                    <a:pt x="15" y="32"/>
                  </a:lnTo>
                  <a:lnTo>
                    <a:pt x="47" y="24"/>
                  </a:lnTo>
                  <a:lnTo>
                    <a:pt x="47" y="15"/>
                  </a:lnTo>
                  <a:lnTo>
                    <a:pt x="55" y="8"/>
                  </a:lnTo>
                  <a:lnTo>
                    <a:pt x="72" y="8"/>
                  </a:lnTo>
                  <a:lnTo>
                    <a:pt x="72" y="0"/>
                  </a:lnTo>
                  <a:lnTo>
                    <a:pt x="97" y="8"/>
                  </a:lnTo>
                  <a:lnTo>
                    <a:pt x="97" y="24"/>
                  </a:lnTo>
                  <a:lnTo>
                    <a:pt x="87" y="40"/>
                  </a:lnTo>
                  <a:lnTo>
                    <a:pt x="55" y="48"/>
                  </a:lnTo>
                  <a:lnTo>
                    <a:pt x="40" y="40"/>
                  </a:lnTo>
                  <a:lnTo>
                    <a:pt x="15" y="40"/>
                  </a:lnTo>
                  <a:lnTo>
                    <a:pt x="6" y="40"/>
                  </a:lnTo>
                  <a:lnTo>
                    <a:pt x="0" y="32"/>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6" name="Line 242">
              <a:extLst>
                <a:ext uri="{FF2B5EF4-FFF2-40B4-BE49-F238E27FC236}">
                  <a16:creationId xmlns:a16="http://schemas.microsoft.com/office/drawing/2014/main" id="{CD16F03B-00B2-4453-B943-89A672AF0D22}"/>
                </a:ext>
              </a:extLst>
            </p:cNvPr>
            <p:cNvSpPr>
              <a:spLocks noChangeShapeType="1"/>
            </p:cNvSpPr>
            <p:nvPr/>
          </p:nvSpPr>
          <p:spPr bwMode="auto">
            <a:xfrm flipH="1" flipV="1">
              <a:off x="5795963" y="3382963"/>
              <a:ext cx="11112" cy="12700"/>
            </a:xfrm>
            <a:prstGeom prst="line">
              <a:avLst/>
            </a:prstGeom>
            <a:grpFill/>
            <a:ln w="1270">
              <a:solidFill>
                <a:schemeClr val="accent5">
                  <a:lumMod val="20000"/>
                  <a:lumOff val="80000"/>
                </a:schemeClr>
              </a:solidFill>
              <a:prstDash val="solid"/>
              <a:round/>
              <a:headEnd type="none" w="sm" len="sm"/>
              <a:tailEnd type="none" w="sm" len="sm"/>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a:ea typeface="+mn-ea"/>
                <a:cs typeface="+mn-cs"/>
              </a:endParaRPr>
            </a:p>
          </p:txBody>
        </p:sp>
        <p:sp>
          <p:nvSpPr>
            <p:cNvPr id="187" name="Freeform 243">
              <a:extLst>
                <a:ext uri="{FF2B5EF4-FFF2-40B4-BE49-F238E27FC236}">
                  <a16:creationId xmlns:a16="http://schemas.microsoft.com/office/drawing/2014/main" id="{D02E96A9-84B6-4D35-9F18-B758CE5A4B8F}"/>
                </a:ext>
              </a:extLst>
            </p:cNvPr>
            <p:cNvSpPr>
              <a:spLocks/>
            </p:cNvSpPr>
            <p:nvPr/>
          </p:nvSpPr>
          <p:spPr bwMode="auto">
            <a:xfrm>
              <a:off x="5795963" y="3382963"/>
              <a:ext cx="33337" cy="26987"/>
            </a:xfrm>
            <a:custGeom>
              <a:avLst/>
              <a:gdLst>
                <a:gd name="T0" fmla="*/ 2147483647 w 17"/>
                <a:gd name="T1" fmla="*/ 2147483647 h 17"/>
                <a:gd name="T2" fmla="*/ 0 w 17"/>
                <a:gd name="T3" fmla="*/ 0 h 17"/>
                <a:gd name="T4" fmla="*/ 2147483647 w 17"/>
                <a:gd name="T5" fmla="*/ 2147483647 h 17"/>
                <a:gd name="T6" fmla="*/ 0 60000 65536"/>
                <a:gd name="T7" fmla="*/ 0 60000 65536"/>
                <a:gd name="T8" fmla="*/ 0 60000 65536"/>
                <a:gd name="T9" fmla="*/ 0 w 17"/>
                <a:gd name="T10" fmla="*/ 0 h 17"/>
                <a:gd name="T11" fmla="*/ 17 w 17"/>
                <a:gd name="T12" fmla="*/ 17 h 17"/>
              </a:gdLst>
              <a:ahLst/>
              <a:cxnLst>
                <a:cxn ang="T6">
                  <a:pos x="T0" y="T1"/>
                </a:cxn>
                <a:cxn ang="T7">
                  <a:pos x="T2" y="T3"/>
                </a:cxn>
                <a:cxn ang="T8">
                  <a:pos x="T4" y="T5"/>
                </a:cxn>
              </a:cxnLst>
              <a:rect l="T9" t="T10" r="T11" b="T12"/>
              <a:pathLst>
                <a:path w="17" h="17">
                  <a:moveTo>
                    <a:pt x="16" y="16"/>
                  </a:moveTo>
                  <a:lnTo>
                    <a:pt x="0" y="0"/>
                  </a:lnTo>
                  <a:lnTo>
                    <a:pt x="16" y="16"/>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8" name="Line 244">
              <a:extLst>
                <a:ext uri="{FF2B5EF4-FFF2-40B4-BE49-F238E27FC236}">
                  <a16:creationId xmlns:a16="http://schemas.microsoft.com/office/drawing/2014/main" id="{C84C5C31-DB9D-4B6B-8597-AE5009BCBAD9}"/>
                </a:ext>
              </a:extLst>
            </p:cNvPr>
            <p:cNvSpPr>
              <a:spLocks noChangeShapeType="1"/>
            </p:cNvSpPr>
            <p:nvPr/>
          </p:nvSpPr>
          <p:spPr bwMode="auto">
            <a:xfrm flipH="1" flipV="1">
              <a:off x="5795963" y="3382963"/>
              <a:ext cx="11112" cy="12700"/>
            </a:xfrm>
            <a:prstGeom prst="line">
              <a:avLst/>
            </a:prstGeom>
            <a:grpFill/>
            <a:ln w="1270">
              <a:solidFill>
                <a:schemeClr val="accent5">
                  <a:lumMod val="20000"/>
                  <a:lumOff val="80000"/>
                </a:schemeClr>
              </a:solidFill>
              <a:prstDash val="solid"/>
              <a:round/>
              <a:headEnd type="none" w="sm" len="sm"/>
              <a:tailEnd type="none" w="sm" len="sm"/>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a:ea typeface="+mn-ea"/>
                <a:cs typeface="+mn-cs"/>
              </a:endParaRPr>
            </a:p>
          </p:txBody>
        </p:sp>
        <p:sp>
          <p:nvSpPr>
            <p:cNvPr id="189" name="Freeform 245">
              <a:extLst>
                <a:ext uri="{FF2B5EF4-FFF2-40B4-BE49-F238E27FC236}">
                  <a16:creationId xmlns:a16="http://schemas.microsoft.com/office/drawing/2014/main" id="{00825242-C97E-4318-B588-DAEC909B48F8}"/>
                </a:ext>
              </a:extLst>
            </p:cNvPr>
            <p:cNvSpPr>
              <a:spLocks/>
            </p:cNvSpPr>
            <p:nvPr/>
          </p:nvSpPr>
          <p:spPr bwMode="auto">
            <a:xfrm>
              <a:off x="5795963" y="3382963"/>
              <a:ext cx="33337" cy="26987"/>
            </a:xfrm>
            <a:custGeom>
              <a:avLst/>
              <a:gdLst>
                <a:gd name="T0" fmla="*/ 2147483647 w 17"/>
                <a:gd name="T1" fmla="*/ 2147483647 h 17"/>
                <a:gd name="T2" fmla="*/ 0 w 17"/>
                <a:gd name="T3" fmla="*/ 0 h 17"/>
                <a:gd name="T4" fmla="*/ 2147483647 w 17"/>
                <a:gd name="T5" fmla="*/ 2147483647 h 17"/>
                <a:gd name="T6" fmla="*/ 0 60000 65536"/>
                <a:gd name="T7" fmla="*/ 0 60000 65536"/>
                <a:gd name="T8" fmla="*/ 0 60000 65536"/>
                <a:gd name="T9" fmla="*/ 0 w 17"/>
                <a:gd name="T10" fmla="*/ 0 h 17"/>
                <a:gd name="T11" fmla="*/ 17 w 17"/>
                <a:gd name="T12" fmla="*/ 17 h 17"/>
              </a:gdLst>
              <a:ahLst/>
              <a:cxnLst>
                <a:cxn ang="T6">
                  <a:pos x="T0" y="T1"/>
                </a:cxn>
                <a:cxn ang="T7">
                  <a:pos x="T2" y="T3"/>
                </a:cxn>
                <a:cxn ang="T8">
                  <a:pos x="T4" y="T5"/>
                </a:cxn>
              </a:cxnLst>
              <a:rect l="T9" t="T10" r="T11" b="T12"/>
              <a:pathLst>
                <a:path w="17" h="17">
                  <a:moveTo>
                    <a:pt x="16" y="16"/>
                  </a:moveTo>
                  <a:lnTo>
                    <a:pt x="0" y="0"/>
                  </a:lnTo>
                  <a:lnTo>
                    <a:pt x="16" y="16"/>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0" name="Freeform 246">
              <a:extLst>
                <a:ext uri="{FF2B5EF4-FFF2-40B4-BE49-F238E27FC236}">
                  <a16:creationId xmlns:a16="http://schemas.microsoft.com/office/drawing/2014/main" id="{CC4679BE-AE9D-48AD-B032-C1433CB26EF0}"/>
                </a:ext>
              </a:extLst>
            </p:cNvPr>
            <p:cNvSpPr>
              <a:spLocks/>
            </p:cNvSpPr>
            <p:nvPr/>
          </p:nvSpPr>
          <p:spPr bwMode="auto">
            <a:xfrm>
              <a:off x="5716588" y="3382963"/>
              <a:ext cx="111125" cy="53975"/>
            </a:xfrm>
            <a:custGeom>
              <a:avLst/>
              <a:gdLst>
                <a:gd name="T0" fmla="*/ 2147483647 w 58"/>
                <a:gd name="T1" fmla="*/ 2147483647 h 33"/>
                <a:gd name="T2" fmla="*/ 2147483647 w 58"/>
                <a:gd name="T3" fmla="*/ 2147483647 h 33"/>
                <a:gd name="T4" fmla="*/ 2147483647 w 58"/>
                <a:gd name="T5" fmla="*/ 2147483647 h 33"/>
                <a:gd name="T6" fmla="*/ 2147483647 w 58"/>
                <a:gd name="T7" fmla="*/ 2147483647 h 33"/>
                <a:gd name="T8" fmla="*/ 2147483647 w 58"/>
                <a:gd name="T9" fmla="*/ 2147483647 h 33"/>
                <a:gd name="T10" fmla="*/ 2147483647 w 58"/>
                <a:gd name="T11" fmla="*/ 2147483647 h 33"/>
                <a:gd name="T12" fmla="*/ 2147483647 w 58"/>
                <a:gd name="T13" fmla="*/ 2147483647 h 33"/>
                <a:gd name="T14" fmla="*/ 2147483647 w 58"/>
                <a:gd name="T15" fmla="*/ 0 h 33"/>
                <a:gd name="T16" fmla="*/ 2147483647 w 58"/>
                <a:gd name="T17" fmla="*/ 0 h 33"/>
                <a:gd name="T18" fmla="*/ 2147483647 w 58"/>
                <a:gd name="T19" fmla="*/ 0 h 33"/>
                <a:gd name="T20" fmla="*/ 0 w 58"/>
                <a:gd name="T21" fmla="*/ 2147483647 h 33"/>
                <a:gd name="T22" fmla="*/ 0 w 58"/>
                <a:gd name="T23" fmla="*/ 2147483647 h 33"/>
                <a:gd name="T24" fmla="*/ 2147483647 w 58"/>
                <a:gd name="T25" fmla="*/ 2147483647 h 33"/>
                <a:gd name="T26" fmla="*/ 2147483647 w 58"/>
                <a:gd name="T27" fmla="*/ 2147483647 h 33"/>
                <a:gd name="T28" fmla="*/ 2147483647 w 58"/>
                <a:gd name="T29" fmla="*/ 2147483647 h 3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8"/>
                <a:gd name="T46" fmla="*/ 0 h 33"/>
                <a:gd name="T47" fmla="*/ 58 w 58"/>
                <a:gd name="T48" fmla="*/ 33 h 3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8" h="33">
                  <a:moveTo>
                    <a:pt x="17" y="32"/>
                  </a:moveTo>
                  <a:lnTo>
                    <a:pt x="32" y="23"/>
                  </a:lnTo>
                  <a:lnTo>
                    <a:pt x="42" y="23"/>
                  </a:lnTo>
                  <a:lnTo>
                    <a:pt x="42" y="16"/>
                  </a:lnTo>
                  <a:lnTo>
                    <a:pt x="48" y="23"/>
                  </a:lnTo>
                  <a:lnTo>
                    <a:pt x="57" y="8"/>
                  </a:lnTo>
                  <a:lnTo>
                    <a:pt x="48" y="8"/>
                  </a:lnTo>
                  <a:lnTo>
                    <a:pt x="42" y="0"/>
                  </a:lnTo>
                  <a:lnTo>
                    <a:pt x="17" y="0"/>
                  </a:lnTo>
                  <a:lnTo>
                    <a:pt x="8" y="0"/>
                  </a:lnTo>
                  <a:lnTo>
                    <a:pt x="0" y="16"/>
                  </a:lnTo>
                  <a:lnTo>
                    <a:pt x="0" y="23"/>
                  </a:lnTo>
                  <a:lnTo>
                    <a:pt x="8" y="16"/>
                  </a:lnTo>
                  <a:lnTo>
                    <a:pt x="8" y="32"/>
                  </a:lnTo>
                  <a:lnTo>
                    <a:pt x="17" y="32"/>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1" name="Freeform 247">
              <a:extLst>
                <a:ext uri="{FF2B5EF4-FFF2-40B4-BE49-F238E27FC236}">
                  <a16:creationId xmlns:a16="http://schemas.microsoft.com/office/drawing/2014/main" id="{F3932ED3-FCAF-42AC-A8FA-3A5750BC94F8}"/>
                </a:ext>
              </a:extLst>
            </p:cNvPr>
            <p:cNvSpPr>
              <a:spLocks/>
            </p:cNvSpPr>
            <p:nvPr/>
          </p:nvSpPr>
          <p:spPr bwMode="auto">
            <a:xfrm>
              <a:off x="5448300" y="3262313"/>
              <a:ext cx="314325" cy="265112"/>
            </a:xfrm>
            <a:custGeom>
              <a:avLst/>
              <a:gdLst>
                <a:gd name="T0" fmla="*/ 2147483647 w 163"/>
                <a:gd name="T1" fmla="*/ 0 h 163"/>
                <a:gd name="T2" fmla="*/ 2147483647 w 163"/>
                <a:gd name="T3" fmla="*/ 2147483647 h 163"/>
                <a:gd name="T4" fmla="*/ 2147483647 w 163"/>
                <a:gd name="T5" fmla="*/ 2147483647 h 163"/>
                <a:gd name="T6" fmla="*/ 2147483647 w 163"/>
                <a:gd name="T7" fmla="*/ 2147483647 h 163"/>
                <a:gd name="T8" fmla="*/ 2147483647 w 163"/>
                <a:gd name="T9" fmla="*/ 2147483647 h 163"/>
                <a:gd name="T10" fmla="*/ 2147483647 w 163"/>
                <a:gd name="T11" fmla="*/ 2147483647 h 163"/>
                <a:gd name="T12" fmla="*/ 2147483647 w 163"/>
                <a:gd name="T13" fmla="*/ 2147483647 h 163"/>
                <a:gd name="T14" fmla="*/ 2147483647 w 163"/>
                <a:gd name="T15" fmla="*/ 2147483647 h 163"/>
                <a:gd name="T16" fmla="*/ 2147483647 w 163"/>
                <a:gd name="T17" fmla="*/ 2147483647 h 163"/>
                <a:gd name="T18" fmla="*/ 2147483647 w 163"/>
                <a:gd name="T19" fmla="*/ 2147483647 h 163"/>
                <a:gd name="T20" fmla="*/ 2147483647 w 163"/>
                <a:gd name="T21" fmla="*/ 2147483647 h 163"/>
                <a:gd name="T22" fmla="*/ 0 w 163"/>
                <a:gd name="T23" fmla="*/ 2147483647 h 163"/>
                <a:gd name="T24" fmla="*/ 0 w 163"/>
                <a:gd name="T25" fmla="*/ 2147483647 h 163"/>
                <a:gd name="T26" fmla="*/ 2147483647 w 163"/>
                <a:gd name="T27" fmla="*/ 2147483647 h 163"/>
                <a:gd name="T28" fmla="*/ 2147483647 w 163"/>
                <a:gd name="T29" fmla="*/ 2147483647 h 163"/>
                <a:gd name="T30" fmla="*/ 2147483647 w 163"/>
                <a:gd name="T31" fmla="*/ 2147483647 h 163"/>
                <a:gd name="T32" fmla="*/ 2147483647 w 163"/>
                <a:gd name="T33" fmla="*/ 2147483647 h 163"/>
                <a:gd name="T34" fmla="*/ 2147483647 w 163"/>
                <a:gd name="T35" fmla="*/ 2147483647 h 163"/>
                <a:gd name="T36" fmla="*/ 2147483647 w 163"/>
                <a:gd name="T37" fmla="*/ 2147483647 h 163"/>
                <a:gd name="T38" fmla="*/ 2147483647 w 163"/>
                <a:gd name="T39" fmla="*/ 2147483647 h 163"/>
                <a:gd name="T40" fmla="*/ 2147483647 w 163"/>
                <a:gd name="T41" fmla="*/ 2147483647 h 163"/>
                <a:gd name="T42" fmla="*/ 2147483647 w 163"/>
                <a:gd name="T43" fmla="*/ 2147483647 h 163"/>
                <a:gd name="T44" fmla="*/ 2147483647 w 163"/>
                <a:gd name="T45" fmla="*/ 2147483647 h 163"/>
                <a:gd name="T46" fmla="*/ 2147483647 w 163"/>
                <a:gd name="T47" fmla="*/ 2147483647 h 163"/>
                <a:gd name="T48" fmla="*/ 2147483647 w 163"/>
                <a:gd name="T49" fmla="*/ 2147483647 h 163"/>
                <a:gd name="T50" fmla="*/ 2147483647 w 163"/>
                <a:gd name="T51" fmla="*/ 2147483647 h 163"/>
                <a:gd name="T52" fmla="*/ 2147483647 w 163"/>
                <a:gd name="T53" fmla="*/ 2147483647 h 163"/>
                <a:gd name="T54" fmla="*/ 2147483647 w 163"/>
                <a:gd name="T55" fmla="*/ 2147483647 h 163"/>
                <a:gd name="T56" fmla="*/ 2147483647 w 163"/>
                <a:gd name="T57" fmla="*/ 2147483647 h 163"/>
                <a:gd name="T58" fmla="*/ 2147483647 w 163"/>
                <a:gd name="T59" fmla="*/ 2147483647 h 163"/>
                <a:gd name="T60" fmla="*/ 2147483647 w 163"/>
                <a:gd name="T61" fmla="*/ 2147483647 h 163"/>
                <a:gd name="T62" fmla="*/ 2147483647 w 163"/>
                <a:gd name="T63" fmla="*/ 2147483647 h 163"/>
                <a:gd name="T64" fmla="*/ 2147483647 w 163"/>
                <a:gd name="T65" fmla="*/ 2147483647 h 163"/>
                <a:gd name="T66" fmla="*/ 2147483647 w 163"/>
                <a:gd name="T67" fmla="*/ 2147483647 h 163"/>
                <a:gd name="T68" fmla="*/ 2147483647 w 163"/>
                <a:gd name="T69" fmla="*/ 2147483647 h 163"/>
                <a:gd name="T70" fmla="*/ 2147483647 w 163"/>
                <a:gd name="T71" fmla="*/ 2147483647 h 163"/>
                <a:gd name="T72" fmla="*/ 2147483647 w 163"/>
                <a:gd name="T73" fmla="*/ 2147483647 h 163"/>
                <a:gd name="T74" fmla="*/ 2147483647 w 163"/>
                <a:gd name="T75" fmla="*/ 2147483647 h 163"/>
                <a:gd name="T76" fmla="*/ 2147483647 w 163"/>
                <a:gd name="T77" fmla="*/ 2147483647 h 163"/>
                <a:gd name="T78" fmla="*/ 2147483647 w 163"/>
                <a:gd name="T79" fmla="*/ 0 h 16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63"/>
                <a:gd name="T121" fmla="*/ 0 h 163"/>
                <a:gd name="T122" fmla="*/ 163 w 163"/>
                <a:gd name="T123" fmla="*/ 163 h 16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63" h="163">
                  <a:moveTo>
                    <a:pt x="97" y="0"/>
                  </a:moveTo>
                  <a:lnTo>
                    <a:pt x="82" y="9"/>
                  </a:lnTo>
                  <a:lnTo>
                    <a:pt x="82" y="25"/>
                  </a:lnTo>
                  <a:lnTo>
                    <a:pt x="66" y="34"/>
                  </a:lnTo>
                  <a:lnTo>
                    <a:pt x="57" y="42"/>
                  </a:lnTo>
                  <a:lnTo>
                    <a:pt x="50" y="42"/>
                  </a:lnTo>
                  <a:lnTo>
                    <a:pt x="42" y="34"/>
                  </a:lnTo>
                  <a:lnTo>
                    <a:pt x="34" y="34"/>
                  </a:lnTo>
                  <a:lnTo>
                    <a:pt x="42" y="50"/>
                  </a:lnTo>
                  <a:lnTo>
                    <a:pt x="25" y="57"/>
                  </a:lnTo>
                  <a:lnTo>
                    <a:pt x="25" y="50"/>
                  </a:lnTo>
                  <a:lnTo>
                    <a:pt x="0" y="57"/>
                  </a:lnTo>
                  <a:lnTo>
                    <a:pt x="0" y="66"/>
                  </a:lnTo>
                  <a:lnTo>
                    <a:pt x="34" y="74"/>
                  </a:lnTo>
                  <a:lnTo>
                    <a:pt x="50" y="97"/>
                  </a:lnTo>
                  <a:lnTo>
                    <a:pt x="50" y="106"/>
                  </a:lnTo>
                  <a:lnTo>
                    <a:pt x="42" y="147"/>
                  </a:lnTo>
                  <a:lnTo>
                    <a:pt x="57" y="156"/>
                  </a:lnTo>
                  <a:lnTo>
                    <a:pt x="97" y="162"/>
                  </a:lnTo>
                  <a:lnTo>
                    <a:pt x="97" y="156"/>
                  </a:lnTo>
                  <a:lnTo>
                    <a:pt x="115" y="147"/>
                  </a:lnTo>
                  <a:lnTo>
                    <a:pt x="139" y="156"/>
                  </a:lnTo>
                  <a:lnTo>
                    <a:pt x="147" y="156"/>
                  </a:lnTo>
                  <a:lnTo>
                    <a:pt x="156" y="137"/>
                  </a:lnTo>
                  <a:lnTo>
                    <a:pt x="147" y="122"/>
                  </a:lnTo>
                  <a:lnTo>
                    <a:pt x="147" y="106"/>
                  </a:lnTo>
                  <a:lnTo>
                    <a:pt x="147" y="90"/>
                  </a:lnTo>
                  <a:lnTo>
                    <a:pt x="139" y="97"/>
                  </a:lnTo>
                  <a:lnTo>
                    <a:pt x="139" y="90"/>
                  </a:lnTo>
                  <a:lnTo>
                    <a:pt x="147" y="74"/>
                  </a:lnTo>
                  <a:lnTo>
                    <a:pt x="156" y="74"/>
                  </a:lnTo>
                  <a:lnTo>
                    <a:pt x="162" y="50"/>
                  </a:lnTo>
                  <a:lnTo>
                    <a:pt x="139" y="34"/>
                  </a:lnTo>
                  <a:lnTo>
                    <a:pt x="131" y="34"/>
                  </a:lnTo>
                  <a:lnTo>
                    <a:pt x="122" y="34"/>
                  </a:lnTo>
                  <a:lnTo>
                    <a:pt x="122" y="25"/>
                  </a:lnTo>
                  <a:lnTo>
                    <a:pt x="115" y="25"/>
                  </a:lnTo>
                  <a:lnTo>
                    <a:pt x="115" y="17"/>
                  </a:lnTo>
                  <a:lnTo>
                    <a:pt x="97" y="9"/>
                  </a:lnTo>
                  <a:lnTo>
                    <a:pt x="97"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2" name="Freeform 248">
              <a:extLst>
                <a:ext uri="{FF2B5EF4-FFF2-40B4-BE49-F238E27FC236}">
                  <a16:creationId xmlns:a16="http://schemas.microsoft.com/office/drawing/2014/main" id="{F850638A-6DC8-4AA8-8892-647A00E8D102}"/>
                </a:ext>
              </a:extLst>
            </p:cNvPr>
            <p:cNvSpPr>
              <a:spLocks/>
            </p:cNvSpPr>
            <p:nvPr/>
          </p:nvSpPr>
          <p:spPr bwMode="auto">
            <a:xfrm>
              <a:off x="5345113" y="3484563"/>
              <a:ext cx="293687" cy="215900"/>
            </a:xfrm>
            <a:custGeom>
              <a:avLst/>
              <a:gdLst>
                <a:gd name="T0" fmla="*/ 2147483647 w 153"/>
                <a:gd name="T1" fmla="*/ 2147483647 h 132"/>
                <a:gd name="T2" fmla="*/ 2147483647 w 153"/>
                <a:gd name="T3" fmla="*/ 2147483647 h 132"/>
                <a:gd name="T4" fmla="*/ 2147483647 w 153"/>
                <a:gd name="T5" fmla="*/ 2147483647 h 132"/>
                <a:gd name="T6" fmla="*/ 2147483647 w 153"/>
                <a:gd name="T7" fmla="*/ 2147483647 h 132"/>
                <a:gd name="T8" fmla="*/ 2147483647 w 153"/>
                <a:gd name="T9" fmla="*/ 2147483647 h 132"/>
                <a:gd name="T10" fmla="*/ 2147483647 w 153"/>
                <a:gd name="T11" fmla="*/ 2147483647 h 132"/>
                <a:gd name="T12" fmla="*/ 2147483647 w 153"/>
                <a:gd name="T13" fmla="*/ 2147483647 h 132"/>
                <a:gd name="T14" fmla="*/ 2147483647 w 153"/>
                <a:gd name="T15" fmla="*/ 2147483647 h 132"/>
                <a:gd name="T16" fmla="*/ 2147483647 w 153"/>
                <a:gd name="T17" fmla="*/ 2147483647 h 132"/>
                <a:gd name="T18" fmla="*/ 2147483647 w 153"/>
                <a:gd name="T19" fmla="*/ 2147483647 h 132"/>
                <a:gd name="T20" fmla="*/ 2147483647 w 153"/>
                <a:gd name="T21" fmla="*/ 2147483647 h 132"/>
                <a:gd name="T22" fmla="*/ 2147483647 w 153"/>
                <a:gd name="T23" fmla="*/ 2147483647 h 132"/>
                <a:gd name="T24" fmla="*/ 2147483647 w 153"/>
                <a:gd name="T25" fmla="*/ 2147483647 h 132"/>
                <a:gd name="T26" fmla="*/ 2147483647 w 153"/>
                <a:gd name="T27" fmla="*/ 2147483647 h 132"/>
                <a:gd name="T28" fmla="*/ 2147483647 w 153"/>
                <a:gd name="T29" fmla="*/ 2147483647 h 132"/>
                <a:gd name="T30" fmla="*/ 2147483647 w 153"/>
                <a:gd name="T31" fmla="*/ 2147483647 h 132"/>
                <a:gd name="T32" fmla="*/ 2147483647 w 153"/>
                <a:gd name="T33" fmla="*/ 2147483647 h 132"/>
                <a:gd name="T34" fmla="*/ 2147483647 w 153"/>
                <a:gd name="T35" fmla="*/ 2147483647 h 132"/>
                <a:gd name="T36" fmla="*/ 2147483647 w 153"/>
                <a:gd name="T37" fmla="*/ 2147483647 h 132"/>
                <a:gd name="T38" fmla="*/ 2147483647 w 153"/>
                <a:gd name="T39" fmla="*/ 2147483647 h 132"/>
                <a:gd name="T40" fmla="*/ 2147483647 w 153"/>
                <a:gd name="T41" fmla="*/ 2147483647 h 132"/>
                <a:gd name="T42" fmla="*/ 2147483647 w 153"/>
                <a:gd name="T43" fmla="*/ 0 h 132"/>
                <a:gd name="T44" fmla="*/ 2147483647 w 153"/>
                <a:gd name="T45" fmla="*/ 2147483647 h 132"/>
                <a:gd name="T46" fmla="*/ 0 w 153"/>
                <a:gd name="T47" fmla="*/ 2147483647 h 132"/>
                <a:gd name="T48" fmla="*/ 0 w 153"/>
                <a:gd name="T49" fmla="*/ 2147483647 h 132"/>
                <a:gd name="T50" fmla="*/ 2147483647 w 153"/>
                <a:gd name="T51" fmla="*/ 2147483647 h 13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3"/>
                <a:gd name="T79" fmla="*/ 0 h 132"/>
                <a:gd name="T80" fmla="*/ 153 w 153"/>
                <a:gd name="T81" fmla="*/ 132 h 13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3" h="132">
                  <a:moveTo>
                    <a:pt x="7" y="34"/>
                  </a:moveTo>
                  <a:lnTo>
                    <a:pt x="40" y="34"/>
                  </a:lnTo>
                  <a:lnTo>
                    <a:pt x="40" y="42"/>
                  </a:lnTo>
                  <a:lnTo>
                    <a:pt x="31" y="50"/>
                  </a:lnTo>
                  <a:lnTo>
                    <a:pt x="31" y="66"/>
                  </a:lnTo>
                  <a:lnTo>
                    <a:pt x="24" y="75"/>
                  </a:lnTo>
                  <a:lnTo>
                    <a:pt x="31" y="99"/>
                  </a:lnTo>
                  <a:lnTo>
                    <a:pt x="24" y="115"/>
                  </a:lnTo>
                  <a:lnTo>
                    <a:pt x="49" y="131"/>
                  </a:lnTo>
                  <a:lnTo>
                    <a:pt x="55" y="124"/>
                  </a:lnTo>
                  <a:lnTo>
                    <a:pt x="89" y="124"/>
                  </a:lnTo>
                  <a:lnTo>
                    <a:pt x="121" y="91"/>
                  </a:lnTo>
                  <a:lnTo>
                    <a:pt x="112" y="75"/>
                  </a:lnTo>
                  <a:lnTo>
                    <a:pt x="129" y="50"/>
                  </a:lnTo>
                  <a:lnTo>
                    <a:pt x="152" y="34"/>
                  </a:lnTo>
                  <a:lnTo>
                    <a:pt x="152" y="25"/>
                  </a:lnTo>
                  <a:lnTo>
                    <a:pt x="112" y="19"/>
                  </a:lnTo>
                  <a:lnTo>
                    <a:pt x="97" y="10"/>
                  </a:lnTo>
                  <a:lnTo>
                    <a:pt x="89" y="10"/>
                  </a:lnTo>
                  <a:lnTo>
                    <a:pt x="72" y="10"/>
                  </a:lnTo>
                  <a:lnTo>
                    <a:pt x="64" y="10"/>
                  </a:lnTo>
                  <a:lnTo>
                    <a:pt x="15" y="0"/>
                  </a:lnTo>
                  <a:lnTo>
                    <a:pt x="7" y="10"/>
                  </a:lnTo>
                  <a:lnTo>
                    <a:pt x="0" y="10"/>
                  </a:lnTo>
                  <a:lnTo>
                    <a:pt x="0" y="19"/>
                  </a:lnTo>
                  <a:lnTo>
                    <a:pt x="7" y="34"/>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3" name="Freeform 249">
              <a:extLst>
                <a:ext uri="{FF2B5EF4-FFF2-40B4-BE49-F238E27FC236}">
                  <a16:creationId xmlns:a16="http://schemas.microsoft.com/office/drawing/2014/main" id="{E279CAC0-86AD-43E6-B8DC-DD99448C8C37}"/>
                </a:ext>
              </a:extLst>
            </p:cNvPr>
            <p:cNvSpPr>
              <a:spLocks/>
            </p:cNvSpPr>
            <p:nvPr/>
          </p:nvSpPr>
          <p:spPr bwMode="auto">
            <a:xfrm>
              <a:off x="5345113" y="3541713"/>
              <a:ext cx="77787" cy="133350"/>
            </a:xfrm>
            <a:custGeom>
              <a:avLst/>
              <a:gdLst>
                <a:gd name="T0" fmla="*/ 2147483647 w 41"/>
                <a:gd name="T1" fmla="*/ 2147483647 h 82"/>
                <a:gd name="T2" fmla="*/ 2147483647 w 41"/>
                <a:gd name="T3" fmla="*/ 2147483647 h 82"/>
                <a:gd name="T4" fmla="*/ 2147483647 w 41"/>
                <a:gd name="T5" fmla="*/ 2147483647 h 82"/>
                <a:gd name="T6" fmla="*/ 2147483647 w 41"/>
                <a:gd name="T7" fmla="*/ 2147483647 h 82"/>
                <a:gd name="T8" fmla="*/ 2147483647 w 41"/>
                <a:gd name="T9" fmla="*/ 2147483647 h 82"/>
                <a:gd name="T10" fmla="*/ 2147483647 w 41"/>
                <a:gd name="T11" fmla="*/ 2147483647 h 82"/>
                <a:gd name="T12" fmla="*/ 2147483647 w 41"/>
                <a:gd name="T13" fmla="*/ 0 h 82"/>
                <a:gd name="T14" fmla="*/ 2147483647 w 41"/>
                <a:gd name="T15" fmla="*/ 0 h 82"/>
                <a:gd name="T16" fmla="*/ 2147483647 w 41"/>
                <a:gd name="T17" fmla="*/ 2147483647 h 82"/>
                <a:gd name="T18" fmla="*/ 0 w 41"/>
                <a:gd name="T19" fmla="*/ 2147483647 h 82"/>
                <a:gd name="T20" fmla="*/ 2147483647 w 41"/>
                <a:gd name="T21" fmla="*/ 2147483647 h 82"/>
                <a:gd name="T22" fmla="*/ 0 w 41"/>
                <a:gd name="T23" fmla="*/ 2147483647 h 82"/>
                <a:gd name="T24" fmla="*/ 2147483647 w 41"/>
                <a:gd name="T25" fmla="*/ 2147483647 h 8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1"/>
                <a:gd name="T40" fmla="*/ 0 h 82"/>
                <a:gd name="T41" fmla="*/ 41 w 41"/>
                <a:gd name="T42" fmla="*/ 82 h 8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1" h="82">
                  <a:moveTo>
                    <a:pt x="24" y="81"/>
                  </a:moveTo>
                  <a:lnTo>
                    <a:pt x="31" y="65"/>
                  </a:lnTo>
                  <a:lnTo>
                    <a:pt x="24" y="41"/>
                  </a:lnTo>
                  <a:lnTo>
                    <a:pt x="31" y="32"/>
                  </a:lnTo>
                  <a:lnTo>
                    <a:pt x="31" y="16"/>
                  </a:lnTo>
                  <a:lnTo>
                    <a:pt x="40" y="8"/>
                  </a:lnTo>
                  <a:lnTo>
                    <a:pt x="40" y="0"/>
                  </a:lnTo>
                  <a:lnTo>
                    <a:pt x="7" y="0"/>
                  </a:lnTo>
                  <a:lnTo>
                    <a:pt x="7" y="16"/>
                  </a:lnTo>
                  <a:lnTo>
                    <a:pt x="0" y="57"/>
                  </a:lnTo>
                  <a:lnTo>
                    <a:pt x="7" y="57"/>
                  </a:lnTo>
                  <a:lnTo>
                    <a:pt x="0" y="81"/>
                  </a:lnTo>
                  <a:lnTo>
                    <a:pt x="24" y="81"/>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4" name="Freeform 250">
              <a:extLst>
                <a:ext uri="{FF2B5EF4-FFF2-40B4-BE49-F238E27FC236}">
                  <a16:creationId xmlns:a16="http://schemas.microsoft.com/office/drawing/2014/main" id="{5270DC23-6C28-4F2D-BED7-79CF9CED28A8}"/>
                </a:ext>
              </a:extLst>
            </p:cNvPr>
            <p:cNvSpPr>
              <a:spLocks/>
            </p:cNvSpPr>
            <p:nvPr/>
          </p:nvSpPr>
          <p:spPr bwMode="auto">
            <a:xfrm>
              <a:off x="5730875" y="3395663"/>
              <a:ext cx="298450" cy="254000"/>
            </a:xfrm>
            <a:custGeom>
              <a:avLst/>
              <a:gdLst>
                <a:gd name="T0" fmla="*/ 2147483647 w 155"/>
                <a:gd name="T1" fmla="*/ 2147483647 h 155"/>
                <a:gd name="T2" fmla="*/ 2147483647 w 155"/>
                <a:gd name="T3" fmla="*/ 2147483647 h 155"/>
                <a:gd name="T4" fmla="*/ 2147483647 w 155"/>
                <a:gd name="T5" fmla="*/ 2147483647 h 155"/>
                <a:gd name="T6" fmla="*/ 2147483647 w 155"/>
                <a:gd name="T7" fmla="*/ 2147483647 h 155"/>
                <a:gd name="T8" fmla="*/ 2147483647 w 155"/>
                <a:gd name="T9" fmla="*/ 2147483647 h 155"/>
                <a:gd name="T10" fmla="*/ 2147483647 w 155"/>
                <a:gd name="T11" fmla="*/ 2147483647 h 155"/>
                <a:gd name="T12" fmla="*/ 2147483647 w 155"/>
                <a:gd name="T13" fmla="*/ 2147483647 h 155"/>
                <a:gd name="T14" fmla="*/ 2147483647 w 155"/>
                <a:gd name="T15" fmla="*/ 2147483647 h 155"/>
                <a:gd name="T16" fmla="*/ 2147483647 w 155"/>
                <a:gd name="T17" fmla="*/ 2147483647 h 155"/>
                <a:gd name="T18" fmla="*/ 2147483647 w 155"/>
                <a:gd name="T19" fmla="*/ 2147483647 h 155"/>
                <a:gd name="T20" fmla="*/ 2147483647 w 155"/>
                <a:gd name="T21" fmla="*/ 2147483647 h 155"/>
                <a:gd name="T22" fmla="*/ 2147483647 w 155"/>
                <a:gd name="T23" fmla="*/ 2147483647 h 155"/>
                <a:gd name="T24" fmla="*/ 2147483647 w 155"/>
                <a:gd name="T25" fmla="*/ 2147483647 h 155"/>
                <a:gd name="T26" fmla="*/ 2147483647 w 155"/>
                <a:gd name="T27" fmla="*/ 2147483647 h 155"/>
                <a:gd name="T28" fmla="*/ 2147483647 w 155"/>
                <a:gd name="T29" fmla="*/ 2147483647 h 155"/>
                <a:gd name="T30" fmla="*/ 2147483647 w 155"/>
                <a:gd name="T31" fmla="*/ 2147483647 h 155"/>
                <a:gd name="T32" fmla="*/ 2147483647 w 155"/>
                <a:gd name="T33" fmla="*/ 2147483647 h 155"/>
                <a:gd name="T34" fmla="*/ 2147483647 w 155"/>
                <a:gd name="T35" fmla="*/ 2147483647 h 155"/>
                <a:gd name="T36" fmla="*/ 2147483647 w 155"/>
                <a:gd name="T37" fmla="*/ 2147483647 h 155"/>
                <a:gd name="T38" fmla="*/ 2147483647 w 155"/>
                <a:gd name="T39" fmla="*/ 2147483647 h 155"/>
                <a:gd name="T40" fmla="*/ 2147483647 w 155"/>
                <a:gd name="T41" fmla="*/ 2147483647 h 155"/>
                <a:gd name="T42" fmla="*/ 2147483647 w 155"/>
                <a:gd name="T43" fmla="*/ 2147483647 h 155"/>
                <a:gd name="T44" fmla="*/ 2147483647 w 155"/>
                <a:gd name="T45" fmla="*/ 2147483647 h 155"/>
                <a:gd name="T46" fmla="*/ 2147483647 w 155"/>
                <a:gd name="T47" fmla="*/ 2147483647 h 155"/>
                <a:gd name="T48" fmla="*/ 2147483647 w 155"/>
                <a:gd name="T49" fmla="*/ 2147483647 h 155"/>
                <a:gd name="T50" fmla="*/ 2147483647 w 155"/>
                <a:gd name="T51" fmla="*/ 2147483647 h 155"/>
                <a:gd name="T52" fmla="*/ 2147483647 w 155"/>
                <a:gd name="T53" fmla="*/ 2147483647 h 155"/>
                <a:gd name="T54" fmla="*/ 2147483647 w 155"/>
                <a:gd name="T55" fmla="*/ 2147483647 h 155"/>
                <a:gd name="T56" fmla="*/ 2147483647 w 155"/>
                <a:gd name="T57" fmla="*/ 0 h 155"/>
                <a:gd name="T58" fmla="*/ 2147483647 w 155"/>
                <a:gd name="T59" fmla="*/ 0 h 155"/>
                <a:gd name="T60" fmla="*/ 2147483647 w 155"/>
                <a:gd name="T61" fmla="*/ 2147483647 h 155"/>
                <a:gd name="T62" fmla="*/ 2147483647 w 155"/>
                <a:gd name="T63" fmla="*/ 2147483647 h 155"/>
                <a:gd name="T64" fmla="*/ 2147483647 w 155"/>
                <a:gd name="T65" fmla="*/ 2147483647 h 155"/>
                <a:gd name="T66" fmla="*/ 2147483647 w 155"/>
                <a:gd name="T67" fmla="*/ 2147483647 h 155"/>
                <a:gd name="T68" fmla="*/ 2147483647 w 155"/>
                <a:gd name="T69" fmla="*/ 2147483647 h 155"/>
                <a:gd name="T70" fmla="*/ 0 w 155"/>
                <a:gd name="T71" fmla="*/ 2147483647 h 155"/>
                <a:gd name="T72" fmla="*/ 0 w 155"/>
                <a:gd name="T73" fmla="*/ 2147483647 h 155"/>
                <a:gd name="T74" fmla="*/ 2147483647 w 155"/>
                <a:gd name="T75" fmla="*/ 2147483647 h 15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55"/>
                <a:gd name="T115" fmla="*/ 0 h 155"/>
                <a:gd name="T116" fmla="*/ 155 w 155"/>
                <a:gd name="T117" fmla="*/ 155 h 15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55" h="155">
                  <a:moveTo>
                    <a:pt x="9" y="55"/>
                  </a:moveTo>
                  <a:lnTo>
                    <a:pt x="24" y="49"/>
                  </a:lnTo>
                  <a:lnTo>
                    <a:pt x="40" y="55"/>
                  </a:lnTo>
                  <a:lnTo>
                    <a:pt x="56" y="80"/>
                  </a:lnTo>
                  <a:lnTo>
                    <a:pt x="65" y="80"/>
                  </a:lnTo>
                  <a:lnTo>
                    <a:pt x="74" y="97"/>
                  </a:lnTo>
                  <a:lnTo>
                    <a:pt x="89" y="105"/>
                  </a:lnTo>
                  <a:lnTo>
                    <a:pt x="106" y="121"/>
                  </a:lnTo>
                  <a:lnTo>
                    <a:pt x="114" y="121"/>
                  </a:lnTo>
                  <a:lnTo>
                    <a:pt x="121" y="146"/>
                  </a:lnTo>
                  <a:lnTo>
                    <a:pt x="114" y="154"/>
                  </a:lnTo>
                  <a:lnTo>
                    <a:pt x="121" y="154"/>
                  </a:lnTo>
                  <a:lnTo>
                    <a:pt x="131" y="146"/>
                  </a:lnTo>
                  <a:lnTo>
                    <a:pt x="131" y="137"/>
                  </a:lnTo>
                  <a:lnTo>
                    <a:pt x="131" y="130"/>
                  </a:lnTo>
                  <a:lnTo>
                    <a:pt x="131" y="114"/>
                  </a:lnTo>
                  <a:lnTo>
                    <a:pt x="146" y="130"/>
                  </a:lnTo>
                  <a:lnTo>
                    <a:pt x="154" y="121"/>
                  </a:lnTo>
                  <a:lnTo>
                    <a:pt x="114" y="97"/>
                  </a:lnTo>
                  <a:lnTo>
                    <a:pt x="121" y="89"/>
                  </a:lnTo>
                  <a:lnTo>
                    <a:pt x="114" y="89"/>
                  </a:lnTo>
                  <a:lnTo>
                    <a:pt x="97" y="80"/>
                  </a:lnTo>
                  <a:lnTo>
                    <a:pt x="89" y="65"/>
                  </a:lnTo>
                  <a:lnTo>
                    <a:pt x="74" y="49"/>
                  </a:lnTo>
                  <a:lnTo>
                    <a:pt x="74" y="24"/>
                  </a:lnTo>
                  <a:lnTo>
                    <a:pt x="89" y="24"/>
                  </a:lnTo>
                  <a:lnTo>
                    <a:pt x="89" y="15"/>
                  </a:lnTo>
                  <a:lnTo>
                    <a:pt x="89" y="8"/>
                  </a:lnTo>
                  <a:lnTo>
                    <a:pt x="74" y="0"/>
                  </a:lnTo>
                  <a:lnTo>
                    <a:pt x="49" y="0"/>
                  </a:lnTo>
                  <a:lnTo>
                    <a:pt x="40" y="15"/>
                  </a:lnTo>
                  <a:lnTo>
                    <a:pt x="34" y="8"/>
                  </a:lnTo>
                  <a:lnTo>
                    <a:pt x="34" y="15"/>
                  </a:lnTo>
                  <a:lnTo>
                    <a:pt x="24" y="15"/>
                  </a:lnTo>
                  <a:lnTo>
                    <a:pt x="9" y="24"/>
                  </a:lnTo>
                  <a:lnTo>
                    <a:pt x="0" y="24"/>
                  </a:lnTo>
                  <a:lnTo>
                    <a:pt x="0" y="40"/>
                  </a:lnTo>
                  <a:lnTo>
                    <a:pt x="9" y="55"/>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5" name="Freeform 251">
              <a:extLst>
                <a:ext uri="{FF2B5EF4-FFF2-40B4-BE49-F238E27FC236}">
                  <a16:creationId xmlns:a16="http://schemas.microsoft.com/office/drawing/2014/main" id="{08F99DBB-C89F-4EAF-A4FF-C90D33745265}"/>
                </a:ext>
              </a:extLst>
            </p:cNvPr>
            <p:cNvSpPr>
              <a:spLocks/>
            </p:cNvSpPr>
            <p:nvPr/>
          </p:nvSpPr>
          <p:spPr bwMode="auto">
            <a:xfrm>
              <a:off x="6057900" y="3354388"/>
              <a:ext cx="233363" cy="147637"/>
            </a:xfrm>
            <a:custGeom>
              <a:avLst/>
              <a:gdLst>
                <a:gd name="T0" fmla="*/ 2147483647 w 122"/>
                <a:gd name="T1" fmla="*/ 2147483647 h 91"/>
                <a:gd name="T2" fmla="*/ 2147483647 w 122"/>
                <a:gd name="T3" fmla="*/ 2147483647 h 91"/>
                <a:gd name="T4" fmla="*/ 2147483647 w 122"/>
                <a:gd name="T5" fmla="*/ 2147483647 h 91"/>
                <a:gd name="T6" fmla="*/ 2147483647 w 122"/>
                <a:gd name="T7" fmla="*/ 2147483647 h 91"/>
                <a:gd name="T8" fmla="*/ 2147483647 w 122"/>
                <a:gd name="T9" fmla="*/ 2147483647 h 91"/>
                <a:gd name="T10" fmla="*/ 2147483647 w 122"/>
                <a:gd name="T11" fmla="*/ 2147483647 h 91"/>
                <a:gd name="T12" fmla="*/ 2147483647 w 122"/>
                <a:gd name="T13" fmla="*/ 2147483647 h 91"/>
                <a:gd name="T14" fmla="*/ 2147483647 w 122"/>
                <a:gd name="T15" fmla="*/ 2147483647 h 91"/>
                <a:gd name="T16" fmla="*/ 2147483647 w 122"/>
                <a:gd name="T17" fmla="*/ 2147483647 h 91"/>
                <a:gd name="T18" fmla="*/ 2147483647 w 122"/>
                <a:gd name="T19" fmla="*/ 2147483647 h 91"/>
                <a:gd name="T20" fmla="*/ 2147483647 w 122"/>
                <a:gd name="T21" fmla="*/ 2147483647 h 91"/>
                <a:gd name="T22" fmla="*/ 2147483647 w 122"/>
                <a:gd name="T23" fmla="*/ 2147483647 h 91"/>
                <a:gd name="T24" fmla="*/ 2147483647 w 122"/>
                <a:gd name="T25" fmla="*/ 2147483647 h 91"/>
                <a:gd name="T26" fmla="*/ 2147483647 w 122"/>
                <a:gd name="T27" fmla="*/ 2147483647 h 91"/>
                <a:gd name="T28" fmla="*/ 2147483647 w 122"/>
                <a:gd name="T29" fmla="*/ 0 h 91"/>
                <a:gd name="T30" fmla="*/ 2147483647 w 122"/>
                <a:gd name="T31" fmla="*/ 0 h 91"/>
                <a:gd name="T32" fmla="*/ 2147483647 w 122"/>
                <a:gd name="T33" fmla="*/ 2147483647 h 91"/>
                <a:gd name="T34" fmla="*/ 2147483647 w 122"/>
                <a:gd name="T35" fmla="*/ 2147483647 h 91"/>
                <a:gd name="T36" fmla="*/ 2147483647 w 122"/>
                <a:gd name="T37" fmla="*/ 2147483647 h 91"/>
                <a:gd name="T38" fmla="*/ 2147483647 w 122"/>
                <a:gd name="T39" fmla="*/ 2147483647 h 91"/>
                <a:gd name="T40" fmla="*/ 2147483647 w 122"/>
                <a:gd name="T41" fmla="*/ 2147483647 h 91"/>
                <a:gd name="T42" fmla="*/ 0 w 122"/>
                <a:gd name="T43" fmla="*/ 2147483647 h 91"/>
                <a:gd name="T44" fmla="*/ 2147483647 w 122"/>
                <a:gd name="T45" fmla="*/ 2147483647 h 9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22"/>
                <a:gd name="T70" fmla="*/ 0 h 91"/>
                <a:gd name="T71" fmla="*/ 122 w 122"/>
                <a:gd name="T72" fmla="*/ 91 h 9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22" h="91">
                  <a:moveTo>
                    <a:pt x="15" y="65"/>
                  </a:moveTo>
                  <a:lnTo>
                    <a:pt x="31" y="65"/>
                  </a:lnTo>
                  <a:lnTo>
                    <a:pt x="31" y="74"/>
                  </a:lnTo>
                  <a:lnTo>
                    <a:pt x="40" y="80"/>
                  </a:lnTo>
                  <a:lnTo>
                    <a:pt x="47" y="80"/>
                  </a:lnTo>
                  <a:lnTo>
                    <a:pt x="72" y="90"/>
                  </a:lnTo>
                  <a:lnTo>
                    <a:pt x="89" y="74"/>
                  </a:lnTo>
                  <a:lnTo>
                    <a:pt x="112" y="80"/>
                  </a:lnTo>
                  <a:lnTo>
                    <a:pt x="112" y="74"/>
                  </a:lnTo>
                  <a:lnTo>
                    <a:pt x="121" y="65"/>
                  </a:lnTo>
                  <a:lnTo>
                    <a:pt x="121" y="58"/>
                  </a:lnTo>
                  <a:lnTo>
                    <a:pt x="105" y="58"/>
                  </a:lnTo>
                  <a:lnTo>
                    <a:pt x="105" y="49"/>
                  </a:lnTo>
                  <a:lnTo>
                    <a:pt x="105" y="25"/>
                  </a:lnTo>
                  <a:lnTo>
                    <a:pt x="89" y="0"/>
                  </a:lnTo>
                  <a:lnTo>
                    <a:pt x="80" y="0"/>
                  </a:lnTo>
                  <a:lnTo>
                    <a:pt x="65" y="9"/>
                  </a:lnTo>
                  <a:lnTo>
                    <a:pt x="55" y="9"/>
                  </a:lnTo>
                  <a:lnTo>
                    <a:pt x="31" y="9"/>
                  </a:lnTo>
                  <a:lnTo>
                    <a:pt x="24" y="9"/>
                  </a:lnTo>
                  <a:lnTo>
                    <a:pt x="15" y="40"/>
                  </a:lnTo>
                  <a:lnTo>
                    <a:pt x="0" y="40"/>
                  </a:lnTo>
                  <a:lnTo>
                    <a:pt x="15" y="65"/>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6" name="Freeform 252">
              <a:extLst>
                <a:ext uri="{FF2B5EF4-FFF2-40B4-BE49-F238E27FC236}">
                  <a16:creationId xmlns:a16="http://schemas.microsoft.com/office/drawing/2014/main" id="{F409B93D-8036-4920-BCB8-E79861145BCB}"/>
                </a:ext>
              </a:extLst>
            </p:cNvPr>
            <p:cNvSpPr>
              <a:spLocks/>
            </p:cNvSpPr>
            <p:nvPr/>
          </p:nvSpPr>
          <p:spPr bwMode="auto">
            <a:xfrm>
              <a:off x="6057900" y="3554413"/>
              <a:ext cx="155575" cy="107950"/>
            </a:xfrm>
            <a:custGeom>
              <a:avLst/>
              <a:gdLst>
                <a:gd name="T0" fmla="*/ 2147483647 w 81"/>
                <a:gd name="T1" fmla="*/ 2147483647 h 66"/>
                <a:gd name="T2" fmla="*/ 2147483647 w 81"/>
                <a:gd name="T3" fmla="*/ 0 h 66"/>
                <a:gd name="T4" fmla="*/ 2147483647 w 81"/>
                <a:gd name="T5" fmla="*/ 0 h 66"/>
                <a:gd name="T6" fmla="*/ 2147483647 w 81"/>
                <a:gd name="T7" fmla="*/ 2147483647 h 66"/>
                <a:gd name="T8" fmla="*/ 2147483647 w 81"/>
                <a:gd name="T9" fmla="*/ 0 h 66"/>
                <a:gd name="T10" fmla="*/ 2147483647 w 81"/>
                <a:gd name="T11" fmla="*/ 2147483647 h 66"/>
                <a:gd name="T12" fmla="*/ 2147483647 w 81"/>
                <a:gd name="T13" fmla="*/ 2147483647 h 66"/>
                <a:gd name="T14" fmla="*/ 2147483647 w 81"/>
                <a:gd name="T15" fmla="*/ 2147483647 h 66"/>
                <a:gd name="T16" fmla="*/ 2147483647 w 81"/>
                <a:gd name="T17" fmla="*/ 2147483647 h 66"/>
                <a:gd name="T18" fmla="*/ 2147483647 w 81"/>
                <a:gd name="T19" fmla="*/ 2147483647 h 66"/>
                <a:gd name="T20" fmla="*/ 2147483647 w 81"/>
                <a:gd name="T21" fmla="*/ 2147483647 h 66"/>
                <a:gd name="T22" fmla="*/ 2147483647 w 81"/>
                <a:gd name="T23" fmla="*/ 2147483647 h 66"/>
                <a:gd name="T24" fmla="*/ 2147483647 w 81"/>
                <a:gd name="T25" fmla="*/ 2147483647 h 66"/>
                <a:gd name="T26" fmla="*/ 2147483647 w 81"/>
                <a:gd name="T27" fmla="*/ 2147483647 h 66"/>
                <a:gd name="T28" fmla="*/ 2147483647 w 81"/>
                <a:gd name="T29" fmla="*/ 2147483647 h 66"/>
                <a:gd name="T30" fmla="*/ 2147483647 w 81"/>
                <a:gd name="T31" fmla="*/ 2147483647 h 66"/>
                <a:gd name="T32" fmla="*/ 2147483647 w 81"/>
                <a:gd name="T33" fmla="*/ 2147483647 h 66"/>
                <a:gd name="T34" fmla="*/ 2147483647 w 81"/>
                <a:gd name="T35" fmla="*/ 2147483647 h 66"/>
                <a:gd name="T36" fmla="*/ 0 w 81"/>
                <a:gd name="T37" fmla="*/ 2147483647 h 66"/>
                <a:gd name="T38" fmla="*/ 2147483647 w 81"/>
                <a:gd name="T39" fmla="*/ 2147483647 h 66"/>
                <a:gd name="T40" fmla="*/ 2147483647 w 81"/>
                <a:gd name="T41" fmla="*/ 2147483647 h 6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1"/>
                <a:gd name="T64" fmla="*/ 0 h 66"/>
                <a:gd name="T65" fmla="*/ 81 w 81"/>
                <a:gd name="T66" fmla="*/ 66 h 6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1" h="66">
                  <a:moveTo>
                    <a:pt x="15" y="8"/>
                  </a:moveTo>
                  <a:lnTo>
                    <a:pt x="40" y="0"/>
                  </a:lnTo>
                  <a:lnTo>
                    <a:pt x="55" y="0"/>
                  </a:lnTo>
                  <a:lnTo>
                    <a:pt x="72" y="8"/>
                  </a:lnTo>
                  <a:lnTo>
                    <a:pt x="80" y="0"/>
                  </a:lnTo>
                  <a:lnTo>
                    <a:pt x="72" y="17"/>
                  </a:lnTo>
                  <a:lnTo>
                    <a:pt x="55" y="8"/>
                  </a:lnTo>
                  <a:lnTo>
                    <a:pt x="47" y="17"/>
                  </a:lnTo>
                  <a:lnTo>
                    <a:pt x="47" y="24"/>
                  </a:lnTo>
                  <a:lnTo>
                    <a:pt x="40" y="24"/>
                  </a:lnTo>
                  <a:lnTo>
                    <a:pt x="31" y="17"/>
                  </a:lnTo>
                  <a:lnTo>
                    <a:pt x="31" y="24"/>
                  </a:lnTo>
                  <a:lnTo>
                    <a:pt x="40" y="40"/>
                  </a:lnTo>
                  <a:lnTo>
                    <a:pt x="55" y="57"/>
                  </a:lnTo>
                  <a:lnTo>
                    <a:pt x="47" y="57"/>
                  </a:lnTo>
                  <a:lnTo>
                    <a:pt x="47" y="65"/>
                  </a:lnTo>
                  <a:lnTo>
                    <a:pt x="31" y="57"/>
                  </a:lnTo>
                  <a:lnTo>
                    <a:pt x="15" y="57"/>
                  </a:lnTo>
                  <a:lnTo>
                    <a:pt x="0" y="33"/>
                  </a:lnTo>
                  <a:lnTo>
                    <a:pt x="15" y="17"/>
                  </a:lnTo>
                  <a:lnTo>
                    <a:pt x="15" y="8"/>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7" name="Freeform 253">
              <a:extLst>
                <a:ext uri="{FF2B5EF4-FFF2-40B4-BE49-F238E27FC236}">
                  <a16:creationId xmlns:a16="http://schemas.microsoft.com/office/drawing/2014/main" id="{65AF92DD-979A-4B87-9B08-E5F9CFF3B704}"/>
                </a:ext>
              </a:extLst>
            </p:cNvPr>
            <p:cNvSpPr>
              <a:spLocks/>
            </p:cNvSpPr>
            <p:nvPr/>
          </p:nvSpPr>
          <p:spPr bwMode="auto">
            <a:xfrm>
              <a:off x="6429375" y="3671888"/>
              <a:ext cx="190500" cy="120650"/>
            </a:xfrm>
            <a:custGeom>
              <a:avLst/>
              <a:gdLst>
                <a:gd name="T0" fmla="*/ 0 w 98"/>
                <a:gd name="T1" fmla="*/ 2147483647 h 73"/>
                <a:gd name="T2" fmla="*/ 2147483647 w 98"/>
                <a:gd name="T3" fmla="*/ 2147483647 h 73"/>
                <a:gd name="T4" fmla="*/ 2147483647 w 98"/>
                <a:gd name="T5" fmla="*/ 2147483647 h 73"/>
                <a:gd name="T6" fmla="*/ 2147483647 w 98"/>
                <a:gd name="T7" fmla="*/ 2147483647 h 73"/>
                <a:gd name="T8" fmla="*/ 2147483647 w 98"/>
                <a:gd name="T9" fmla="*/ 2147483647 h 73"/>
                <a:gd name="T10" fmla="*/ 2147483647 w 98"/>
                <a:gd name="T11" fmla="*/ 2147483647 h 73"/>
                <a:gd name="T12" fmla="*/ 2147483647 w 98"/>
                <a:gd name="T13" fmla="*/ 2147483647 h 73"/>
                <a:gd name="T14" fmla="*/ 2147483647 w 98"/>
                <a:gd name="T15" fmla="*/ 0 h 73"/>
                <a:gd name="T16" fmla="*/ 2147483647 w 98"/>
                <a:gd name="T17" fmla="*/ 2147483647 h 73"/>
                <a:gd name="T18" fmla="*/ 2147483647 w 98"/>
                <a:gd name="T19" fmla="*/ 0 h 73"/>
                <a:gd name="T20" fmla="*/ 2147483647 w 98"/>
                <a:gd name="T21" fmla="*/ 0 h 73"/>
                <a:gd name="T22" fmla="*/ 2147483647 w 98"/>
                <a:gd name="T23" fmla="*/ 2147483647 h 73"/>
                <a:gd name="T24" fmla="*/ 2147483647 w 98"/>
                <a:gd name="T25" fmla="*/ 2147483647 h 73"/>
                <a:gd name="T26" fmla="*/ 2147483647 w 98"/>
                <a:gd name="T27" fmla="*/ 2147483647 h 73"/>
                <a:gd name="T28" fmla="*/ 2147483647 w 98"/>
                <a:gd name="T29" fmla="*/ 2147483647 h 73"/>
                <a:gd name="T30" fmla="*/ 2147483647 w 98"/>
                <a:gd name="T31" fmla="*/ 2147483647 h 73"/>
                <a:gd name="T32" fmla="*/ 0 w 98"/>
                <a:gd name="T33" fmla="*/ 2147483647 h 7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8"/>
                <a:gd name="T52" fmla="*/ 0 h 73"/>
                <a:gd name="T53" fmla="*/ 98 w 98"/>
                <a:gd name="T54" fmla="*/ 73 h 7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8" h="73">
                  <a:moveTo>
                    <a:pt x="0" y="72"/>
                  </a:moveTo>
                  <a:lnTo>
                    <a:pt x="8" y="66"/>
                  </a:lnTo>
                  <a:lnTo>
                    <a:pt x="17" y="49"/>
                  </a:lnTo>
                  <a:lnTo>
                    <a:pt x="8" y="41"/>
                  </a:lnTo>
                  <a:lnTo>
                    <a:pt x="8" y="16"/>
                  </a:lnTo>
                  <a:lnTo>
                    <a:pt x="17" y="16"/>
                  </a:lnTo>
                  <a:lnTo>
                    <a:pt x="17" y="9"/>
                  </a:lnTo>
                  <a:lnTo>
                    <a:pt x="42" y="0"/>
                  </a:lnTo>
                  <a:lnTo>
                    <a:pt x="48" y="9"/>
                  </a:lnTo>
                  <a:lnTo>
                    <a:pt x="73" y="0"/>
                  </a:lnTo>
                  <a:lnTo>
                    <a:pt x="97" y="0"/>
                  </a:lnTo>
                  <a:lnTo>
                    <a:pt x="82" y="9"/>
                  </a:lnTo>
                  <a:lnTo>
                    <a:pt x="73" y="41"/>
                  </a:lnTo>
                  <a:lnTo>
                    <a:pt x="48" y="56"/>
                  </a:lnTo>
                  <a:lnTo>
                    <a:pt x="42" y="56"/>
                  </a:lnTo>
                  <a:lnTo>
                    <a:pt x="17" y="72"/>
                  </a:lnTo>
                  <a:lnTo>
                    <a:pt x="0" y="72"/>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8" name="Freeform 254">
              <a:extLst>
                <a:ext uri="{FF2B5EF4-FFF2-40B4-BE49-F238E27FC236}">
                  <a16:creationId xmlns:a16="http://schemas.microsoft.com/office/drawing/2014/main" id="{B32F23FE-F6A1-4249-A38F-02993250F546}"/>
                </a:ext>
              </a:extLst>
            </p:cNvPr>
            <p:cNvSpPr>
              <a:spLocks/>
            </p:cNvSpPr>
            <p:nvPr/>
          </p:nvSpPr>
          <p:spPr bwMode="auto">
            <a:xfrm>
              <a:off x="6415088" y="3763963"/>
              <a:ext cx="109537" cy="107950"/>
            </a:xfrm>
            <a:custGeom>
              <a:avLst/>
              <a:gdLst>
                <a:gd name="T0" fmla="*/ 2147483647 w 57"/>
                <a:gd name="T1" fmla="*/ 2147483647 h 66"/>
                <a:gd name="T2" fmla="*/ 2147483647 w 57"/>
                <a:gd name="T3" fmla="*/ 0 h 66"/>
                <a:gd name="T4" fmla="*/ 2147483647 w 57"/>
                <a:gd name="T5" fmla="*/ 0 h 66"/>
                <a:gd name="T6" fmla="*/ 2147483647 w 57"/>
                <a:gd name="T7" fmla="*/ 2147483647 h 66"/>
                <a:gd name="T8" fmla="*/ 2147483647 w 57"/>
                <a:gd name="T9" fmla="*/ 2147483647 h 66"/>
                <a:gd name="T10" fmla="*/ 2147483647 w 57"/>
                <a:gd name="T11" fmla="*/ 2147483647 h 66"/>
                <a:gd name="T12" fmla="*/ 2147483647 w 57"/>
                <a:gd name="T13" fmla="*/ 2147483647 h 66"/>
                <a:gd name="T14" fmla="*/ 0 w 57"/>
                <a:gd name="T15" fmla="*/ 2147483647 h 66"/>
                <a:gd name="T16" fmla="*/ 2147483647 w 57"/>
                <a:gd name="T17" fmla="*/ 2147483647 h 66"/>
                <a:gd name="T18" fmla="*/ 2147483647 w 57"/>
                <a:gd name="T19" fmla="*/ 2147483647 h 66"/>
                <a:gd name="T20" fmla="*/ 2147483647 w 57"/>
                <a:gd name="T21" fmla="*/ 2147483647 h 66"/>
                <a:gd name="T22" fmla="*/ 2147483647 w 57"/>
                <a:gd name="T23" fmla="*/ 2147483647 h 66"/>
                <a:gd name="T24" fmla="*/ 2147483647 w 57"/>
                <a:gd name="T25" fmla="*/ 2147483647 h 66"/>
                <a:gd name="T26" fmla="*/ 2147483647 w 57"/>
                <a:gd name="T27" fmla="*/ 2147483647 h 6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7"/>
                <a:gd name="T43" fmla="*/ 0 h 66"/>
                <a:gd name="T44" fmla="*/ 57 w 57"/>
                <a:gd name="T45" fmla="*/ 66 h 6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7" h="66">
                  <a:moveTo>
                    <a:pt x="56" y="16"/>
                  </a:moveTo>
                  <a:lnTo>
                    <a:pt x="56" y="0"/>
                  </a:lnTo>
                  <a:lnTo>
                    <a:pt x="50" y="0"/>
                  </a:lnTo>
                  <a:lnTo>
                    <a:pt x="25" y="16"/>
                  </a:lnTo>
                  <a:lnTo>
                    <a:pt x="8" y="16"/>
                  </a:lnTo>
                  <a:lnTo>
                    <a:pt x="8" y="25"/>
                  </a:lnTo>
                  <a:lnTo>
                    <a:pt x="8" y="41"/>
                  </a:lnTo>
                  <a:lnTo>
                    <a:pt x="0" y="65"/>
                  </a:lnTo>
                  <a:lnTo>
                    <a:pt x="16" y="65"/>
                  </a:lnTo>
                  <a:lnTo>
                    <a:pt x="25" y="57"/>
                  </a:lnTo>
                  <a:lnTo>
                    <a:pt x="31" y="57"/>
                  </a:lnTo>
                  <a:lnTo>
                    <a:pt x="41" y="41"/>
                  </a:lnTo>
                  <a:lnTo>
                    <a:pt x="31" y="34"/>
                  </a:lnTo>
                  <a:lnTo>
                    <a:pt x="56" y="16"/>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9" name="Freeform 255">
              <a:extLst>
                <a:ext uri="{FF2B5EF4-FFF2-40B4-BE49-F238E27FC236}">
                  <a16:creationId xmlns:a16="http://schemas.microsoft.com/office/drawing/2014/main" id="{D1C407B0-C78B-4C79-9E25-44DF02C24B52}"/>
                </a:ext>
              </a:extLst>
            </p:cNvPr>
            <p:cNvSpPr>
              <a:spLocks/>
            </p:cNvSpPr>
            <p:nvPr/>
          </p:nvSpPr>
          <p:spPr bwMode="auto">
            <a:xfrm>
              <a:off x="6429375" y="3738563"/>
              <a:ext cx="36513" cy="44450"/>
            </a:xfrm>
            <a:custGeom>
              <a:avLst/>
              <a:gdLst>
                <a:gd name="T0" fmla="*/ 2147483647 w 18"/>
                <a:gd name="T1" fmla="*/ 2147483647 h 26"/>
                <a:gd name="T2" fmla="*/ 0 w 18"/>
                <a:gd name="T3" fmla="*/ 2147483647 h 26"/>
                <a:gd name="T4" fmla="*/ 2147483647 w 18"/>
                <a:gd name="T5" fmla="*/ 0 h 26"/>
                <a:gd name="T6" fmla="*/ 2147483647 w 18"/>
                <a:gd name="T7" fmla="*/ 2147483647 h 26"/>
                <a:gd name="T8" fmla="*/ 2147483647 w 18"/>
                <a:gd name="T9" fmla="*/ 2147483647 h 26"/>
                <a:gd name="T10" fmla="*/ 0 60000 65536"/>
                <a:gd name="T11" fmla="*/ 0 60000 65536"/>
                <a:gd name="T12" fmla="*/ 0 60000 65536"/>
                <a:gd name="T13" fmla="*/ 0 60000 65536"/>
                <a:gd name="T14" fmla="*/ 0 60000 65536"/>
                <a:gd name="T15" fmla="*/ 0 w 18"/>
                <a:gd name="T16" fmla="*/ 0 h 26"/>
                <a:gd name="T17" fmla="*/ 18 w 18"/>
                <a:gd name="T18" fmla="*/ 26 h 26"/>
              </a:gdLst>
              <a:ahLst/>
              <a:cxnLst>
                <a:cxn ang="T10">
                  <a:pos x="T0" y="T1"/>
                </a:cxn>
                <a:cxn ang="T11">
                  <a:pos x="T2" y="T3"/>
                </a:cxn>
                <a:cxn ang="T12">
                  <a:pos x="T4" y="T5"/>
                </a:cxn>
                <a:cxn ang="T13">
                  <a:pos x="T6" y="T7"/>
                </a:cxn>
                <a:cxn ang="T14">
                  <a:pos x="T8" y="T9"/>
                </a:cxn>
              </a:cxnLst>
              <a:rect l="T15" t="T16" r="T17" b="T18"/>
              <a:pathLst>
                <a:path w="18" h="26">
                  <a:moveTo>
                    <a:pt x="8" y="25"/>
                  </a:moveTo>
                  <a:lnTo>
                    <a:pt x="0" y="25"/>
                  </a:lnTo>
                  <a:lnTo>
                    <a:pt x="8" y="0"/>
                  </a:lnTo>
                  <a:lnTo>
                    <a:pt x="17" y="8"/>
                  </a:lnTo>
                  <a:lnTo>
                    <a:pt x="8" y="25"/>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0" name="Freeform 256">
              <a:extLst>
                <a:ext uri="{FF2B5EF4-FFF2-40B4-BE49-F238E27FC236}">
                  <a16:creationId xmlns:a16="http://schemas.microsoft.com/office/drawing/2014/main" id="{0E688D3B-6CCF-4F9E-81EB-B93497A24609}"/>
                </a:ext>
              </a:extLst>
            </p:cNvPr>
            <p:cNvSpPr>
              <a:spLocks/>
            </p:cNvSpPr>
            <p:nvPr/>
          </p:nvSpPr>
          <p:spPr bwMode="auto">
            <a:xfrm>
              <a:off x="6429375" y="3738563"/>
              <a:ext cx="36513" cy="44450"/>
            </a:xfrm>
            <a:custGeom>
              <a:avLst/>
              <a:gdLst>
                <a:gd name="T0" fmla="*/ 2147483647 w 18"/>
                <a:gd name="T1" fmla="*/ 2147483647 h 26"/>
                <a:gd name="T2" fmla="*/ 0 w 18"/>
                <a:gd name="T3" fmla="*/ 2147483647 h 26"/>
                <a:gd name="T4" fmla="*/ 2147483647 w 18"/>
                <a:gd name="T5" fmla="*/ 0 h 26"/>
                <a:gd name="T6" fmla="*/ 2147483647 w 18"/>
                <a:gd name="T7" fmla="*/ 2147483647 h 26"/>
                <a:gd name="T8" fmla="*/ 2147483647 w 18"/>
                <a:gd name="T9" fmla="*/ 2147483647 h 26"/>
                <a:gd name="T10" fmla="*/ 0 60000 65536"/>
                <a:gd name="T11" fmla="*/ 0 60000 65536"/>
                <a:gd name="T12" fmla="*/ 0 60000 65536"/>
                <a:gd name="T13" fmla="*/ 0 60000 65536"/>
                <a:gd name="T14" fmla="*/ 0 60000 65536"/>
                <a:gd name="T15" fmla="*/ 0 w 18"/>
                <a:gd name="T16" fmla="*/ 0 h 26"/>
                <a:gd name="T17" fmla="*/ 18 w 18"/>
                <a:gd name="T18" fmla="*/ 26 h 26"/>
              </a:gdLst>
              <a:ahLst/>
              <a:cxnLst>
                <a:cxn ang="T10">
                  <a:pos x="T0" y="T1"/>
                </a:cxn>
                <a:cxn ang="T11">
                  <a:pos x="T2" y="T3"/>
                </a:cxn>
                <a:cxn ang="T12">
                  <a:pos x="T4" y="T5"/>
                </a:cxn>
                <a:cxn ang="T13">
                  <a:pos x="T6" y="T7"/>
                </a:cxn>
                <a:cxn ang="T14">
                  <a:pos x="T8" y="T9"/>
                </a:cxn>
              </a:cxnLst>
              <a:rect l="T15" t="T16" r="T17" b="T18"/>
              <a:pathLst>
                <a:path w="18" h="26">
                  <a:moveTo>
                    <a:pt x="8" y="25"/>
                  </a:moveTo>
                  <a:lnTo>
                    <a:pt x="0" y="25"/>
                  </a:lnTo>
                  <a:lnTo>
                    <a:pt x="8" y="0"/>
                  </a:lnTo>
                  <a:lnTo>
                    <a:pt x="17" y="8"/>
                  </a:lnTo>
                  <a:lnTo>
                    <a:pt x="8" y="25"/>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1" name="Freeform 257">
              <a:extLst>
                <a:ext uri="{FF2B5EF4-FFF2-40B4-BE49-F238E27FC236}">
                  <a16:creationId xmlns:a16="http://schemas.microsoft.com/office/drawing/2014/main" id="{5B905608-76C9-4E5C-8FDB-FFB012918654}"/>
                </a:ext>
              </a:extLst>
            </p:cNvPr>
            <p:cNvSpPr>
              <a:spLocks/>
            </p:cNvSpPr>
            <p:nvPr/>
          </p:nvSpPr>
          <p:spPr bwMode="auto">
            <a:xfrm>
              <a:off x="6399213" y="3779838"/>
              <a:ext cx="47625" cy="92075"/>
            </a:xfrm>
            <a:custGeom>
              <a:avLst/>
              <a:gdLst>
                <a:gd name="T0" fmla="*/ 2147483647 w 26"/>
                <a:gd name="T1" fmla="*/ 2147483647 h 56"/>
                <a:gd name="T2" fmla="*/ 2147483647 w 26"/>
                <a:gd name="T3" fmla="*/ 2147483647 h 56"/>
                <a:gd name="T4" fmla="*/ 2147483647 w 26"/>
                <a:gd name="T5" fmla="*/ 2147483647 h 56"/>
                <a:gd name="T6" fmla="*/ 2147483647 w 26"/>
                <a:gd name="T7" fmla="*/ 2147483647 h 56"/>
                <a:gd name="T8" fmla="*/ 0 w 26"/>
                <a:gd name="T9" fmla="*/ 2147483647 h 56"/>
                <a:gd name="T10" fmla="*/ 2147483647 w 26"/>
                <a:gd name="T11" fmla="*/ 2147483647 h 56"/>
                <a:gd name="T12" fmla="*/ 2147483647 w 26"/>
                <a:gd name="T13" fmla="*/ 0 h 56"/>
                <a:gd name="T14" fmla="*/ 2147483647 w 26"/>
                <a:gd name="T15" fmla="*/ 0 h 56"/>
                <a:gd name="T16" fmla="*/ 2147483647 w 26"/>
                <a:gd name="T17" fmla="*/ 2147483647 h 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
                <a:gd name="T28" fmla="*/ 0 h 56"/>
                <a:gd name="T29" fmla="*/ 26 w 26"/>
                <a:gd name="T30" fmla="*/ 56 h 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 h="56">
                  <a:moveTo>
                    <a:pt x="17" y="6"/>
                  </a:moveTo>
                  <a:lnTo>
                    <a:pt x="17" y="15"/>
                  </a:lnTo>
                  <a:lnTo>
                    <a:pt x="17" y="31"/>
                  </a:lnTo>
                  <a:lnTo>
                    <a:pt x="9" y="55"/>
                  </a:lnTo>
                  <a:lnTo>
                    <a:pt x="0" y="24"/>
                  </a:lnTo>
                  <a:lnTo>
                    <a:pt x="9" y="15"/>
                  </a:lnTo>
                  <a:lnTo>
                    <a:pt x="17" y="0"/>
                  </a:lnTo>
                  <a:lnTo>
                    <a:pt x="25" y="0"/>
                  </a:lnTo>
                  <a:lnTo>
                    <a:pt x="17" y="6"/>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2" name="Freeform 258">
              <a:extLst>
                <a:ext uri="{FF2B5EF4-FFF2-40B4-BE49-F238E27FC236}">
                  <a16:creationId xmlns:a16="http://schemas.microsoft.com/office/drawing/2014/main" id="{336EF9C5-B2E6-4F6C-8096-AE43B38083E8}"/>
                </a:ext>
              </a:extLst>
            </p:cNvPr>
            <p:cNvSpPr>
              <a:spLocks/>
            </p:cNvSpPr>
            <p:nvPr/>
          </p:nvSpPr>
          <p:spPr bwMode="auto">
            <a:xfrm>
              <a:off x="6399213" y="3779838"/>
              <a:ext cx="47625" cy="92075"/>
            </a:xfrm>
            <a:custGeom>
              <a:avLst/>
              <a:gdLst>
                <a:gd name="T0" fmla="*/ 2147483647 w 26"/>
                <a:gd name="T1" fmla="*/ 2147483647 h 56"/>
                <a:gd name="T2" fmla="*/ 2147483647 w 26"/>
                <a:gd name="T3" fmla="*/ 2147483647 h 56"/>
                <a:gd name="T4" fmla="*/ 2147483647 w 26"/>
                <a:gd name="T5" fmla="*/ 2147483647 h 56"/>
                <a:gd name="T6" fmla="*/ 2147483647 w 26"/>
                <a:gd name="T7" fmla="*/ 2147483647 h 56"/>
                <a:gd name="T8" fmla="*/ 0 w 26"/>
                <a:gd name="T9" fmla="*/ 2147483647 h 56"/>
                <a:gd name="T10" fmla="*/ 2147483647 w 26"/>
                <a:gd name="T11" fmla="*/ 2147483647 h 56"/>
                <a:gd name="T12" fmla="*/ 2147483647 w 26"/>
                <a:gd name="T13" fmla="*/ 0 h 56"/>
                <a:gd name="T14" fmla="*/ 2147483647 w 26"/>
                <a:gd name="T15" fmla="*/ 0 h 56"/>
                <a:gd name="T16" fmla="*/ 2147483647 w 26"/>
                <a:gd name="T17" fmla="*/ 2147483647 h 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
                <a:gd name="T28" fmla="*/ 0 h 56"/>
                <a:gd name="T29" fmla="*/ 26 w 26"/>
                <a:gd name="T30" fmla="*/ 56 h 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 h="56">
                  <a:moveTo>
                    <a:pt x="17" y="6"/>
                  </a:moveTo>
                  <a:lnTo>
                    <a:pt x="17" y="15"/>
                  </a:lnTo>
                  <a:lnTo>
                    <a:pt x="17" y="31"/>
                  </a:lnTo>
                  <a:lnTo>
                    <a:pt x="9" y="55"/>
                  </a:lnTo>
                  <a:lnTo>
                    <a:pt x="0" y="24"/>
                  </a:lnTo>
                  <a:lnTo>
                    <a:pt x="9" y="15"/>
                  </a:lnTo>
                  <a:lnTo>
                    <a:pt x="17" y="0"/>
                  </a:lnTo>
                  <a:lnTo>
                    <a:pt x="25" y="0"/>
                  </a:lnTo>
                  <a:lnTo>
                    <a:pt x="17" y="6"/>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3" name="Freeform 259">
              <a:extLst>
                <a:ext uri="{FF2B5EF4-FFF2-40B4-BE49-F238E27FC236}">
                  <a16:creationId xmlns:a16="http://schemas.microsoft.com/office/drawing/2014/main" id="{E7D21D13-11E6-4EE5-A084-C1E803824C80}"/>
                </a:ext>
              </a:extLst>
            </p:cNvPr>
            <p:cNvSpPr>
              <a:spLocks/>
            </p:cNvSpPr>
            <p:nvPr/>
          </p:nvSpPr>
          <p:spPr bwMode="auto">
            <a:xfrm>
              <a:off x="6523038" y="3660775"/>
              <a:ext cx="236537" cy="211138"/>
            </a:xfrm>
            <a:custGeom>
              <a:avLst/>
              <a:gdLst>
                <a:gd name="T0" fmla="*/ 2147483647 w 123"/>
                <a:gd name="T1" fmla="*/ 2147483647 h 130"/>
                <a:gd name="T2" fmla="*/ 2147483647 w 123"/>
                <a:gd name="T3" fmla="*/ 2147483647 h 130"/>
                <a:gd name="T4" fmla="*/ 2147483647 w 123"/>
                <a:gd name="T5" fmla="*/ 2147483647 h 130"/>
                <a:gd name="T6" fmla="*/ 2147483647 w 123"/>
                <a:gd name="T7" fmla="*/ 2147483647 h 130"/>
                <a:gd name="T8" fmla="*/ 2147483647 w 123"/>
                <a:gd name="T9" fmla="*/ 2147483647 h 130"/>
                <a:gd name="T10" fmla="*/ 2147483647 w 123"/>
                <a:gd name="T11" fmla="*/ 2147483647 h 130"/>
                <a:gd name="T12" fmla="*/ 2147483647 w 123"/>
                <a:gd name="T13" fmla="*/ 2147483647 h 130"/>
                <a:gd name="T14" fmla="*/ 2147483647 w 123"/>
                <a:gd name="T15" fmla="*/ 2147483647 h 130"/>
                <a:gd name="T16" fmla="*/ 2147483647 w 123"/>
                <a:gd name="T17" fmla="*/ 2147483647 h 130"/>
                <a:gd name="T18" fmla="*/ 2147483647 w 123"/>
                <a:gd name="T19" fmla="*/ 2147483647 h 130"/>
                <a:gd name="T20" fmla="*/ 2147483647 w 123"/>
                <a:gd name="T21" fmla="*/ 2147483647 h 130"/>
                <a:gd name="T22" fmla="*/ 2147483647 w 123"/>
                <a:gd name="T23" fmla="*/ 2147483647 h 130"/>
                <a:gd name="T24" fmla="*/ 2147483647 w 123"/>
                <a:gd name="T25" fmla="*/ 2147483647 h 130"/>
                <a:gd name="T26" fmla="*/ 2147483647 w 123"/>
                <a:gd name="T27" fmla="*/ 2147483647 h 130"/>
                <a:gd name="T28" fmla="*/ 2147483647 w 123"/>
                <a:gd name="T29" fmla="*/ 2147483647 h 130"/>
                <a:gd name="T30" fmla="*/ 2147483647 w 123"/>
                <a:gd name="T31" fmla="*/ 2147483647 h 130"/>
                <a:gd name="T32" fmla="*/ 2147483647 w 123"/>
                <a:gd name="T33" fmla="*/ 2147483647 h 130"/>
                <a:gd name="T34" fmla="*/ 2147483647 w 123"/>
                <a:gd name="T35" fmla="*/ 2147483647 h 130"/>
                <a:gd name="T36" fmla="*/ 0 w 123"/>
                <a:gd name="T37" fmla="*/ 2147483647 h 130"/>
                <a:gd name="T38" fmla="*/ 0 w 123"/>
                <a:gd name="T39" fmla="*/ 2147483647 h 130"/>
                <a:gd name="T40" fmla="*/ 2147483647 w 123"/>
                <a:gd name="T41" fmla="*/ 2147483647 h 130"/>
                <a:gd name="T42" fmla="*/ 2147483647 w 123"/>
                <a:gd name="T43" fmla="*/ 2147483647 h 130"/>
                <a:gd name="T44" fmla="*/ 2147483647 w 123"/>
                <a:gd name="T45" fmla="*/ 2147483647 h 130"/>
                <a:gd name="T46" fmla="*/ 2147483647 w 123"/>
                <a:gd name="T47" fmla="*/ 0 h 130"/>
                <a:gd name="T48" fmla="*/ 2147483647 w 123"/>
                <a:gd name="T49" fmla="*/ 2147483647 h 13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23"/>
                <a:gd name="T76" fmla="*/ 0 h 130"/>
                <a:gd name="T77" fmla="*/ 123 w 123"/>
                <a:gd name="T78" fmla="*/ 130 h 13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23" h="130">
                  <a:moveTo>
                    <a:pt x="74" y="8"/>
                  </a:moveTo>
                  <a:lnTo>
                    <a:pt x="81" y="24"/>
                  </a:lnTo>
                  <a:lnTo>
                    <a:pt x="90" y="24"/>
                  </a:lnTo>
                  <a:lnTo>
                    <a:pt x="90" y="40"/>
                  </a:lnTo>
                  <a:lnTo>
                    <a:pt x="81" y="57"/>
                  </a:lnTo>
                  <a:lnTo>
                    <a:pt x="90" y="74"/>
                  </a:lnTo>
                  <a:lnTo>
                    <a:pt x="106" y="80"/>
                  </a:lnTo>
                  <a:lnTo>
                    <a:pt x="114" y="105"/>
                  </a:lnTo>
                  <a:lnTo>
                    <a:pt x="122" y="114"/>
                  </a:lnTo>
                  <a:lnTo>
                    <a:pt x="122" y="121"/>
                  </a:lnTo>
                  <a:lnTo>
                    <a:pt x="106" y="121"/>
                  </a:lnTo>
                  <a:lnTo>
                    <a:pt x="97" y="129"/>
                  </a:lnTo>
                  <a:lnTo>
                    <a:pt x="81" y="121"/>
                  </a:lnTo>
                  <a:lnTo>
                    <a:pt x="74" y="129"/>
                  </a:lnTo>
                  <a:lnTo>
                    <a:pt x="57" y="121"/>
                  </a:lnTo>
                  <a:lnTo>
                    <a:pt x="57" y="114"/>
                  </a:lnTo>
                  <a:lnTo>
                    <a:pt x="49" y="105"/>
                  </a:lnTo>
                  <a:lnTo>
                    <a:pt x="25" y="89"/>
                  </a:lnTo>
                  <a:lnTo>
                    <a:pt x="0" y="80"/>
                  </a:lnTo>
                  <a:lnTo>
                    <a:pt x="0" y="64"/>
                  </a:lnTo>
                  <a:lnTo>
                    <a:pt x="25" y="49"/>
                  </a:lnTo>
                  <a:lnTo>
                    <a:pt x="34" y="17"/>
                  </a:lnTo>
                  <a:lnTo>
                    <a:pt x="49" y="8"/>
                  </a:lnTo>
                  <a:lnTo>
                    <a:pt x="49" y="0"/>
                  </a:lnTo>
                  <a:lnTo>
                    <a:pt x="74" y="8"/>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4" name="Freeform 260">
              <a:extLst>
                <a:ext uri="{FF2B5EF4-FFF2-40B4-BE49-F238E27FC236}">
                  <a16:creationId xmlns:a16="http://schemas.microsoft.com/office/drawing/2014/main" id="{85FA30A9-1D06-402B-A733-A8B2431112FA}"/>
                </a:ext>
              </a:extLst>
            </p:cNvPr>
            <p:cNvSpPr>
              <a:spLocks/>
            </p:cNvSpPr>
            <p:nvPr/>
          </p:nvSpPr>
          <p:spPr bwMode="auto">
            <a:xfrm>
              <a:off x="6664325" y="3857625"/>
              <a:ext cx="46038" cy="26988"/>
            </a:xfrm>
            <a:custGeom>
              <a:avLst/>
              <a:gdLst>
                <a:gd name="T0" fmla="*/ 0 w 24"/>
                <a:gd name="T1" fmla="*/ 2147483647 h 17"/>
                <a:gd name="T2" fmla="*/ 2147483647 w 24"/>
                <a:gd name="T3" fmla="*/ 0 h 17"/>
                <a:gd name="T4" fmla="*/ 2147483647 w 24"/>
                <a:gd name="T5" fmla="*/ 2147483647 h 17"/>
                <a:gd name="T6" fmla="*/ 2147483647 w 24"/>
                <a:gd name="T7" fmla="*/ 2147483647 h 17"/>
                <a:gd name="T8" fmla="*/ 0 w 24"/>
                <a:gd name="T9" fmla="*/ 2147483647 h 17"/>
                <a:gd name="T10" fmla="*/ 0 60000 65536"/>
                <a:gd name="T11" fmla="*/ 0 60000 65536"/>
                <a:gd name="T12" fmla="*/ 0 60000 65536"/>
                <a:gd name="T13" fmla="*/ 0 60000 65536"/>
                <a:gd name="T14" fmla="*/ 0 60000 65536"/>
                <a:gd name="T15" fmla="*/ 0 w 24"/>
                <a:gd name="T16" fmla="*/ 0 h 17"/>
                <a:gd name="T17" fmla="*/ 24 w 24"/>
                <a:gd name="T18" fmla="*/ 17 h 17"/>
              </a:gdLst>
              <a:ahLst/>
              <a:cxnLst>
                <a:cxn ang="T10">
                  <a:pos x="T0" y="T1"/>
                </a:cxn>
                <a:cxn ang="T11">
                  <a:pos x="T2" y="T3"/>
                </a:cxn>
                <a:cxn ang="T12">
                  <a:pos x="T4" y="T5"/>
                </a:cxn>
                <a:cxn ang="T13">
                  <a:pos x="T6" y="T7"/>
                </a:cxn>
                <a:cxn ang="T14">
                  <a:pos x="T8" y="T9"/>
                </a:cxn>
              </a:cxnLst>
              <a:rect l="T15" t="T16" r="T17" b="T18"/>
              <a:pathLst>
                <a:path w="24" h="17">
                  <a:moveTo>
                    <a:pt x="0" y="8"/>
                  </a:moveTo>
                  <a:lnTo>
                    <a:pt x="7" y="0"/>
                  </a:lnTo>
                  <a:lnTo>
                    <a:pt x="23" y="8"/>
                  </a:lnTo>
                  <a:lnTo>
                    <a:pt x="7" y="16"/>
                  </a:lnTo>
                  <a:lnTo>
                    <a:pt x="0" y="8"/>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5" name="Freeform 261">
              <a:extLst>
                <a:ext uri="{FF2B5EF4-FFF2-40B4-BE49-F238E27FC236}">
                  <a16:creationId xmlns:a16="http://schemas.microsoft.com/office/drawing/2014/main" id="{89F51B9D-6CFF-44FB-BEF0-23E0DBF6569D}"/>
                </a:ext>
              </a:extLst>
            </p:cNvPr>
            <p:cNvSpPr>
              <a:spLocks/>
            </p:cNvSpPr>
            <p:nvPr/>
          </p:nvSpPr>
          <p:spPr bwMode="auto">
            <a:xfrm>
              <a:off x="6664325" y="3857625"/>
              <a:ext cx="46038" cy="26988"/>
            </a:xfrm>
            <a:custGeom>
              <a:avLst/>
              <a:gdLst>
                <a:gd name="T0" fmla="*/ 0 w 24"/>
                <a:gd name="T1" fmla="*/ 2147483647 h 17"/>
                <a:gd name="T2" fmla="*/ 2147483647 w 24"/>
                <a:gd name="T3" fmla="*/ 0 h 17"/>
                <a:gd name="T4" fmla="*/ 2147483647 w 24"/>
                <a:gd name="T5" fmla="*/ 2147483647 h 17"/>
                <a:gd name="T6" fmla="*/ 2147483647 w 24"/>
                <a:gd name="T7" fmla="*/ 2147483647 h 17"/>
                <a:gd name="T8" fmla="*/ 0 w 24"/>
                <a:gd name="T9" fmla="*/ 2147483647 h 17"/>
                <a:gd name="T10" fmla="*/ 0 60000 65536"/>
                <a:gd name="T11" fmla="*/ 0 60000 65536"/>
                <a:gd name="T12" fmla="*/ 0 60000 65536"/>
                <a:gd name="T13" fmla="*/ 0 60000 65536"/>
                <a:gd name="T14" fmla="*/ 0 60000 65536"/>
                <a:gd name="T15" fmla="*/ 0 w 24"/>
                <a:gd name="T16" fmla="*/ 0 h 17"/>
                <a:gd name="T17" fmla="*/ 24 w 24"/>
                <a:gd name="T18" fmla="*/ 17 h 17"/>
              </a:gdLst>
              <a:ahLst/>
              <a:cxnLst>
                <a:cxn ang="T10">
                  <a:pos x="T0" y="T1"/>
                </a:cxn>
                <a:cxn ang="T11">
                  <a:pos x="T2" y="T3"/>
                </a:cxn>
                <a:cxn ang="T12">
                  <a:pos x="T4" y="T5"/>
                </a:cxn>
                <a:cxn ang="T13">
                  <a:pos x="T6" y="T7"/>
                </a:cxn>
                <a:cxn ang="T14">
                  <a:pos x="T8" y="T9"/>
                </a:cxn>
              </a:cxnLst>
              <a:rect l="T15" t="T16" r="T17" b="T18"/>
              <a:pathLst>
                <a:path w="24" h="17">
                  <a:moveTo>
                    <a:pt x="0" y="8"/>
                  </a:moveTo>
                  <a:lnTo>
                    <a:pt x="7" y="0"/>
                  </a:lnTo>
                  <a:lnTo>
                    <a:pt x="23" y="8"/>
                  </a:lnTo>
                  <a:lnTo>
                    <a:pt x="7" y="16"/>
                  </a:lnTo>
                  <a:lnTo>
                    <a:pt x="0" y="8"/>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6" name="Freeform 262">
              <a:extLst>
                <a:ext uri="{FF2B5EF4-FFF2-40B4-BE49-F238E27FC236}">
                  <a16:creationId xmlns:a16="http://schemas.microsoft.com/office/drawing/2014/main" id="{269E7A29-8426-4C6E-BDA4-2F9B84A66725}"/>
                </a:ext>
              </a:extLst>
            </p:cNvPr>
            <p:cNvSpPr>
              <a:spLocks/>
            </p:cNvSpPr>
            <p:nvPr/>
          </p:nvSpPr>
          <p:spPr bwMode="auto">
            <a:xfrm>
              <a:off x="6708775" y="3857625"/>
              <a:ext cx="50800" cy="26988"/>
            </a:xfrm>
            <a:custGeom>
              <a:avLst/>
              <a:gdLst>
                <a:gd name="T0" fmla="*/ 0 w 26"/>
                <a:gd name="T1" fmla="*/ 2147483647 h 17"/>
                <a:gd name="T2" fmla="*/ 2147483647 w 26"/>
                <a:gd name="T3" fmla="*/ 0 h 17"/>
                <a:gd name="T4" fmla="*/ 2147483647 w 26"/>
                <a:gd name="T5" fmla="*/ 0 h 17"/>
                <a:gd name="T6" fmla="*/ 2147483647 w 26"/>
                <a:gd name="T7" fmla="*/ 2147483647 h 17"/>
                <a:gd name="T8" fmla="*/ 2147483647 w 26"/>
                <a:gd name="T9" fmla="*/ 2147483647 h 17"/>
                <a:gd name="T10" fmla="*/ 0 w 26"/>
                <a:gd name="T11" fmla="*/ 2147483647 h 17"/>
                <a:gd name="T12" fmla="*/ 0 60000 65536"/>
                <a:gd name="T13" fmla="*/ 0 60000 65536"/>
                <a:gd name="T14" fmla="*/ 0 60000 65536"/>
                <a:gd name="T15" fmla="*/ 0 60000 65536"/>
                <a:gd name="T16" fmla="*/ 0 60000 65536"/>
                <a:gd name="T17" fmla="*/ 0 60000 65536"/>
                <a:gd name="T18" fmla="*/ 0 w 26"/>
                <a:gd name="T19" fmla="*/ 0 h 17"/>
                <a:gd name="T20" fmla="*/ 26 w 26"/>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26" h="17">
                  <a:moveTo>
                    <a:pt x="0" y="8"/>
                  </a:moveTo>
                  <a:lnTo>
                    <a:pt x="9" y="0"/>
                  </a:lnTo>
                  <a:lnTo>
                    <a:pt x="25" y="0"/>
                  </a:lnTo>
                  <a:lnTo>
                    <a:pt x="17" y="8"/>
                  </a:lnTo>
                  <a:lnTo>
                    <a:pt x="25" y="16"/>
                  </a:lnTo>
                  <a:lnTo>
                    <a:pt x="0" y="8"/>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7" name="Freeform 263">
              <a:extLst>
                <a:ext uri="{FF2B5EF4-FFF2-40B4-BE49-F238E27FC236}">
                  <a16:creationId xmlns:a16="http://schemas.microsoft.com/office/drawing/2014/main" id="{6F6CC1CC-B402-4DED-B766-1716ABF4AEF6}"/>
                </a:ext>
              </a:extLst>
            </p:cNvPr>
            <p:cNvSpPr>
              <a:spLocks/>
            </p:cNvSpPr>
            <p:nvPr/>
          </p:nvSpPr>
          <p:spPr bwMode="auto">
            <a:xfrm>
              <a:off x="6708775" y="3857625"/>
              <a:ext cx="50800" cy="26988"/>
            </a:xfrm>
            <a:custGeom>
              <a:avLst/>
              <a:gdLst>
                <a:gd name="T0" fmla="*/ 0 w 26"/>
                <a:gd name="T1" fmla="*/ 2147483647 h 17"/>
                <a:gd name="T2" fmla="*/ 2147483647 w 26"/>
                <a:gd name="T3" fmla="*/ 0 h 17"/>
                <a:gd name="T4" fmla="*/ 2147483647 w 26"/>
                <a:gd name="T5" fmla="*/ 0 h 17"/>
                <a:gd name="T6" fmla="*/ 2147483647 w 26"/>
                <a:gd name="T7" fmla="*/ 2147483647 h 17"/>
                <a:gd name="T8" fmla="*/ 2147483647 w 26"/>
                <a:gd name="T9" fmla="*/ 2147483647 h 17"/>
                <a:gd name="T10" fmla="*/ 0 w 26"/>
                <a:gd name="T11" fmla="*/ 2147483647 h 17"/>
                <a:gd name="T12" fmla="*/ 0 60000 65536"/>
                <a:gd name="T13" fmla="*/ 0 60000 65536"/>
                <a:gd name="T14" fmla="*/ 0 60000 65536"/>
                <a:gd name="T15" fmla="*/ 0 60000 65536"/>
                <a:gd name="T16" fmla="*/ 0 60000 65536"/>
                <a:gd name="T17" fmla="*/ 0 60000 65536"/>
                <a:gd name="T18" fmla="*/ 0 w 26"/>
                <a:gd name="T19" fmla="*/ 0 h 17"/>
                <a:gd name="T20" fmla="*/ 26 w 26"/>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26" h="17">
                  <a:moveTo>
                    <a:pt x="0" y="8"/>
                  </a:moveTo>
                  <a:lnTo>
                    <a:pt x="9" y="0"/>
                  </a:lnTo>
                  <a:lnTo>
                    <a:pt x="25" y="0"/>
                  </a:lnTo>
                  <a:lnTo>
                    <a:pt x="17" y="8"/>
                  </a:lnTo>
                  <a:lnTo>
                    <a:pt x="25" y="16"/>
                  </a:lnTo>
                  <a:lnTo>
                    <a:pt x="0" y="8"/>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8" name="Freeform 264">
              <a:extLst>
                <a:ext uri="{FF2B5EF4-FFF2-40B4-BE49-F238E27FC236}">
                  <a16:creationId xmlns:a16="http://schemas.microsoft.com/office/drawing/2014/main" id="{FAFFA9FD-7228-46C4-BA48-07D4C1EF50E5}"/>
                </a:ext>
              </a:extLst>
            </p:cNvPr>
            <p:cNvSpPr>
              <a:spLocks/>
            </p:cNvSpPr>
            <p:nvPr/>
          </p:nvSpPr>
          <p:spPr bwMode="auto">
            <a:xfrm>
              <a:off x="6415088" y="3790950"/>
              <a:ext cx="546100" cy="427038"/>
            </a:xfrm>
            <a:custGeom>
              <a:avLst/>
              <a:gdLst>
                <a:gd name="T0" fmla="*/ 2147483647 w 285"/>
                <a:gd name="T1" fmla="*/ 2147483647 h 262"/>
                <a:gd name="T2" fmla="*/ 2147483647 w 285"/>
                <a:gd name="T3" fmla="*/ 2147483647 h 262"/>
                <a:gd name="T4" fmla="*/ 2147483647 w 285"/>
                <a:gd name="T5" fmla="*/ 2147483647 h 262"/>
                <a:gd name="T6" fmla="*/ 2147483647 w 285"/>
                <a:gd name="T7" fmla="*/ 2147483647 h 262"/>
                <a:gd name="T8" fmla="*/ 2147483647 w 285"/>
                <a:gd name="T9" fmla="*/ 2147483647 h 262"/>
                <a:gd name="T10" fmla="*/ 2147483647 w 285"/>
                <a:gd name="T11" fmla="*/ 2147483647 h 262"/>
                <a:gd name="T12" fmla="*/ 2147483647 w 285"/>
                <a:gd name="T13" fmla="*/ 2147483647 h 262"/>
                <a:gd name="T14" fmla="*/ 2147483647 w 285"/>
                <a:gd name="T15" fmla="*/ 2147483647 h 262"/>
                <a:gd name="T16" fmla="*/ 2147483647 w 285"/>
                <a:gd name="T17" fmla="*/ 2147483647 h 262"/>
                <a:gd name="T18" fmla="*/ 2147483647 w 285"/>
                <a:gd name="T19" fmla="*/ 2147483647 h 262"/>
                <a:gd name="T20" fmla="*/ 2147483647 w 285"/>
                <a:gd name="T21" fmla="*/ 2147483647 h 262"/>
                <a:gd name="T22" fmla="*/ 2147483647 w 285"/>
                <a:gd name="T23" fmla="*/ 2147483647 h 262"/>
                <a:gd name="T24" fmla="*/ 2147483647 w 285"/>
                <a:gd name="T25" fmla="*/ 2147483647 h 262"/>
                <a:gd name="T26" fmla="*/ 2147483647 w 285"/>
                <a:gd name="T27" fmla="*/ 2147483647 h 262"/>
                <a:gd name="T28" fmla="*/ 2147483647 w 285"/>
                <a:gd name="T29" fmla="*/ 2147483647 h 262"/>
                <a:gd name="T30" fmla="*/ 2147483647 w 285"/>
                <a:gd name="T31" fmla="*/ 2147483647 h 262"/>
                <a:gd name="T32" fmla="*/ 2147483647 w 285"/>
                <a:gd name="T33" fmla="*/ 2147483647 h 262"/>
                <a:gd name="T34" fmla="*/ 2147483647 w 285"/>
                <a:gd name="T35" fmla="*/ 2147483647 h 262"/>
                <a:gd name="T36" fmla="*/ 2147483647 w 285"/>
                <a:gd name="T37" fmla="*/ 2147483647 h 262"/>
                <a:gd name="T38" fmla="*/ 2147483647 w 285"/>
                <a:gd name="T39" fmla="*/ 2147483647 h 262"/>
                <a:gd name="T40" fmla="*/ 2147483647 w 285"/>
                <a:gd name="T41" fmla="*/ 2147483647 h 262"/>
                <a:gd name="T42" fmla="*/ 2147483647 w 285"/>
                <a:gd name="T43" fmla="*/ 2147483647 h 262"/>
                <a:gd name="T44" fmla="*/ 2147483647 w 285"/>
                <a:gd name="T45" fmla="*/ 2147483647 h 262"/>
                <a:gd name="T46" fmla="*/ 2147483647 w 285"/>
                <a:gd name="T47" fmla="*/ 2147483647 h 262"/>
                <a:gd name="T48" fmla="*/ 2147483647 w 285"/>
                <a:gd name="T49" fmla="*/ 2147483647 h 262"/>
                <a:gd name="T50" fmla="*/ 2147483647 w 285"/>
                <a:gd name="T51" fmla="*/ 2147483647 h 262"/>
                <a:gd name="T52" fmla="*/ 2147483647 w 285"/>
                <a:gd name="T53" fmla="*/ 2147483647 h 262"/>
                <a:gd name="T54" fmla="*/ 2147483647 w 285"/>
                <a:gd name="T55" fmla="*/ 2147483647 h 262"/>
                <a:gd name="T56" fmla="*/ 2147483647 w 285"/>
                <a:gd name="T57" fmla="*/ 2147483647 h 262"/>
                <a:gd name="T58" fmla="*/ 2147483647 w 285"/>
                <a:gd name="T59" fmla="*/ 2147483647 h 262"/>
                <a:gd name="T60" fmla="*/ 2147483647 w 285"/>
                <a:gd name="T61" fmla="*/ 2147483647 h 262"/>
                <a:gd name="T62" fmla="*/ 2147483647 w 285"/>
                <a:gd name="T63" fmla="*/ 2147483647 h 262"/>
                <a:gd name="T64" fmla="*/ 2147483647 w 285"/>
                <a:gd name="T65" fmla="*/ 0 h 262"/>
                <a:gd name="T66" fmla="*/ 2147483647 w 285"/>
                <a:gd name="T67" fmla="*/ 2147483647 h 262"/>
                <a:gd name="T68" fmla="*/ 2147483647 w 285"/>
                <a:gd name="T69" fmla="*/ 2147483647 h 262"/>
                <a:gd name="T70" fmla="*/ 2147483647 w 285"/>
                <a:gd name="T71" fmla="*/ 2147483647 h 262"/>
                <a:gd name="T72" fmla="*/ 2147483647 w 285"/>
                <a:gd name="T73" fmla="*/ 2147483647 h 262"/>
                <a:gd name="T74" fmla="*/ 2147483647 w 285"/>
                <a:gd name="T75" fmla="*/ 2147483647 h 262"/>
                <a:gd name="T76" fmla="*/ 0 w 285"/>
                <a:gd name="T77" fmla="*/ 2147483647 h 262"/>
                <a:gd name="T78" fmla="*/ 0 w 285"/>
                <a:gd name="T79" fmla="*/ 2147483647 h 262"/>
                <a:gd name="T80" fmla="*/ 2147483647 w 285"/>
                <a:gd name="T81" fmla="*/ 2147483647 h 262"/>
                <a:gd name="T82" fmla="*/ 2147483647 w 285"/>
                <a:gd name="T83" fmla="*/ 2147483647 h 262"/>
                <a:gd name="T84" fmla="*/ 2147483647 w 285"/>
                <a:gd name="T85" fmla="*/ 2147483647 h 262"/>
                <a:gd name="T86" fmla="*/ 2147483647 w 285"/>
                <a:gd name="T87" fmla="*/ 2147483647 h 262"/>
                <a:gd name="T88" fmla="*/ 2147483647 w 285"/>
                <a:gd name="T89" fmla="*/ 2147483647 h 262"/>
                <a:gd name="T90" fmla="*/ 2147483647 w 285"/>
                <a:gd name="T91" fmla="*/ 2147483647 h 262"/>
                <a:gd name="T92" fmla="*/ 2147483647 w 285"/>
                <a:gd name="T93" fmla="*/ 2147483647 h 262"/>
                <a:gd name="T94" fmla="*/ 2147483647 w 285"/>
                <a:gd name="T95" fmla="*/ 2147483647 h 262"/>
                <a:gd name="T96" fmla="*/ 2147483647 w 285"/>
                <a:gd name="T97" fmla="*/ 2147483647 h 262"/>
                <a:gd name="T98" fmla="*/ 2147483647 w 285"/>
                <a:gd name="T99" fmla="*/ 2147483647 h 262"/>
                <a:gd name="T100" fmla="*/ 2147483647 w 285"/>
                <a:gd name="T101" fmla="*/ 2147483647 h 262"/>
                <a:gd name="T102" fmla="*/ 2147483647 w 285"/>
                <a:gd name="T103" fmla="*/ 2147483647 h 262"/>
                <a:gd name="T104" fmla="*/ 2147483647 w 285"/>
                <a:gd name="T105" fmla="*/ 2147483647 h 26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5"/>
                <a:gd name="T160" fmla="*/ 0 h 262"/>
                <a:gd name="T161" fmla="*/ 285 w 285"/>
                <a:gd name="T162" fmla="*/ 262 h 26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5" h="262">
                  <a:moveTo>
                    <a:pt x="236" y="211"/>
                  </a:moveTo>
                  <a:lnTo>
                    <a:pt x="243" y="203"/>
                  </a:lnTo>
                  <a:lnTo>
                    <a:pt x="252" y="196"/>
                  </a:lnTo>
                  <a:lnTo>
                    <a:pt x="259" y="186"/>
                  </a:lnTo>
                  <a:lnTo>
                    <a:pt x="267" y="180"/>
                  </a:lnTo>
                  <a:lnTo>
                    <a:pt x="276" y="171"/>
                  </a:lnTo>
                  <a:lnTo>
                    <a:pt x="284" y="171"/>
                  </a:lnTo>
                  <a:lnTo>
                    <a:pt x="284" y="162"/>
                  </a:lnTo>
                  <a:lnTo>
                    <a:pt x="284" y="155"/>
                  </a:lnTo>
                  <a:lnTo>
                    <a:pt x="284" y="146"/>
                  </a:lnTo>
                  <a:lnTo>
                    <a:pt x="276" y="139"/>
                  </a:lnTo>
                  <a:lnTo>
                    <a:pt x="267" y="131"/>
                  </a:lnTo>
                  <a:lnTo>
                    <a:pt x="259" y="131"/>
                  </a:lnTo>
                  <a:lnTo>
                    <a:pt x="252" y="131"/>
                  </a:lnTo>
                  <a:lnTo>
                    <a:pt x="252" y="139"/>
                  </a:lnTo>
                  <a:lnTo>
                    <a:pt x="243" y="139"/>
                  </a:lnTo>
                  <a:lnTo>
                    <a:pt x="236" y="139"/>
                  </a:lnTo>
                  <a:lnTo>
                    <a:pt x="227" y="139"/>
                  </a:lnTo>
                  <a:lnTo>
                    <a:pt x="218" y="139"/>
                  </a:lnTo>
                  <a:lnTo>
                    <a:pt x="212" y="139"/>
                  </a:lnTo>
                  <a:lnTo>
                    <a:pt x="202" y="131"/>
                  </a:lnTo>
                  <a:lnTo>
                    <a:pt x="212" y="122"/>
                  </a:lnTo>
                  <a:lnTo>
                    <a:pt x="202" y="106"/>
                  </a:lnTo>
                  <a:lnTo>
                    <a:pt x="202" y="81"/>
                  </a:lnTo>
                  <a:lnTo>
                    <a:pt x="178" y="57"/>
                  </a:lnTo>
                  <a:lnTo>
                    <a:pt x="153" y="49"/>
                  </a:lnTo>
                  <a:lnTo>
                    <a:pt x="137" y="57"/>
                  </a:lnTo>
                  <a:lnTo>
                    <a:pt x="130" y="49"/>
                  </a:lnTo>
                  <a:lnTo>
                    <a:pt x="113" y="41"/>
                  </a:lnTo>
                  <a:lnTo>
                    <a:pt x="113" y="34"/>
                  </a:lnTo>
                  <a:lnTo>
                    <a:pt x="105" y="25"/>
                  </a:lnTo>
                  <a:lnTo>
                    <a:pt x="81" y="9"/>
                  </a:lnTo>
                  <a:lnTo>
                    <a:pt x="56" y="0"/>
                  </a:lnTo>
                  <a:lnTo>
                    <a:pt x="31" y="18"/>
                  </a:lnTo>
                  <a:lnTo>
                    <a:pt x="41" y="25"/>
                  </a:lnTo>
                  <a:lnTo>
                    <a:pt x="31" y="41"/>
                  </a:lnTo>
                  <a:lnTo>
                    <a:pt x="25" y="41"/>
                  </a:lnTo>
                  <a:lnTo>
                    <a:pt x="16" y="49"/>
                  </a:lnTo>
                  <a:lnTo>
                    <a:pt x="0" y="49"/>
                  </a:lnTo>
                  <a:lnTo>
                    <a:pt x="0" y="65"/>
                  </a:lnTo>
                  <a:lnTo>
                    <a:pt x="8" y="65"/>
                  </a:lnTo>
                  <a:lnTo>
                    <a:pt x="41" y="114"/>
                  </a:lnTo>
                  <a:lnTo>
                    <a:pt x="50" y="122"/>
                  </a:lnTo>
                  <a:lnTo>
                    <a:pt x="56" y="139"/>
                  </a:lnTo>
                  <a:lnTo>
                    <a:pt x="56" y="162"/>
                  </a:lnTo>
                  <a:lnTo>
                    <a:pt x="81" y="180"/>
                  </a:lnTo>
                  <a:lnTo>
                    <a:pt x="97" y="220"/>
                  </a:lnTo>
                  <a:lnTo>
                    <a:pt x="105" y="227"/>
                  </a:lnTo>
                  <a:lnTo>
                    <a:pt x="113" y="220"/>
                  </a:lnTo>
                  <a:lnTo>
                    <a:pt x="137" y="243"/>
                  </a:lnTo>
                  <a:lnTo>
                    <a:pt x="146" y="261"/>
                  </a:lnTo>
                  <a:lnTo>
                    <a:pt x="202" y="220"/>
                  </a:lnTo>
                  <a:lnTo>
                    <a:pt x="236" y="211"/>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9" name="Freeform 265">
              <a:extLst>
                <a:ext uri="{FF2B5EF4-FFF2-40B4-BE49-F238E27FC236}">
                  <a16:creationId xmlns:a16="http://schemas.microsoft.com/office/drawing/2014/main" id="{291A5B74-1B87-4736-B4A0-6A7ED4C3CE17}"/>
                </a:ext>
              </a:extLst>
            </p:cNvPr>
            <p:cNvSpPr>
              <a:spLocks/>
            </p:cNvSpPr>
            <p:nvPr/>
          </p:nvSpPr>
          <p:spPr bwMode="auto">
            <a:xfrm>
              <a:off x="6800850" y="3948113"/>
              <a:ext cx="34925" cy="42862"/>
            </a:xfrm>
            <a:custGeom>
              <a:avLst/>
              <a:gdLst>
                <a:gd name="T0" fmla="*/ 2147483647 w 17"/>
                <a:gd name="T1" fmla="*/ 2147483647 h 26"/>
                <a:gd name="T2" fmla="*/ 0 w 17"/>
                <a:gd name="T3" fmla="*/ 2147483647 h 26"/>
                <a:gd name="T4" fmla="*/ 2147483647 w 17"/>
                <a:gd name="T5" fmla="*/ 0 h 26"/>
                <a:gd name="T6" fmla="*/ 2147483647 w 17"/>
                <a:gd name="T7" fmla="*/ 0 h 26"/>
                <a:gd name="T8" fmla="*/ 2147483647 w 17"/>
                <a:gd name="T9" fmla="*/ 2147483647 h 26"/>
                <a:gd name="T10" fmla="*/ 0 60000 65536"/>
                <a:gd name="T11" fmla="*/ 0 60000 65536"/>
                <a:gd name="T12" fmla="*/ 0 60000 65536"/>
                <a:gd name="T13" fmla="*/ 0 60000 65536"/>
                <a:gd name="T14" fmla="*/ 0 60000 65536"/>
                <a:gd name="T15" fmla="*/ 0 w 17"/>
                <a:gd name="T16" fmla="*/ 0 h 26"/>
                <a:gd name="T17" fmla="*/ 17 w 17"/>
                <a:gd name="T18" fmla="*/ 26 h 26"/>
              </a:gdLst>
              <a:ahLst/>
              <a:cxnLst>
                <a:cxn ang="T10">
                  <a:pos x="T0" y="T1"/>
                </a:cxn>
                <a:cxn ang="T11">
                  <a:pos x="T2" y="T3"/>
                </a:cxn>
                <a:cxn ang="T12">
                  <a:pos x="T4" y="T5"/>
                </a:cxn>
                <a:cxn ang="T13">
                  <a:pos x="T6" y="T7"/>
                </a:cxn>
                <a:cxn ang="T14">
                  <a:pos x="T8" y="T9"/>
                </a:cxn>
              </a:cxnLst>
              <a:rect l="T15" t="T16" r="T17" b="T18"/>
              <a:pathLst>
                <a:path w="17" h="26">
                  <a:moveTo>
                    <a:pt x="10" y="25"/>
                  </a:moveTo>
                  <a:lnTo>
                    <a:pt x="0" y="9"/>
                  </a:lnTo>
                  <a:lnTo>
                    <a:pt x="10" y="0"/>
                  </a:lnTo>
                  <a:lnTo>
                    <a:pt x="16" y="0"/>
                  </a:lnTo>
                  <a:lnTo>
                    <a:pt x="10" y="25"/>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0" name="Freeform 266">
              <a:extLst>
                <a:ext uri="{FF2B5EF4-FFF2-40B4-BE49-F238E27FC236}">
                  <a16:creationId xmlns:a16="http://schemas.microsoft.com/office/drawing/2014/main" id="{04401633-6B4F-473E-B301-ACC671C008B3}"/>
                </a:ext>
              </a:extLst>
            </p:cNvPr>
            <p:cNvSpPr>
              <a:spLocks/>
            </p:cNvSpPr>
            <p:nvPr/>
          </p:nvSpPr>
          <p:spPr bwMode="auto">
            <a:xfrm>
              <a:off x="6800850" y="3948113"/>
              <a:ext cx="160338" cy="71437"/>
            </a:xfrm>
            <a:custGeom>
              <a:avLst/>
              <a:gdLst>
                <a:gd name="T0" fmla="*/ 2147483647 w 83"/>
                <a:gd name="T1" fmla="*/ 2147483647 h 43"/>
                <a:gd name="T2" fmla="*/ 2147483647 w 83"/>
                <a:gd name="T3" fmla="*/ 2147483647 h 43"/>
                <a:gd name="T4" fmla="*/ 2147483647 w 83"/>
                <a:gd name="T5" fmla="*/ 2147483647 h 43"/>
                <a:gd name="T6" fmla="*/ 2147483647 w 83"/>
                <a:gd name="T7" fmla="*/ 0 h 43"/>
                <a:gd name="T8" fmla="*/ 2147483647 w 83"/>
                <a:gd name="T9" fmla="*/ 2147483647 h 43"/>
                <a:gd name="T10" fmla="*/ 2147483647 w 83"/>
                <a:gd name="T11" fmla="*/ 2147483647 h 43"/>
                <a:gd name="T12" fmla="*/ 2147483647 w 83"/>
                <a:gd name="T13" fmla="*/ 2147483647 h 43"/>
                <a:gd name="T14" fmla="*/ 0 w 83"/>
                <a:gd name="T15" fmla="*/ 2147483647 h 43"/>
                <a:gd name="T16" fmla="*/ 2147483647 w 83"/>
                <a:gd name="T17" fmla="*/ 2147483647 h 43"/>
                <a:gd name="T18" fmla="*/ 2147483647 w 83"/>
                <a:gd name="T19" fmla="*/ 2147483647 h 43"/>
                <a:gd name="T20" fmla="*/ 2147483647 w 83"/>
                <a:gd name="T21" fmla="*/ 2147483647 h 43"/>
                <a:gd name="T22" fmla="*/ 2147483647 w 83"/>
                <a:gd name="T23" fmla="*/ 2147483647 h 43"/>
                <a:gd name="T24" fmla="*/ 2147483647 w 83"/>
                <a:gd name="T25" fmla="*/ 2147483647 h 43"/>
                <a:gd name="T26" fmla="*/ 2147483647 w 83"/>
                <a:gd name="T27" fmla="*/ 2147483647 h 43"/>
                <a:gd name="T28" fmla="*/ 2147483647 w 83"/>
                <a:gd name="T29" fmla="*/ 2147483647 h 43"/>
                <a:gd name="T30" fmla="*/ 2147483647 w 83"/>
                <a:gd name="T31" fmla="*/ 2147483647 h 43"/>
                <a:gd name="T32" fmla="*/ 2147483647 w 83"/>
                <a:gd name="T33" fmla="*/ 2147483647 h 4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3"/>
                <a:gd name="T52" fmla="*/ 0 h 43"/>
                <a:gd name="T53" fmla="*/ 83 w 83"/>
                <a:gd name="T54" fmla="*/ 43 h 4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3" h="43">
                  <a:moveTo>
                    <a:pt x="65" y="34"/>
                  </a:moveTo>
                  <a:lnTo>
                    <a:pt x="82" y="17"/>
                  </a:lnTo>
                  <a:lnTo>
                    <a:pt x="82" y="9"/>
                  </a:lnTo>
                  <a:lnTo>
                    <a:pt x="74" y="0"/>
                  </a:lnTo>
                  <a:lnTo>
                    <a:pt x="50" y="25"/>
                  </a:lnTo>
                  <a:lnTo>
                    <a:pt x="25" y="25"/>
                  </a:lnTo>
                  <a:lnTo>
                    <a:pt x="10" y="25"/>
                  </a:lnTo>
                  <a:lnTo>
                    <a:pt x="0" y="34"/>
                  </a:lnTo>
                  <a:lnTo>
                    <a:pt x="10" y="42"/>
                  </a:lnTo>
                  <a:lnTo>
                    <a:pt x="16" y="42"/>
                  </a:lnTo>
                  <a:lnTo>
                    <a:pt x="25" y="42"/>
                  </a:lnTo>
                  <a:lnTo>
                    <a:pt x="34" y="42"/>
                  </a:lnTo>
                  <a:lnTo>
                    <a:pt x="41" y="42"/>
                  </a:lnTo>
                  <a:lnTo>
                    <a:pt x="50" y="42"/>
                  </a:lnTo>
                  <a:lnTo>
                    <a:pt x="50" y="34"/>
                  </a:lnTo>
                  <a:lnTo>
                    <a:pt x="57" y="34"/>
                  </a:lnTo>
                  <a:lnTo>
                    <a:pt x="65" y="34"/>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1" name="Freeform 267">
              <a:extLst>
                <a:ext uri="{FF2B5EF4-FFF2-40B4-BE49-F238E27FC236}">
                  <a16:creationId xmlns:a16="http://schemas.microsoft.com/office/drawing/2014/main" id="{BFA37310-02D2-446E-BEB5-296E5B20FA45}"/>
                </a:ext>
              </a:extLst>
            </p:cNvPr>
            <p:cNvSpPr>
              <a:spLocks/>
            </p:cNvSpPr>
            <p:nvPr/>
          </p:nvSpPr>
          <p:spPr bwMode="auto">
            <a:xfrm>
              <a:off x="6943725" y="3937000"/>
              <a:ext cx="33338" cy="26988"/>
            </a:xfrm>
            <a:custGeom>
              <a:avLst/>
              <a:gdLst>
                <a:gd name="T0" fmla="*/ 2147483647 w 17"/>
                <a:gd name="T1" fmla="*/ 2147483647 h 17"/>
                <a:gd name="T2" fmla="*/ 0 w 17"/>
                <a:gd name="T3" fmla="*/ 2147483647 h 17"/>
                <a:gd name="T4" fmla="*/ 0 w 17"/>
                <a:gd name="T5" fmla="*/ 0 h 17"/>
                <a:gd name="T6" fmla="*/ 2147483647 w 17"/>
                <a:gd name="T7" fmla="*/ 0 h 17"/>
                <a:gd name="T8" fmla="*/ 2147483647 w 17"/>
                <a:gd name="T9" fmla="*/ 2147483647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16" y="16"/>
                  </a:moveTo>
                  <a:lnTo>
                    <a:pt x="0" y="7"/>
                  </a:lnTo>
                  <a:lnTo>
                    <a:pt x="0" y="0"/>
                  </a:lnTo>
                  <a:lnTo>
                    <a:pt x="16" y="0"/>
                  </a:lnTo>
                  <a:lnTo>
                    <a:pt x="16" y="16"/>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2" name="Freeform 268">
              <a:extLst>
                <a:ext uri="{FF2B5EF4-FFF2-40B4-BE49-F238E27FC236}">
                  <a16:creationId xmlns:a16="http://schemas.microsoft.com/office/drawing/2014/main" id="{AF5A78D3-182B-4E18-89A0-9549064CC006}"/>
                </a:ext>
              </a:extLst>
            </p:cNvPr>
            <p:cNvSpPr>
              <a:spLocks/>
            </p:cNvSpPr>
            <p:nvPr/>
          </p:nvSpPr>
          <p:spPr bwMode="auto">
            <a:xfrm>
              <a:off x="6867525" y="3976688"/>
              <a:ext cx="171450" cy="173037"/>
            </a:xfrm>
            <a:custGeom>
              <a:avLst/>
              <a:gdLst>
                <a:gd name="T0" fmla="*/ 0 w 89"/>
                <a:gd name="T1" fmla="*/ 2147483647 h 107"/>
                <a:gd name="T2" fmla="*/ 2147483647 w 89"/>
                <a:gd name="T3" fmla="*/ 2147483647 h 107"/>
                <a:gd name="T4" fmla="*/ 2147483647 w 89"/>
                <a:gd name="T5" fmla="*/ 2147483647 h 107"/>
                <a:gd name="T6" fmla="*/ 2147483647 w 89"/>
                <a:gd name="T7" fmla="*/ 2147483647 h 107"/>
                <a:gd name="T8" fmla="*/ 2147483647 w 89"/>
                <a:gd name="T9" fmla="*/ 2147483647 h 107"/>
                <a:gd name="T10" fmla="*/ 2147483647 w 89"/>
                <a:gd name="T11" fmla="*/ 2147483647 h 107"/>
                <a:gd name="T12" fmla="*/ 2147483647 w 89"/>
                <a:gd name="T13" fmla="*/ 2147483647 h 107"/>
                <a:gd name="T14" fmla="*/ 2147483647 w 89"/>
                <a:gd name="T15" fmla="*/ 2147483647 h 107"/>
                <a:gd name="T16" fmla="*/ 2147483647 w 89"/>
                <a:gd name="T17" fmla="*/ 2147483647 h 107"/>
                <a:gd name="T18" fmla="*/ 2147483647 w 89"/>
                <a:gd name="T19" fmla="*/ 2147483647 h 107"/>
                <a:gd name="T20" fmla="*/ 2147483647 w 89"/>
                <a:gd name="T21" fmla="*/ 2147483647 h 107"/>
                <a:gd name="T22" fmla="*/ 2147483647 w 89"/>
                <a:gd name="T23" fmla="*/ 0 h 107"/>
                <a:gd name="T24" fmla="*/ 2147483647 w 89"/>
                <a:gd name="T25" fmla="*/ 2147483647 h 107"/>
                <a:gd name="T26" fmla="*/ 2147483647 w 89"/>
                <a:gd name="T27" fmla="*/ 2147483647 h 107"/>
                <a:gd name="T28" fmla="*/ 2147483647 w 89"/>
                <a:gd name="T29" fmla="*/ 2147483647 h 107"/>
                <a:gd name="T30" fmla="*/ 2147483647 w 89"/>
                <a:gd name="T31" fmla="*/ 2147483647 h 107"/>
                <a:gd name="T32" fmla="*/ 2147483647 w 89"/>
                <a:gd name="T33" fmla="*/ 2147483647 h 107"/>
                <a:gd name="T34" fmla="*/ 2147483647 w 89"/>
                <a:gd name="T35" fmla="*/ 2147483647 h 107"/>
                <a:gd name="T36" fmla="*/ 2147483647 w 89"/>
                <a:gd name="T37" fmla="*/ 2147483647 h 107"/>
                <a:gd name="T38" fmla="*/ 2147483647 w 89"/>
                <a:gd name="T39" fmla="*/ 2147483647 h 107"/>
                <a:gd name="T40" fmla="*/ 2147483647 w 89"/>
                <a:gd name="T41" fmla="*/ 2147483647 h 107"/>
                <a:gd name="T42" fmla="*/ 2147483647 w 89"/>
                <a:gd name="T43" fmla="*/ 2147483647 h 107"/>
                <a:gd name="T44" fmla="*/ 2147483647 w 89"/>
                <a:gd name="T45" fmla="*/ 2147483647 h 107"/>
                <a:gd name="T46" fmla="*/ 0 w 89"/>
                <a:gd name="T47" fmla="*/ 2147483647 h 107"/>
                <a:gd name="T48" fmla="*/ 0 w 89"/>
                <a:gd name="T49" fmla="*/ 2147483647 h 10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9"/>
                <a:gd name="T76" fmla="*/ 0 h 107"/>
                <a:gd name="T77" fmla="*/ 89 w 89"/>
                <a:gd name="T78" fmla="*/ 107 h 10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9" h="107">
                  <a:moveTo>
                    <a:pt x="0" y="106"/>
                  </a:moveTo>
                  <a:lnTo>
                    <a:pt x="23" y="106"/>
                  </a:lnTo>
                  <a:lnTo>
                    <a:pt x="31" y="97"/>
                  </a:lnTo>
                  <a:lnTo>
                    <a:pt x="40" y="89"/>
                  </a:lnTo>
                  <a:lnTo>
                    <a:pt x="56" y="82"/>
                  </a:lnTo>
                  <a:lnTo>
                    <a:pt x="65" y="72"/>
                  </a:lnTo>
                  <a:lnTo>
                    <a:pt x="65" y="66"/>
                  </a:lnTo>
                  <a:lnTo>
                    <a:pt x="81" y="41"/>
                  </a:lnTo>
                  <a:lnTo>
                    <a:pt x="88" y="32"/>
                  </a:lnTo>
                  <a:lnTo>
                    <a:pt x="72" y="17"/>
                  </a:lnTo>
                  <a:lnTo>
                    <a:pt x="56" y="8"/>
                  </a:lnTo>
                  <a:lnTo>
                    <a:pt x="48" y="0"/>
                  </a:lnTo>
                  <a:lnTo>
                    <a:pt x="31" y="17"/>
                  </a:lnTo>
                  <a:lnTo>
                    <a:pt x="40" y="25"/>
                  </a:lnTo>
                  <a:lnTo>
                    <a:pt x="48" y="32"/>
                  </a:lnTo>
                  <a:lnTo>
                    <a:pt x="48" y="41"/>
                  </a:lnTo>
                  <a:lnTo>
                    <a:pt x="48" y="48"/>
                  </a:lnTo>
                  <a:lnTo>
                    <a:pt x="48" y="57"/>
                  </a:lnTo>
                  <a:lnTo>
                    <a:pt x="40" y="57"/>
                  </a:lnTo>
                  <a:lnTo>
                    <a:pt x="31" y="66"/>
                  </a:lnTo>
                  <a:lnTo>
                    <a:pt x="23" y="72"/>
                  </a:lnTo>
                  <a:lnTo>
                    <a:pt x="16" y="82"/>
                  </a:lnTo>
                  <a:lnTo>
                    <a:pt x="7" y="89"/>
                  </a:lnTo>
                  <a:lnTo>
                    <a:pt x="0" y="97"/>
                  </a:lnTo>
                  <a:lnTo>
                    <a:pt x="0" y="106"/>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3" name="Freeform 269">
              <a:extLst>
                <a:ext uri="{FF2B5EF4-FFF2-40B4-BE49-F238E27FC236}">
                  <a16:creationId xmlns:a16="http://schemas.microsoft.com/office/drawing/2014/main" id="{1A059653-7805-4FCB-AA95-CD662FAD18D3}"/>
                </a:ext>
              </a:extLst>
            </p:cNvPr>
            <p:cNvSpPr>
              <a:spLocks/>
            </p:cNvSpPr>
            <p:nvPr/>
          </p:nvSpPr>
          <p:spPr bwMode="auto">
            <a:xfrm>
              <a:off x="6616700" y="4133850"/>
              <a:ext cx="252413" cy="107950"/>
            </a:xfrm>
            <a:custGeom>
              <a:avLst/>
              <a:gdLst>
                <a:gd name="T0" fmla="*/ 0 w 132"/>
                <a:gd name="T1" fmla="*/ 2147483647 h 66"/>
                <a:gd name="T2" fmla="*/ 2147483647 w 132"/>
                <a:gd name="T3" fmla="*/ 2147483647 h 66"/>
                <a:gd name="T4" fmla="*/ 2147483647 w 132"/>
                <a:gd name="T5" fmla="*/ 2147483647 h 66"/>
                <a:gd name="T6" fmla="*/ 2147483647 w 132"/>
                <a:gd name="T7" fmla="*/ 2147483647 h 66"/>
                <a:gd name="T8" fmla="*/ 2147483647 w 132"/>
                <a:gd name="T9" fmla="*/ 2147483647 h 66"/>
                <a:gd name="T10" fmla="*/ 2147483647 w 132"/>
                <a:gd name="T11" fmla="*/ 0 h 66"/>
                <a:gd name="T12" fmla="*/ 2147483647 w 132"/>
                <a:gd name="T13" fmla="*/ 2147483647 h 66"/>
                <a:gd name="T14" fmla="*/ 2147483647 w 132"/>
                <a:gd name="T15" fmla="*/ 2147483647 h 66"/>
                <a:gd name="T16" fmla="*/ 2147483647 w 132"/>
                <a:gd name="T17" fmla="*/ 2147483647 h 66"/>
                <a:gd name="T18" fmla="*/ 2147483647 w 132"/>
                <a:gd name="T19" fmla="*/ 2147483647 h 66"/>
                <a:gd name="T20" fmla="*/ 2147483647 w 132"/>
                <a:gd name="T21" fmla="*/ 2147483647 h 66"/>
                <a:gd name="T22" fmla="*/ 2147483647 w 132"/>
                <a:gd name="T23" fmla="*/ 2147483647 h 66"/>
                <a:gd name="T24" fmla="*/ 2147483647 w 132"/>
                <a:gd name="T25" fmla="*/ 2147483647 h 66"/>
                <a:gd name="T26" fmla="*/ 2147483647 w 132"/>
                <a:gd name="T27" fmla="*/ 2147483647 h 66"/>
                <a:gd name="T28" fmla="*/ 0 w 132"/>
                <a:gd name="T29" fmla="*/ 2147483647 h 6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2"/>
                <a:gd name="T46" fmla="*/ 0 h 66"/>
                <a:gd name="T47" fmla="*/ 132 w 132"/>
                <a:gd name="T48" fmla="*/ 66 h 6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2" h="66">
                  <a:moveTo>
                    <a:pt x="0" y="16"/>
                  </a:moveTo>
                  <a:lnTo>
                    <a:pt x="8" y="9"/>
                  </a:lnTo>
                  <a:lnTo>
                    <a:pt x="32" y="32"/>
                  </a:lnTo>
                  <a:lnTo>
                    <a:pt x="41" y="50"/>
                  </a:lnTo>
                  <a:lnTo>
                    <a:pt x="97" y="9"/>
                  </a:lnTo>
                  <a:lnTo>
                    <a:pt x="131" y="0"/>
                  </a:lnTo>
                  <a:lnTo>
                    <a:pt x="131" y="9"/>
                  </a:lnTo>
                  <a:lnTo>
                    <a:pt x="122" y="16"/>
                  </a:lnTo>
                  <a:lnTo>
                    <a:pt x="122" y="25"/>
                  </a:lnTo>
                  <a:lnTo>
                    <a:pt x="90" y="32"/>
                  </a:lnTo>
                  <a:lnTo>
                    <a:pt x="57" y="57"/>
                  </a:lnTo>
                  <a:lnTo>
                    <a:pt x="41" y="57"/>
                  </a:lnTo>
                  <a:lnTo>
                    <a:pt x="25" y="65"/>
                  </a:lnTo>
                  <a:lnTo>
                    <a:pt x="8" y="65"/>
                  </a:lnTo>
                  <a:lnTo>
                    <a:pt x="0" y="16"/>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4" name="Freeform 270">
              <a:extLst>
                <a:ext uri="{FF2B5EF4-FFF2-40B4-BE49-F238E27FC236}">
                  <a16:creationId xmlns:a16="http://schemas.microsoft.com/office/drawing/2014/main" id="{4132C8E2-E882-4527-AAA0-72C7D17C9F76}"/>
                </a:ext>
              </a:extLst>
            </p:cNvPr>
            <p:cNvSpPr>
              <a:spLocks/>
            </p:cNvSpPr>
            <p:nvPr/>
          </p:nvSpPr>
          <p:spPr bwMode="auto">
            <a:xfrm>
              <a:off x="7535863" y="3844925"/>
              <a:ext cx="185737" cy="92075"/>
            </a:xfrm>
            <a:custGeom>
              <a:avLst/>
              <a:gdLst>
                <a:gd name="T0" fmla="*/ 2147483647 w 97"/>
                <a:gd name="T1" fmla="*/ 0 h 57"/>
                <a:gd name="T2" fmla="*/ 0 w 97"/>
                <a:gd name="T3" fmla="*/ 2147483647 h 57"/>
                <a:gd name="T4" fmla="*/ 2147483647 w 97"/>
                <a:gd name="T5" fmla="*/ 2147483647 h 57"/>
                <a:gd name="T6" fmla="*/ 2147483647 w 97"/>
                <a:gd name="T7" fmla="*/ 2147483647 h 57"/>
                <a:gd name="T8" fmla="*/ 2147483647 w 97"/>
                <a:gd name="T9" fmla="*/ 2147483647 h 57"/>
                <a:gd name="T10" fmla="*/ 2147483647 w 97"/>
                <a:gd name="T11" fmla="*/ 2147483647 h 57"/>
                <a:gd name="T12" fmla="*/ 2147483647 w 97"/>
                <a:gd name="T13" fmla="*/ 2147483647 h 57"/>
                <a:gd name="T14" fmla="*/ 2147483647 w 97"/>
                <a:gd name="T15" fmla="*/ 2147483647 h 57"/>
                <a:gd name="T16" fmla="*/ 2147483647 w 97"/>
                <a:gd name="T17" fmla="*/ 2147483647 h 57"/>
                <a:gd name="T18" fmla="*/ 2147483647 w 97"/>
                <a:gd name="T19" fmla="*/ 2147483647 h 57"/>
                <a:gd name="T20" fmla="*/ 2147483647 w 97"/>
                <a:gd name="T21" fmla="*/ 2147483647 h 57"/>
                <a:gd name="T22" fmla="*/ 2147483647 w 97"/>
                <a:gd name="T23" fmla="*/ 0 h 57"/>
                <a:gd name="T24" fmla="*/ 2147483647 w 97"/>
                <a:gd name="T25" fmla="*/ 0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7"/>
                <a:gd name="T40" fmla="*/ 0 h 57"/>
                <a:gd name="T41" fmla="*/ 97 w 97"/>
                <a:gd name="T42" fmla="*/ 57 h 5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7" h="57">
                  <a:moveTo>
                    <a:pt x="6" y="0"/>
                  </a:moveTo>
                  <a:lnTo>
                    <a:pt x="0" y="23"/>
                  </a:lnTo>
                  <a:lnTo>
                    <a:pt x="15" y="31"/>
                  </a:lnTo>
                  <a:lnTo>
                    <a:pt x="87" y="56"/>
                  </a:lnTo>
                  <a:lnTo>
                    <a:pt x="96" y="56"/>
                  </a:lnTo>
                  <a:lnTo>
                    <a:pt x="96" y="47"/>
                  </a:lnTo>
                  <a:lnTo>
                    <a:pt x="96" y="31"/>
                  </a:lnTo>
                  <a:lnTo>
                    <a:pt x="72" y="31"/>
                  </a:lnTo>
                  <a:lnTo>
                    <a:pt x="55" y="23"/>
                  </a:lnTo>
                  <a:lnTo>
                    <a:pt x="47" y="15"/>
                  </a:lnTo>
                  <a:lnTo>
                    <a:pt x="40" y="15"/>
                  </a:lnTo>
                  <a:lnTo>
                    <a:pt x="24" y="0"/>
                  </a:lnTo>
                  <a:lnTo>
                    <a:pt x="6"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5" name="Freeform 271">
              <a:extLst>
                <a:ext uri="{FF2B5EF4-FFF2-40B4-BE49-F238E27FC236}">
                  <a16:creationId xmlns:a16="http://schemas.microsoft.com/office/drawing/2014/main" id="{18C4062E-BC44-46BE-9F3E-C0597407C0CD}"/>
                </a:ext>
              </a:extLst>
            </p:cNvPr>
            <p:cNvSpPr>
              <a:spLocks/>
            </p:cNvSpPr>
            <p:nvPr/>
          </p:nvSpPr>
          <p:spPr bwMode="auto">
            <a:xfrm>
              <a:off x="7720013" y="3937000"/>
              <a:ext cx="128587" cy="117475"/>
            </a:xfrm>
            <a:custGeom>
              <a:avLst/>
              <a:gdLst>
                <a:gd name="T0" fmla="*/ 2147483647 w 67"/>
                <a:gd name="T1" fmla="*/ 2147483647 h 73"/>
                <a:gd name="T2" fmla="*/ 2147483647 w 67"/>
                <a:gd name="T3" fmla="*/ 2147483647 h 73"/>
                <a:gd name="T4" fmla="*/ 2147483647 w 67"/>
                <a:gd name="T5" fmla="*/ 2147483647 h 73"/>
                <a:gd name="T6" fmla="*/ 2147483647 w 67"/>
                <a:gd name="T7" fmla="*/ 2147483647 h 73"/>
                <a:gd name="T8" fmla="*/ 2147483647 w 67"/>
                <a:gd name="T9" fmla="*/ 2147483647 h 73"/>
                <a:gd name="T10" fmla="*/ 2147483647 w 67"/>
                <a:gd name="T11" fmla="*/ 2147483647 h 73"/>
                <a:gd name="T12" fmla="*/ 2147483647 w 67"/>
                <a:gd name="T13" fmla="*/ 2147483647 h 73"/>
                <a:gd name="T14" fmla="*/ 2147483647 w 67"/>
                <a:gd name="T15" fmla="*/ 2147483647 h 73"/>
                <a:gd name="T16" fmla="*/ 2147483647 w 67"/>
                <a:gd name="T17" fmla="*/ 0 h 73"/>
                <a:gd name="T18" fmla="*/ 2147483647 w 67"/>
                <a:gd name="T19" fmla="*/ 0 h 73"/>
                <a:gd name="T20" fmla="*/ 2147483647 w 67"/>
                <a:gd name="T21" fmla="*/ 0 h 73"/>
                <a:gd name="T22" fmla="*/ 2147483647 w 67"/>
                <a:gd name="T23" fmla="*/ 2147483647 h 73"/>
                <a:gd name="T24" fmla="*/ 0 w 67"/>
                <a:gd name="T25" fmla="*/ 2147483647 h 73"/>
                <a:gd name="T26" fmla="*/ 2147483647 w 67"/>
                <a:gd name="T27" fmla="*/ 2147483647 h 73"/>
                <a:gd name="T28" fmla="*/ 2147483647 w 67"/>
                <a:gd name="T29" fmla="*/ 2147483647 h 73"/>
                <a:gd name="T30" fmla="*/ 2147483647 w 67"/>
                <a:gd name="T31" fmla="*/ 2147483647 h 73"/>
                <a:gd name="T32" fmla="*/ 2147483647 w 67"/>
                <a:gd name="T33" fmla="*/ 2147483647 h 73"/>
                <a:gd name="T34" fmla="*/ 2147483647 w 67"/>
                <a:gd name="T35" fmla="*/ 2147483647 h 73"/>
                <a:gd name="T36" fmla="*/ 2147483647 w 67"/>
                <a:gd name="T37" fmla="*/ 2147483647 h 7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7"/>
                <a:gd name="T58" fmla="*/ 0 h 73"/>
                <a:gd name="T59" fmla="*/ 67 w 67"/>
                <a:gd name="T60" fmla="*/ 73 h 7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7" h="73">
                  <a:moveTo>
                    <a:pt x="66" y="65"/>
                  </a:moveTo>
                  <a:lnTo>
                    <a:pt x="56" y="41"/>
                  </a:lnTo>
                  <a:lnTo>
                    <a:pt x="56" y="32"/>
                  </a:lnTo>
                  <a:lnTo>
                    <a:pt x="49" y="41"/>
                  </a:lnTo>
                  <a:lnTo>
                    <a:pt x="41" y="41"/>
                  </a:lnTo>
                  <a:lnTo>
                    <a:pt x="41" y="32"/>
                  </a:lnTo>
                  <a:lnTo>
                    <a:pt x="56" y="16"/>
                  </a:lnTo>
                  <a:lnTo>
                    <a:pt x="24" y="16"/>
                  </a:lnTo>
                  <a:lnTo>
                    <a:pt x="24" y="0"/>
                  </a:lnTo>
                  <a:lnTo>
                    <a:pt x="16" y="0"/>
                  </a:lnTo>
                  <a:lnTo>
                    <a:pt x="9" y="0"/>
                  </a:lnTo>
                  <a:lnTo>
                    <a:pt x="9" y="7"/>
                  </a:lnTo>
                  <a:lnTo>
                    <a:pt x="0" y="24"/>
                  </a:lnTo>
                  <a:lnTo>
                    <a:pt x="9" y="24"/>
                  </a:lnTo>
                  <a:lnTo>
                    <a:pt x="16" y="65"/>
                  </a:lnTo>
                  <a:lnTo>
                    <a:pt x="34" y="65"/>
                  </a:lnTo>
                  <a:lnTo>
                    <a:pt x="49" y="49"/>
                  </a:lnTo>
                  <a:lnTo>
                    <a:pt x="56" y="72"/>
                  </a:lnTo>
                  <a:lnTo>
                    <a:pt x="66" y="65"/>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6" name="Freeform 272">
              <a:extLst>
                <a:ext uri="{FF2B5EF4-FFF2-40B4-BE49-F238E27FC236}">
                  <a16:creationId xmlns:a16="http://schemas.microsoft.com/office/drawing/2014/main" id="{F0736E98-2E6B-4814-8FDD-F079BF6DA38F}"/>
                </a:ext>
              </a:extLst>
            </p:cNvPr>
            <p:cNvSpPr>
              <a:spLocks/>
            </p:cNvSpPr>
            <p:nvPr/>
          </p:nvSpPr>
          <p:spPr bwMode="auto">
            <a:xfrm>
              <a:off x="7826375" y="3895725"/>
              <a:ext cx="222250" cy="412750"/>
            </a:xfrm>
            <a:custGeom>
              <a:avLst/>
              <a:gdLst>
                <a:gd name="T0" fmla="*/ 2147483647 w 116"/>
                <a:gd name="T1" fmla="*/ 2147483647 h 253"/>
                <a:gd name="T2" fmla="*/ 2147483647 w 116"/>
                <a:gd name="T3" fmla="*/ 2147483647 h 253"/>
                <a:gd name="T4" fmla="*/ 2147483647 w 116"/>
                <a:gd name="T5" fmla="*/ 2147483647 h 253"/>
                <a:gd name="T6" fmla="*/ 2147483647 w 116"/>
                <a:gd name="T7" fmla="*/ 2147483647 h 253"/>
                <a:gd name="T8" fmla="*/ 2147483647 w 116"/>
                <a:gd name="T9" fmla="*/ 2147483647 h 253"/>
                <a:gd name="T10" fmla="*/ 2147483647 w 116"/>
                <a:gd name="T11" fmla="*/ 2147483647 h 253"/>
                <a:gd name="T12" fmla="*/ 2147483647 w 116"/>
                <a:gd name="T13" fmla="*/ 2147483647 h 253"/>
                <a:gd name="T14" fmla="*/ 2147483647 w 116"/>
                <a:gd name="T15" fmla="*/ 2147483647 h 253"/>
                <a:gd name="T16" fmla="*/ 2147483647 w 116"/>
                <a:gd name="T17" fmla="*/ 2147483647 h 253"/>
                <a:gd name="T18" fmla="*/ 2147483647 w 116"/>
                <a:gd name="T19" fmla="*/ 2147483647 h 253"/>
                <a:gd name="T20" fmla="*/ 2147483647 w 116"/>
                <a:gd name="T21" fmla="*/ 2147483647 h 253"/>
                <a:gd name="T22" fmla="*/ 2147483647 w 116"/>
                <a:gd name="T23" fmla="*/ 2147483647 h 253"/>
                <a:gd name="T24" fmla="*/ 2147483647 w 116"/>
                <a:gd name="T25" fmla="*/ 2147483647 h 253"/>
                <a:gd name="T26" fmla="*/ 2147483647 w 116"/>
                <a:gd name="T27" fmla="*/ 2147483647 h 253"/>
                <a:gd name="T28" fmla="*/ 2147483647 w 116"/>
                <a:gd name="T29" fmla="*/ 2147483647 h 253"/>
                <a:gd name="T30" fmla="*/ 2147483647 w 116"/>
                <a:gd name="T31" fmla="*/ 2147483647 h 253"/>
                <a:gd name="T32" fmla="*/ 2147483647 w 116"/>
                <a:gd name="T33" fmla="*/ 0 h 253"/>
                <a:gd name="T34" fmla="*/ 2147483647 w 116"/>
                <a:gd name="T35" fmla="*/ 0 h 253"/>
                <a:gd name="T36" fmla="*/ 2147483647 w 116"/>
                <a:gd name="T37" fmla="*/ 2147483647 h 253"/>
                <a:gd name="T38" fmla="*/ 2147483647 w 116"/>
                <a:gd name="T39" fmla="*/ 2147483647 h 253"/>
                <a:gd name="T40" fmla="*/ 2147483647 w 116"/>
                <a:gd name="T41" fmla="*/ 2147483647 h 253"/>
                <a:gd name="T42" fmla="*/ 2147483647 w 116"/>
                <a:gd name="T43" fmla="*/ 2147483647 h 253"/>
                <a:gd name="T44" fmla="*/ 2147483647 w 116"/>
                <a:gd name="T45" fmla="*/ 2147483647 h 253"/>
                <a:gd name="T46" fmla="*/ 2147483647 w 116"/>
                <a:gd name="T47" fmla="*/ 2147483647 h 253"/>
                <a:gd name="T48" fmla="*/ 2147483647 w 116"/>
                <a:gd name="T49" fmla="*/ 2147483647 h 253"/>
                <a:gd name="T50" fmla="*/ 0 w 116"/>
                <a:gd name="T51" fmla="*/ 2147483647 h 253"/>
                <a:gd name="T52" fmla="*/ 2147483647 w 116"/>
                <a:gd name="T53" fmla="*/ 2147483647 h 253"/>
                <a:gd name="T54" fmla="*/ 2147483647 w 116"/>
                <a:gd name="T55" fmla="*/ 2147483647 h 253"/>
                <a:gd name="T56" fmla="*/ 2147483647 w 116"/>
                <a:gd name="T57" fmla="*/ 2147483647 h 253"/>
                <a:gd name="T58" fmla="*/ 2147483647 w 116"/>
                <a:gd name="T59" fmla="*/ 2147483647 h 253"/>
                <a:gd name="T60" fmla="*/ 2147483647 w 116"/>
                <a:gd name="T61" fmla="*/ 2147483647 h 253"/>
                <a:gd name="T62" fmla="*/ 2147483647 w 116"/>
                <a:gd name="T63" fmla="*/ 2147483647 h 253"/>
                <a:gd name="T64" fmla="*/ 2147483647 w 116"/>
                <a:gd name="T65" fmla="*/ 2147483647 h 253"/>
                <a:gd name="T66" fmla="*/ 2147483647 w 116"/>
                <a:gd name="T67" fmla="*/ 2147483647 h 253"/>
                <a:gd name="T68" fmla="*/ 2147483647 w 116"/>
                <a:gd name="T69" fmla="*/ 2147483647 h 25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6"/>
                <a:gd name="T106" fmla="*/ 0 h 253"/>
                <a:gd name="T107" fmla="*/ 116 w 116"/>
                <a:gd name="T108" fmla="*/ 253 h 25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6" h="253">
                  <a:moveTo>
                    <a:pt x="83" y="252"/>
                  </a:moveTo>
                  <a:lnTo>
                    <a:pt x="99" y="218"/>
                  </a:lnTo>
                  <a:lnTo>
                    <a:pt x="90" y="196"/>
                  </a:lnTo>
                  <a:lnTo>
                    <a:pt x="83" y="178"/>
                  </a:lnTo>
                  <a:lnTo>
                    <a:pt x="83" y="162"/>
                  </a:lnTo>
                  <a:lnTo>
                    <a:pt x="74" y="138"/>
                  </a:lnTo>
                  <a:lnTo>
                    <a:pt x="74" y="121"/>
                  </a:lnTo>
                  <a:lnTo>
                    <a:pt x="106" y="106"/>
                  </a:lnTo>
                  <a:lnTo>
                    <a:pt x="115" y="90"/>
                  </a:lnTo>
                  <a:lnTo>
                    <a:pt x="106" y="90"/>
                  </a:lnTo>
                  <a:lnTo>
                    <a:pt x="90" y="81"/>
                  </a:lnTo>
                  <a:lnTo>
                    <a:pt x="90" y="74"/>
                  </a:lnTo>
                  <a:lnTo>
                    <a:pt x="90" y="66"/>
                  </a:lnTo>
                  <a:lnTo>
                    <a:pt x="83" y="57"/>
                  </a:lnTo>
                  <a:lnTo>
                    <a:pt x="74" y="57"/>
                  </a:lnTo>
                  <a:lnTo>
                    <a:pt x="83" y="16"/>
                  </a:lnTo>
                  <a:lnTo>
                    <a:pt x="74" y="0"/>
                  </a:lnTo>
                  <a:lnTo>
                    <a:pt x="65" y="0"/>
                  </a:lnTo>
                  <a:lnTo>
                    <a:pt x="65" y="16"/>
                  </a:lnTo>
                  <a:lnTo>
                    <a:pt x="50" y="16"/>
                  </a:lnTo>
                  <a:lnTo>
                    <a:pt x="41" y="25"/>
                  </a:lnTo>
                  <a:lnTo>
                    <a:pt x="25" y="57"/>
                  </a:lnTo>
                  <a:lnTo>
                    <a:pt x="18" y="66"/>
                  </a:lnTo>
                  <a:lnTo>
                    <a:pt x="10" y="81"/>
                  </a:lnTo>
                  <a:lnTo>
                    <a:pt x="10" y="90"/>
                  </a:lnTo>
                  <a:lnTo>
                    <a:pt x="0" y="97"/>
                  </a:lnTo>
                  <a:lnTo>
                    <a:pt x="18" y="115"/>
                  </a:lnTo>
                  <a:lnTo>
                    <a:pt x="25" y="131"/>
                  </a:lnTo>
                  <a:lnTo>
                    <a:pt x="34" y="155"/>
                  </a:lnTo>
                  <a:lnTo>
                    <a:pt x="25" y="162"/>
                  </a:lnTo>
                  <a:lnTo>
                    <a:pt x="41" y="171"/>
                  </a:lnTo>
                  <a:lnTo>
                    <a:pt x="59" y="155"/>
                  </a:lnTo>
                  <a:lnTo>
                    <a:pt x="65" y="162"/>
                  </a:lnTo>
                  <a:lnTo>
                    <a:pt x="83" y="211"/>
                  </a:lnTo>
                  <a:lnTo>
                    <a:pt x="83" y="252"/>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7" name="Freeform 273">
              <a:extLst>
                <a:ext uri="{FF2B5EF4-FFF2-40B4-BE49-F238E27FC236}">
                  <a16:creationId xmlns:a16="http://schemas.microsoft.com/office/drawing/2014/main" id="{F9AC44F1-20D8-467A-9F69-B1686952CCD9}"/>
                </a:ext>
              </a:extLst>
            </p:cNvPr>
            <p:cNvSpPr>
              <a:spLocks/>
            </p:cNvSpPr>
            <p:nvPr/>
          </p:nvSpPr>
          <p:spPr bwMode="auto">
            <a:xfrm>
              <a:off x="7967663" y="4068763"/>
              <a:ext cx="188912" cy="319087"/>
            </a:xfrm>
            <a:custGeom>
              <a:avLst/>
              <a:gdLst>
                <a:gd name="T0" fmla="*/ 2147483647 w 98"/>
                <a:gd name="T1" fmla="*/ 0 h 196"/>
                <a:gd name="T2" fmla="*/ 0 w 98"/>
                <a:gd name="T3" fmla="*/ 2147483647 h 196"/>
                <a:gd name="T4" fmla="*/ 0 w 98"/>
                <a:gd name="T5" fmla="*/ 2147483647 h 196"/>
                <a:gd name="T6" fmla="*/ 2147483647 w 98"/>
                <a:gd name="T7" fmla="*/ 2147483647 h 196"/>
                <a:gd name="T8" fmla="*/ 2147483647 w 98"/>
                <a:gd name="T9" fmla="*/ 2147483647 h 196"/>
                <a:gd name="T10" fmla="*/ 2147483647 w 98"/>
                <a:gd name="T11" fmla="*/ 2147483647 h 196"/>
                <a:gd name="T12" fmla="*/ 2147483647 w 98"/>
                <a:gd name="T13" fmla="*/ 2147483647 h 196"/>
                <a:gd name="T14" fmla="*/ 2147483647 w 98"/>
                <a:gd name="T15" fmla="*/ 2147483647 h 196"/>
                <a:gd name="T16" fmla="*/ 2147483647 w 98"/>
                <a:gd name="T17" fmla="*/ 2147483647 h 196"/>
                <a:gd name="T18" fmla="*/ 2147483647 w 98"/>
                <a:gd name="T19" fmla="*/ 2147483647 h 196"/>
                <a:gd name="T20" fmla="*/ 2147483647 w 98"/>
                <a:gd name="T21" fmla="*/ 2147483647 h 196"/>
                <a:gd name="T22" fmla="*/ 2147483647 w 98"/>
                <a:gd name="T23" fmla="*/ 2147483647 h 196"/>
                <a:gd name="T24" fmla="*/ 2147483647 w 98"/>
                <a:gd name="T25" fmla="*/ 2147483647 h 196"/>
                <a:gd name="T26" fmla="*/ 2147483647 w 98"/>
                <a:gd name="T27" fmla="*/ 2147483647 h 196"/>
                <a:gd name="T28" fmla="*/ 2147483647 w 98"/>
                <a:gd name="T29" fmla="*/ 2147483647 h 196"/>
                <a:gd name="T30" fmla="*/ 2147483647 w 98"/>
                <a:gd name="T31" fmla="*/ 2147483647 h 196"/>
                <a:gd name="T32" fmla="*/ 2147483647 w 98"/>
                <a:gd name="T33" fmla="*/ 2147483647 h 196"/>
                <a:gd name="T34" fmla="*/ 2147483647 w 98"/>
                <a:gd name="T35" fmla="*/ 2147483647 h 196"/>
                <a:gd name="T36" fmla="*/ 2147483647 w 98"/>
                <a:gd name="T37" fmla="*/ 2147483647 h 196"/>
                <a:gd name="T38" fmla="*/ 2147483647 w 98"/>
                <a:gd name="T39" fmla="*/ 2147483647 h 196"/>
                <a:gd name="T40" fmla="*/ 2147483647 w 98"/>
                <a:gd name="T41" fmla="*/ 2147483647 h 196"/>
                <a:gd name="T42" fmla="*/ 2147483647 w 98"/>
                <a:gd name="T43" fmla="*/ 2147483647 h 196"/>
                <a:gd name="T44" fmla="*/ 2147483647 w 98"/>
                <a:gd name="T45" fmla="*/ 2147483647 h 196"/>
                <a:gd name="T46" fmla="*/ 2147483647 w 98"/>
                <a:gd name="T47" fmla="*/ 2147483647 h 196"/>
                <a:gd name="T48" fmla="*/ 2147483647 w 98"/>
                <a:gd name="T49" fmla="*/ 2147483647 h 196"/>
                <a:gd name="T50" fmla="*/ 2147483647 w 98"/>
                <a:gd name="T51" fmla="*/ 2147483647 h 196"/>
                <a:gd name="T52" fmla="*/ 2147483647 w 98"/>
                <a:gd name="T53" fmla="*/ 2147483647 h 196"/>
                <a:gd name="T54" fmla="*/ 2147483647 w 98"/>
                <a:gd name="T55" fmla="*/ 2147483647 h 196"/>
                <a:gd name="T56" fmla="*/ 2147483647 w 98"/>
                <a:gd name="T57" fmla="*/ 2147483647 h 196"/>
                <a:gd name="T58" fmla="*/ 2147483647 w 98"/>
                <a:gd name="T59" fmla="*/ 2147483647 h 196"/>
                <a:gd name="T60" fmla="*/ 2147483647 w 98"/>
                <a:gd name="T61" fmla="*/ 2147483647 h 196"/>
                <a:gd name="T62" fmla="*/ 2147483647 w 98"/>
                <a:gd name="T63" fmla="*/ 2147483647 h 196"/>
                <a:gd name="T64" fmla="*/ 2147483647 w 98"/>
                <a:gd name="T65" fmla="*/ 2147483647 h 196"/>
                <a:gd name="T66" fmla="*/ 2147483647 w 98"/>
                <a:gd name="T67" fmla="*/ 2147483647 h 196"/>
                <a:gd name="T68" fmla="*/ 2147483647 w 98"/>
                <a:gd name="T69" fmla="*/ 2147483647 h 196"/>
                <a:gd name="T70" fmla="*/ 2147483647 w 98"/>
                <a:gd name="T71" fmla="*/ 2147483647 h 196"/>
                <a:gd name="T72" fmla="*/ 2147483647 w 98"/>
                <a:gd name="T73" fmla="*/ 2147483647 h 196"/>
                <a:gd name="T74" fmla="*/ 2147483647 w 98"/>
                <a:gd name="T75" fmla="*/ 2147483647 h 196"/>
                <a:gd name="T76" fmla="*/ 2147483647 w 98"/>
                <a:gd name="T77" fmla="*/ 0 h 19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8"/>
                <a:gd name="T118" fmla="*/ 0 h 196"/>
                <a:gd name="T119" fmla="*/ 98 w 98"/>
                <a:gd name="T120" fmla="*/ 196 h 19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8" h="196">
                  <a:moveTo>
                    <a:pt x="32" y="0"/>
                  </a:moveTo>
                  <a:lnTo>
                    <a:pt x="0" y="15"/>
                  </a:lnTo>
                  <a:lnTo>
                    <a:pt x="0" y="32"/>
                  </a:lnTo>
                  <a:lnTo>
                    <a:pt x="9" y="56"/>
                  </a:lnTo>
                  <a:lnTo>
                    <a:pt x="9" y="72"/>
                  </a:lnTo>
                  <a:lnTo>
                    <a:pt x="16" y="90"/>
                  </a:lnTo>
                  <a:lnTo>
                    <a:pt x="25" y="112"/>
                  </a:lnTo>
                  <a:lnTo>
                    <a:pt x="9" y="146"/>
                  </a:lnTo>
                  <a:lnTo>
                    <a:pt x="9" y="153"/>
                  </a:lnTo>
                  <a:lnTo>
                    <a:pt x="9" y="162"/>
                  </a:lnTo>
                  <a:lnTo>
                    <a:pt x="32" y="186"/>
                  </a:lnTo>
                  <a:lnTo>
                    <a:pt x="32" y="177"/>
                  </a:lnTo>
                  <a:lnTo>
                    <a:pt x="41" y="186"/>
                  </a:lnTo>
                  <a:lnTo>
                    <a:pt x="50" y="195"/>
                  </a:lnTo>
                  <a:lnTo>
                    <a:pt x="56" y="186"/>
                  </a:lnTo>
                  <a:lnTo>
                    <a:pt x="50" y="177"/>
                  </a:lnTo>
                  <a:lnTo>
                    <a:pt x="32" y="177"/>
                  </a:lnTo>
                  <a:lnTo>
                    <a:pt x="25" y="146"/>
                  </a:lnTo>
                  <a:lnTo>
                    <a:pt x="16" y="146"/>
                  </a:lnTo>
                  <a:lnTo>
                    <a:pt x="16" y="137"/>
                  </a:lnTo>
                  <a:lnTo>
                    <a:pt x="25" y="112"/>
                  </a:lnTo>
                  <a:lnTo>
                    <a:pt x="25" y="97"/>
                  </a:lnTo>
                  <a:lnTo>
                    <a:pt x="41" y="97"/>
                  </a:lnTo>
                  <a:lnTo>
                    <a:pt x="41" y="105"/>
                  </a:lnTo>
                  <a:lnTo>
                    <a:pt x="50" y="105"/>
                  </a:lnTo>
                  <a:lnTo>
                    <a:pt x="65" y="122"/>
                  </a:lnTo>
                  <a:lnTo>
                    <a:pt x="65" y="112"/>
                  </a:lnTo>
                  <a:lnTo>
                    <a:pt x="56" y="97"/>
                  </a:lnTo>
                  <a:lnTo>
                    <a:pt x="65" y="80"/>
                  </a:lnTo>
                  <a:lnTo>
                    <a:pt x="97" y="80"/>
                  </a:lnTo>
                  <a:lnTo>
                    <a:pt x="97" y="65"/>
                  </a:lnTo>
                  <a:lnTo>
                    <a:pt x="90" y="56"/>
                  </a:lnTo>
                  <a:lnTo>
                    <a:pt x="81" y="40"/>
                  </a:lnTo>
                  <a:lnTo>
                    <a:pt x="75" y="25"/>
                  </a:lnTo>
                  <a:lnTo>
                    <a:pt x="56" y="32"/>
                  </a:lnTo>
                  <a:lnTo>
                    <a:pt x="41" y="40"/>
                  </a:lnTo>
                  <a:lnTo>
                    <a:pt x="41" y="15"/>
                  </a:lnTo>
                  <a:lnTo>
                    <a:pt x="32" y="9"/>
                  </a:lnTo>
                  <a:lnTo>
                    <a:pt x="32" y="0"/>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8" name="Freeform 274">
              <a:extLst>
                <a:ext uri="{FF2B5EF4-FFF2-40B4-BE49-F238E27FC236}">
                  <a16:creationId xmlns:a16="http://schemas.microsoft.com/office/drawing/2014/main" id="{2ADA8D88-EDE7-414F-BAD1-D68BCCF11A70}"/>
                </a:ext>
              </a:extLst>
            </p:cNvPr>
            <p:cNvSpPr>
              <a:spLocks/>
            </p:cNvSpPr>
            <p:nvPr/>
          </p:nvSpPr>
          <p:spPr bwMode="auto">
            <a:xfrm>
              <a:off x="8031163" y="4027488"/>
              <a:ext cx="173037" cy="190500"/>
            </a:xfrm>
            <a:custGeom>
              <a:avLst/>
              <a:gdLst>
                <a:gd name="T0" fmla="*/ 2147483647 w 91"/>
                <a:gd name="T1" fmla="*/ 2147483647 h 116"/>
                <a:gd name="T2" fmla="*/ 2147483647 w 91"/>
                <a:gd name="T3" fmla="*/ 2147483647 h 116"/>
                <a:gd name="T4" fmla="*/ 2147483647 w 91"/>
                <a:gd name="T5" fmla="*/ 2147483647 h 116"/>
                <a:gd name="T6" fmla="*/ 2147483647 w 91"/>
                <a:gd name="T7" fmla="*/ 2147483647 h 116"/>
                <a:gd name="T8" fmla="*/ 2147483647 w 91"/>
                <a:gd name="T9" fmla="*/ 2147483647 h 116"/>
                <a:gd name="T10" fmla="*/ 2147483647 w 91"/>
                <a:gd name="T11" fmla="*/ 2147483647 h 116"/>
                <a:gd name="T12" fmla="*/ 2147483647 w 91"/>
                <a:gd name="T13" fmla="*/ 2147483647 h 116"/>
                <a:gd name="T14" fmla="*/ 2147483647 w 91"/>
                <a:gd name="T15" fmla="*/ 2147483647 h 116"/>
                <a:gd name="T16" fmla="*/ 2147483647 w 91"/>
                <a:gd name="T17" fmla="*/ 0 h 116"/>
                <a:gd name="T18" fmla="*/ 2147483647 w 91"/>
                <a:gd name="T19" fmla="*/ 0 h 116"/>
                <a:gd name="T20" fmla="*/ 2147483647 w 91"/>
                <a:gd name="T21" fmla="*/ 2147483647 h 116"/>
                <a:gd name="T22" fmla="*/ 2147483647 w 91"/>
                <a:gd name="T23" fmla="*/ 2147483647 h 116"/>
                <a:gd name="T24" fmla="*/ 2147483647 w 91"/>
                <a:gd name="T25" fmla="*/ 2147483647 h 116"/>
                <a:gd name="T26" fmla="*/ 0 w 91"/>
                <a:gd name="T27" fmla="*/ 2147483647 h 116"/>
                <a:gd name="T28" fmla="*/ 0 w 91"/>
                <a:gd name="T29" fmla="*/ 2147483647 h 116"/>
                <a:gd name="T30" fmla="*/ 2147483647 w 91"/>
                <a:gd name="T31" fmla="*/ 2147483647 h 116"/>
                <a:gd name="T32" fmla="*/ 2147483647 w 91"/>
                <a:gd name="T33" fmla="*/ 2147483647 h 116"/>
                <a:gd name="T34" fmla="*/ 2147483647 w 91"/>
                <a:gd name="T35" fmla="*/ 2147483647 h 116"/>
                <a:gd name="T36" fmla="*/ 2147483647 w 91"/>
                <a:gd name="T37" fmla="*/ 2147483647 h 116"/>
                <a:gd name="T38" fmla="*/ 2147483647 w 91"/>
                <a:gd name="T39" fmla="*/ 2147483647 h 116"/>
                <a:gd name="T40" fmla="*/ 2147483647 w 91"/>
                <a:gd name="T41" fmla="*/ 2147483647 h 116"/>
                <a:gd name="T42" fmla="*/ 2147483647 w 91"/>
                <a:gd name="T43" fmla="*/ 2147483647 h 116"/>
                <a:gd name="T44" fmla="*/ 2147483647 w 91"/>
                <a:gd name="T45" fmla="*/ 2147483647 h 116"/>
                <a:gd name="T46" fmla="*/ 2147483647 w 91"/>
                <a:gd name="T47" fmla="*/ 2147483647 h 116"/>
                <a:gd name="T48" fmla="*/ 2147483647 w 91"/>
                <a:gd name="T49" fmla="*/ 2147483647 h 116"/>
                <a:gd name="T50" fmla="*/ 2147483647 w 91"/>
                <a:gd name="T51" fmla="*/ 2147483647 h 11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91"/>
                <a:gd name="T79" fmla="*/ 0 h 116"/>
                <a:gd name="T80" fmla="*/ 91 w 91"/>
                <a:gd name="T81" fmla="*/ 116 h 11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91" h="116">
                  <a:moveTo>
                    <a:pt x="90" y="105"/>
                  </a:moveTo>
                  <a:lnTo>
                    <a:pt x="90" y="90"/>
                  </a:lnTo>
                  <a:lnTo>
                    <a:pt x="74" y="74"/>
                  </a:lnTo>
                  <a:lnTo>
                    <a:pt x="74" y="65"/>
                  </a:lnTo>
                  <a:lnTo>
                    <a:pt x="43" y="40"/>
                  </a:lnTo>
                  <a:lnTo>
                    <a:pt x="58" y="34"/>
                  </a:lnTo>
                  <a:lnTo>
                    <a:pt x="49" y="25"/>
                  </a:lnTo>
                  <a:lnTo>
                    <a:pt x="33" y="16"/>
                  </a:lnTo>
                  <a:lnTo>
                    <a:pt x="24" y="0"/>
                  </a:lnTo>
                  <a:lnTo>
                    <a:pt x="18" y="0"/>
                  </a:lnTo>
                  <a:lnTo>
                    <a:pt x="18" y="16"/>
                  </a:lnTo>
                  <a:lnTo>
                    <a:pt x="9" y="16"/>
                  </a:lnTo>
                  <a:lnTo>
                    <a:pt x="9" y="9"/>
                  </a:lnTo>
                  <a:lnTo>
                    <a:pt x="0" y="25"/>
                  </a:lnTo>
                  <a:lnTo>
                    <a:pt x="0" y="34"/>
                  </a:lnTo>
                  <a:lnTo>
                    <a:pt x="9" y="40"/>
                  </a:lnTo>
                  <a:lnTo>
                    <a:pt x="9" y="65"/>
                  </a:lnTo>
                  <a:lnTo>
                    <a:pt x="24" y="57"/>
                  </a:lnTo>
                  <a:lnTo>
                    <a:pt x="43" y="50"/>
                  </a:lnTo>
                  <a:lnTo>
                    <a:pt x="49" y="65"/>
                  </a:lnTo>
                  <a:lnTo>
                    <a:pt x="58" y="81"/>
                  </a:lnTo>
                  <a:lnTo>
                    <a:pt x="65" y="90"/>
                  </a:lnTo>
                  <a:lnTo>
                    <a:pt x="65" y="105"/>
                  </a:lnTo>
                  <a:lnTo>
                    <a:pt x="74" y="115"/>
                  </a:lnTo>
                  <a:lnTo>
                    <a:pt x="74" y="105"/>
                  </a:lnTo>
                  <a:lnTo>
                    <a:pt x="90" y="105"/>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9" name="Freeform 275">
              <a:extLst>
                <a:ext uri="{FF2B5EF4-FFF2-40B4-BE49-F238E27FC236}">
                  <a16:creationId xmlns:a16="http://schemas.microsoft.com/office/drawing/2014/main" id="{FA9C5E3F-A7BF-4956-8081-145378E6A5AE}"/>
                </a:ext>
              </a:extLst>
            </p:cNvPr>
            <p:cNvSpPr>
              <a:spLocks/>
            </p:cNvSpPr>
            <p:nvPr/>
          </p:nvSpPr>
          <p:spPr bwMode="auto">
            <a:xfrm>
              <a:off x="8075613" y="4017963"/>
              <a:ext cx="176212" cy="301625"/>
            </a:xfrm>
            <a:custGeom>
              <a:avLst/>
              <a:gdLst>
                <a:gd name="T0" fmla="*/ 0 w 92"/>
                <a:gd name="T1" fmla="*/ 2147483647 h 186"/>
                <a:gd name="T2" fmla="*/ 0 w 92"/>
                <a:gd name="T3" fmla="*/ 0 h 186"/>
                <a:gd name="T4" fmla="*/ 2147483647 w 92"/>
                <a:gd name="T5" fmla="*/ 2147483647 h 186"/>
                <a:gd name="T6" fmla="*/ 2147483647 w 92"/>
                <a:gd name="T7" fmla="*/ 0 h 186"/>
                <a:gd name="T8" fmla="*/ 2147483647 w 92"/>
                <a:gd name="T9" fmla="*/ 0 h 186"/>
                <a:gd name="T10" fmla="*/ 2147483647 w 92"/>
                <a:gd name="T11" fmla="*/ 2147483647 h 186"/>
                <a:gd name="T12" fmla="*/ 2147483647 w 92"/>
                <a:gd name="T13" fmla="*/ 2147483647 h 186"/>
                <a:gd name="T14" fmla="*/ 2147483647 w 92"/>
                <a:gd name="T15" fmla="*/ 2147483647 h 186"/>
                <a:gd name="T16" fmla="*/ 2147483647 w 92"/>
                <a:gd name="T17" fmla="*/ 2147483647 h 186"/>
                <a:gd name="T18" fmla="*/ 2147483647 w 92"/>
                <a:gd name="T19" fmla="*/ 2147483647 h 186"/>
                <a:gd name="T20" fmla="*/ 2147483647 w 92"/>
                <a:gd name="T21" fmla="*/ 2147483647 h 186"/>
                <a:gd name="T22" fmla="*/ 2147483647 w 92"/>
                <a:gd name="T23" fmla="*/ 2147483647 h 186"/>
                <a:gd name="T24" fmla="*/ 2147483647 w 92"/>
                <a:gd name="T25" fmla="*/ 2147483647 h 186"/>
                <a:gd name="T26" fmla="*/ 2147483647 w 92"/>
                <a:gd name="T27" fmla="*/ 2147483647 h 186"/>
                <a:gd name="T28" fmla="*/ 2147483647 w 92"/>
                <a:gd name="T29" fmla="*/ 2147483647 h 186"/>
                <a:gd name="T30" fmla="*/ 2147483647 w 92"/>
                <a:gd name="T31" fmla="*/ 2147483647 h 186"/>
                <a:gd name="T32" fmla="*/ 2147483647 w 92"/>
                <a:gd name="T33" fmla="*/ 2147483647 h 186"/>
                <a:gd name="T34" fmla="*/ 2147483647 w 92"/>
                <a:gd name="T35" fmla="*/ 2147483647 h 186"/>
                <a:gd name="T36" fmla="*/ 2147483647 w 92"/>
                <a:gd name="T37" fmla="*/ 2147483647 h 186"/>
                <a:gd name="T38" fmla="*/ 2147483647 w 92"/>
                <a:gd name="T39" fmla="*/ 2147483647 h 186"/>
                <a:gd name="T40" fmla="*/ 2147483647 w 92"/>
                <a:gd name="T41" fmla="*/ 2147483647 h 186"/>
                <a:gd name="T42" fmla="*/ 2147483647 w 92"/>
                <a:gd name="T43" fmla="*/ 2147483647 h 186"/>
                <a:gd name="T44" fmla="*/ 2147483647 w 92"/>
                <a:gd name="T45" fmla="*/ 2147483647 h 186"/>
                <a:gd name="T46" fmla="*/ 2147483647 w 92"/>
                <a:gd name="T47" fmla="*/ 2147483647 h 186"/>
                <a:gd name="T48" fmla="*/ 2147483647 w 92"/>
                <a:gd name="T49" fmla="*/ 2147483647 h 186"/>
                <a:gd name="T50" fmla="*/ 2147483647 w 92"/>
                <a:gd name="T51" fmla="*/ 2147483647 h 186"/>
                <a:gd name="T52" fmla="*/ 2147483647 w 92"/>
                <a:gd name="T53" fmla="*/ 2147483647 h 186"/>
                <a:gd name="T54" fmla="*/ 2147483647 w 92"/>
                <a:gd name="T55" fmla="*/ 2147483647 h 186"/>
                <a:gd name="T56" fmla="*/ 2147483647 w 92"/>
                <a:gd name="T57" fmla="*/ 2147483647 h 186"/>
                <a:gd name="T58" fmla="*/ 2147483647 w 92"/>
                <a:gd name="T59" fmla="*/ 2147483647 h 186"/>
                <a:gd name="T60" fmla="*/ 0 w 92"/>
                <a:gd name="T61" fmla="*/ 2147483647 h 18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92"/>
                <a:gd name="T94" fmla="*/ 0 h 186"/>
                <a:gd name="T95" fmla="*/ 92 w 92"/>
                <a:gd name="T96" fmla="*/ 186 h 18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92" h="186">
                  <a:moveTo>
                    <a:pt x="0" y="7"/>
                  </a:moveTo>
                  <a:lnTo>
                    <a:pt x="0" y="0"/>
                  </a:lnTo>
                  <a:lnTo>
                    <a:pt x="9" y="7"/>
                  </a:lnTo>
                  <a:lnTo>
                    <a:pt x="41" y="0"/>
                  </a:lnTo>
                  <a:lnTo>
                    <a:pt x="59" y="0"/>
                  </a:lnTo>
                  <a:lnTo>
                    <a:pt x="59" y="16"/>
                  </a:lnTo>
                  <a:lnTo>
                    <a:pt x="74" y="16"/>
                  </a:lnTo>
                  <a:lnTo>
                    <a:pt x="59" y="23"/>
                  </a:lnTo>
                  <a:lnTo>
                    <a:pt x="50" y="41"/>
                  </a:lnTo>
                  <a:lnTo>
                    <a:pt x="41" y="47"/>
                  </a:lnTo>
                  <a:lnTo>
                    <a:pt x="82" y="104"/>
                  </a:lnTo>
                  <a:lnTo>
                    <a:pt x="91" y="122"/>
                  </a:lnTo>
                  <a:lnTo>
                    <a:pt x="82" y="154"/>
                  </a:lnTo>
                  <a:lnTo>
                    <a:pt x="66" y="162"/>
                  </a:lnTo>
                  <a:lnTo>
                    <a:pt x="59" y="162"/>
                  </a:lnTo>
                  <a:lnTo>
                    <a:pt x="50" y="178"/>
                  </a:lnTo>
                  <a:lnTo>
                    <a:pt x="34" y="185"/>
                  </a:lnTo>
                  <a:lnTo>
                    <a:pt x="34" y="169"/>
                  </a:lnTo>
                  <a:lnTo>
                    <a:pt x="25" y="162"/>
                  </a:lnTo>
                  <a:lnTo>
                    <a:pt x="41" y="154"/>
                  </a:lnTo>
                  <a:lnTo>
                    <a:pt x="50" y="144"/>
                  </a:lnTo>
                  <a:lnTo>
                    <a:pt x="66" y="137"/>
                  </a:lnTo>
                  <a:lnTo>
                    <a:pt x="66" y="112"/>
                  </a:lnTo>
                  <a:lnTo>
                    <a:pt x="66" y="97"/>
                  </a:lnTo>
                  <a:lnTo>
                    <a:pt x="50" y="81"/>
                  </a:lnTo>
                  <a:lnTo>
                    <a:pt x="50" y="72"/>
                  </a:lnTo>
                  <a:lnTo>
                    <a:pt x="19" y="47"/>
                  </a:lnTo>
                  <a:lnTo>
                    <a:pt x="34" y="41"/>
                  </a:lnTo>
                  <a:lnTo>
                    <a:pt x="25" y="32"/>
                  </a:lnTo>
                  <a:lnTo>
                    <a:pt x="9" y="23"/>
                  </a:lnTo>
                  <a:lnTo>
                    <a:pt x="0" y="7"/>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0" name="Freeform 276">
              <a:extLst>
                <a:ext uri="{FF2B5EF4-FFF2-40B4-BE49-F238E27FC236}">
                  <a16:creationId xmlns:a16="http://schemas.microsoft.com/office/drawing/2014/main" id="{24F80FC8-34AF-4705-A713-C969B2FA0C93}"/>
                </a:ext>
              </a:extLst>
            </p:cNvPr>
            <p:cNvSpPr>
              <a:spLocks/>
            </p:cNvSpPr>
            <p:nvPr/>
          </p:nvSpPr>
          <p:spPr bwMode="auto">
            <a:xfrm>
              <a:off x="8075613" y="4200525"/>
              <a:ext cx="128587" cy="82550"/>
            </a:xfrm>
            <a:custGeom>
              <a:avLst/>
              <a:gdLst>
                <a:gd name="T0" fmla="*/ 2147483647 w 67"/>
                <a:gd name="T1" fmla="*/ 2147483647 h 51"/>
                <a:gd name="T2" fmla="*/ 2147483647 w 67"/>
                <a:gd name="T3" fmla="*/ 2147483647 h 51"/>
                <a:gd name="T4" fmla="*/ 2147483647 w 67"/>
                <a:gd name="T5" fmla="*/ 2147483647 h 51"/>
                <a:gd name="T6" fmla="*/ 2147483647 w 67"/>
                <a:gd name="T7" fmla="*/ 2147483647 h 51"/>
                <a:gd name="T8" fmla="*/ 2147483647 w 67"/>
                <a:gd name="T9" fmla="*/ 0 h 51"/>
                <a:gd name="T10" fmla="*/ 2147483647 w 67"/>
                <a:gd name="T11" fmla="*/ 0 h 51"/>
                <a:gd name="T12" fmla="*/ 2147483647 w 67"/>
                <a:gd name="T13" fmla="*/ 2147483647 h 51"/>
                <a:gd name="T14" fmla="*/ 2147483647 w 67"/>
                <a:gd name="T15" fmla="*/ 0 h 51"/>
                <a:gd name="T16" fmla="*/ 2147483647 w 67"/>
                <a:gd name="T17" fmla="*/ 0 h 51"/>
                <a:gd name="T18" fmla="*/ 0 w 67"/>
                <a:gd name="T19" fmla="*/ 2147483647 h 51"/>
                <a:gd name="T20" fmla="*/ 2147483647 w 67"/>
                <a:gd name="T21" fmla="*/ 2147483647 h 51"/>
                <a:gd name="T22" fmla="*/ 2147483647 w 67"/>
                <a:gd name="T23" fmla="*/ 2147483647 h 51"/>
                <a:gd name="T24" fmla="*/ 2147483647 w 67"/>
                <a:gd name="T25" fmla="*/ 2147483647 h 51"/>
                <a:gd name="T26" fmla="*/ 2147483647 w 67"/>
                <a:gd name="T27" fmla="*/ 2147483647 h 5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7"/>
                <a:gd name="T43" fmla="*/ 0 h 51"/>
                <a:gd name="T44" fmla="*/ 67 w 67"/>
                <a:gd name="T45" fmla="*/ 51 h 5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7" h="51">
                  <a:moveTo>
                    <a:pt x="25" y="50"/>
                  </a:moveTo>
                  <a:lnTo>
                    <a:pt x="41" y="42"/>
                  </a:lnTo>
                  <a:lnTo>
                    <a:pt x="50" y="32"/>
                  </a:lnTo>
                  <a:lnTo>
                    <a:pt x="66" y="25"/>
                  </a:lnTo>
                  <a:lnTo>
                    <a:pt x="66" y="0"/>
                  </a:lnTo>
                  <a:lnTo>
                    <a:pt x="50" y="0"/>
                  </a:lnTo>
                  <a:lnTo>
                    <a:pt x="50" y="10"/>
                  </a:lnTo>
                  <a:lnTo>
                    <a:pt x="41" y="0"/>
                  </a:lnTo>
                  <a:lnTo>
                    <a:pt x="9" y="0"/>
                  </a:lnTo>
                  <a:lnTo>
                    <a:pt x="0" y="17"/>
                  </a:lnTo>
                  <a:lnTo>
                    <a:pt x="9" y="32"/>
                  </a:lnTo>
                  <a:lnTo>
                    <a:pt x="9" y="42"/>
                  </a:lnTo>
                  <a:lnTo>
                    <a:pt x="9" y="50"/>
                  </a:lnTo>
                  <a:lnTo>
                    <a:pt x="25" y="5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1" name="Freeform 277">
              <a:extLst>
                <a:ext uri="{FF2B5EF4-FFF2-40B4-BE49-F238E27FC236}">
                  <a16:creationId xmlns:a16="http://schemas.microsoft.com/office/drawing/2014/main" id="{7DECD2EE-F60E-488B-AA3C-738C74056A27}"/>
                </a:ext>
              </a:extLst>
            </p:cNvPr>
            <p:cNvSpPr>
              <a:spLocks/>
            </p:cNvSpPr>
            <p:nvPr/>
          </p:nvSpPr>
          <p:spPr bwMode="auto">
            <a:xfrm>
              <a:off x="8031163" y="4357688"/>
              <a:ext cx="95250" cy="120650"/>
            </a:xfrm>
            <a:custGeom>
              <a:avLst/>
              <a:gdLst>
                <a:gd name="T0" fmla="*/ 2147483647 w 50"/>
                <a:gd name="T1" fmla="*/ 2147483647 h 75"/>
                <a:gd name="T2" fmla="*/ 2147483647 w 50"/>
                <a:gd name="T3" fmla="*/ 2147483647 h 75"/>
                <a:gd name="T4" fmla="*/ 2147483647 w 50"/>
                <a:gd name="T5" fmla="*/ 2147483647 h 75"/>
                <a:gd name="T6" fmla="*/ 0 w 50"/>
                <a:gd name="T7" fmla="*/ 0 h 75"/>
                <a:gd name="T8" fmla="*/ 0 w 50"/>
                <a:gd name="T9" fmla="*/ 2147483647 h 75"/>
                <a:gd name="T10" fmla="*/ 0 w 50"/>
                <a:gd name="T11" fmla="*/ 2147483647 h 75"/>
                <a:gd name="T12" fmla="*/ 2147483647 w 50"/>
                <a:gd name="T13" fmla="*/ 2147483647 h 75"/>
                <a:gd name="T14" fmla="*/ 2147483647 w 50"/>
                <a:gd name="T15" fmla="*/ 2147483647 h 75"/>
                <a:gd name="T16" fmla="*/ 2147483647 w 50"/>
                <a:gd name="T17" fmla="*/ 2147483647 h 75"/>
                <a:gd name="T18" fmla="*/ 2147483647 w 50"/>
                <a:gd name="T19" fmla="*/ 2147483647 h 75"/>
                <a:gd name="T20" fmla="*/ 2147483647 w 50"/>
                <a:gd name="T21" fmla="*/ 2147483647 h 75"/>
                <a:gd name="T22" fmla="*/ 2147483647 w 50"/>
                <a:gd name="T23" fmla="*/ 2147483647 h 7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0"/>
                <a:gd name="T37" fmla="*/ 0 h 75"/>
                <a:gd name="T38" fmla="*/ 50 w 50"/>
                <a:gd name="T39" fmla="*/ 75 h 7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0" h="75">
                  <a:moveTo>
                    <a:pt x="24" y="9"/>
                  </a:moveTo>
                  <a:lnTo>
                    <a:pt x="18" y="18"/>
                  </a:lnTo>
                  <a:lnTo>
                    <a:pt x="9" y="9"/>
                  </a:lnTo>
                  <a:lnTo>
                    <a:pt x="0" y="0"/>
                  </a:lnTo>
                  <a:lnTo>
                    <a:pt x="0" y="9"/>
                  </a:lnTo>
                  <a:lnTo>
                    <a:pt x="0" y="34"/>
                  </a:lnTo>
                  <a:lnTo>
                    <a:pt x="18" y="50"/>
                  </a:lnTo>
                  <a:lnTo>
                    <a:pt x="43" y="74"/>
                  </a:lnTo>
                  <a:lnTo>
                    <a:pt x="49" y="74"/>
                  </a:lnTo>
                  <a:lnTo>
                    <a:pt x="43" y="50"/>
                  </a:lnTo>
                  <a:lnTo>
                    <a:pt x="43" y="25"/>
                  </a:lnTo>
                  <a:lnTo>
                    <a:pt x="24" y="9"/>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2" name="Freeform 278">
              <a:extLst>
                <a:ext uri="{FF2B5EF4-FFF2-40B4-BE49-F238E27FC236}">
                  <a16:creationId xmlns:a16="http://schemas.microsoft.com/office/drawing/2014/main" id="{766EFF48-988C-4DD2-BF7D-700AC9B29C2F}"/>
                </a:ext>
              </a:extLst>
            </p:cNvPr>
            <p:cNvSpPr>
              <a:spLocks/>
            </p:cNvSpPr>
            <p:nvPr/>
          </p:nvSpPr>
          <p:spPr bwMode="auto">
            <a:xfrm>
              <a:off x="8250238" y="4357688"/>
              <a:ext cx="252412" cy="120650"/>
            </a:xfrm>
            <a:custGeom>
              <a:avLst/>
              <a:gdLst>
                <a:gd name="T0" fmla="*/ 2147483647 w 131"/>
                <a:gd name="T1" fmla="*/ 2147483647 h 75"/>
                <a:gd name="T2" fmla="*/ 2147483647 w 131"/>
                <a:gd name="T3" fmla="*/ 2147483647 h 75"/>
                <a:gd name="T4" fmla="*/ 2147483647 w 131"/>
                <a:gd name="T5" fmla="*/ 2147483647 h 75"/>
                <a:gd name="T6" fmla="*/ 2147483647 w 131"/>
                <a:gd name="T7" fmla="*/ 2147483647 h 75"/>
                <a:gd name="T8" fmla="*/ 2147483647 w 131"/>
                <a:gd name="T9" fmla="*/ 2147483647 h 75"/>
                <a:gd name="T10" fmla="*/ 2147483647 w 131"/>
                <a:gd name="T11" fmla="*/ 2147483647 h 75"/>
                <a:gd name="T12" fmla="*/ 2147483647 w 131"/>
                <a:gd name="T13" fmla="*/ 2147483647 h 75"/>
                <a:gd name="T14" fmla="*/ 2147483647 w 131"/>
                <a:gd name="T15" fmla="*/ 2147483647 h 75"/>
                <a:gd name="T16" fmla="*/ 0 w 131"/>
                <a:gd name="T17" fmla="*/ 2147483647 h 75"/>
                <a:gd name="T18" fmla="*/ 2147483647 w 131"/>
                <a:gd name="T19" fmla="*/ 2147483647 h 75"/>
                <a:gd name="T20" fmla="*/ 2147483647 w 131"/>
                <a:gd name="T21" fmla="*/ 2147483647 h 75"/>
                <a:gd name="T22" fmla="*/ 2147483647 w 131"/>
                <a:gd name="T23" fmla="*/ 2147483647 h 75"/>
                <a:gd name="T24" fmla="*/ 2147483647 w 131"/>
                <a:gd name="T25" fmla="*/ 2147483647 h 75"/>
                <a:gd name="T26" fmla="*/ 2147483647 w 131"/>
                <a:gd name="T27" fmla="*/ 2147483647 h 75"/>
                <a:gd name="T28" fmla="*/ 2147483647 w 131"/>
                <a:gd name="T29" fmla="*/ 2147483647 h 75"/>
                <a:gd name="T30" fmla="*/ 2147483647 w 131"/>
                <a:gd name="T31" fmla="*/ 2147483647 h 75"/>
                <a:gd name="T32" fmla="*/ 2147483647 w 131"/>
                <a:gd name="T33" fmla="*/ 2147483647 h 75"/>
                <a:gd name="T34" fmla="*/ 2147483647 w 131"/>
                <a:gd name="T35" fmla="*/ 2147483647 h 75"/>
                <a:gd name="T36" fmla="*/ 2147483647 w 131"/>
                <a:gd name="T37" fmla="*/ 2147483647 h 75"/>
                <a:gd name="T38" fmla="*/ 2147483647 w 131"/>
                <a:gd name="T39" fmla="*/ 2147483647 h 75"/>
                <a:gd name="T40" fmla="*/ 2147483647 w 131"/>
                <a:gd name="T41" fmla="*/ 2147483647 h 75"/>
                <a:gd name="T42" fmla="*/ 2147483647 w 131"/>
                <a:gd name="T43" fmla="*/ 0 h 75"/>
                <a:gd name="T44" fmla="*/ 2147483647 w 131"/>
                <a:gd name="T45" fmla="*/ 2147483647 h 75"/>
                <a:gd name="T46" fmla="*/ 2147483647 w 131"/>
                <a:gd name="T47" fmla="*/ 2147483647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31"/>
                <a:gd name="T73" fmla="*/ 0 h 75"/>
                <a:gd name="T74" fmla="*/ 131 w 131"/>
                <a:gd name="T75" fmla="*/ 75 h 7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31" h="75">
                  <a:moveTo>
                    <a:pt x="71" y="25"/>
                  </a:moveTo>
                  <a:lnTo>
                    <a:pt x="80" y="25"/>
                  </a:lnTo>
                  <a:lnTo>
                    <a:pt x="71" y="34"/>
                  </a:lnTo>
                  <a:lnTo>
                    <a:pt x="65" y="34"/>
                  </a:lnTo>
                  <a:lnTo>
                    <a:pt x="56" y="34"/>
                  </a:lnTo>
                  <a:lnTo>
                    <a:pt x="40" y="50"/>
                  </a:lnTo>
                  <a:lnTo>
                    <a:pt x="25" y="50"/>
                  </a:lnTo>
                  <a:lnTo>
                    <a:pt x="25" y="65"/>
                  </a:lnTo>
                  <a:lnTo>
                    <a:pt x="0" y="65"/>
                  </a:lnTo>
                  <a:lnTo>
                    <a:pt x="15" y="74"/>
                  </a:lnTo>
                  <a:lnTo>
                    <a:pt x="31" y="74"/>
                  </a:lnTo>
                  <a:lnTo>
                    <a:pt x="40" y="65"/>
                  </a:lnTo>
                  <a:lnTo>
                    <a:pt x="56" y="74"/>
                  </a:lnTo>
                  <a:lnTo>
                    <a:pt x="65" y="65"/>
                  </a:lnTo>
                  <a:lnTo>
                    <a:pt x="89" y="34"/>
                  </a:lnTo>
                  <a:lnTo>
                    <a:pt x="112" y="34"/>
                  </a:lnTo>
                  <a:lnTo>
                    <a:pt x="120" y="34"/>
                  </a:lnTo>
                  <a:lnTo>
                    <a:pt x="112" y="25"/>
                  </a:lnTo>
                  <a:lnTo>
                    <a:pt x="130" y="25"/>
                  </a:lnTo>
                  <a:lnTo>
                    <a:pt x="105" y="18"/>
                  </a:lnTo>
                  <a:lnTo>
                    <a:pt x="105" y="9"/>
                  </a:lnTo>
                  <a:lnTo>
                    <a:pt x="96" y="0"/>
                  </a:lnTo>
                  <a:lnTo>
                    <a:pt x="80" y="18"/>
                  </a:lnTo>
                  <a:lnTo>
                    <a:pt x="71" y="25"/>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3" name="Freeform 279">
              <a:extLst>
                <a:ext uri="{FF2B5EF4-FFF2-40B4-BE49-F238E27FC236}">
                  <a16:creationId xmlns:a16="http://schemas.microsoft.com/office/drawing/2014/main" id="{DA4BFBC3-E160-472E-BAD1-92F7A08CDA4A}"/>
                </a:ext>
              </a:extLst>
            </p:cNvPr>
            <p:cNvSpPr>
              <a:spLocks/>
            </p:cNvSpPr>
            <p:nvPr/>
          </p:nvSpPr>
          <p:spPr bwMode="auto">
            <a:xfrm>
              <a:off x="8358188" y="4397375"/>
              <a:ext cx="49212" cy="28575"/>
            </a:xfrm>
            <a:custGeom>
              <a:avLst/>
              <a:gdLst>
                <a:gd name="T0" fmla="*/ 0 w 25"/>
                <a:gd name="T1" fmla="*/ 2147483647 h 17"/>
                <a:gd name="T2" fmla="*/ 2147483647 w 25"/>
                <a:gd name="T3" fmla="*/ 2147483647 h 17"/>
                <a:gd name="T4" fmla="*/ 2147483647 w 25"/>
                <a:gd name="T5" fmla="*/ 2147483647 h 17"/>
                <a:gd name="T6" fmla="*/ 2147483647 w 25"/>
                <a:gd name="T7" fmla="*/ 0 h 17"/>
                <a:gd name="T8" fmla="*/ 2147483647 w 25"/>
                <a:gd name="T9" fmla="*/ 0 h 17"/>
                <a:gd name="T10" fmla="*/ 0 w 25"/>
                <a:gd name="T11" fmla="*/ 2147483647 h 17"/>
                <a:gd name="T12" fmla="*/ 0 60000 65536"/>
                <a:gd name="T13" fmla="*/ 0 60000 65536"/>
                <a:gd name="T14" fmla="*/ 0 60000 65536"/>
                <a:gd name="T15" fmla="*/ 0 60000 65536"/>
                <a:gd name="T16" fmla="*/ 0 60000 65536"/>
                <a:gd name="T17" fmla="*/ 0 60000 65536"/>
                <a:gd name="T18" fmla="*/ 0 w 25"/>
                <a:gd name="T19" fmla="*/ 0 h 17"/>
                <a:gd name="T20" fmla="*/ 25 w 25"/>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25" h="17">
                  <a:moveTo>
                    <a:pt x="0" y="16"/>
                  </a:moveTo>
                  <a:lnTo>
                    <a:pt x="9" y="16"/>
                  </a:lnTo>
                  <a:lnTo>
                    <a:pt x="15" y="16"/>
                  </a:lnTo>
                  <a:lnTo>
                    <a:pt x="24" y="0"/>
                  </a:lnTo>
                  <a:lnTo>
                    <a:pt x="15" y="0"/>
                  </a:lnTo>
                  <a:lnTo>
                    <a:pt x="0" y="16"/>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4" name="Freeform 280">
              <a:extLst>
                <a:ext uri="{FF2B5EF4-FFF2-40B4-BE49-F238E27FC236}">
                  <a16:creationId xmlns:a16="http://schemas.microsoft.com/office/drawing/2014/main" id="{26876E5D-97A9-4694-8746-8A808822528A}"/>
                </a:ext>
              </a:extLst>
            </p:cNvPr>
            <p:cNvSpPr>
              <a:spLocks/>
            </p:cNvSpPr>
            <p:nvPr/>
          </p:nvSpPr>
          <p:spPr bwMode="auto">
            <a:xfrm>
              <a:off x="8232775" y="4413250"/>
              <a:ext cx="250825" cy="171450"/>
            </a:xfrm>
            <a:custGeom>
              <a:avLst/>
              <a:gdLst>
                <a:gd name="T0" fmla="*/ 2147483647 w 130"/>
                <a:gd name="T1" fmla="*/ 2147483647 h 106"/>
                <a:gd name="T2" fmla="*/ 2147483647 w 130"/>
                <a:gd name="T3" fmla="*/ 2147483647 h 106"/>
                <a:gd name="T4" fmla="*/ 2147483647 w 130"/>
                <a:gd name="T5" fmla="*/ 2147483647 h 106"/>
                <a:gd name="T6" fmla="*/ 2147483647 w 130"/>
                <a:gd name="T7" fmla="*/ 2147483647 h 106"/>
                <a:gd name="T8" fmla="*/ 2147483647 w 130"/>
                <a:gd name="T9" fmla="*/ 2147483647 h 106"/>
                <a:gd name="T10" fmla="*/ 2147483647 w 130"/>
                <a:gd name="T11" fmla="*/ 2147483647 h 106"/>
                <a:gd name="T12" fmla="*/ 2147483647 w 130"/>
                <a:gd name="T13" fmla="*/ 0 h 106"/>
                <a:gd name="T14" fmla="*/ 2147483647 w 130"/>
                <a:gd name="T15" fmla="*/ 0 h 106"/>
                <a:gd name="T16" fmla="*/ 2147483647 w 130"/>
                <a:gd name="T17" fmla="*/ 2147483647 h 106"/>
                <a:gd name="T18" fmla="*/ 2147483647 w 130"/>
                <a:gd name="T19" fmla="*/ 2147483647 h 106"/>
                <a:gd name="T20" fmla="*/ 2147483647 w 130"/>
                <a:gd name="T21" fmla="*/ 2147483647 h 106"/>
                <a:gd name="T22" fmla="*/ 2147483647 w 130"/>
                <a:gd name="T23" fmla="*/ 2147483647 h 106"/>
                <a:gd name="T24" fmla="*/ 2147483647 w 130"/>
                <a:gd name="T25" fmla="*/ 2147483647 h 106"/>
                <a:gd name="T26" fmla="*/ 2147483647 w 130"/>
                <a:gd name="T27" fmla="*/ 2147483647 h 106"/>
                <a:gd name="T28" fmla="*/ 2147483647 w 130"/>
                <a:gd name="T29" fmla="*/ 2147483647 h 106"/>
                <a:gd name="T30" fmla="*/ 2147483647 w 130"/>
                <a:gd name="T31" fmla="*/ 2147483647 h 106"/>
                <a:gd name="T32" fmla="*/ 2147483647 w 130"/>
                <a:gd name="T33" fmla="*/ 2147483647 h 106"/>
                <a:gd name="T34" fmla="*/ 2147483647 w 130"/>
                <a:gd name="T35" fmla="*/ 2147483647 h 106"/>
                <a:gd name="T36" fmla="*/ 2147483647 w 130"/>
                <a:gd name="T37" fmla="*/ 2147483647 h 106"/>
                <a:gd name="T38" fmla="*/ 2147483647 w 130"/>
                <a:gd name="T39" fmla="*/ 2147483647 h 106"/>
                <a:gd name="T40" fmla="*/ 2147483647 w 130"/>
                <a:gd name="T41" fmla="*/ 2147483647 h 106"/>
                <a:gd name="T42" fmla="*/ 2147483647 w 130"/>
                <a:gd name="T43" fmla="*/ 2147483647 h 106"/>
                <a:gd name="T44" fmla="*/ 2147483647 w 130"/>
                <a:gd name="T45" fmla="*/ 2147483647 h 106"/>
                <a:gd name="T46" fmla="*/ 2147483647 w 130"/>
                <a:gd name="T47" fmla="*/ 2147483647 h 106"/>
                <a:gd name="T48" fmla="*/ 2147483647 w 130"/>
                <a:gd name="T49" fmla="*/ 2147483647 h 106"/>
                <a:gd name="T50" fmla="*/ 0 w 130"/>
                <a:gd name="T51" fmla="*/ 2147483647 h 106"/>
                <a:gd name="T52" fmla="*/ 2147483647 w 130"/>
                <a:gd name="T53" fmla="*/ 2147483647 h 10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30"/>
                <a:gd name="T82" fmla="*/ 0 h 106"/>
                <a:gd name="T83" fmla="*/ 130 w 130"/>
                <a:gd name="T84" fmla="*/ 106 h 10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30" h="106">
                  <a:moveTo>
                    <a:pt x="9" y="31"/>
                  </a:moveTo>
                  <a:lnTo>
                    <a:pt x="24" y="40"/>
                  </a:lnTo>
                  <a:lnTo>
                    <a:pt x="40" y="40"/>
                  </a:lnTo>
                  <a:lnTo>
                    <a:pt x="49" y="31"/>
                  </a:lnTo>
                  <a:lnTo>
                    <a:pt x="65" y="40"/>
                  </a:lnTo>
                  <a:lnTo>
                    <a:pt x="74" y="31"/>
                  </a:lnTo>
                  <a:lnTo>
                    <a:pt x="98" y="0"/>
                  </a:lnTo>
                  <a:lnTo>
                    <a:pt x="121" y="0"/>
                  </a:lnTo>
                  <a:lnTo>
                    <a:pt x="114" y="16"/>
                  </a:lnTo>
                  <a:lnTo>
                    <a:pt x="121" y="25"/>
                  </a:lnTo>
                  <a:lnTo>
                    <a:pt x="114" y="31"/>
                  </a:lnTo>
                  <a:lnTo>
                    <a:pt x="129" y="40"/>
                  </a:lnTo>
                  <a:lnTo>
                    <a:pt x="121" y="48"/>
                  </a:lnTo>
                  <a:lnTo>
                    <a:pt x="105" y="65"/>
                  </a:lnTo>
                  <a:lnTo>
                    <a:pt x="98" y="81"/>
                  </a:lnTo>
                  <a:lnTo>
                    <a:pt x="105" y="81"/>
                  </a:lnTo>
                  <a:lnTo>
                    <a:pt x="98" y="97"/>
                  </a:lnTo>
                  <a:lnTo>
                    <a:pt x="80" y="105"/>
                  </a:lnTo>
                  <a:lnTo>
                    <a:pt x="74" y="97"/>
                  </a:lnTo>
                  <a:lnTo>
                    <a:pt x="57" y="97"/>
                  </a:lnTo>
                  <a:lnTo>
                    <a:pt x="40" y="97"/>
                  </a:lnTo>
                  <a:lnTo>
                    <a:pt x="40" y="88"/>
                  </a:lnTo>
                  <a:lnTo>
                    <a:pt x="24" y="88"/>
                  </a:lnTo>
                  <a:lnTo>
                    <a:pt x="17" y="72"/>
                  </a:lnTo>
                  <a:lnTo>
                    <a:pt x="9" y="56"/>
                  </a:lnTo>
                  <a:lnTo>
                    <a:pt x="0" y="40"/>
                  </a:lnTo>
                  <a:lnTo>
                    <a:pt x="9" y="31"/>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5" name="Freeform 281">
              <a:extLst>
                <a:ext uri="{FF2B5EF4-FFF2-40B4-BE49-F238E27FC236}">
                  <a16:creationId xmlns:a16="http://schemas.microsoft.com/office/drawing/2014/main" id="{4AFECA26-2704-4FA3-B27D-D998D510144E}"/>
                </a:ext>
              </a:extLst>
            </p:cNvPr>
            <p:cNvSpPr>
              <a:spLocks/>
            </p:cNvSpPr>
            <p:nvPr/>
          </p:nvSpPr>
          <p:spPr bwMode="auto">
            <a:xfrm>
              <a:off x="8780463" y="4503738"/>
              <a:ext cx="250825" cy="184150"/>
            </a:xfrm>
            <a:custGeom>
              <a:avLst/>
              <a:gdLst>
                <a:gd name="T0" fmla="*/ 2147483647 w 131"/>
                <a:gd name="T1" fmla="*/ 2147483647 h 113"/>
                <a:gd name="T2" fmla="*/ 2147483647 w 131"/>
                <a:gd name="T3" fmla="*/ 2147483647 h 113"/>
                <a:gd name="T4" fmla="*/ 2147483647 w 131"/>
                <a:gd name="T5" fmla="*/ 2147483647 h 113"/>
                <a:gd name="T6" fmla="*/ 2147483647 w 131"/>
                <a:gd name="T7" fmla="*/ 2147483647 h 113"/>
                <a:gd name="T8" fmla="*/ 2147483647 w 131"/>
                <a:gd name="T9" fmla="*/ 2147483647 h 113"/>
                <a:gd name="T10" fmla="*/ 2147483647 w 131"/>
                <a:gd name="T11" fmla="*/ 2147483647 h 113"/>
                <a:gd name="T12" fmla="*/ 2147483647 w 131"/>
                <a:gd name="T13" fmla="*/ 2147483647 h 113"/>
                <a:gd name="T14" fmla="*/ 2147483647 w 131"/>
                <a:gd name="T15" fmla="*/ 2147483647 h 113"/>
                <a:gd name="T16" fmla="*/ 2147483647 w 131"/>
                <a:gd name="T17" fmla="*/ 2147483647 h 113"/>
                <a:gd name="T18" fmla="*/ 2147483647 w 131"/>
                <a:gd name="T19" fmla="*/ 2147483647 h 113"/>
                <a:gd name="T20" fmla="*/ 2147483647 w 131"/>
                <a:gd name="T21" fmla="*/ 2147483647 h 113"/>
                <a:gd name="T22" fmla="*/ 2147483647 w 131"/>
                <a:gd name="T23" fmla="*/ 2147483647 h 113"/>
                <a:gd name="T24" fmla="*/ 2147483647 w 131"/>
                <a:gd name="T25" fmla="*/ 2147483647 h 113"/>
                <a:gd name="T26" fmla="*/ 2147483647 w 131"/>
                <a:gd name="T27" fmla="*/ 2147483647 h 113"/>
                <a:gd name="T28" fmla="*/ 2147483647 w 131"/>
                <a:gd name="T29" fmla="*/ 2147483647 h 113"/>
                <a:gd name="T30" fmla="*/ 0 w 131"/>
                <a:gd name="T31" fmla="*/ 2147483647 h 113"/>
                <a:gd name="T32" fmla="*/ 2147483647 w 131"/>
                <a:gd name="T33" fmla="*/ 0 h 113"/>
                <a:gd name="T34" fmla="*/ 2147483647 w 131"/>
                <a:gd name="T35" fmla="*/ 0 h 113"/>
                <a:gd name="T36" fmla="*/ 2147483647 w 131"/>
                <a:gd name="T37" fmla="*/ 2147483647 h 113"/>
                <a:gd name="T38" fmla="*/ 2147483647 w 131"/>
                <a:gd name="T39" fmla="*/ 2147483647 h 113"/>
                <a:gd name="T40" fmla="*/ 2147483647 w 131"/>
                <a:gd name="T41" fmla="*/ 2147483647 h 113"/>
                <a:gd name="T42" fmla="*/ 2147483647 w 131"/>
                <a:gd name="T43" fmla="*/ 2147483647 h 113"/>
                <a:gd name="T44" fmla="*/ 2147483647 w 131"/>
                <a:gd name="T45" fmla="*/ 2147483647 h 113"/>
                <a:gd name="T46" fmla="*/ 2147483647 w 131"/>
                <a:gd name="T47" fmla="*/ 2147483647 h 11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31"/>
                <a:gd name="T73" fmla="*/ 0 h 113"/>
                <a:gd name="T74" fmla="*/ 131 w 131"/>
                <a:gd name="T75" fmla="*/ 113 h 11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31" h="113">
                  <a:moveTo>
                    <a:pt x="130" y="32"/>
                  </a:moveTo>
                  <a:lnTo>
                    <a:pt x="130" y="65"/>
                  </a:lnTo>
                  <a:lnTo>
                    <a:pt x="130" y="112"/>
                  </a:lnTo>
                  <a:lnTo>
                    <a:pt x="112" y="97"/>
                  </a:lnTo>
                  <a:lnTo>
                    <a:pt x="88" y="106"/>
                  </a:lnTo>
                  <a:lnTo>
                    <a:pt x="97" y="89"/>
                  </a:lnTo>
                  <a:lnTo>
                    <a:pt x="88" y="72"/>
                  </a:lnTo>
                  <a:lnTo>
                    <a:pt x="31" y="41"/>
                  </a:lnTo>
                  <a:lnTo>
                    <a:pt x="25" y="49"/>
                  </a:lnTo>
                  <a:lnTo>
                    <a:pt x="25" y="41"/>
                  </a:lnTo>
                  <a:lnTo>
                    <a:pt x="16" y="32"/>
                  </a:lnTo>
                  <a:lnTo>
                    <a:pt x="31" y="32"/>
                  </a:lnTo>
                  <a:lnTo>
                    <a:pt x="40" y="25"/>
                  </a:lnTo>
                  <a:lnTo>
                    <a:pt x="16" y="25"/>
                  </a:lnTo>
                  <a:lnTo>
                    <a:pt x="6" y="16"/>
                  </a:lnTo>
                  <a:lnTo>
                    <a:pt x="0" y="16"/>
                  </a:lnTo>
                  <a:lnTo>
                    <a:pt x="16" y="0"/>
                  </a:lnTo>
                  <a:lnTo>
                    <a:pt x="25" y="0"/>
                  </a:lnTo>
                  <a:lnTo>
                    <a:pt x="40" y="9"/>
                  </a:lnTo>
                  <a:lnTo>
                    <a:pt x="40" y="25"/>
                  </a:lnTo>
                  <a:lnTo>
                    <a:pt x="56" y="41"/>
                  </a:lnTo>
                  <a:lnTo>
                    <a:pt x="72" y="25"/>
                  </a:lnTo>
                  <a:lnTo>
                    <a:pt x="88" y="16"/>
                  </a:lnTo>
                  <a:lnTo>
                    <a:pt x="130" y="32"/>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6" name="Freeform 282">
              <a:extLst>
                <a:ext uri="{FF2B5EF4-FFF2-40B4-BE49-F238E27FC236}">
                  <a16:creationId xmlns:a16="http://schemas.microsoft.com/office/drawing/2014/main" id="{F9AAEBCB-37B1-4DB7-9216-11C3897D9F57}"/>
                </a:ext>
              </a:extLst>
            </p:cNvPr>
            <p:cNvSpPr>
              <a:spLocks/>
            </p:cNvSpPr>
            <p:nvPr/>
          </p:nvSpPr>
          <p:spPr bwMode="auto">
            <a:xfrm>
              <a:off x="9028113" y="4556125"/>
              <a:ext cx="234950" cy="173038"/>
            </a:xfrm>
            <a:custGeom>
              <a:avLst/>
              <a:gdLst>
                <a:gd name="T0" fmla="*/ 0 w 123"/>
                <a:gd name="T1" fmla="*/ 2147483647 h 106"/>
                <a:gd name="T2" fmla="*/ 0 w 123"/>
                <a:gd name="T3" fmla="*/ 2147483647 h 106"/>
                <a:gd name="T4" fmla="*/ 0 w 123"/>
                <a:gd name="T5" fmla="*/ 0 h 106"/>
                <a:gd name="T6" fmla="*/ 2147483647 w 123"/>
                <a:gd name="T7" fmla="*/ 2147483647 h 106"/>
                <a:gd name="T8" fmla="*/ 2147483647 w 123"/>
                <a:gd name="T9" fmla="*/ 2147483647 h 106"/>
                <a:gd name="T10" fmla="*/ 2147483647 w 123"/>
                <a:gd name="T11" fmla="*/ 2147483647 h 106"/>
                <a:gd name="T12" fmla="*/ 2147483647 w 123"/>
                <a:gd name="T13" fmla="*/ 2147483647 h 106"/>
                <a:gd name="T14" fmla="*/ 2147483647 w 123"/>
                <a:gd name="T15" fmla="*/ 2147483647 h 106"/>
                <a:gd name="T16" fmla="*/ 2147483647 w 123"/>
                <a:gd name="T17" fmla="*/ 2147483647 h 106"/>
                <a:gd name="T18" fmla="*/ 2147483647 w 123"/>
                <a:gd name="T19" fmla="*/ 2147483647 h 106"/>
                <a:gd name="T20" fmla="*/ 2147483647 w 123"/>
                <a:gd name="T21" fmla="*/ 2147483647 h 106"/>
                <a:gd name="T22" fmla="*/ 2147483647 w 123"/>
                <a:gd name="T23" fmla="*/ 2147483647 h 106"/>
                <a:gd name="T24" fmla="*/ 2147483647 w 123"/>
                <a:gd name="T25" fmla="*/ 2147483647 h 106"/>
                <a:gd name="T26" fmla="*/ 2147483647 w 123"/>
                <a:gd name="T27" fmla="*/ 2147483647 h 106"/>
                <a:gd name="T28" fmla="*/ 2147483647 w 123"/>
                <a:gd name="T29" fmla="*/ 2147483647 h 106"/>
                <a:gd name="T30" fmla="*/ 2147483647 w 123"/>
                <a:gd name="T31" fmla="*/ 2147483647 h 106"/>
                <a:gd name="T32" fmla="*/ 2147483647 w 123"/>
                <a:gd name="T33" fmla="*/ 2147483647 h 106"/>
                <a:gd name="T34" fmla="*/ 2147483647 w 123"/>
                <a:gd name="T35" fmla="*/ 2147483647 h 106"/>
                <a:gd name="T36" fmla="*/ 2147483647 w 123"/>
                <a:gd name="T37" fmla="*/ 2147483647 h 106"/>
                <a:gd name="T38" fmla="*/ 2147483647 w 123"/>
                <a:gd name="T39" fmla="*/ 2147483647 h 106"/>
                <a:gd name="T40" fmla="*/ 2147483647 w 123"/>
                <a:gd name="T41" fmla="*/ 2147483647 h 106"/>
                <a:gd name="T42" fmla="*/ 2147483647 w 123"/>
                <a:gd name="T43" fmla="*/ 2147483647 h 106"/>
                <a:gd name="T44" fmla="*/ 0 w 123"/>
                <a:gd name="T45" fmla="*/ 2147483647 h 10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23"/>
                <a:gd name="T70" fmla="*/ 0 h 106"/>
                <a:gd name="T71" fmla="*/ 123 w 123"/>
                <a:gd name="T72" fmla="*/ 106 h 10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23" h="106">
                  <a:moveTo>
                    <a:pt x="0" y="80"/>
                  </a:moveTo>
                  <a:lnTo>
                    <a:pt x="0" y="33"/>
                  </a:lnTo>
                  <a:lnTo>
                    <a:pt x="0" y="0"/>
                  </a:lnTo>
                  <a:lnTo>
                    <a:pt x="32" y="9"/>
                  </a:lnTo>
                  <a:lnTo>
                    <a:pt x="57" y="25"/>
                  </a:lnTo>
                  <a:lnTo>
                    <a:pt x="57" y="33"/>
                  </a:lnTo>
                  <a:lnTo>
                    <a:pt x="88" y="49"/>
                  </a:lnTo>
                  <a:lnTo>
                    <a:pt x="72" y="57"/>
                  </a:lnTo>
                  <a:lnTo>
                    <a:pt x="81" y="57"/>
                  </a:lnTo>
                  <a:lnTo>
                    <a:pt x="88" y="65"/>
                  </a:lnTo>
                  <a:lnTo>
                    <a:pt x="97" y="80"/>
                  </a:lnTo>
                  <a:lnTo>
                    <a:pt x="104" y="80"/>
                  </a:lnTo>
                  <a:lnTo>
                    <a:pt x="104" y="90"/>
                  </a:lnTo>
                  <a:lnTo>
                    <a:pt x="122" y="99"/>
                  </a:lnTo>
                  <a:lnTo>
                    <a:pt x="122" y="105"/>
                  </a:lnTo>
                  <a:lnTo>
                    <a:pt x="81" y="99"/>
                  </a:lnTo>
                  <a:lnTo>
                    <a:pt x="63" y="65"/>
                  </a:lnTo>
                  <a:lnTo>
                    <a:pt x="47" y="65"/>
                  </a:lnTo>
                  <a:lnTo>
                    <a:pt x="40" y="65"/>
                  </a:lnTo>
                  <a:lnTo>
                    <a:pt x="23" y="74"/>
                  </a:lnTo>
                  <a:lnTo>
                    <a:pt x="32" y="80"/>
                  </a:lnTo>
                  <a:lnTo>
                    <a:pt x="15" y="80"/>
                  </a:lnTo>
                  <a:lnTo>
                    <a:pt x="0" y="80"/>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7" name="Freeform 283">
              <a:extLst>
                <a:ext uri="{FF2B5EF4-FFF2-40B4-BE49-F238E27FC236}">
                  <a16:creationId xmlns:a16="http://schemas.microsoft.com/office/drawing/2014/main" id="{707687F1-39D2-4666-AD49-F4111385DD66}"/>
                </a:ext>
              </a:extLst>
            </p:cNvPr>
            <p:cNvSpPr>
              <a:spLocks/>
            </p:cNvSpPr>
            <p:nvPr/>
          </p:nvSpPr>
          <p:spPr bwMode="auto">
            <a:xfrm>
              <a:off x="8666163" y="3633788"/>
              <a:ext cx="84137" cy="107950"/>
            </a:xfrm>
            <a:custGeom>
              <a:avLst/>
              <a:gdLst>
                <a:gd name="T0" fmla="*/ 0 w 44"/>
                <a:gd name="T1" fmla="*/ 2147483647 h 66"/>
                <a:gd name="T2" fmla="*/ 2147483647 w 44"/>
                <a:gd name="T3" fmla="*/ 0 h 66"/>
                <a:gd name="T4" fmla="*/ 2147483647 w 44"/>
                <a:gd name="T5" fmla="*/ 2147483647 h 66"/>
                <a:gd name="T6" fmla="*/ 2147483647 w 44"/>
                <a:gd name="T7" fmla="*/ 2147483647 h 66"/>
                <a:gd name="T8" fmla="*/ 2147483647 w 44"/>
                <a:gd name="T9" fmla="*/ 2147483647 h 66"/>
                <a:gd name="T10" fmla="*/ 0 w 44"/>
                <a:gd name="T11" fmla="*/ 2147483647 h 66"/>
                <a:gd name="T12" fmla="*/ 0 w 44"/>
                <a:gd name="T13" fmla="*/ 2147483647 h 66"/>
                <a:gd name="T14" fmla="*/ 0 w 44"/>
                <a:gd name="T15" fmla="*/ 2147483647 h 66"/>
                <a:gd name="T16" fmla="*/ 0 w 44"/>
                <a:gd name="T17" fmla="*/ 2147483647 h 66"/>
                <a:gd name="T18" fmla="*/ 0 w 44"/>
                <a:gd name="T19" fmla="*/ 2147483647 h 6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4"/>
                <a:gd name="T31" fmla="*/ 0 h 66"/>
                <a:gd name="T32" fmla="*/ 44 w 44"/>
                <a:gd name="T33" fmla="*/ 66 h 6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4" h="66">
                  <a:moveTo>
                    <a:pt x="0" y="16"/>
                  </a:moveTo>
                  <a:lnTo>
                    <a:pt x="25" y="0"/>
                  </a:lnTo>
                  <a:lnTo>
                    <a:pt x="34" y="16"/>
                  </a:lnTo>
                  <a:lnTo>
                    <a:pt x="43" y="40"/>
                  </a:lnTo>
                  <a:lnTo>
                    <a:pt x="34" y="56"/>
                  </a:lnTo>
                  <a:lnTo>
                    <a:pt x="0" y="65"/>
                  </a:lnTo>
                  <a:lnTo>
                    <a:pt x="0" y="56"/>
                  </a:lnTo>
                  <a:lnTo>
                    <a:pt x="0" y="48"/>
                  </a:lnTo>
                  <a:lnTo>
                    <a:pt x="0" y="24"/>
                  </a:lnTo>
                  <a:lnTo>
                    <a:pt x="0" y="16"/>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8" name="Freeform 284">
              <a:extLst>
                <a:ext uri="{FF2B5EF4-FFF2-40B4-BE49-F238E27FC236}">
                  <a16:creationId xmlns:a16="http://schemas.microsoft.com/office/drawing/2014/main" id="{132BE40A-A6C3-43F1-A352-52B59703407C}"/>
                </a:ext>
              </a:extLst>
            </p:cNvPr>
            <p:cNvSpPr>
              <a:spLocks/>
            </p:cNvSpPr>
            <p:nvPr/>
          </p:nvSpPr>
          <p:spPr bwMode="auto">
            <a:xfrm>
              <a:off x="8624888" y="3525838"/>
              <a:ext cx="157162" cy="136525"/>
            </a:xfrm>
            <a:custGeom>
              <a:avLst/>
              <a:gdLst>
                <a:gd name="T0" fmla="*/ 2147483647 w 82"/>
                <a:gd name="T1" fmla="*/ 0 h 83"/>
                <a:gd name="T2" fmla="*/ 2147483647 w 82"/>
                <a:gd name="T3" fmla="*/ 0 h 83"/>
                <a:gd name="T4" fmla="*/ 2147483647 w 82"/>
                <a:gd name="T5" fmla="*/ 2147483647 h 83"/>
                <a:gd name="T6" fmla="*/ 2147483647 w 82"/>
                <a:gd name="T7" fmla="*/ 2147483647 h 83"/>
                <a:gd name="T8" fmla="*/ 2147483647 w 82"/>
                <a:gd name="T9" fmla="*/ 2147483647 h 83"/>
                <a:gd name="T10" fmla="*/ 2147483647 w 82"/>
                <a:gd name="T11" fmla="*/ 2147483647 h 83"/>
                <a:gd name="T12" fmla="*/ 0 w 82"/>
                <a:gd name="T13" fmla="*/ 2147483647 h 83"/>
                <a:gd name="T14" fmla="*/ 0 w 82"/>
                <a:gd name="T15" fmla="*/ 2147483647 h 83"/>
                <a:gd name="T16" fmla="*/ 2147483647 w 82"/>
                <a:gd name="T17" fmla="*/ 2147483647 h 83"/>
                <a:gd name="T18" fmla="*/ 0 w 82"/>
                <a:gd name="T19" fmla="*/ 2147483647 h 83"/>
                <a:gd name="T20" fmla="*/ 2147483647 w 82"/>
                <a:gd name="T21" fmla="*/ 2147483647 h 83"/>
                <a:gd name="T22" fmla="*/ 2147483647 w 82"/>
                <a:gd name="T23" fmla="*/ 2147483647 h 83"/>
                <a:gd name="T24" fmla="*/ 2147483647 w 82"/>
                <a:gd name="T25" fmla="*/ 2147483647 h 83"/>
                <a:gd name="T26" fmla="*/ 2147483647 w 82"/>
                <a:gd name="T27" fmla="*/ 2147483647 h 83"/>
                <a:gd name="T28" fmla="*/ 2147483647 w 82"/>
                <a:gd name="T29" fmla="*/ 2147483647 h 83"/>
                <a:gd name="T30" fmla="*/ 2147483647 w 82"/>
                <a:gd name="T31" fmla="*/ 2147483647 h 83"/>
                <a:gd name="T32" fmla="*/ 2147483647 w 82"/>
                <a:gd name="T33" fmla="*/ 2147483647 h 83"/>
                <a:gd name="T34" fmla="*/ 2147483647 w 82"/>
                <a:gd name="T35" fmla="*/ 2147483647 h 83"/>
                <a:gd name="T36" fmla="*/ 2147483647 w 82"/>
                <a:gd name="T37" fmla="*/ 0 h 8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2"/>
                <a:gd name="T58" fmla="*/ 0 h 83"/>
                <a:gd name="T59" fmla="*/ 82 w 82"/>
                <a:gd name="T60" fmla="*/ 83 h 8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2" h="83">
                  <a:moveTo>
                    <a:pt x="81" y="0"/>
                  </a:moveTo>
                  <a:lnTo>
                    <a:pt x="72" y="0"/>
                  </a:lnTo>
                  <a:lnTo>
                    <a:pt x="56" y="9"/>
                  </a:lnTo>
                  <a:lnTo>
                    <a:pt x="47" y="9"/>
                  </a:lnTo>
                  <a:lnTo>
                    <a:pt x="40" y="17"/>
                  </a:lnTo>
                  <a:lnTo>
                    <a:pt x="32" y="17"/>
                  </a:lnTo>
                  <a:lnTo>
                    <a:pt x="0" y="41"/>
                  </a:lnTo>
                  <a:lnTo>
                    <a:pt x="0" y="50"/>
                  </a:lnTo>
                  <a:lnTo>
                    <a:pt x="7" y="50"/>
                  </a:lnTo>
                  <a:lnTo>
                    <a:pt x="0" y="74"/>
                  </a:lnTo>
                  <a:lnTo>
                    <a:pt x="7" y="82"/>
                  </a:lnTo>
                  <a:lnTo>
                    <a:pt x="16" y="82"/>
                  </a:lnTo>
                  <a:lnTo>
                    <a:pt x="22" y="82"/>
                  </a:lnTo>
                  <a:lnTo>
                    <a:pt x="47" y="66"/>
                  </a:lnTo>
                  <a:lnTo>
                    <a:pt x="32" y="57"/>
                  </a:lnTo>
                  <a:lnTo>
                    <a:pt x="32" y="50"/>
                  </a:lnTo>
                  <a:lnTo>
                    <a:pt x="65" y="34"/>
                  </a:lnTo>
                  <a:lnTo>
                    <a:pt x="65" y="17"/>
                  </a:lnTo>
                  <a:lnTo>
                    <a:pt x="81"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9" name="Freeform 285">
              <a:extLst>
                <a:ext uri="{FF2B5EF4-FFF2-40B4-BE49-F238E27FC236}">
                  <a16:creationId xmlns:a16="http://schemas.microsoft.com/office/drawing/2014/main" id="{F2C7903C-4FE6-4397-AF29-9013452578E2}"/>
                </a:ext>
              </a:extLst>
            </p:cNvPr>
            <p:cNvSpPr>
              <a:spLocks/>
            </p:cNvSpPr>
            <p:nvPr/>
          </p:nvSpPr>
          <p:spPr bwMode="auto">
            <a:xfrm>
              <a:off x="8308975" y="2128838"/>
              <a:ext cx="36513" cy="41275"/>
            </a:xfrm>
            <a:custGeom>
              <a:avLst/>
              <a:gdLst>
                <a:gd name="T0" fmla="*/ 2147483647 w 18"/>
                <a:gd name="T1" fmla="*/ 2147483647 h 25"/>
                <a:gd name="T2" fmla="*/ 2147483647 w 18"/>
                <a:gd name="T3" fmla="*/ 2147483647 h 25"/>
                <a:gd name="T4" fmla="*/ 0 w 18"/>
                <a:gd name="T5" fmla="*/ 0 h 25"/>
                <a:gd name="T6" fmla="*/ 0 w 18"/>
                <a:gd name="T7" fmla="*/ 2147483647 h 25"/>
                <a:gd name="T8" fmla="*/ 2147483647 w 18"/>
                <a:gd name="T9" fmla="*/ 2147483647 h 25"/>
                <a:gd name="T10" fmla="*/ 0 60000 65536"/>
                <a:gd name="T11" fmla="*/ 0 60000 65536"/>
                <a:gd name="T12" fmla="*/ 0 60000 65536"/>
                <a:gd name="T13" fmla="*/ 0 60000 65536"/>
                <a:gd name="T14" fmla="*/ 0 60000 65536"/>
                <a:gd name="T15" fmla="*/ 0 w 18"/>
                <a:gd name="T16" fmla="*/ 0 h 25"/>
                <a:gd name="T17" fmla="*/ 18 w 18"/>
                <a:gd name="T18" fmla="*/ 25 h 25"/>
              </a:gdLst>
              <a:ahLst/>
              <a:cxnLst>
                <a:cxn ang="T10">
                  <a:pos x="T0" y="T1"/>
                </a:cxn>
                <a:cxn ang="T11">
                  <a:pos x="T2" y="T3"/>
                </a:cxn>
                <a:cxn ang="T12">
                  <a:pos x="T4" y="T5"/>
                </a:cxn>
                <a:cxn ang="T13">
                  <a:pos x="T6" y="T7"/>
                </a:cxn>
                <a:cxn ang="T14">
                  <a:pos x="T8" y="T9"/>
                </a:cxn>
              </a:cxnLst>
              <a:rect l="T15" t="T16" r="T17" b="T18"/>
              <a:pathLst>
                <a:path w="18" h="25">
                  <a:moveTo>
                    <a:pt x="17" y="24"/>
                  </a:moveTo>
                  <a:lnTo>
                    <a:pt x="17" y="8"/>
                  </a:lnTo>
                  <a:lnTo>
                    <a:pt x="0" y="0"/>
                  </a:lnTo>
                  <a:lnTo>
                    <a:pt x="0" y="8"/>
                  </a:lnTo>
                  <a:lnTo>
                    <a:pt x="17" y="24"/>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0" name="Freeform 286">
              <a:extLst>
                <a:ext uri="{FF2B5EF4-FFF2-40B4-BE49-F238E27FC236}">
                  <a16:creationId xmlns:a16="http://schemas.microsoft.com/office/drawing/2014/main" id="{611EB244-ED4F-480F-BFFB-BD465FE34665}"/>
                </a:ext>
              </a:extLst>
            </p:cNvPr>
            <p:cNvSpPr>
              <a:spLocks/>
            </p:cNvSpPr>
            <p:nvPr/>
          </p:nvSpPr>
          <p:spPr bwMode="auto">
            <a:xfrm>
              <a:off x="5249863" y="3711575"/>
              <a:ext cx="296862" cy="200025"/>
            </a:xfrm>
            <a:custGeom>
              <a:avLst/>
              <a:gdLst>
                <a:gd name="T0" fmla="*/ 2147483647 w 156"/>
                <a:gd name="T1" fmla="*/ 2147483647 h 123"/>
                <a:gd name="T2" fmla="*/ 2147483647 w 156"/>
                <a:gd name="T3" fmla="*/ 2147483647 h 123"/>
                <a:gd name="T4" fmla="*/ 2147483647 w 156"/>
                <a:gd name="T5" fmla="*/ 2147483647 h 123"/>
                <a:gd name="T6" fmla="*/ 2147483647 w 156"/>
                <a:gd name="T7" fmla="*/ 2147483647 h 123"/>
                <a:gd name="T8" fmla="*/ 2147483647 w 156"/>
                <a:gd name="T9" fmla="*/ 2147483647 h 123"/>
                <a:gd name="T10" fmla="*/ 2147483647 w 156"/>
                <a:gd name="T11" fmla="*/ 2147483647 h 123"/>
                <a:gd name="T12" fmla="*/ 2147483647 w 156"/>
                <a:gd name="T13" fmla="*/ 2147483647 h 123"/>
                <a:gd name="T14" fmla="*/ 2147483647 w 156"/>
                <a:gd name="T15" fmla="*/ 2147483647 h 123"/>
                <a:gd name="T16" fmla="*/ 2147483647 w 156"/>
                <a:gd name="T17" fmla="*/ 2147483647 h 123"/>
                <a:gd name="T18" fmla="*/ 0 w 156"/>
                <a:gd name="T19" fmla="*/ 2147483647 h 123"/>
                <a:gd name="T20" fmla="*/ 2147483647 w 156"/>
                <a:gd name="T21" fmla="*/ 2147483647 h 123"/>
                <a:gd name="T22" fmla="*/ 2147483647 w 156"/>
                <a:gd name="T23" fmla="*/ 2147483647 h 123"/>
                <a:gd name="T24" fmla="*/ 2147483647 w 156"/>
                <a:gd name="T25" fmla="*/ 2147483647 h 123"/>
                <a:gd name="T26" fmla="*/ 2147483647 w 156"/>
                <a:gd name="T27" fmla="*/ 2147483647 h 123"/>
                <a:gd name="T28" fmla="*/ 2147483647 w 156"/>
                <a:gd name="T29" fmla="*/ 2147483647 h 123"/>
                <a:gd name="T30" fmla="*/ 2147483647 w 156"/>
                <a:gd name="T31" fmla="*/ 2147483647 h 123"/>
                <a:gd name="T32" fmla="*/ 2147483647 w 156"/>
                <a:gd name="T33" fmla="*/ 2147483647 h 123"/>
                <a:gd name="T34" fmla="*/ 2147483647 w 156"/>
                <a:gd name="T35" fmla="*/ 0 h 123"/>
                <a:gd name="T36" fmla="*/ 2147483647 w 156"/>
                <a:gd name="T37" fmla="*/ 0 h 123"/>
                <a:gd name="T38" fmla="*/ 2147483647 w 156"/>
                <a:gd name="T39" fmla="*/ 2147483647 h 123"/>
                <a:gd name="T40" fmla="*/ 2147483647 w 156"/>
                <a:gd name="T41" fmla="*/ 2147483647 h 123"/>
                <a:gd name="T42" fmla="*/ 2147483647 w 156"/>
                <a:gd name="T43" fmla="*/ 2147483647 h 12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56"/>
                <a:gd name="T67" fmla="*/ 0 h 123"/>
                <a:gd name="T68" fmla="*/ 156 w 156"/>
                <a:gd name="T69" fmla="*/ 123 h 12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56" h="123">
                  <a:moveTo>
                    <a:pt x="139" y="8"/>
                  </a:moveTo>
                  <a:lnTo>
                    <a:pt x="147" y="8"/>
                  </a:lnTo>
                  <a:lnTo>
                    <a:pt x="155" y="48"/>
                  </a:lnTo>
                  <a:lnTo>
                    <a:pt x="122" y="57"/>
                  </a:lnTo>
                  <a:lnTo>
                    <a:pt x="122" y="66"/>
                  </a:lnTo>
                  <a:lnTo>
                    <a:pt x="99" y="82"/>
                  </a:lnTo>
                  <a:lnTo>
                    <a:pt x="65" y="97"/>
                  </a:lnTo>
                  <a:lnTo>
                    <a:pt x="57" y="105"/>
                  </a:lnTo>
                  <a:lnTo>
                    <a:pt x="57" y="122"/>
                  </a:lnTo>
                  <a:lnTo>
                    <a:pt x="0" y="113"/>
                  </a:lnTo>
                  <a:lnTo>
                    <a:pt x="16" y="113"/>
                  </a:lnTo>
                  <a:lnTo>
                    <a:pt x="32" y="97"/>
                  </a:lnTo>
                  <a:lnTo>
                    <a:pt x="40" y="82"/>
                  </a:lnTo>
                  <a:lnTo>
                    <a:pt x="40" y="66"/>
                  </a:lnTo>
                  <a:lnTo>
                    <a:pt x="50" y="48"/>
                  </a:lnTo>
                  <a:lnTo>
                    <a:pt x="57" y="32"/>
                  </a:lnTo>
                  <a:lnTo>
                    <a:pt x="81" y="25"/>
                  </a:lnTo>
                  <a:lnTo>
                    <a:pt x="90" y="0"/>
                  </a:lnTo>
                  <a:lnTo>
                    <a:pt x="99" y="0"/>
                  </a:lnTo>
                  <a:lnTo>
                    <a:pt x="105" y="8"/>
                  </a:lnTo>
                  <a:lnTo>
                    <a:pt x="130" y="8"/>
                  </a:lnTo>
                  <a:lnTo>
                    <a:pt x="139" y="8"/>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1" name="Freeform 287">
              <a:extLst>
                <a:ext uri="{FF2B5EF4-FFF2-40B4-BE49-F238E27FC236}">
                  <a16:creationId xmlns:a16="http://schemas.microsoft.com/office/drawing/2014/main" id="{6756364B-647E-49B1-9A2D-35599F98B4B2}"/>
                </a:ext>
              </a:extLst>
            </p:cNvPr>
            <p:cNvSpPr>
              <a:spLocks/>
            </p:cNvSpPr>
            <p:nvPr/>
          </p:nvSpPr>
          <p:spPr bwMode="auto">
            <a:xfrm>
              <a:off x="5749925" y="3671888"/>
              <a:ext cx="90488" cy="174625"/>
            </a:xfrm>
            <a:custGeom>
              <a:avLst/>
              <a:gdLst>
                <a:gd name="T0" fmla="*/ 2147483647 w 48"/>
                <a:gd name="T1" fmla="*/ 2147483647 h 107"/>
                <a:gd name="T2" fmla="*/ 2147483647 w 48"/>
                <a:gd name="T3" fmla="*/ 2147483647 h 107"/>
                <a:gd name="T4" fmla="*/ 2147483647 w 48"/>
                <a:gd name="T5" fmla="*/ 2147483647 h 107"/>
                <a:gd name="T6" fmla="*/ 2147483647 w 48"/>
                <a:gd name="T7" fmla="*/ 2147483647 h 107"/>
                <a:gd name="T8" fmla="*/ 2147483647 w 48"/>
                <a:gd name="T9" fmla="*/ 2147483647 h 107"/>
                <a:gd name="T10" fmla="*/ 2147483647 w 48"/>
                <a:gd name="T11" fmla="*/ 2147483647 h 107"/>
                <a:gd name="T12" fmla="*/ 2147483647 w 48"/>
                <a:gd name="T13" fmla="*/ 2147483647 h 107"/>
                <a:gd name="T14" fmla="*/ 0 w 48"/>
                <a:gd name="T15" fmla="*/ 2147483647 h 107"/>
                <a:gd name="T16" fmla="*/ 2147483647 w 48"/>
                <a:gd name="T17" fmla="*/ 2147483647 h 107"/>
                <a:gd name="T18" fmla="*/ 2147483647 w 48"/>
                <a:gd name="T19" fmla="*/ 2147483647 h 107"/>
                <a:gd name="T20" fmla="*/ 2147483647 w 48"/>
                <a:gd name="T21" fmla="*/ 0 h 107"/>
                <a:gd name="T22" fmla="*/ 2147483647 w 48"/>
                <a:gd name="T23" fmla="*/ 0 h 107"/>
                <a:gd name="T24" fmla="*/ 2147483647 w 48"/>
                <a:gd name="T25" fmla="*/ 2147483647 h 107"/>
                <a:gd name="T26" fmla="*/ 2147483647 w 48"/>
                <a:gd name="T27" fmla="*/ 0 h 107"/>
                <a:gd name="T28" fmla="*/ 2147483647 w 48"/>
                <a:gd name="T29" fmla="*/ 2147483647 h 107"/>
                <a:gd name="T30" fmla="*/ 2147483647 w 48"/>
                <a:gd name="T31" fmla="*/ 2147483647 h 107"/>
                <a:gd name="T32" fmla="*/ 2147483647 w 48"/>
                <a:gd name="T33" fmla="*/ 2147483647 h 107"/>
                <a:gd name="T34" fmla="*/ 2147483647 w 48"/>
                <a:gd name="T35" fmla="*/ 2147483647 h 107"/>
                <a:gd name="T36" fmla="*/ 2147483647 w 48"/>
                <a:gd name="T37" fmla="*/ 2147483647 h 107"/>
                <a:gd name="T38" fmla="*/ 2147483647 w 48"/>
                <a:gd name="T39" fmla="*/ 2147483647 h 10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8"/>
                <a:gd name="T61" fmla="*/ 0 h 107"/>
                <a:gd name="T62" fmla="*/ 48 w 48"/>
                <a:gd name="T63" fmla="*/ 107 h 10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8" h="107">
                  <a:moveTo>
                    <a:pt x="47" y="66"/>
                  </a:moveTo>
                  <a:lnTo>
                    <a:pt x="47" y="72"/>
                  </a:lnTo>
                  <a:lnTo>
                    <a:pt x="31" y="90"/>
                  </a:lnTo>
                  <a:lnTo>
                    <a:pt x="31" y="97"/>
                  </a:lnTo>
                  <a:lnTo>
                    <a:pt x="25" y="106"/>
                  </a:lnTo>
                  <a:lnTo>
                    <a:pt x="25" y="81"/>
                  </a:lnTo>
                  <a:lnTo>
                    <a:pt x="6" y="72"/>
                  </a:lnTo>
                  <a:lnTo>
                    <a:pt x="0" y="56"/>
                  </a:lnTo>
                  <a:lnTo>
                    <a:pt x="15" y="41"/>
                  </a:lnTo>
                  <a:lnTo>
                    <a:pt x="6" y="9"/>
                  </a:lnTo>
                  <a:lnTo>
                    <a:pt x="15" y="0"/>
                  </a:lnTo>
                  <a:lnTo>
                    <a:pt x="31" y="0"/>
                  </a:lnTo>
                  <a:lnTo>
                    <a:pt x="40" y="9"/>
                  </a:lnTo>
                  <a:lnTo>
                    <a:pt x="47" y="0"/>
                  </a:lnTo>
                  <a:lnTo>
                    <a:pt x="40" y="16"/>
                  </a:lnTo>
                  <a:lnTo>
                    <a:pt x="47" y="32"/>
                  </a:lnTo>
                  <a:lnTo>
                    <a:pt x="31" y="49"/>
                  </a:lnTo>
                  <a:lnTo>
                    <a:pt x="31" y="56"/>
                  </a:lnTo>
                  <a:lnTo>
                    <a:pt x="47" y="56"/>
                  </a:lnTo>
                  <a:lnTo>
                    <a:pt x="47" y="66"/>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2" name="Freeform 288">
              <a:extLst>
                <a:ext uri="{FF2B5EF4-FFF2-40B4-BE49-F238E27FC236}">
                  <a16:creationId xmlns:a16="http://schemas.microsoft.com/office/drawing/2014/main" id="{97C5CDE9-23D6-4596-9251-6D26016E3629}"/>
                </a:ext>
              </a:extLst>
            </p:cNvPr>
            <p:cNvSpPr>
              <a:spLocks/>
            </p:cNvSpPr>
            <p:nvPr/>
          </p:nvSpPr>
          <p:spPr bwMode="auto">
            <a:xfrm>
              <a:off x="6384925" y="4121150"/>
              <a:ext cx="357188" cy="304800"/>
            </a:xfrm>
            <a:custGeom>
              <a:avLst/>
              <a:gdLst>
                <a:gd name="T0" fmla="*/ 2147483647 w 187"/>
                <a:gd name="T1" fmla="*/ 2147483647 h 187"/>
                <a:gd name="T2" fmla="*/ 2147483647 w 187"/>
                <a:gd name="T3" fmla="*/ 2147483647 h 187"/>
                <a:gd name="T4" fmla="*/ 2147483647 w 187"/>
                <a:gd name="T5" fmla="*/ 2147483647 h 187"/>
                <a:gd name="T6" fmla="*/ 2147483647 w 187"/>
                <a:gd name="T7" fmla="*/ 2147483647 h 187"/>
                <a:gd name="T8" fmla="*/ 2147483647 w 187"/>
                <a:gd name="T9" fmla="*/ 2147483647 h 187"/>
                <a:gd name="T10" fmla="*/ 2147483647 w 187"/>
                <a:gd name="T11" fmla="*/ 2147483647 h 187"/>
                <a:gd name="T12" fmla="*/ 2147483647 w 187"/>
                <a:gd name="T13" fmla="*/ 2147483647 h 187"/>
                <a:gd name="T14" fmla="*/ 2147483647 w 187"/>
                <a:gd name="T15" fmla="*/ 2147483647 h 187"/>
                <a:gd name="T16" fmla="*/ 2147483647 w 187"/>
                <a:gd name="T17" fmla="*/ 2147483647 h 187"/>
                <a:gd name="T18" fmla="*/ 2147483647 w 187"/>
                <a:gd name="T19" fmla="*/ 2147483647 h 187"/>
                <a:gd name="T20" fmla="*/ 2147483647 w 187"/>
                <a:gd name="T21" fmla="*/ 2147483647 h 187"/>
                <a:gd name="T22" fmla="*/ 2147483647 w 187"/>
                <a:gd name="T23" fmla="*/ 2147483647 h 187"/>
                <a:gd name="T24" fmla="*/ 2147483647 w 187"/>
                <a:gd name="T25" fmla="*/ 2147483647 h 187"/>
                <a:gd name="T26" fmla="*/ 2147483647 w 187"/>
                <a:gd name="T27" fmla="*/ 2147483647 h 187"/>
                <a:gd name="T28" fmla="*/ 2147483647 w 187"/>
                <a:gd name="T29" fmla="*/ 2147483647 h 187"/>
                <a:gd name="T30" fmla="*/ 2147483647 w 187"/>
                <a:gd name="T31" fmla="*/ 2147483647 h 187"/>
                <a:gd name="T32" fmla="*/ 2147483647 w 187"/>
                <a:gd name="T33" fmla="*/ 2147483647 h 187"/>
                <a:gd name="T34" fmla="*/ 2147483647 w 187"/>
                <a:gd name="T35" fmla="*/ 2147483647 h 187"/>
                <a:gd name="T36" fmla="*/ 0 w 187"/>
                <a:gd name="T37" fmla="*/ 2147483647 h 187"/>
                <a:gd name="T38" fmla="*/ 2147483647 w 187"/>
                <a:gd name="T39" fmla="*/ 2147483647 h 187"/>
                <a:gd name="T40" fmla="*/ 2147483647 w 187"/>
                <a:gd name="T41" fmla="*/ 2147483647 h 187"/>
                <a:gd name="T42" fmla="*/ 2147483647 w 187"/>
                <a:gd name="T43" fmla="*/ 2147483647 h 187"/>
                <a:gd name="T44" fmla="*/ 2147483647 w 187"/>
                <a:gd name="T45" fmla="*/ 2147483647 h 187"/>
                <a:gd name="T46" fmla="*/ 2147483647 w 187"/>
                <a:gd name="T47" fmla="*/ 2147483647 h 187"/>
                <a:gd name="T48" fmla="*/ 2147483647 w 187"/>
                <a:gd name="T49" fmla="*/ 0 h 187"/>
                <a:gd name="T50" fmla="*/ 2147483647 w 187"/>
                <a:gd name="T51" fmla="*/ 2147483647 h 187"/>
                <a:gd name="T52" fmla="*/ 2147483647 w 187"/>
                <a:gd name="T53" fmla="*/ 2147483647 h 187"/>
                <a:gd name="T54" fmla="*/ 2147483647 w 187"/>
                <a:gd name="T55" fmla="*/ 2147483647 h 18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87"/>
                <a:gd name="T85" fmla="*/ 0 h 187"/>
                <a:gd name="T86" fmla="*/ 187 w 187"/>
                <a:gd name="T87" fmla="*/ 187 h 18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87" h="187">
                  <a:moveTo>
                    <a:pt x="121" y="73"/>
                  </a:moveTo>
                  <a:lnTo>
                    <a:pt x="113" y="73"/>
                  </a:lnTo>
                  <a:lnTo>
                    <a:pt x="113" y="90"/>
                  </a:lnTo>
                  <a:lnTo>
                    <a:pt x="113" y="98"/>
                  </a:lnTo>
                  <a:lnTo>
                    <a:pt x="121" y="98"/>
                  </a:lnTo>
                  <a:lnTo>
                    <a:pt x="121" y="105"/>
                  </a:lnTo>
                  <a:lnTo>
                    <a:pt x="138" y="121"/>
                  </a:lnTo>
                  <a:lnTo>
                    <a:pt x="178" y="130"/>
                  </a:lnTo>
                  <a:lnTo>
                    <a:pt x="186" y="130"/>
                  </a:lnTo>
                  <a:lnTo>
                    <a:pt x="153" y="170"/>
                  </a:lnTo>
                  <a:lnTo>
                    <a:pt x="129" y="170"/>
                  </a:lnTo>
                  <a:lnTo>
                    <a:pt x="113" y="186"/>
                  </a:lnTo>
                  <a:lnTo>
                    <a:pt x="97" y="179"/>
                  </a:lnTo>
                  <a:lnTo>
                    <a:pt x="72" y="186"/>
                  </a:lnTo>
                  <a:lnTo>
                    <a:pt x="32" y="179"/>
                  </a:lnTo>
                  <a:lnTo>
                    <a:pt x="32" y="163"/>
                  </a:lnTo>
                  <a:lnTo>
                    <a:pt x="24" y="163"/>
                  </a:lnTo>
                  <a:lnTo>
                    <a:pt x="7" y="139"/>
                  </a:lnTo>
                  <a:lnTo>
                    <a:pt x="0" y="130"/>
                  </a:lnTo>
                  <a:lnTo>
                    <a:pt x="7" y="121"/>
                  </a:lnTo>
                  <a:lnTo>
                    <a:pt x="16" y="98"/>
                  </a:lnTo>
                  <a:lnTo>
                    <a:pt x="41" y="65"/>
                  </a:lnTo>
                  <a:lnTo>
                    <a:pt x="47" y="17"/>
                  </a:lnTo>
                  <a:lnTo>
                    <a:pt x="66" y="8"/>
                  </a:lnTo>
                  <a:lnTo>
                    <a:pt x="66" y="0"/>
                  </a:lnTo>
                  <a:lnTo>
                    <a:pt x="81" y="33"/>
                  </a:lnTo>
                  <a:lnTo>
                    <a:pt x="97" y="48"/>
                  </a:lnTo>
                  <a:lnTo>
                    <a:pt x="121" y="73"/>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3" name="Freeform 289">
              <a:extLst>
                <a:ext uri="{FF2B5EF4-FFF2-40B4-BE49-F238E27FC236}">
                  <a16:creationId xmlns:a16="http://schemas.microsoft.com/office/drawing/2014/main" id="{61D62611-6000-4595-AABE-6C8FF55BACAA}"/>
                </a:ext>
              </a:extLst>
            </p:cNvPr>
            <p:cNvSpPr>
              <a:spLocks/>
            </p:cNvSpPr>
            <p:nvPr/>
          </p:nvSpPr>
          <p:spPr bwMode="auto">
            <a:xfrm>
              <a:off x="6600825" y="4238625"/>
              <a:ext cx="33338" cy="44450"/>
            </a:xfrm>
            <a:custGeom>
              <a:avLst/>
              <a:gdLst>
                <a:gd name="T0" fmla="*/ 2147483647 w 17"/>
                <a:gd name="T1" fmla="*/ 2147483647 h 26"/>
                <a:gd name="T2" fmla="*/ 0 w 17"/>
                <a:gd name="T3" fmla="*/ 2147483647 h 26"/>
                <a:gd name="T4" fmla="*/ 0 w 17"/>
                <a:gd name="T5" fmla="*/ 2147483647 h 26"/>
                <a:gd name="T6" fmla="*/ 0 w 17"/>
                <a:gd name="T7" fmla="*/ 0 h 26"/>
                <a:gd name="T8" fmla="*/ 2147483647 w 17"/>
                <a:gd name="T9" fmla="*/ 0 h 26"/>
                <a:gd name="T10" fmla="*/ 2147483647 w 17"/>
                <a:gd name="T11" fmla="*/ 0 h 26"/>
                <a:gd name="T12" fmla="*/ 2147483647 w 17"/>
                <a:gd name="T13" fmla="*/ 2147483647 h 26"/>
                <a:gd name="T14" fmla="*/ 2147483647 w 17"/>
                <a:gd name="T15" fmla="*/ 2147483647 h 26"/>
                <a:gd name="T16" fmla="*/ 2147483647 w 17"/>
                <a:gd name="T17" fmla="*/ 2147483647 h 26"/>
                <a:gd name="T18" fmla="*/ 2147483647 w 17"/>
                <a:gd name="T19" fmla="*/ 2147483647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
                <a:gd name="T31" fmla="*/ 0 h 26"/>
                <a:gd name="T32" fmla="*/ 17 w 17"/>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 h="26">
                  <a:moveTo>
                    <a:pt x="8" y="25"/>
                  </a:moveTo>
                  <a:lnTo>
                    <a:pt x="0" y="25"/>
                  </a:lnTo>
                  <a:lnTo>
                    <a:pt x="0" y="17"/>
                  </a:lnTo>
                  <a:lnTo>
                    <a:pt x="0" y="0"/>
                  </a:lnTo>
                  <a:lnTo>
                    <a:pt x="8" y="0"/>
                  </a:lnTo>
                  <a:lnTo>
                    <a:pt x="16" y="0"/>
                  </a:lnTo>
                  <a:lnTo>
                    <a:pt x="16" y="7"/>
                  </a:lnTo>
                  <a:lnTo>
                    <a:pt x="8" y="7"/>
                  </a:lnTo>
                  <a:lnTo>
                    <a:pt x="16" y="17"/>
                  </a:lnTo>
                  <a:lnTo>
                    <a:pt x="8" y="25"/>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4" name="Freeform 290">
              <a:extLst>
                <a:ext uri="{FF2B5EF4-FFF2-40B4-BE49-F238E27FC236}">
                  <a16:creationId xmlns:a16="http://schemas.microsoft.com/office/drawing/2014/main" id="{27041396-7E13-42CC-86BA-33CA0FD3D590}"/>
                </a:ext>
              </a:extLst>
            </p:cNvPr>
            <p:cNvSpPr>
              <a:spLocks/>
            </p:cNvSpPr>
            <p:nvPr/>
          </p:nvSpPr>
          <p:spPr bwMode="auto">
            <a:xfrm>
              <a:off x="6600825" y="4238625"/>
              <a:ext cx="33338" cy="44450"/>
            </a:xfrm>
            <a:custGeom>
              <a:avLst/>
              <a:gdLst>
                <a:gd name="T0" fmla="*/ 2147483647 w 17"/>
                <a:gd name="T1" fmla="*/ 2147483647 h 26"/>
                <a:gd name="T2" fmla="*/ 0 w 17"/>
                <a:gd name="T3" fmla="*/ 2147483647 h 26"/>
                <a:gd name="T4" fmla="*/ 0 w 17"/>
                <a:gd name="T5" fmla="*/ 2147483647 h 26"/>
                <a:gd name="T6" fmla="*/ 0 w 17"/>
                <a:gd name="T7" fmla="*/ 0 h 26"/>
                <a:gd name="T8" fmla="*/ 2147483647 w 17"/>
                <a:gd name="T9" fmla="*/ 0 h 26"/>
                <a:gd name="T10" fmla="*/ 2147483647 w 17"/>
                <a:gd name="T11" fmla="*/ 0 h 26"/>
                <a:gd name="T12" fmla="*/ 2147483647 w 17"/>
                <a:gd name="T13" fmla="*/ 2147483647 h 26"/>
                <a:gd name="T14" fmla="*/ 2147483647 w 17"/>
                <a:gd name="T15" fmla="*/ 2147483647 h 26"/>
                <a:gd name="T16" fmla="*/ 2147483647 w 17"/>
                <a:gd name="T17" fmla="*/ 2147483647 h 26"/>
                <a:gd name="T18" fmla="*/ 2147483647 w 17"/>
                <a:gd name="T19" fmla="*/ 2147483647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
                <a:gd name="T31" fmla="*/ 0 h 26"/>
                <a:gd name="T32" fmla="*/ 17 w 17"/>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 h="26">
                  <a:moveTo>
                    <a:pt x="8" y="25"/>
                  </a:moveTo>
                  <a:lnTo>
                    <a:pt x="0" y="25"/>
                  </a:lnTo>
                  <a:lnTo>
                    <a:pt x="0" y="17"/>
                  </a:lnTo>
                  <a:lnTo>
                    <a:pt x="0" y="0"/>
                  </a:lnTo>
                  <a:lnTo>
                    <a:pt x="8" y="0"/>
                  </a:lnTo>
                  <a:lnTo>
                    <a:pt x="16" y="0"/>
                  </a:lnTo>
                  <a:lnTo>
                    <a:pt x="16" y="7"/>
                  </a:lnTo>
                  <a:lnTo>
                    <a:pt x="8" y="7"/>
                  </a:lnTo>
                  <a:lnTo>
                    <a:pt x="16" y="17"/>
                  </a:lnTo>
                  <a:lnTo>
                    <a:pt x="8" y="25"/>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5" name="Freeform 291">
              <a:extLst>
                <a:ext uri="{FF2B5EF4-FFF2-40B4-BE49-F238E27FC236}">
                  <a16:creationId xmlns:a16="http://schemas.microsoft.com/office/drawing/2014/main" id="{0681D623-0A36-4794-B5AD-8D928FC6ADA8}"/>
                </a:ext>
              </a:extLst>
            </p:cNvPr>
            <p:cNvSpPr>
              <a:spLocks/>
            </p:cNvSpPr>
            <p:nvPr/>
          </p:nvSpPr>
          <p:spPr bwMode="auto">
            <a:xfrm>
              <a:off x="6570663" y="4251325"/>
              <a:ext cx="252412" cy="279400"/>
            </a:xfrm>
            <a:custGeom>
              <a:avLst/>
              <a:gdLst>
                <a:gd name="T0" fmla="*/ 2147483647 w 132"/>
                <a:gd name="T1" fmla="*/ 2147483647 h 172"/>
                <a:gd name="T2" fmla="*/ 0 w 132"/>
                <a:gd name="T3" fmla="*/ 2147483647 h 172"/>
                <a:gd name="T4" fmla="*/ 0 w 132"/>
                <a:gd name="T5" fmla="*/ 2147483647 h 172"/>
                <a:gd name="T6" fmla="*/ 2147483647 w 132"/>
                <a:gd name="T7" fmla="*/ 2147483647 h 172"/>
                <a:gd name="T8" fmla="*/ 2147483647 w 132"/>
                <a:gd name="T9" fmla="*/ 2147483647 h 172"/>
                <a:gd name="T10" fmla="*/ 2147483647 w 132"/>
                <a:gd name="T11" fmla="*/ 2147483647 h 172"/>
                <a:gd name="T12" fmla="*/ 2147483647 w 132"/>
                <a:gd name="T13" fmla="*/ 2147483647 h 172"/>
                <a:gd name="T14" fmla="*/ 2147483647 w 132"/>
                <a:gd name="T15" fmla="*/ 2147483647 h 172"/>
                <a:gd name="T16" fmla="*/ 2147483647 w 132"/>
                <a:gd name="T17" fmla="*/ 2147483647 h 172"/>
                <a:gd name="T18" fmla="*/ 2147483647 w 132"/>
                <a:gd name="T19" fmla="*/ 0 h 172"/>
                <a:gd name="T20" fmla="*/ 2147483647 w 132"/>
                <a:gd name="T21" fmla="*/ 0 h 172"/>
                <a:gd name="T22" fmla="*/ 2147483647 w 132"/>
                <a:gd name="T23" fmla="*/ 2147483647 h 172"/>
                <a:gd name="T24" fmla="*/ 2147483647 w 132"/>
                <a:gd name="T25" fmla="*/ 2147483647 h 172"/>
                <a:gd name="T26" fmla="*/ 2147483647 w 132"/>
                <a:gd name="T27" fmla="*/ 2147483647 h 172"/>
                <a:gd name="T28" fmla="*/ 2147483647 w 132"/>
                <a:gd name="T29" fmla="*/ 2147483647 h 172"/>
                <a:gd name="T30" fmla="*/ 2147483647 w 132"/>
                <a:gd name="T31" fmla="*/ 2147483647 h 172"/>
                <a:gd name="T32" fmla="*/ 2147483647 w 132"/>
                <a:gd name="T33" fmla="*/ 2147483647 h 172"/>
                <a:gd name="T34" fmla="*/ 2147483647 w 132"/>
                <a:gd name="T35" fmla="*/ 2147483647 h 172"/>
                <a:gd name="T36" fmla="*/ 2147483647 w 132"/>
                <a:gd name="T37" fmla="*/ 2147483647 h 172"/>
                <a:gd name="T38" fmla="*/ 2147483647 w 132"/>
                <a:gd name="T39" fmla="*/ 2147483647 h 172"/>
                <a:gd name="T40" fmla="*/ 2147483647 w 132"/>
                <a:gd name="T41" fmla="*/ 2147483647 h 172"/>
                <a:gd name="T42" fmla="*/ 2147483647 w 132"/>
                <a:gd name="T43" fmla="*/ 2147483647 h 172"/>
                <a:gd name="T44" fmla="*/ 2147483647 w 132"/>
                <a:gd name="T45" fmla="*/ 2147483647 h 17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32"/>
                <a:gd name="T70" fmla="*/ 0 h 172"/>
                <a:gd name="T71" fmla="*/ 132 w 132"/>
                <a:gd name="T72" fmla="*/ 172 h 17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32" h="172">
                  <a:moveTo>
                    <a:pt x="16" y="106"/>
                  </a:moveTo>
                  <a:lnTo>
                    <a:pt x="0" y="124"/>
                  </a:lnTo>
                  <a:lnTo>
                    <a:pt x="0" y="164"/>
                  </a:lnTo>
                  <a:lnTo>
                    <a:pt x="9" y="171"/>
                  </a:lnTo>
                  <a:lnTo>
                    <a:pt x="32" y="147"/>
                  </a:lnTo>
                  <a:lnTo>
                    <a:pt x="65" y="124"/>
                  </a:lnTo>
                  <a:lnTo>
                    <a:pt x="89" y="99"/>
                  </a:lnTo>
                  <a:lnTo>
                    <a:pt x="106" y="83"/>
                  </a:lnTo>
                  <a:lnTo>
                    <a:pt x="131" y="18"/>
                  </a:lnTo>
                  <a:lnTo>
                    <a:pt x="131" y="0"/>
                  </a:lnTo>
                  <a:lnTo>
                    <a:pt x="121" y="0"/>
                  </a:lnTo>
                  <a:lnTo>
                    <a:pt x="106" y="10"/>
                  </a:lnTo>
                  <a:lnTo>
                    <a:pt x="49" y="25"/>
                  </a:lnTo>
                  <a:lnTo>
                    <a:pt x="41" y="18"/>
                  </a:lnTo>
                  <a:lnTo>
                    <a:pt x="32" y="10"/>
                  </a:lnTo>
                  <a:lnTo>
                    <a:pt x="24" y="18"/>
                  </a:lnTo>
                  <a:lnTo>
                    <a:pt x="24" y="25"/>
                  </a:lnTo>
                  <a:lnTo>
                    <a:pt x="41" y="41"/>
                  </a:lnTo>
                  <a:lnTo>
                    <a:pt x="81" y="50"/>
                  </a:lnTo>
                  <a:lnTo>
                    <a:pt x="89" y="50"/>
                  </a:lnTo>
                  <a:lnTo>
                    <a:pt x="56" y="90"/>
                  </a:lnTo>
                  <a:lnTo>
                    <a:pt x="32" y="90"/>
                  </a:lnTo>
                  <a:lnTo>
                    <a:pt x="16" y="106"/>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6" name="Freeform 292">
              <a:extLst>
                <a:ext uri="{FF2B5EF4-FFF2-40B4-BE49-F238E27FC236}">
                  <a16:creationId xmlns:a16="http://schemas.microsoft.com/office/drawing/2014/main" id="{56318177-23F8-44FD-B97A-DBB05986F0A0}"/>
                </a:ext>
              </a:extLst>
            </p:cNvPr>
            <p:cNvSpPr>
              <a:spLocks/>
            </p:cNvSpPr>
            <p:nvPr/>
          </p:nvSpPr>
          <p:spPr bwMode="auto">
            <a:xfrm>
              <a:off x="5154613" y="3911600"/>
              <a:ext cx="296862" cy="276225"/>
            </a:xfrm>
            <a:custGeom>
              <a:avLst/>
              <a:gdLst>
                <a:gd name="T0" fmla="*/ 0 w 155"/>
                <a:gd name="T1" fmla="*/ 2147483647 h 170"/>
                <a:gd name="T2" fmla="*/ 2147483647 w 155"/>
                <a:gd name="T3" fmla="*/ 2147483647 h 170"/>
                <a:gd name="T4" fmla="*/ 2147483647 w 155"/>
                <a:gd name="T5" fmla="*/ 2147483647 h 170"/>
                <a:gd name="T6" fmla="*/ 2147483647 w 155"/>
                <a:gd name="T7" fmla="*/ 2147483647 h 170"/>
                <a:gd name="T8" fmla="*/ 2147483647 w 155"/>
                <a:gd name="T9" fmla="*/ 2147483647 h 170"/>
                <a:gd name="T10" fmla="*/ 2147483647 w 155"/>
                <a:gd name="T11" fmla="*/ 2147483647 h 170"/>
                <a:gd name="T12" fmla="*/ 2147483647 w 155"/>
                <a:gd name="T13" fmla="*/ 2147483647 h 170"/>
                <a:gd name="T14" fmla="*/ 2147483647 w 155"/>
                <a:gd name="T15" fmla="*/ 0 h 170"/>
                <a:gd name="T16" fmla="*/ 2147483647 w 155"/>
                <a:gd name="T17" fmla="*/ 2147483647 h 170"/>
                <a:gd name="T18" fmla="*/ 2147483647 w 155"/>
                <a:gd name="T19" fmla="*/ 2147483647 h 170"/>
                <a:gd name="T20" fmla="*/ 2147483647 w 155"/>
                <a:gd name="T21" fmla="*/ 2147483647 h 170"/>
                <a:gd name="T22" fmla="*/ 2147483647 w 155"/>
                <a:gd name="T23" fmla="*/ 2147483647 h 170"/>
                <a:gd name="T24" fmla="*/ 2147483647 w 155"/>
                <a:gd name="T25" fmla="*/ 2147483647 h 170"/>
                <a:gd name="T26" fmla="*/ 2147483647 w 155"/>
                <a:gd name="T27" fmla="*/ 2147483647 h 170"/>
                <a:gd name="T28" fmla="*/ 2147483647 w 155"/>
                <a:gd name="T29" fmla="*/ 2147483647 h 170"/>
                <a:gd name="T30" fmla="*/ 2147483647 w 155"/>
                <a:gd name="T31" fmla="*/ 2147483647 h 170"/>
                <a:gd name="T32" fmla="*/ 2147483647 w 155"/>
                <a:gd name="T33" fmla="*/ 2147483647 h 170"/>
                <a:gd name="T34" fmla="*/ 2147483647 w 155"/>
                <a:gd name="T35" fmla="*/ 2147483647 h 170"/>
                <a:gd name="T36" fmla="*/ 0 w 155"/>
                <a:gd name="T37" fmla="*/ 2147483647 h 170"/>
                <a:gd name="T38" fmla="*/ 2147483647 w 155"/>
                <a:gd name="T39" fmla="*/ 2147483647 h 170"/>
                <a:gd name="T40" fmla="*/ 0 w 155"/>
                <a:gd name="T41" fmla="*/ 2147483647 h 170"/>
                <a:gd name="T42" fmla="*/ 2147483647 w 155"/>
                <a:gd name="T43" fmla="*/ 2147483647 h 170"/>
                <a:gd name="T44" fmla="*/ 0 w 155"/>
                <a:gd name="T45" fmla="*/ 2147483647 h 17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55"/>
                <a:gd name="T70" fmla="*/ 0 h 170"/>
                <a:gd name="T71" fmla="*/ 155 w 155"/>
                <a:gd name="T72" fmla="*/ 170 h 17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55" h="170">
                  <a:moveTo>
                    <a:pt x="0" y="88"/>
                  </a:moveTo>
                  <a:lnTo>
                    <a:pt x="9" y="81"/>
                  </a:lnTo>
                  <a:lnTo>
                    <a:pt x="49" y="81"/>
                  </a:lnTo>
                  <a:lnTo>
                    <a:pt x="49" y="65"/>
                  </a:lnTo>
                  <a:lnTo>
                    <a:pt x="65" y="57"/>
                  </a:lnTo>
                  <a:lnTo>
                    <a:pt x="65" y="16"/>
                  </a:lnTo>
                  <a:lnTo>
                    <a:pt x="106" y="16"/>
                  </a:lnTo>
                  <a:lnTo>
                    <a:pt x="106" y="0"/>
                  </a:lnTo>
                  <a:lnTo>
                    <a:pt x="154" y="32"/>
                  </a:lnTo>
                  <a:lnTo>
                    <a:pt x="130" y="32"/>
                  </a:lnTo>
                  <a:lnTo>
                    <a:pt x="148" y="162"/>
                  </a:lnTo>
                  <a:lnTo>
                    <a:pt x="89" y="162"/>
                  </a:lnTo>
                  <a:lnTo>
                    <a:pt x="81" y="169"/>
                  </a:lnTo>
                  <a:lnTo>
                    <a:pt x="74" y="162"/>
                  </a:lnTo>
                  <a:lnTo>
                    <a:pt x="58" y="169"/>
                  </a:lnTo>
                  <a:lnTo>
                    <a:pt x="49" y="153"/>
                  </a:lnTo>
                  <a:lnTo>
                    <a:pt x="24" y="146"/>
                  </a:lnTo>
                  <a:lnTo>
                    <a:pt x="9" y="146"/>
                  </a:lnTo>
                  <a:lnTo>
                    <a:pt x="0" y="153"/>
                  </a:lnTo>
                  <a:lnTo>
                    <a:pt x="9" y="122"/>
                  </a:lnTo>
                  <a:lnTo>
                    <a:pt x="0" y="112"/>
                  </a:lnTo>
                  <a:lnTo>
                    <a:pt x="9" y="97"/>
                  </a:lnTo>
                  <a:lnTo>
                    <a:pt x="0" y="88"/>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7" name="Freeform 293">
              <a:extLst>
                <a:ext uri="{FF2B5EF4-FFF2-40B4-BE49-F238E27FC236}">
                  <a16:creationId xmlns:a16="http://schemas.microsoft.com/office/drawing/2014/main" id="{55BFD3C5-6424-46C2-8CFF-29470852B8C4}"/>
                </a:ext>
              </a:extLst>
            </p:cNvPr>
            <p:cNvSpPr>
              <a:spLocks/>
            </p:cNvSpPr>
            <p:nvPr/>
          </p:nvSpPr>
          <p:spPr bwMode="auto">
            <a:xfrm>
              <a:off x="5154613" y="3895725"/>
              <a:ext cx="204787" cy="158750"/>
            </a:xfrm>
            <a:custGeom>
              <a:avLst/>
              <a:gdLst>
                <a:gd name="T0" fmla="*/ 0 w 107"/>
                <a:gd name="T1" fmla="*/ 2147483647 h 98"/>
                <a:gd name="T2" fmla="*/ 2147483647 w 107"/>
                <a:gd name="T3" fmla="*/ 2147483647 h 98"/>
                <a:gd name="T4" fmla="*/ 2147483647 w 107"/>
                <a:gd name="T5" fmla="*/ 2147483647 h 98"/>
                <a:gd name="T6" fmla="*/ 2147483647 w 107"/>
                <a:gd name="T7" fmla="*/ 2147483647 h 98"/>
                <a:gd name="T8" fmla="*/ 2147483647 w 107"/>
                <a:gd name="T9" fmla="*/ 2147483647 h 98"/>
                <a:gd name="T10" fmla="*/ 2147483647 w 107"/>
                <a:gd name="T11" fmla="*/ 2147483647 h 98"/>
                <a:gd name="T12" fmla="*/ 2147483647 w 107"/>
                <a:gd name="T13" fmla="*/ 2147483647 h 98"/>
                <a:gd name="T14" fmla="*/ 2147483647 w 107"/>
                <a:gd name="T15" fmla="*/ 2147483647 h 98"/>
                <a:gd name="T16" fmla="*/ 2147483647 w 107"/>
                <a:gd name="T17" fmla="*/ 0 h 98"/>
                <a:gd name="T18" fmla="*/ 2147483647 w 107"/>
                <a:gd name="T19" fmla="*/ 2147483647 h 98"/>
                <a:gd name="T20" fmla="*/ 2147483647 w 107"/>
                <a:gd name="T21" fmla="*/ 2147483647 h 98"/>
                <a:gd name="T22" fmla="*/ 2147483647 w 107"/>
                <a:gd name="T23" fmla="*/ 2147483647 h 98"/>
                <a:gd name="T24" fmla="*/ 0 w 107"/>
                <a:gd name="T25" fmla="*/ 2147483647 h 98"/>
                <a:gd name="T26" fmla="*/ 0 w 107"/>
                <a:gd name="T27" fmla="*/ 2147483647 h 9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7"/>
                <a:gd name="T43" fmla="*/ 0 h 98"/>
                <a:gd name="T44" fmla="*/ 107 w 107"/>
                <a:gd name="T45" fmla="*/ 98 h 9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7" h="98">
                  <a:moveTo>
                    <a:pt x="0" y="97"/>
                  </a:moveTo>
                  <a:lnTo>
                    <a:pt x="9" y="90"/>
                  </a:lnTo>
                  <a:lnTo>
                    <a:pt x="49" y="90"/>
                  </a:lnTo>
                  <a:lnTo>
                    <a:pt x="49" y="74"/>
                  </a:lnTo>
                  <a:lnTo>
                    <a:pt x="65" y="66"/>
                  </a:lnTo>
                  <a:lnTo>
                    <a:pt x="65" y="25"/>
                  </a:lnTo>
                  <a:lnTo>
                    <a:pt x="106" y="25"/>
                  </a:lnTo>
                  <a:lnTo>
                    <a:pt x="106" y="9"/>
                  </a:lnTo>
                  <a:lnTo>
                    <a:pt x="49" y="0"/>
                  </a:lnTo>
                  <a:lnTo>
                    <a:pt x="40" y="16"/>
                  </a:lnTo>
                  <a:lnTo>
                    <a:pt x="34" y="25"/>
                  </a:lnTo>
                  <a:lnTo>
                    <a:pt x="24" y="49"/>
                  </a:lnTo>
                  <a:lnTo>
                    <a:pt x="0" y="81"/>
                  </a:lnTo>
                  <a:lnTo>
                    <a:pt x="0" y="97"/>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8" name="Freeform 294">
              <a:extLst>
                <a:ext uri="{FF2B5EF4-FFF2-40B4-BE49-F238E27FC236}">
                  <a16:creationId xmlns:a16="http://schemas.microsoft.com/office/drawing/2014/main" id="{EBE5AA2A-F3DE-4001-A5DB-458E8D816491}"/>
                </a:ext>
              </a:extLst>
            </p:cNvPr>
            <p:cNvSpPr>
              <a:spLocks/>
            </p:cNvSpPr>
            <p:nvPr/>
          </p:nvSpPr>
          <p:spPr bwMode="auto">
            <a:xfrm>
              <a:off x="5140325" y="4149725"/>
              <a:ext cx="157163" cy="92075"/>
            </a:xfrm>
            <a:custGeom>
              <a:avLst/>
              <a:gdLst>
                <a:gd name="T0" fmla="*/ 2147483647 w 83"/>
                <a:gd name="T1" fmla="*/ 2147483647 h 57"/>
                <a:gd name="T2" fmla="*/ 2147483647 w 83"/>
                <a:gd name="T3" fmla="*/ 2147483647 h 57"/>
                <a:gd name="T4" fmla="*/ 2147483647 w 83"/>
                <a:gd name="T5" fmla="*/ 2147483647 h 57"/>
                <a:gd name="T6" fmla="*/ 2147483647 w 83"/>
                <a:gd name="T7" fmla="*/ 2147483647 h 57"/>
                <a:gd name="T8" fmla="*/ 2147483647 w 83"/>
                <a:gd name="T9" fmla="*/ 2147483647 h 57"/>
                <a:gd name="T10" fmla="*/ 2147483647 w 83"/>
                <a:gd name="T11" fmla="*/ 2147483647 h 57"/>
                <a:gd name="T12" fmla="*/ 2147483647 w 83"/>
                <a:gd name="T13" fmla="*/ 2147483647 h 57"/>
                <a:gd name="T14" fmla="*/ 0 w 83"/>
                <a:gd name="T15" fmla="*/ 2147483647 h 57"/>
                <a:gd name="T16" fmla="*/ 2147483647 w 83"/>
                <a:gd name="T17" fmla="*/ 2147483647 h 57"/>
                <a:gd name="T18" fmla="*/ 2147483647 w 83"/>
                <a:gd name="T19" fmla="*/ 0 h 57"/>
                <a:gd name="T20" fmla="*/ 2147483647 w 83"/>
                <a:gd name="T21" fmla="*/ 0 h 57"/>
                <a:gd name="T22" fmla="*/ 2147483647 w 83"/>
                <a:gd name="T23" fmla="*/ 2147483647 h 57"/>
                <a:gd name="T24" fmla="*/ 2147483647 w 83"/>
                <a:gd name="T25" fmla="*/ 2147483647 h 57"/>
                <a:gd name="T26" fmla="*/ 2147483647 w 83"/>
                <a:gd name="T27" fmla="*/ 2147483647 h 57"/>
                <a:gd name="T28" fmla="*/ 2147483647 w 83"/>
                <a:gd name="T29" fmla="*/ 2147483647 h 57"/>
                <a:gd name="T30" fmla="*/ 2147483647 w 83"/>
                <a:gd name="T31" fmla="*/ 2147483647 h 57"/>
                <a:gd name="T32" fmla="*/ 2147483647 w 83"/>
                <a:gd name="T33" fmla="*/ 2147483647 h 5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3"/>
                <a:gd name="T52" fmla="*/ 0 h 57"/>
                <a:gd name="T53" fmla="*/ 83 w 83"/>
                <a:gd name="T54" fmla="*/ 57 h 5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3" h="57">
                  <a:moveTo>
                    <a:pt x="8" y="48"/>
                  </a:moveTo>
                  <a:lnTo>
                    <a:pt x="17" y="48"/>
                  </a:lnTo>
                  <a:lnTo>
                    <a:pt x="32" y="41"/>
                  </a:lnTo>
                  <a:lnTo>
                    <a:pt x="42" y="48"/>
                  </a:lnTo>
                  <a:lnTo>
                    <a:pt x="48" y="41"/>
                  </a:lnTo>
                  <a:lnTo>
                    <a:pt x="32" y="41"/>
                  </a:lnTo>
                  <a:lnTo>
                    <a:pt x="8" y="41"/>
                  </a:lnTo>
                  <a:lnTo>
                    <a:pt x="0" y="23"/>
                  </a:lnTo>
                  <a:lnTo>
                    <a:pt x="8" y="7"/>
                  </a:lnTo>
                  <a:lnTo>
                    <a:pt x="17" y="0"/>
                  </a:lnTo>
                  <a:lnTo>
                    <a:pt x="32" y="0"/>
                  </a:lnTo>
                  <a:lnTo>
                    <a:pt x="57" y="7"/>
                  </a:lnTo>
                  <a:lnTo>
                    <a:pt x="66" y="23"/>
                  </a:lnTo>
                  <a:lnTo>
                    <a:pt x="82" y="56"/>
                  </a:lnTo>
                  <a:lnTo>
                    <a:pt x="48" y="56"/>
                  </a:lnTo>
                  <a:lnTo>
                    <a:pt x="8" y="56"/>
                  </a:lnTo>
                  <a:lnTo>
                    <a:pt x="8" y="48"/>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9" name="Freeform 295">
              <a:extLst>
                <a:ext uri="{FF2B5EF4-FFF2-40B4-BE49-F238E27FC236}">
                  <a16:creationId xmlns:a16="http://schemas.microsoft.com/office/drawing/2014/main" id="{0892603E-BC60-4E15-BF48-AD711187939F}"/>
                </a:ext>
              </a:extLst>
            </p:cNvPr>
            <p:cNvSpPr>
              <a:spLocks/>
            </p:cNvSpPr>
            <p:nvPr/>
          </p:nvSpPr>
          <p:spPr bwMode="auto">
            <a:xfrm>
              <a:off x="5154613" y="4216400"/>
              <a:ext cx="77787" cy="26988"/>
            </a:xfrm>
            <a:custGeom>
              <a:avLst/>
              <a:gdLst>
                <a:gd name="T0" fmla="*/ 0 w 41"/>
                <a:gd name="T1" fmla="*/ 2147483647 h 17"/>
                <a:gd name="T2" fmla="*/ 2147483647 w 41"/>
                <a:gd name="T3" fmla="*/ 2147483647 h 17"/>
                <a:gd name="T4" fmla="*/ 2147483647 w 41"/>
                <a:gd name="T5" fmla="*/ 0 h 17"/>
                <a:gd name="T6" fmla="*/ 2147483647 w 41"/>
                <a:gd name="T7" fmla="*/ 2147483647 h 17"/>
                <a:gd name="T8" fmla="*/ 2147483647 w 41"/>
                <a:gd name="T9" fmla="*/ 0 h 17"/>
                <a:gd name="T10" fmla="*/ 2147483647 w 41"/>
                <a:gd name="T11" fmla="*/ 0 h 17"/>
                <a:gd name="T12" fmla="*/ 0 w 41"/>
                <a:gd name="T13" fmla="*/ 0 h 17"/>
                <a:gd name="T14" fmla="*/ 0 w 41"/>
                <a:gd name="T15" fmla="*/ 2147483647 h 17"/>
                <a:gd name="T16" fmla="*/ 0 60000 65536"/>
                <a:gd name="T17" fmla="*/ 0 60000 65536"/>
                <a:gd name="T18" fmla="*/ 0 60000 65536"/>
                <a:gd name="T19" fmla="*/ 0 60000 65536"/>
                <a:gd name="T20" fmla="*/ 0 60000 65536"/>
                <a:gd name="T21" fmla="*/ 0 60000 65536"/>
                <a:gd name="T22" fmla="*/ 0 60000 65536"/>
                <a:gd name="T23" fmla="*/ 0 60000 65536"/>
                <a:gd name="T24" fmla="*/ 0 w 41"/>
                <a:gd name="T25" fmla="*/ 0 h 17"/>
                <a:gd name="T26" fmla="*/ 41 w 41"/>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1" h="17">
                  <a:moveTo>
                    <a:pt x="0" y="16"/>
                  </a:moveTo>
                  <a:lnTo>
                    <a:pt x="9" y="16"/>
                  </a:lnTo>
                  <a:lnTo>
                    <a:pt x="24" y="0"/>
                  </a:lnTo>
                  <a:lnTo>
                    <a:pt x="34" y="16"/>
                  </a:lnTo>
                  <a:lnTo>
                    <a:pt x="40" y="0"/>
                  </a:lnTo>
                  <a:lnTo>
                    <a:pt x="24" y="0"/>
                  </a:lnTo>
                  <a:lnTo>
                    <a:pt x="0" y="0"/>
                  </a:lnTo>
                  <a:lnTo>
                    <a:pt x="0" y="16"/>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0" name="Freeform 296">
              <a:extLst>
                <a:ext uri="{FF2B5EF4-FFF2-40B4-BE49-F238E27FC236}">
                  <a16:creationId xmlns:a16="http://schemas.microsoft.com/office/drawing/2014/main" id="{CEB940F8-544B-4631-9F7A-055F40A81357}"/>
                </a:ext>
              </a:extLst>
            </p:cNvPr>
            <p:cNvSpPr>
              <a:spLocks/>
            </p:cNvSpPr>
            <p:nvPr/>
          </p:nvSpPr>
          <p:spPr bwMode="auto">
            <a:xfrm>
              <a:off x="5154613" y="4238625"/>
              <a:ext cx="77787" cy="44450"/>
            </a:xfrm>
            <a:custGeom>
              <a:avLst/>
              <a:gdLst>
                <a:gd name="T0" fmla="*/ 2147483647 w 41"/>
                <a:gd name="T1" fmla="*/ 2147483647 h 26"/>
                <a:gd name="T2" fmla="*/ 2147483647 w 41"/>
                <a:gd name="T3" fmla="*/ 2147483647 h 26"/>
                <a:gd name="T4" fmla="*/ 2147483647 w 41"/>
                <a:gd name="T5" fmla="*/ 0 h 26"/>
                <a:gd name="T6" fmla="*/ 0 w 41"/>
                <a:gd name="T7" fmla="*/ 0 h 26"/>
                <a:gd name="T8" fmla="*/ 2147483647 w 41"/>
                <a:gd name="T9" fmla="*/ 2147483647 h 26"/>
                <a:gd name="T10" fmla="*/ 2147483647 w 41"/>
                <a:gd name="T11" fmla="*/ 2147483647 h 26"/>
                <a:gd name="T12" fmla="*/ 2147483647 w 41"/>
                <a:gd name="T13" fmla="*/ 2147483647 h 26"/>
                <a:gd name="T14" fmla="*/ 0 60000 65536"/>
                <a:gd name="T15" fmla="*/ 0 60000 65536"/>
                <a:gd name="T16" fmla="*/ 0 60000 65536"/>
                <a:gd name="T17" fmla="*/ 0 60000 65536"/>
                <a:gd name="T18" fmla="*/ 0 60000 65536"/>
                <a:gd name="T19" fmla="*/ 0 60000 65536"/>
                <a:gd name="T20" fmla="*/ 0 60000 65536"/>
                <a:gd name="T21" fmla="*/ 0 w 41"/>
                <a:gd name="T22" fmla="*/ 0 h 26"/>
                <a:gd name="T23" fmla="*/ 41 w 41"/>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6">
                  <a:moveTo>
                    <a:pt x="24" y="25"/>
                  </a:moveTo>
                  <a:lnTo>
                    <a:pt x="40" y="7"/>
                  </a:lnTo>
                  <a:lnTo>
                    <a:pt x="40" y="0"/>
                  </a:lnTo>
                  <a:lnTo>
                    <a:pt x="0" y="0"/>
                  </a:lnTo>
                  <a:lnTo>
                    <a:pt x="17" y="7"/>
                  </a:lnTo>
                  <a:lnTo>
                    <a:pt x="17" y="17"/>
                  </a:lnTo>
                  <a:lnTo>
                    <a:pt x="24" y="25"/>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1" name="Freeform 297">
              <a:extLst>
                <a:ext uri="{FF2B5EF4-FFF2-40B4-BE49-F238E27FC236}">
                  <a16:creationId xmlns:a16="http://schemas.microsoft.com/office/drawing/2014/main" id="{CA4427A6-1A21-4012-8DD6-0B801EF3330A}"/>
                </a:ext>
              </a:extLst>
            </p:cNvPr>
            <p:cNvSpPr>
              <a:spLocks/>
            </p:cNvSpPr>
            <p:nvPr/>
          </p:nvSpPr>
          <p:spPr bwMode="auto">
            <a:xfrm>
              <a:off x="5200650" y="4238625"/>
              <a:ext cx="174625" cy="111125"/>
            </a:xfrm>
            <a:custGeom>
              <a:avLst/>
              <a:gdLst>
                <a:gd name="T0" fmla="*/ 2147483647 w 91"/>
                <a:gd name="T1" fmla="*/ 2147483647 h 67"/>
                <a:gd name="T2" fmla="*/ 2147483647 w 91"/>
                <a:gd name="T3" fmla="*/ 2147483647 h 67"/>
                <a:gd name="T4" fmla="*/ 2147483647 w 91"/>
                <a:gd name="T5" fmla="*/ 2147483647 h 67"/>
                <a:gd name="T6" fmla="*/ 2147483647 w 91"/>
                <a:gd name="T7" fmla="*/ 2147483647 h 67"/>
                <a:gd name="T8" fmla="*/ 2147483647 w 91"/>
                <a:gd name="T9" fmla="*/ 2147483647 h 67"/>
                <a:gd name="T10" fmla="*/ 2147483647 w 91"/>
                <a:gd name="T11" fmla="*/ 2147483647 h 67"/>
                <a:gd name="T12" fmla="*/ 2147483647 w 91"/>
                <a:gd name="T13" fmla="*/ 0 h 67"/>
                <a:gd name="T14" fmla="*/ 2147483647 w 91"/>
                <a:gd name="T15" fmla="*/ 2147483647 h 67"/>
                <a:gd name="T16" fmla="*/ 2147483647 w 91"/>
                <a:gd name="T17" fmla="*/ 2147483647 h 67"/>
                <a:gd name="T18" fmla="*/ 2147483647 w 91"/>
                <a:gd name="T19" fmla="*/ 0 h 67"/>
                <a:gd name="T20" fmla="*/ 2147483647 w 91"/>
                <a:gd name="T21" fmla="*/ 0 h 67"/>
                <a:gd name="T22" fmla="*/ 2147483647 w 91"/>
                <a:gd name="T23" fmla="*/ 2147483647 h 67"/>
                <a:gd name="T24" fmla="*/ 0 w 91"/>
                <a:gd name="T25" fmla="*/ 2147483647 h 67"/>
                <a:gd name="T26" fmla="*/ 2147483647 w 91"/>
                <a:gd name="T27" fmla="*/ 2147483647 h 67"/>
                <a:gd name="T28" fmla="*/ 2147483647 w 91"/>
                <a:gd name="T29" fmla="*/ 2147483647 h 67"/>
                <a:gd name="T30" fmla="*/ 2147483647 w 91"/>
                <a:gd name="T31" fmla="*/ 2147483647 h 67"/>
                <a:gd name="T32" fmla="*/ 2147483647 w 91"/>
                <a:gd name="T33" fmla="*/ 2147483647 h 67"/>
                <a:gd name="T34" fmla="*/ 2147483647 w 91"/>
                <a:gd name="T35" fmla="*/ 2147483647 h 67"/>
                <a:gd name="T36" fmla="*/ 2147483647 w 91"/>
                <a:gd name="T37" fmla="*/ 2147483647 h 67"/>
                <a:gd name="T38" fmla="*/ 2147483647 w 91"/>
                <a:gd name="T39" fmla="*/ 2147483647 h 67"/>
                <a:gd name="T40" fmla="*/ 2147483647 w 91"/>
                <a:gd name="T41" fmla="*/ 2147483647 h 6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1"/>
                <a:gd name="T64" fmla="*/ 0 h 67"/>
                <a:gd name="T65" fmla="*/ 91 w 91"/>
                <a:gd name="T66" fmla="*/ 67 h 6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1" h="67">
                  <a:moveTo>
                    <a:pt x="82" y="66"/>
                  </a:moveTo>
                  <a:lnTo>
                    <a:pt x="90" y="66"/>
                  </a:lnTo>
                  <a:lnTo>
                    <a:pt x="90" y="57"/>
                  </a:lnTo>
                  <a:lnTo>
                    <a:pt x="90" y="48"/>
                  </a:lnTo>
                  <a:lnTo>
                    <a:pt x="90" y="41"/>
                  </a:lnTo>
                  <a:lnTo>
                    <a:pt x="90" y="32"/>
                  </a:lnTo>
                  <a:lnTo>
                    <a:pt x="75" y="0"/>
                  </a:lnTo>
                  <a:lnTo>
                    <a:pt x="57" y="7"/>
                  </a:lnTo>
                  <a:lnTo>
                    <a:pt x="41" y="7"/>
                  </a:lnTo>
                  <a:lnTo>
                    <a:pt x="50" y="0"/>
                  </a:lnTo>
                  <a:lnTo>
                    <a:pt x="16" y="0"/>
                  </a:lnTo>
                  <a:lnTo>
                    <a:pt x="16" y="7"/>
                  </a:lnTo>
                  <a:lnTo>
                    <a:pt x="0" y="25"/>
                  </a:lnTo>
                  <a:lnTo>
                    <a:pt x="25" y="41"/>
                  </a:lnTo>
                  <a:lnTo>
                    <a:pt x="34" y="32"/>
                  </a:lnTo>
                  <a:lnTo>
                    <a:pt x="41" y="32"/>
                  </a:lnTo>
                  <a:lnTo>
                    <a:pt x="57" y="48"/>
                  </a:lnTo>
                  <a:lnTo>
                    <a:pt x="57" y="57"/>
                  </a:lnTo>
                  <a:lnTo>
                    <a:pt x="65" y="48"/>
                  </a:lnTo>
                  <a:lnTo>
                    <a:pt x="75" y="66"/>
                  </a:lnTo>
                  <a:lnTo>
                    <a:pt x="82" y="66"/>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2" name="Freeform 298">
              <a:extLst>
                <a:ext uri="{FF2B5EF4-FFF2-40B4-BE49-F238E27FC236}">
                  <a16:creationId xmlns:a16="http://schemas.microsoft.com/office/drawing/2014/main" id="{79928B57-6774-4357-AB2B-315153E4AABE}"/>
                </a:ext>
              </a:extLst>
            </p:cNvPr>
            <p:cNvSpPr>
              <a:spLocks/>
            </p:cNvSpPr>
            <p:nvPr/>
          </p:nvSpPr>
          <p:spPr bwMode="auto">
            <a:xfrm>
              <a:off x="5249863" y="4292600"/>
              <a:ext cx="61912" cy="66675"/>
            </a:xfrm>
            <a:custGeom>
              <a:avLst/>
              <a:gdLst>
                <a:gd name="T0" fmla="*/ 0 w 33"/>
                <a:gd name="T1" fmla="*/ 2147483647 h 41"/>
                <a:gd name="T2" fmla="*/ 2147483647 w 33"/>
                <a:gd name="T3" fmla="*/ 0 h 41"/>
                <a:gd name="T4" fmla="*/ 2147483647 w 33"/>
                <a:gd name="T5" fmla="*/ 0 h 41"/>
                <a:gd name="T6" fmla="*/ 2147483647 w 33"/>
                <a:gd name="T7" fmla="*/ 2147483647 h 41"/>
                <a:gd name="T8" fmla="*/ 2147483647 w 33"/>
                <a:gd name="T9" fmla="*/ 2147483647 h 41"/>
                <a:gd name="T10" fmla="*/ 2147483647 w 33"/>
                <a:gd name="T11" fmla="*/ 2147483647 h 41"/>
                <a:gd name="T12" fmla="*/ 2147483647 w 33"/>
                <a:gd name="T13" fmla="*/ 2147483647 h 41"/>
                <a:gd name="T14" fmla="*/ 0 w 33"/>
                <a:gd name="T15" fmla="*/ 2147483647 h 41"/>
                <a:gd name="T16" fmla="*/ 0 w 33"/>
                <a:gd name="T17" fmla="*/ 2147483647 h 4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41"/>
                <a:gd name="T29" fmla="*/ 33 w 33"/>
                <a:gd name="T30" fmla="*/ 41 h 4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41">
                  <a:moveTo>
                    <a:pt x="0" y="9"/>
                  </a:moveTo>
                  <a:lnTo>
                    <a:pt x="9" y="0"/>
                  </a:lnTo>
                  <a:lnTo>
                    <a:pt x="16" y="0"/>
                  </a:lnTo>
                  <a:lnTo>
                    <a:pt x="32" y="16"/>
                  </a:lnTo>
                  <a:lnTo>
                    <a:pt x="32" y="25"/>
                  </a:lnTo>
                  <a:lnTo>
                    <a:pt x="16" y="40"/>
                  </a:lnTo>
                  <a:lnTo>
                    <a:pt x="9" y="34"/>
                  </a:lnTo>
                  <a:lnTo>
                    <a:pt x="0" y="34"/>
                  </a:lnTo>
                  <a:lnTo>
                    <a:pt x="0" y="9"/>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3" name="Freeform 299">
              <a:extLst>
                <a:ext uri="{FF2B5EF4-FFF2-40B4-BE49-F238E27FC236}">
                  <a16:creationId xmlns:a16="http://schemas.microsoft.com/office/drawing/2014/main" id="{3801E451-C268-4712-96D9-8B5CB322B434}"/>
                </a:ext>
              </a:extLst>
            </p:cNvPr>
            <p:cNvSpPr>
              <a:spLocks/>
            </p:cNvSpPr>
            <p:nvPr/>
          </p:nvSpPr>
          <p:spPr bwMode="auto">
            <a:xfrm>
              <a:off x="5280025" y="4319588"/>
              <a:ext cx="114300" cy="95250"/>
            </a:xfrm>
            <a:custGeom>
              <a:avLst/>
              <a:gdLst>
                <a:gd name="T0" fmla="*/ 2147483647 w 59"/>
                <a:gd name="T1" fmla="*/ 2147483647 h 59"/>
                <a:gd name="T2" fmla="*/ 2147483647 w 59"/>
                <a:gd name="T3" fmla="*/ 2147483647 h 59"/>
                <a:gd name="T4" fmla="*/ 2147483647 w 59"/>
                <a:gd name="T5" fmla="*/ 2147483647 h 59"/>
                <a:gd name="T6" fmla="*/ 2147483647 w 59"/>
                <a:gd name="T7" fmla="*/ 2147483647 h 59"/>
                <a:gd name="T8" fmla="*/ 2147483647 w 59"/>
                <a:gd name="T9" fmla="*/ 2147483647 h 59"/>
                <a:gd name="T10" fmla="*/ 2147483647 w 59"/>
                <a:gd name="T11" fmla="*/ 0 h 59"/>
                <a:gd name="T12" fmla="*/ 2147483647 w 59"/>
                <a:gd name="T13" fmla="*/ 2147483647 h 59"/>
                <a:gd name="T14" fmla="*/ 0 w 59"/>
                <a:gd name="T15" fmla="*/ 2147483647 h 59"/>
                <a:gd name="T16" fmla="*/ 2147483647 w 59"/>
                <a:gd name="T17" fmla="*/ 2147483647 h 59"/>
                <a:gd name="T18" fmla="*/ 2147483647 w 59"/>
                <a:gd name="T19" fmla="*/ 2147483647 h 5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9"/>
                <a:gd name="T31" fmla="*/ 0 h 59"/>
                <a:gd name="T32" fmla="*/ 59 w 59"/>
                <a:gd name="T33" fmla="*/ 59 h 5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9" h="59">
                  <a:moveTo>
                    <a:pt x="58" y="58"/>
                  </a:moveTo>
                  <a:lnTo>
                    <a:pt x="58" y="42"/>
                  </a:lnTo>
                  <a:lnTo>
                    <a:pt x="41" y="33"/>
                  </a:lnTo>
                  <a:lnTo>
                    <a:pt x="41" y="18"/>
                  </a:lnTo>
                  <a:lnTo>
                    <a:pt x="34" y="18"/>
                  </a:lnTo>
                  <a:lnTo>
                    <a:pt x="24" y="0"/>
                  </a:lnTo>
                  <a:lnTo>
                    <a:pt x="16" y="9"/>
                  </a:lnTo>
                  <a:lnTo>
                    <a:pt x="0" y="24"/>
                  </a:lnTo>
                  <a:lnTo>
                    <a:pt x="41" y="58"/>
                  </a:lnTo>
                  <a:lnTo>
                    <a:pt x="58" y="58"/>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4" name="Freeform 300">
              <a:extLst>
                <a:ext uri="{FF2B5EF4-FFF2-40B4-BE49-F238E27FC236}">
                  <a16:creationId xmlns:a16="http://schemas.microsoft.com/office/drawing/2014/main" id="{CB32EEC1-A946-46A4-9FE4-B083D009ACA8}"/>
                </a:ext>
              </a:extLst>
            </p:cNvPr>
            <p:cNvSpPr>
              <a:spLocks/>
            </p:cNvSpPr>
            <p:nvPr/>
          </p:nvSpPr>
          <p:spPr bwMode="auto">
            <a:xfrm>
              <a:off x="5557838" y="4267200"/>
              <a:ext cx="52387" cy="104775"/>
            </a:xfrm>
            <a:custGeom>
              <a:avLst/>
              <a:gdLst>
                <a:gd name="T0" fmla="*/ 2147483647 w 26"/>
                <a:gd name="T1" fmla="*/ 0 h 65"/>
                <a:gd name="T2" fmla="*/ 0 w 26"/>
                <a:gd name="T3" fmla="*/ 0 h 65"/>
                <a:gd name="T4" fmla="*/ 2147483647 w 26"/>
                <a:gd name="T5" fmla="*/ 2147483647 h 65"/>
                <a:gd name="T6" fmla="*/ 2147483647 w 26"/>
                <a:gd name="T7" fmla="*/ 2147483647 h 65"/>
                <a:gd name="T8" fmla="*/ 2147483647 w 26"/>
                <a:gd name="T9" fmla="*/ 2147483647 h 65"/>
                <a:gd name="T10" fmla="*/ 2147483647 w 26"/>
                <a:gd name="T11" fmla="*/ 2147483647 h 65"/>
                <a:gd name="T12" fmla="*/ 2147483647 w 26"/>
                <a:gd name="T13" fmla="*/ 2147483647 h 65"/>
                <a:gd name="T14" fmla="*/ 2147483647 w 26"/>
                <a:gd name="T15" fmla="*/ 2147483647 h 65"/>
                <a:gd name="T16" fmla="*/ 2147483647 w 26"/>
                <a:gd name="T17" fmla="*/ 2147483647 h 65"/>
                <a:gd name="T18" fmla="*/ 2147483647 w 26"/>
                <a:gd name="T19" fmla="*/ 0 h 6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65"/>
                <a:gd name="T32" fmla="*/ 26 w 26"/>
                <a:gd name="T33" fmla="*/ 65 h 6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65">
                  <a:moveTo>
                    <a:pt x="17" y="0"/>
                  </a:moveTo>
                  <a:lnTo>
                    <a:pt x="0" y="0"/>
                  </a:lnTo>
                  <a:lnTo>
                    <a:pt x="9" y="31"/>
                  </a:lnTo>
                  <a:lnTo>
                    <a:pt x="17" y="55"/>
                  </a:lnTo>
                  <a:lnTo>
                    <a:pt x="17" y="64"/>
                  </a:lnTo>
                  <a:lnTo>
                    <a:pt x="25" y="64"/>
                  </a:lnTo>
                  <a:lnTo>
                    <a:pt x="25" y="31"/>
                  </a:lnTo>
                  <a:lnTo>
                    <a:pt x="25" y="15"/>
                  </a:lnTo>
                  <a:lnTo>
                    <a:pt x="17" y="8"/>
                  </a:lnTo>
                  <a:lnTo>
                    <a:pt x="17"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5" name="Freeform 301">
              <a:extLst>
                <a:ext uri="{FF2B5EF4-FFF2-40B4-BE49-F238E27FC236}">
                  <a16:creationId xmlns:a16="http://schemas.microsoft.com/office/drawing/2014/main" id="{7CE17919-933C-4426-BEE2-AB5B7DA25F29}"/>
                </a:ext>
              </a:extLst>
            </p:cNvPr>
            <p:cNvSpPr>
              <a:spLocks/>
            </p:cNvSpPr>
            <p:nvPr/>
          </p:nvSpPr>
          <p:spPr bwMode="auto">
            <a:xfrm>
              <a:off x="5795963" y="4452938"/>
              <a:ext cx="44450" cy="26987"/>
            </a:xfrm>
            <a:custGeom>
              <a:avLst/>
              <a:gdLst>
                <a:gd name="T0" fmla="*/ 2147483647 w 23"/>
                <a:gd name="T1" fmla="*/ 0 h 17"/>
                <a:gd name="T2" fmla="*/ 2147483647 w 23"/>
                <a:gd name="T3" fmla="*/ 2147483647 h 17"/>
                <a:gd name="T4" fmla="*/ 2147483647 w 23"/>
                <a:gd name="T5" fmla="*/ 2147483647 h 17"/>
                <a:gd name="T6" fmla="*/ 0 w 23"/>
                <a:gd name="T7" fmla="*/ 2147483647 h 17"/>
                <a:gd name="T8" fmla="*/ 2147483647 w 23"/>
                <a:gd name="T9" fmla="*/ 0 h 17"/>
                <a:gd name="T10" fmla="*/ 2147483647 w 23"/>
                <a:gd name="T11" fmla="*/ 0 h 17"/>
                <a:gd name="T12" fmla="*/ 0 60000 65536"/>
                <a:gd name="T13" fmla="*/ 0 60000 65536"/>
                <a:gd name="T14" fmla="*/ 0 60000 65536"/>
                <a:gd name="T15" fmla="*/ 0 60000 65536"/>
                <a:gd name="T16" fmla="*/ 0 60000 65536"/>
                <a:gd name="T17" fmla="*/ 0 60000 65536"/>
                <a:gd name="T18" fmla="*/ 0 w 23"/>
                <a:gd name="T19" fmla="*/ 0 h 17"/>
                <a:gd name="T20" fmla="*/ 23 w 23"/>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23" h="17">
                  <a:moveTo>
                    <a:pt x="22" y="0"/>
                  </a:moveTo>
                  <a:lnTo>
                    <a:pt x="22" y="16"/>
                  </a:lnTo>
                  <a:lnTo>
                    <a:pt x="6" y="16"/>
                  </a:lnTo>
                  <a:lnTo>
                    <a:pt x="0" y="16"/>
                  </a:lnTo>
                  <a:lnTo>
                    <a:pt x="6" y="0"/>
                  </a:lnTo>
                  <a:lnTo>
                    <a:pt x="22"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6" name="Freeform 302">
              <a:extLst>
                <a:ext uri="{FF2B5EF4-FFF2-40B4-BE49-F238E27FC236}">
                  <a16:creationId xmlns:a16="http://schemas.microsoft.com/office/drawing/2014/main" id="{9144C44D-62E5-4872-B807-3B5F87611D8B}"/>
                </a:ext>
              </a:extLst>
            </p:cNvPr>
            <p:cNvSpPr>
              <a:spLocks/>
            </p:cNvSpPr>
            <p:nvPr/>
          </p:nvSpPr>
          <p:spPr bwMode="auto">
            <a:xfrm>
              <a:off x="5838825" y="4424363"/>
              <a:ext cx="190500" cy="187325"/>
            </a:xfrm>
            <a:custGeom>
              <a:avLst/>
              <a:gdLst>
                <a:gd name="T0" fmla="*/ 2147483647 w 99"/>
                <a:gd name="T1" fmla="*/ 2147483647 h 115"/>
                <a:gd name="T2" fmla="*/ 2147483647 w 99"/>
                <a:gd name="T3" fmla="*/ 2147483647 h 115"/>
                <a:gd name="T4" fmla="*/ 2147483647 w 99"/>
                <a:gd name="T5" fmla="*/ 2147483647 h 115"/>
                <a:gd name="T6" fmla="*/ 2147483647 w 99"/>
                <a:gd name="T7" fmla="*/ 2147483647 h 115"/>
                <a:gd name="T8" fmla="*/ 2147483647 w 99"/>
                <a:gd name="T9" fmla="*/ 2147483647 h 115"/>
                <a:gd name="T10" fmla="*/ 2147483647 w 99"/>
                <a:gd name="T11" fmla="*/ 2147483647 h 115"/>
                <a:gd name="T12" fmla="*/ 2147483647 w 99"/>
                <a:gd name="T13" fmla="*/ 2147483647 h 115"/>
                <a:gd name="T14" fmla="*/ 2147483647 w 99"/>
                <a:gd name="T15" fmla="*/ 2147483647 h 115"/>
                <a:gd name="T16" fmla="*/ 2147483647 w 99"/>
                <a:gd name="T17" fmla="*/ 2147483647 h 115"/>
                <a:gd name="T18" fmla="*/ 2147483647 w 99"/>
                <a:gd name="T19" fmla="*/ 2147483647 h 115"/>
                <a:gd name="T20" fmla="*/ 2147483647 w 99"/>
                <a:gd name="T21" fmla="*/ 2147483647 h 115"/>
                <a:gd name="T22" fmla="*/ 0 w 99"/>
                <a:gd name="T23" fmla="*/ 2147483647 h 115"/>
                <a:gd name="T24" fmla="*/ 0 w 99"/>
                <a:gd name="T25" fmla="*/ 2147483647 h 115"/>
                <a:gd name="T26" fmla="*/ 2147483647 w 99"/>
                <a:gd name="T27" fmla="*/ 2147483647 h 115"/>
                <a:gd name="T28" fmla="*/ 2147483647 w 99"/>
                <a:gd name="T29" fmla="*/ 2147483647 h 115"/>
                <a:gd name="T30" fmla="*/ 2147483647 w 99"/>
                <a:gd name="T31" fmla="*/ 2147483647 h 115"/>
                <a:gd name="T32" fmla="*/ 2147483647 w 99"/>
                <a:gd name="T33" fmla="*/ 2147483647 h 115"/>
                <a:gd name="T34" fmla="*/ 2147483647 w 99"/>
                <a:gd name="T35" fmla="*/ 2147483647 h 115"/>
                <a:gd name="T36" fmla="*/ 2147483647 w 99"/>
                <a:gd name="T37" fmla="*/ 2147483647 h 115"/>
                <a:gd name="T38" fmla="*/ 2147483647 w 99"/>
                <a:gd name="T39" fmla="*/ 2147483647 h 115"/>
                <a:gd name="T40" fmla="*/ 2147483647 w 99"/>
                <a:gd name="T41" fmla="*/ 0 h 115"/>
                <a:gd name="T42" fmla="*/ 2147483647 w 99"/>
                <a:gd name="T43" fmla="*/ 2147483647 h 115"/>
                <a:gd name="T44" fmla="*/ 2147483647 w 99"/>
                <a:gd name="T45" fmla="*/ 2147483647 h 11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9"/>
                <a:gd name="T70" fmla="*/ 0 h 115"/>
                <a:gd name="T71" fmla="*/ 99 w 99"/>
                <a:gd name="T72" fmla="*/ 115 h 11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9" h="115">
                  <a:moveTo>
                    <a:pt x="65" y="9"/>
                  </a:moveTo>
                  <a:lnTo>
                    <a:pt x="65" y="24"/>
                  </a:lnTo>
                  <a:lnTo>
                    <a:pt x="25" y="18"/>
                  </a:lnTo>
                  <a:lnTo>
                    <a:pt x="25" y="33"/>
                  </a:lnTo>
                  <a:lnTo>
                    <a:pt x="33" y="24"/>
                  </a:lnTo>
                  <a:lnTo>
                    <a:pt x="41" y="33"/>
                  </a:lnTo>
                  <a:lnTo>
                    <a:pt x="41" y="41"/>
                  </a:lnTo>
                  <a:lnTo>
                    <a:pt x="41" y="74"/>
                  </a:lnTo>
                  <a:lnTo>
                    <a:pt x="18" y="74"/>
                  </a:lnTo>
                  <a:lnTo>
                    <a:pt x="9" y="81"/>
                  </a:lnTo>
                  <a:lnTo>
                    <a:pt x="9" y="90"/>
                  </a:lnTo>
                  <a:lnTo>
                    <a:pt x="0" y="90"/>
                  </a:lnTo>
                  <a:lnTo>
                    <a:pt x="0" y="98"/>
                  </a:lnTo>
                  <a:lnTo>
                    <a:pt x="18" y="114"/>
                  </a:lnTo>
                  <a:lnTo>
                    <a:pt x="18" y="106"/>
                  </a:lnTo>
                  <a:lnTo>
                    <a:pt x="25" y="106"/>
                  </a:lnTo>
                  <a:lnTo>
                    <a:pt x="41" y="106"/>
                  </a:lnTo>
                  <a:lnTo>
                    <a:pt x="58" y="98"/>
                  </a:lnTo>
                  <a:lnTo>
                    <a:pt x="65" y="74"/>
                  </a:lnTo>
                  <a:lnTo>
                    <a:pt x="81" y="58"/>
                  </a:lnTo>
                  <a:lnTo>
                    <a:pt x="98" y="0"/>
                  </a:lnTo>
                  <a:lnTo>
                    <a:pt x="75" y="9"/>
                  </a:lnTo>
                  <a:lnTo>
                    <a:pt x="65" y="9"/>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7" name="Freeform 303">
              <a:extLst>
                <a:ext uri="{FF2B5EF4-FFF2-40B4-BE49-F238E27FC236}">
                  <a16:creationId xmlns:a16="http://schemas.microsoft.com/office/drawing/2014/main" id="{EBD57B10-C819-4BCE-859D-18DB67064A0E}"/>
                </a:ext>
              </a:extLst>
            </p:cNvPr>
            <p:cNvSpPr>
              <a:spLocks/>
            </p:cNvSpPr>
            <p:nvPr/>
          </p:nvSpPr>
          <p:spPr bwMode="auto">
            <a:xfrm>
              <a:off x="6273800" y="4519613"/>
              <a:ext cx="49213" cy="38100"/>
            </a:xfrm>
            <a:custGeom>
              <a:avLst/>
              <a:gdLst>
                <a:gd name="T0" fmla="*/ 2147483647 w 26"/>
                <a:gd name="T1" fmla="*/ 2147483647 h 24"/>
                <a:gd name="T2" fmla="*/ 2147483647 w 26"/>
                <a:gd name="T3" fmla="*/ 2147483647 h 24"/>
                <a:gd name="T4" fmla="*/ 0 w 26"/>
                <a:gd name="T5" fmla="*/ 2147483647 h 24"/>
                <a:gd name="T6" fmla="*/ 2147483647 w 26"/>
                <a:gd name="T7" fmla="*/ 2147483647 h 24"/>
                <a:gd name="T8" fmla="*/ 2147483647 w 26"/>
                <a:gd name="T9" fmla="*/ 0 h 24"/>
                <a:gd name="T10" fmla="*/ 2147483647 w 26"/>
                <a:gd name="T11" fmla="*/ 2147483647 h 24"/>
                <a:gd name="T12" fmla="*/ 2147483647 w 26"/>
                <a:gd name="T13" fmla="*/ 2147483647 h 24"/>
                <a:gd name="T14" fmla="*/ 0 60000 65536"/>
                <a:gd name="T15" fmla="*/ 0 60000 65536"/>
                <a:gd name="T16" fmla="*/ 0 60000 65536"/>
                <a:gd name="T17" fmla="*/ 0 60000 65536"/>
                <a:gd name="T18" fmla="*/ 0 60000 65536"/>
                <a:gd name="T19" fmla="*/ 0 60000 65536"/>
                <a:gd name="T20" fmla="*/ 0 60000 65536"/>
                <a:gd name="T21" fmla="*/ 0 w 26"/>
                <a:gd name="T22" fmla="*/ 0 h 24"/>
                <a:gd name="T23" fmla="*/ 26 w 26"/>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24">
                  <a:moveTo>
                    <a:pt x="25" y="23"/>
                  </a:moveTo>
                  <a:lnTo>
                    <a:pt x="9" y="23"/>
                  </a:lnTo>
                  <a:lnTo>
                    <a:pt x="0" y="23"/>
                  </a:lnTo>
                  <a:lnTo>
                    <a:pt x="9" y="7"/>
                  </a:lnTo>
                  <a:lnTo>
                    <a:pt x="25" y="0"/>
                  </a:lnTo>
                  <a:lnTo>
                    <a:pt x="25" y="16"/>
                  </a:lnTo>
                  <a:lnTo>
                    <a:pt x="25" y="23"/>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8" name="Freeform 304">
              <a:extLst>
                <a:ext uri="{FF2B5EF4-FFF2-40B4-BE49-F238E27FC236}">
                  <a16:creationId xmlns:a16="http://schemas.microsoft.com/office/drawing/2014/main" id="{6FAD468E-5959-4F41-8AED-A2D7270BC812}"/>
                </a:ext>
              </a:extLst>
            </p:cNvPr>
            <p:cNvSpPr>
              <a:spLocks/>
            </p:cNvSpPr>
            <p:nvPr/>
          </p:nvSpPr>
          <p:spPr bwMode="auto">
            <a:xfrm>
              <a:off x="6289675" y="4556125"/>
              <a:ext cx="33338" cy="41275"/>
            </a:xfrm>
            <a:custGeom>
              <a:avLst/>
              <a:gdLst>
                <a:gd name="T0" fmla="*/ 2147483647 w 17"/>
                <a:gd name="T1" fmla="*/ 0 h 26"/>
                <a:gd name="T2" fmla="*/ 2147483647 w 17"/>
                <a:gd name="T3" fmla="*/ 2147483647 h 26"/>
                <a:gd name="T4" fmla="*/ 0 w 17"/>
                <a:gd name="T5" fmla="*/ 2147483647 h 26"/>
                <a:gd name="T6" fmla="*/ 0 w 17"/>
                <a:gd name="T7" fmla="*/ 2147483647 h 26"/>
                <a:gd name="T8" fmla="*/ 0 w 17"/>
                <a:gd name="T9" fmla="*/ 0 h 26"/>
                <a:gd name="T10" fmla="*/ 2147483647 w 17"/>
                <a:gd name="T11" fmla="*/ 0 h 26"/>
                <a:gd name="T12" fmla="*/ 0 60000 65536"/>
                <a:gd name="T13" fmla="*/ 0 60000 65536"/>
                <a:gd name="T14" fmla="*/ 0 60000 65536"/>
                <a:gd name="T15" fmla="*/ 0 60000 65536"/>
                <a:gd name="T16" fmla="*/ 0 60000 65536"/>
                <a:gd name="T17" fmla="*/ 0 60000 65536"/>
                <a:gd name="T18" fmla="*/ 0 w 17"/>
                <a:gd name="T19" fmla="*/ 0 h 26"/>
                <a:gd name="T20" fmla="*/ 17 w 17"/>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17" h="26">
                  <a:moveTo>
                    <a:pt x="16" y="0"/>
                  </a:moveTo>
                  <a:lnTo>
                    <a:pt x="16" y="9"/>
                  </a:lnTo>
                  <a:lnTo>
                    <a:pt x="0" y="25"/>
                  </a:lnTo>
                  <a:lnTo>
                    <a:pt x="0" y="9"/>
                  </a:lnTo>
                  <a:lnTo>
                    <a:pt x="0" y="0"/>
                  </a:lnTo>
                  <a:lnTo>
                    <a:pt x="16"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9" name="Freeform 305">
              <a:extLst>
                <a:ext uri="{FF2B5EF4-FFF2-40B4-BE49-F238E27FC236}">
                  <a16:creationId xmlns:a16="http://schemas.microsoft.com/office/drawing/2014/main" id="{A261E2C6-5A98-496A-B5ED-BFDCB5F1AD5B}"/>
                </a:ext>
              </a:extLst>
            </p:cNvPr>
            <p:cNvSpPr>
              <a:spLocks/>
            </p:cNvSpPr>
            <p:nvPr/>
          </p:nvSpPr>
          <p:spPr bwMode="auto">
            <a:xfrm>
              <a:off x="5856288" y="4859338"/>
              <a:ext cx="328612" cy="265112"/>
            </a:xfrm>
            <a:custGeom>
              <a:avLst/>
              <a:gdLst>
                <a:gd name="T0" fmla="*/ 2147483647 w 172"/>
                <a:gd name="T1" fmla="*/ 2147483647 h 163"/>
                <a:gd name="T2" fmla="*/ 2147483647 w 172"/>
                <a:gd name="T3" fmla="*/ 2147483647 h 163"/>
                <a:gd name="T4" fmla="*/ 2147483647 w 172"/>
                <a:gd name="T5" fmla="*/ 2147483647 h 163"/>
                <a:gd name="T6" fmla="*/ 2147483647 w 172"/>
                <a:gd name="T7" fmla="*/ 2147483647 h 163"/>
                <a:gd name="T8" fmla="*/ 0 w 172"/>
                <a:gd name="T9" fmla="*/ 2147483647 h 163"/>
                <a:gd name="T10" fmla="*/ 0 w 172"/>
                <a:gd name="T11" fmla="*/ 0 h 163"/>
                <a:gd name="T12" fmla="*/ 2147483647 w 172"/>
                <a:gd name="T13" fmla="*/ 0 h 163"/>
                <a:gd name="T14" fmla="*/ 2147483647 w 172"/>
                <a:gd name="T15" fmla="*/ 0 h 163"/>
                <a:gd name="T16" fmla="*/ 2147483647 w 172"/>
                <a:gd name="T17" fmla="*/ 2147483647 h 163"/>
                <a:gd name="T18" fmla="*/ 2147483647 w 172"/>
                <a:gd name="T19" fmla="*/ 2147483647 h 163"/>
                <a:gd name="T20" fmla="*/ 2147483647 w 172"/>
                <a:gd name="T21" fmla="*/ 2147483647 h 163"/>
                <a:gd name="T22" fmla="*/ 2147483647 w 172"/>
                <a:gd name="T23" fmla="*/ 2147483647 h 163"/>
                <a:gd name="T24" fmla="*/ 2147483647 w 172"/>
                <a:gd name="T25" fmla="*/ 0 h 163"/>
                <a:gd name="T26" fmla="*/ 2147483647 w 172"/>
                <a:gd name="T27" fmla="*/ 2147483647 h 163"/>
                <a:gd name="T28" fmla="*/ 2147483647 w 172"/>
                <a:gd name="T29" fmla="*/ 2147483647 h 163"/>
                <a:gd name="T30" fmla="*/ 2147483647 w 172"/>
                <a:gd name="T31" fmla="*/ 2147483647 h 163"/>
                <a:gd name="T32" fmla="*/ 2147483647 w 172"/>
                <a:gd name="T33" fmla="*/ 2147483647 h 163"/>
                <a:gd name="T34" fmla="*/ 2147483647 w 172"/>
                <a:gd name="T35" fmla="*/ 2147483647 h 163"/>
                <a:gd name="T36" fmla="*/ 2147483647 w 172"/>
                <a:gd name="T37" fmla="*/ 2147483647 h 163"/>
                <a:gd name="T38" fmla="*/ 2147483647 w 172"/>
                <a:gd name="T39" fmla="*/ 2147483647 h 163"/>
                <a:gd name="T40" fmla="*/ 2147483647 w 172"/>
                <a:gd name="T41" fmla="*/ 2147483647 h 163"/>
                <a:gd name="T42" fmla="*/ 2147483647 w 172"/>
                <a:gd name="T43" fmla="*/ 2147483647 h 163"/>
                <a:gd name="T44" fmla="*/ 2147483647 w 172"/>
                <a:gd name="T45" fmla="*/ 2147483647 h 163"/>
                <a:gd name="T46" fmla="*/ 2147483647 w 172"/>
                <a:gd name="T47" fmla="*/ 2147483647 h 163"/>
                <a:gd name="T48" fmla="*/ 2147483647 w 172"/>
                <a:gd name="T49" fmla="*/ 2147483647 h 16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72"/>
                <a:gd name="T76" fmla="*/ 0 h 163"/>
                <a:gd name="T77" fmla="*/ 172 w 172"/>
                <a:gd name="T78" fmla="*/ 163 h 16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72" h="163">
                  <a:moveTo>
                    <a:pt x="56" y="162"/>
                  </a:moveTo>
                  <a:lnTo>
                    <a:pt x="49" y="146"/>
                  </a:lnTo>
                  <a:lnTo>
                    <a:pt x="32" y="99"/>
                  </a:lnTo>
                  <a:lnTo>
                    <a:pt x="32" y="75"/>
                  </a:lnTo>
                  <a:lnTo>
                    <a:pt x="0" y="9"/>
                  </a:lnTo>
                  <a:lnTo>
                    <a:pt x="0" y="0"/>
                  </a:lnTo>
                  <a:lnTo>
                    <a:pt x="16" y="0"/>
                  </a:lnTo>
                  <a:lnTo>
                    <a:pt x="32" y="0"/>
                  </a:lnTo>
                  <a:lnTo>
                    <a:pt x="81" y="9"/>
                  </a:lnTo>
                  <a:lnTo>
                    <a:pt x="97" y="9"/>
                  </a:lnTo>
                  <a:lnTo>
                    <a:pt x="130" y="16"/>
                  </a:lnTo>
                  <a:lnTo>
                    <a:pt x="146" y="9"/>
                  </a:lnTo>
                  <a:lnTo>
                    <a:pt x="153" y="0"/>
                  </a:lnTo>
                  <a:lnTo>
                    <a:pt x="171" y="9"/>
                  </a:lnTo>
                  <a:lnTo>
                    <a:pt x="153" y="25"/>
                  </a:lnTo>
                  <a:lnTo>
                    <a:pt x="146" y="16"/>
                  </a:lnTo>
                  <a:lnTo>
                    <a:pt x="121" y="16"/>
                  </a:lnTo>
                  <a:lnTo>
                    <a:pt x="112" y="65"/>
                  </a:lnTo>
                  <a:lnTo>
                    <a:pt x="106" y="75"/>
                  </a:lnTo>
                  <a:lnTo>
                    <a:pt x="106" y="106"/>
                  </a:lnTo>
                  <a:lnTo>
                    <a:pt x="106" y="155"/>
                  </a:lnTo>
                  <a:lnTo>
                    <a:pt x="89" y="162"/>
                  </a:lnTo>
                  <a:lnTo>
                    <a:pt x="72" y="162"/>
                  </a:lnTo>
                  <a:lnTo>
                    <a:pt x="66" y="155"/>
                  </a:lnTo>
                  <a:lnTo>
                    <a:pt x="56" y="162"/>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0" name="Freeform 306">
              <a:extLst>
                <a:ext uri="{FF2B5EF4-FFF2-40B4-BE49-F238E27FC236}">
                  <a16:creationId xmlns:a16="http://schemas.microsoft.com/office/drawing/2014/main" id="{CE58C92C-6214-4B2D-89A2-03F96D1F0685}"/>
                </a:ext>
              </a:extLst>
            </p:cNvPr>
            <p:cNvSpPr>
              <a:spLocks/>
            </p:cNvSpPr>
            <p:nvPr/>
          </p:nvSpPr>
          <p:spPr bwMode="auto">
            <a:xfrm>
              <a:off x="5856288" y="4621213"/>
              <a:ext cx="307975" cy="265112"/>
            </a:xfrm>
            <a:custGeom>
              <a:avLst/>
              <a:gdLst>
                <a:gd name="T0" fmla="*/ 0 w 162"/>
                <a:gd name="T1" fmla="*/ 2147483647 h 163"/>
                <a:gd name="T2" fmla="*/ 2147483647 w 162"/>
                <a:gd name="T3" fmla="*/ 2147483647 h 163"/>
                <a:gd name="T4" fmla="*/ 2147483647 w 162"/>
                <a:gd name="T5" fmla="*/ 2147483647 h 163"/>
                <a:gd name="T6" fmla="*/ 2147483647 w 162"/>
                <a:gd name="T7" fmla="*/ 2147483647 h 163"/>
                <a:gd name="T8" fmla="*/ 2147483647 w 162"/>
                <a:gd name="T9" fmla="*/ 2147483647 h 163"/>
                <a:gd name="T10" fmla="*/ 2147483647 w 162"/>
                <a:gd name="T11" fmla="*/ 2147483647 h 163"/>
                <a:gd name="T12" fmla="*/ 2147483647 w 162"/>
                <a:gd name="T13" fmla="*/ 2147483647 h 163"/>
                <a:gd name="T14" fmla="*/ 2147483647 w 162"/>
                <a:gd name="T15" fmla="*/ 2147483647 h 163"/>
                <a:gd name="T16" fmla="*/ 2147483647 w 162"/>
                <a:gd name="T17" fmla="*/ 2147483647 h 163"/>
                <a:gd name="T18" fmla="*/ 2147483647 w 162"/>
                <a:gd name="T19" fmla="*/ 2147483647 h 163"/>
                <a:gd name="T20" fmla="*/ 2147483647 w 162"/>
                <a:gd name="T21" fmla="*/ 2147483647 h 163"/>
                <a:gd name="T22" fmla="*/ 2147483647 w 162"/>
                <a:gd name="T23" fmla="*/ 2147483647 h 163"/>
                <a:gd name="T24" fmla="*/ 2147483647 w 162"/>
                <a:gd name="T25" fmla="*/ 2147483647 h 163"/>
                <a:gd name="T26" fmla="*/ 2147483647 w 162"/>
                <a:gd name="T27" fmla="*/ 2147483647 h 163"/>
                <a:gd name="T28" fmla="*/ 2147483647 w 162"/>
                <a:gd name="T29" fmla="*/ 2147483647 h 163"/>
                <a:gd name="T30" fmla="*/ 2147483647 w 162"/>
                <a:gd name="T31" fmla="*/ 2147483647 h 163"/>
                <a:gd name="T32" fmla="*/ 2147483647 w 162"/>
                <a:gd name="T33" fmla="*/ 2147483647 h 163"/>
                <a:gd name="T34" fmla="*/ 2147483647 w 162"/>
                <a:gd name="T35" fmla="*/ 2147483647 h 163"/>
                <a:gd name="T36" fmla="*/ 2147483647 w 162"/>
                <a:gd name="T37" fmla="*/ 2147483647 h 163"/>
                <a:gd name="T38" fmla="*/ 2147483647 w 162"/>
                <a:gd name="T39" fmla="*/ 2147483647 h 163"/>
                <a:gd name="T40" fmla="*/ 2147483647 w 162"/>
                <a:gd name="T41" fmla="*/ 2147483647 h 163"/>
                <a:gd name="T42" fmla="*/ 2147483647 w 162"/>
                <a:gd name="T43" fmla="*/ 0 h 163"/>
                <a:gd name="T44" fmla="*/ 2147483647 w 162"/>
                <a:gd name="T45" fmla="*/ 0 h 163"/>
                <a:gd name="T46" fmla="*/ 2147483647 w 162"/>
                <a:gd name="T47" fmla="*/ 0 h 163"/>
                <a:gd name="T48" fmla="*/ 2147483647 w 162"/>
                <a:gd name="T49" fmla="*/ 2147483647 h 163"/>
                <a:gd name="T50" fmla="*/ 2147483647 w 162"/>
                <a:gd name="T51" fmla="*/ 2147483647 h 163"/>
                <a:gd name="T52" fmla="*/ 2147483647 w 162"/>
                <a:gd name="T53" fmla="*/ 2147483647 h 163"/>
                <a:gd name="T54" fmla="*/ 2147483647 w 162"/>
                <a:gd name="T55" fmla="*/ 2147483647 h 163"/>
                <a:gd name="T56" fmla="*/ 2147483647 w 162"/>
                <a:gd name="T57" fmla="*/ 2147483647 h 163"/>
                <a:gd name="T58" fmla="*/ 2147483647 w 162"/>
                <a:gd name="T59" fmla="*/ 2147483647 h 163"/>
                <a:gd name="T60" fmla="*/ 0 w 162"/>
                <a:gd name="T61" fmla="*/ 2147483647 h 163"/>
                <a:gd name="T62" fmla="*/ 0 w 162"/>
                <a:gd name="T63" fmla="*/ 2147483647 h 16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62"/>
                <a:gd name="T97" fmla="*/ 0 h 163"/>
                <a:gd name="T98" fmla="*/ 162 w 162"/>
                <a:gd name="T99" fmla="*/ 163 h 16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62" h="163">
                  <a:moveTo>
                    <a:pt x="0" y="146"/>
                  </a:moveTo>
                  <a:lnTo>
                    <a:pt x="16" y="146"/>
                  </a:lnTo>
                  <a:lnTo>
                    <a:pt x="32" y="146"/>
                  </a:lnTo>
                  <a:lnTo>
                    <a:pt x="81" y="155"/>
                  </a:lnTo>
                  <a:lnTo>
                    <a:pt x="97" y="155"/>
                  </a:lnTo>
                  <a:lnTo>
                    <a:pt x="130" y="162"/>
                  </a:lnTo>
                  <a:lnTo>
                    <a:pt x="146" y="155"/>
                  </a:lnTo>
                  <a:lnTo>
                    <a:pt x="130" y="139"/>
                  </a:lnTo>
                  <a:lnTo>
                    <a:pt x="130" y="99"/>
                  </a:lnTo>
                  <a:lnTo>
                    <a:pt x="161" y="90"/>
                  </a:lnTo>
                  <a:lnTo>
                    <a:pt x="153" y="65"/>
                  </a:lnTo>
                  <a:lnTo>
                    <a:pt x="130" y="74"/>
                  </a:lnTo>
                  <a:lnTo>
                    <a:pt x="130" y="65"/>
                  </a:lnTo>
                  <a:lnTo>
                    <a:pt x="137" y="59"/>
                  </a:lnTo>
                  <a:lnTo>
                    <a:pt x="130" y="50"/>
                  </a:lnTo>
                  <a:lnTo>
                    <a:pt x="130" y="25"/>
                  </a:lnTo>
                  <a:lnTo>
                    <a:pt x="112" y="17"/>
                  </a:lnTo>
                  <a:lnTo>
                    <a:pt x="97" y="17"/>
                  </a:lnTo>
                  <a:lnTo>
                    <a:pt x="97" y="25"/>
                  </a:lnTo>
                  <a:lnTo>
                    <a:pt x="81" y="34"/>
                  </a:lnTo>
                  <a:lnTo>
                    <a:pt x="66" y="17"/>
                  </a:lnTo>
                  <a:lnTo>
                    <a:pt x="66" y="0"/>
                  </a:lnTo>
                  <a:lnTo>
                    <a:pt x="56" y="0"/>
                  </a:lnTo>
                  <a:lnTo>
                    <a:pt x="24" y="0"/>
                  </a:lnTo>
                  <a:lnTo>
                    <a:pt x="9" y="9"/>
                  </a:lnTo>
                  <a:lnTo>
                    <a:pt x="16" y="34"/>
                  </a:lnTo>
                  <a:lnTo>
                    <a:pt x="16" y="40"/>
                  </a:lnTo>
                  <a:lnTo>
                    <a:pt x="24" y="74"/>
                  </a:lnTo>
                  <a:lnTo>
                    <a:pt x="24" y="90"/>
                  </a:lnTo>
                  <a:lnTo>
                    <a:pt x="9" y="99"/>
                  </a:lnTo>
                  <a:lnTo>
                    <a:pt x="0" y="131"/>
                  </a:lnTo>
                  <a:lnTo>
                    <a:pt x="0" y="146"/>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1" name="Freeform 307">
              <a:extLst>
                <a:ext uri="{FF2B5EF4-FFF2-40B4-BE49-F238E27FC236}">
                  <a16:creationId xmlns:a16="http://schemas.microsoft.com/office/drawing/2014/main" id="{63E79636-E077-44EF-A8D5-1D59E69BA526}"/>
                </a:ext>
              </a:extLst>
            </p:cNvPr>
            <p:cNvSpPr>
              <a:spLocks/>
            </p:cNvSpPr>
            <p:nvPr/>
          </p:nvSpPr>
          <p:spPr bwMode="auto">
            <a:xfrm>
              <a:off x="5873750" y="4595813"/>
              <a:ext cx="33338" cy="30162"/>
            </a:xfrm>
            <a:custGeom>
              <a:avLst/>
              <a:gdLst>
                <a:gd name="T0" fmla="*/ 2147483647 w 17"/>
                <a:gd name="T1" fmla="*/ 0 h 17"/>
                <a:gd name="T2" fmla="*/ 0 w 17"/>
                <a:gd name="T3" fmla="*/ 2147483647 h 17"/>
                <a:gd name="T4" fmla="*/ 0 w 17"/>
                <a:gd name="T5" fmla="*/ 2147483647 h 17"/>
                <a:gd name="T6" fmla="*/ 0 w 17"/>
                <a:gd name="T7" fmla="*/ 0 h 17"/>
                <a:gd name="T8" fmla="*/ 2147483647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16" y="0"/>
                  </a:moveTo>
                  <a:lnTo>
                    <a:pt x="0" y="16"/>
                  </a:lnTo>
                  <a:lnTo>
                    <a:pt x="0" y="8"/>
                  </a:lnTo>
                  <a:lnTo>
                    <a:pt x="0" y="0"/>
                  </a:lnTo>
                  <a:lnTo>
                    <a:pt x="16"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2" name="Freeform 308">
              <a:extLst>
                <a:ext uri="{FF2B5EF4-FFF2-40B4-BE49-F238E27FC236}">
                  <a16:creationId xmlns:a16="http://schemas.microsoft.com/office/drawing/2014/main" id="{2AF85D36-DC3D-4037-955B-6E0295831B02}"/>
                </a:ext>
              </a:extLst>
            </p:cNvPr>
            <p:cNvSpPr>
              <a:spLocks/>
            </p:cNvSpPr>
            <p:nvPr/>
          </p:nvSpPr>
          <p:spPr bwMode="auto">
            <a:xfrm>
              <a:off x="5873750" y="4595813"/>
              <a:ext cx="33338" cy="30162"/>
            </a:xfrm>
            <a:custGeom>
              <a:avLst/>
              <a:gdLst>
                <a:gd name="T0" fmla="*/ 2147483647 w 17"/>
                <a:gd name="T1" fmla="*/ 0 h 17"/>
                <a:gd name="T2" fmla="*/ 0 w 17"/>
                <a:gd name="T3" fmla="*/ 2147483647 h 17"/>
                <a:gd name="T4" fmla="*/ 0 w 17"/>
                <a:gd name="T5" fmla="*/ 2147483647 h 17"/>
                <a:gd name="T6" fmla="*/ 0 w 17"/>
                <a:gd name="T7" fmla="*/ 0 h 17"/>
                <a:gd name="T8" fmla="*/ 2147483647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16" y="0"/>
                  </a:moveTo>
                  <a:lnTo>
                    <a:pt x="0" y="16"/>
                  </a:lnTo>
                  <a:lnTo>
                    <a:pt x="0" y="8"/>
                  </a:lnTo>
                  <a:lnTo>
                    <a:pt x="0" y="0"/>
                  </a:lnTo>
                  <a:lnTo>
                    <a:pt x="16" y="0"/>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3" name="Freeform 309">
              <a:extLst>
                <a:ext uri="{FF2B5EF4-FFF2-40B4-BE49-F238E27FC236}">
                  <a16:creationId xmlns:a16="http://schemas.microsoft.com/office/drawing/2014/main" id="{C1F65AF6-25B1-4224-AB7F-05FDE7CC676F}"/>
                </a:ext>
              </a:extLst>
            </p:cNvPr>
            <p:cNvSpPr>
              <a:spLocks/>
            </p:cNvSpPr>
            <p:nvPr/>
          </p:nvSpPr>
          <p:spPr bwMode="auto">
            <a:xfrm>
              <a:off x="5964238" y="4965700"/>
              <a:ext cx="406400" cy="306388"/>
            </a:xfrm>
            <a:custGeom>
              <a:avLst/>
              <a:gdLst>
                <a:gd name="T0" fmla="*/ 2147483647 w 213"/>
                <a:gd name="T1" fmla="*/ 2147483647 h 188"/>
                <a:gd name="T2" fmla="*/ 2147483647 w 213"/>
                <a:gd name="T3" fmla="*/ 2147483647 h 188"/>
                <a:gd name="T4" fmla="*/ 2147483647 w 213"/>
                <a:gd name="T5" fmla="*/ 2147483647 h 188"/>
                <a:gd name="T6" fmla="*/ 2147483647 w 213"/>
                <a:gd name="T7" fmla="*/ 2147483647 h 188"/>
                <a:gd name="T8" fmla="*/ 2147483647 w 213"/>
                <a:gd name="T9" fmla="*/ 2147483647 h 188"/>
                <a:gd name="T10" fmla="*/ 2147483647 w 213"/>
                <a:gd name="T11" fmla="*/ 2147483647 h 188"/>
                <a:gd name="T12" fmla="*/ 2147483647 w 213"/>
                <a:gd name="T13" fmla="*/ 2147483647 h 188"/>
                <a:gd name="T14" fmla="*/ 2147483647 w 213"/>
                <a:gd name="T15" fmla="*/ 2147483647 h 188"/>
                <a:gd name="T16" fmla="*/ 2147483647 w 213"/>
                <a:gd name="T17" fmla="*/ 2147483647 h 188"/>
                <a:gd name="T18" fmla="*/ 2147483647 w 213"/>
                <a:gd name="T19" fmla="*/ 2147483647 h 188"/>
                <a:gd name="T20" fmla="*/ 2147483647 w 213"/>
                <a:gd name="T21" fmla="*/ 2147483647 h 188"/>
                <a:gd name="T22" fmla="*/ 2147483647 w 213"/>
                <a:gd name="T23" fmla="*/ 2147483647 h 188"/>
                <a:gd name="T24" fmla="*/ 2147483647 w 213"/>
                <a:gd name="T25" fmla="*/ 2147483647 h 188"/>
                <a:gd name="T26" fmla="*/ 2147483647 w 213"/>
                <a:gd name="T27" fmla="*/ 2147483647 h 188"/>
                <a:gd name="T28" fmla="*/ 2147483647 w 213"/>
                <a:gd name="T29" fmla="*/ 2147483647 h 188"/>
                <a:gd name="T30" fmla="*/ 2147483647 w 213"/>
                <a:gd name="T31" fmla="*/ 2147483647 h 188"/>
                <a:gd name="T32" fmla="*/ 2147483647 w 213"/>
                <a:gd name="T33" fmla="*/ 2147483647 h 188"/>
                <a:gd name="T34" fmla="*/ 2147483647 w 213"/>
                <a:gd name="T35" fmla="*/ 2147483647 h 188"/>
                <a:gd name="T36" fmla="*/ 2147483647 w 213"/>
                <a:gd name="T37" fmla="*/ 2147483647 h 188"/>
                <a:gd name="T38" fmla="*/ 2147483647 w 213"/>
                <a:gd name="T39" fmla="*/ 2147483647 h 188"/>
                <a:gd name="T40" fmla="*/ 2147483647 w 213"/>
                <a:gd name="T41" fmla="*/ 2147483647 h 188"/>
                <a:gd name="T42" fmla="*/ 2147483647 w 213"/>
                <a:gd name="T43" fmla="*/ 2147483647 h 188"/>
                <a:gd name="T44" fmla="*/ 0 w 213"/>
                <a:gd name="T45" fmla="*/ 2147483647 h 188"/>
                <a:gd name="T46" fmla="*/ 2147483647 w 213"/>
                <a:gd name="T47" fmla="*/ 2147483647 h 188"/>
                <a:gd name="T48" fmla="*/ 2147483647 w 213"/>
                <a:gd name="T49" fmla="*/ 2147483647 h 188"/>
                <a:gd name="T50" fmla="*/ 2147483647 w 213"/>
                <a:gd name="T51" fmla="*/ 2147483647 h 188"/>
                <a:gd name="T52" fmla="*/ 2147483647 w 213"/>
                <a:gd name="T53" fmla="*/ 2147483647 h 188"/>
                <a:gd name="T54" fmla="*/ 2147483647 w 213"/>
                <a:gd name="T55" fmla="*/ 2147483647 h 188"/>
                <a:gd name="T56" fmla="*/ 2147483647 w 213"/>
                <a:gd name="T57" fmla="*/ 2147483647 h 188"/>
                <a:gd name="T58" fmla="*/ 2147483647 w 213"/>
                <a:gd name="T59" fmla="*/ 2147483647 h 188"/>
                <a:gd name="T60" fmla="*/ 2147483647 w 213"/>
                <a:gd name="T61" fmla="*/ 2147483647 h 188"/>
                <a:gd name="T62" fmla="*/ 2147483647 w 213"/>
                <a:gd name="T63" fmla="*/ 2147483647 h 188"/>
                <a:gd name="T64" fmla="*/ 2147483647 w 213"/>
                <a:gd name="T65" fmla="*/ 2147483647 h 188"/>
                <a:gd name="T66" fmla="*/ 2147483647 w 213"/>
                <a:gd name="T67" fmla="*/ 2147483647 h 188"/>
                <a:gd name="T68" fmla="*/ 2147483647 w 213"/>
                <a:gd name="T69" fmla="*/ 2147483647 h 188"/>
                <a:gd name="T70" fmla="*/ 2147483647 w 213"/>
                <a:gd name="T71" fmla="*/ 0 h 188"/>
                <a:gd name="T72" fmla="*/ 2147483647 w 213"/>
                <a:gd name="T73" fmla="*/ 2147483647 h 188"/>
                <a:gd name="T74" fmla="*/ 2147483647 w 213"/>
                <a:gd name="T75" fmla="*/ 2147483647 h 18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13"/>
                <a:gd name="T115" fmla="*/ 0 h 188"/>
                <a:gd name="T116" fmla="*/ 213 w 213"/>
                <a:gd name="T117" fmla="*/ 188 h 18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13" h="188">
                  <a:moveTo>
                    <a:pt x="196" y="10"/>
                  </a:moveTo>
                  <a:lnTo>
                    <a:pt x="202" y="57"/>
                  </a:lnTo>
                  <a:lnTo>
                    <a:pt x="196" y="57"/>
                  </a:lnTo>
                  <a:lnTo>
                    <a:pt x="187" y="65"/>
                  </a:lnTo>
                  <a:lnTo>
                    <a:pt x="196" y="74"/>
                  </a:lnTo>
                  <a:lnTo>
                    <a:pt x="202" y="65"/>
                  </a:lnTo>
                  <a:lnTo>
                    <a:pt x="212" y="65"/>
                  </a:lnTo>
                  <a:lnTo>
                    <a:pt x="212" y="74"/>
                  </a:lnTo>
                  <a:lnTo>
                    <a:pt x="212" y="97"/>
                  </a:lnTo>
                  <a:lnTo>
                    <a:pt x="196" y="105"/>
                  </a:lnTo>
                  <a:lnTo>
                    <a:pt x="180" y="130"/>
                  </a:lnTo>
                  <a:lnTo>
                    <a:pt x="155" y="153"/>
                  </a:lnTo>
                  <a:lnTo>
                    <a:pt x="139" y="171"/>
                  </a:lnTo>
                  <a:lnTo>
                    <a:pt x="115" y="178"/>
                  </a:lnTo>
                  <a:lnTo>
                    <a:pt x="97" y="178"/>
                  </a:lnTo>
                  <a:lnTo>
                    <a:pt x="74" y="178"/>
                  </a:lnTo>
                  <a:lnTo>
                    <a:pt x="50" y="187"/>
                  </a:lnTo>
                  <a:lnTo>
                    <a:pt x="41" y="187"/>
                  </a:lnTo>
                  <a:lnTo>
                    <a:pt x="33" y="178"/>
                  </a:lnTo>
                  <a:lnTo>
                    <a:pt x="25" y="153"/>
                  </a:lnTo>
                  <a:lnTo>
                    <a:pt x="25" y="147"/>
                  </a:lnTo>
                  <a:lnTo>
                    <a:pt x="10" y="97"/>
                  </a:lnTo>
                  <a:lnTo>
                    <a:pt x="0" y="97"/>
                  </a:lnTo>
                  <a:lnTo>
                    <a:pt x="10" y="90"/>
                  </a:lnTo>
                  <a:lnTo>
                    <a:pt x="16" y="97"/>
                  </a:lnTo>
                  <a:lnTo>
                    <a:pt x="33" y="97"/>
                  </a:lnTo>
                  <a:lnTo>
                    <a:pt x="50" y="90"/>
                  </a:lnTo>
                  <a:lnTo>
                    <a:pt x="50" y="41"/>
                  </a:lnTo>
                  <a:lnTo>
                    <a:pt x="56" y="50"/>
                  </a:lnTo>
                  <a:lnTo>
                    <a:pt x="56" y="65"/>
                  </a:lnTo>
                  <a:lnTo>
                    <a:pt x="74" y="65"/>
                  </a:lnTo>
                  <a:lnTo>
                    <a:pt x="97" y="50"/>
                  </a:lnTo>
                  <a:lnTo>
                    <a:pt x="105" y="57"/>
                  </a:lnTo>
                  <a:lnTo>
                    <a:pt x="115" y="50"/>
                  </a:lnTo>
                  <a:lnTo>
                    <a:pt x="147" y="16"/>
                  </a:lnTo>
                  <a:lnTo>
                    <a:pt x="171" y="0"/>
                  </a:lnTo>
                  <a:lnTo>
                    <a:pt x="187" y="10"/>
                  </a:lnTo>
                  <a:lnTo>
                    <a:pt x="196" y="10"/>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4" name="Freeform 310">
              <a:extLst>
                <a:ext uri="{FF2B5EF4-FFF2-40B4-BE49-F238E27FC236}">
                  <a16:creationId xmlns:a16="http://schemas.microsoft.com/office/drawing/2014/main" id="{8F45DBFD-BC6E-4848-9C8E-23437A8B60DF}"/>
                </a:ext>
              </a:extLst>
            </p:cNvPr>
            <p:cNvSpPr>
              <a:spLocks/>
            </p:cNvSpPr>
            <p:nvPr/>
          </p:nvSpPr>
          <p:spPr bwMode="auto">
            <a:xfrm>
              <a:off x="6057900" y="4873625"/>
              <a:ext cx="233363" cy="198438"/>
            </a:xfrm>
            <a:custGeom>
              <a:avLst/>
              <a:gdLst>
                <a:gd name="T0" fmla="*/ 0 w 122"/>
                <a:gd name="T1" fmla="*/ 2147483647 h 122"/>
                <a:gd name="T2" fmla="*/ 2147483647 w 122"/>
                <a:gd name="T3" fmla="*/ 2147483647 h 122"/>
                <a:gd name="T4" fmla="*/ 2147483647 w 122"/>
                <a:gd name="T5" fmla="*/ 2147483647 h 122"/>
                <a:gd name="T6" fmla="*/ 2147483647 w 122"/>
                <a:gd name="T7" fmla="*/ 2147483647 h 122"/>
                <a:gd name="T8" fmla="*/ 2147483647 w 122"/>
                <a:gd name="T9" fmla="*/ 2147483647 h 122"/>
                <a:gd name="T10" fmla="*/ 2147483647 w 122"/>
                <a:gd name="T11" fmla="*/ 2147483647 h 122"/>
                <a:gd name="T12" fmla="*/ 2147483647 w 122"/>
                <a:gd name="T13" fmla="*/ 2147483647 h 122"/>
                <a:gd name="T14" fmla="*/ 2147483647 w 122"/>
                <a:gd name="T15" fmla="*/ 2147483647 h 122"/>
                <a:gd name="T16" fmla="*/ 2147483647 w 122"/>
                <a:gd name="T17" fmla="*/ 2147483647 h 122"/>
                <a:gd name="T18" fmla="*/ 2147483647 w 122"/>
                <a:gd name="T19" fmla="*/ 2147483647 h 122"/>
                <a:gd name="T20" fmla="*/ 2147483647 w 122"/>
                <a:gd name="T21" fmla="*/ 2147483647 h 122"/>
                <a:gd name="T22" fmla="*/ 2147483647 w 122"/>
                <a:gd name="T23" fmla="*/ 2147483647 h 122"/>
                <a:gd name="T24" fmla="*/ 2147483647 w 122"/>
                <a:gd name="T25" fmla="*/ 0 h 122"/>
                <a:gd name="T26" fmla="*/ 2147483647 w 122"/>
                <a:gd name="T27" fmla="*/ 2147483647 h 122"/>
                <a:gd name="T28" fmla="*/ 2147483647 w 122"/>
                <a:gd name="T29" fmla="*/ 2147483647 h 122"/>
                <a:gd name="T30" fmla="*/ 2147483647 w 122"/>
                <a:gd name="T31" fmla="*/ 2147483647 h 122"/>
                <a:gd name="T32" fmla="*/ 2147483647 w 122"/>
                <a:gd name="T33" fmla="*/ 2147483647 h 122"/>
                <a:gd name="T34" fmla="*/ 0 w 122"/>
                <a:gd name="T35" fmla="*/ 2147483647 h 122"/>
                <a:gd name="T36" fmla="*/ 0 w 122"/>
                <a:gd name="T37" fmla="*/ 2147483647 h 1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2"/>
                <a:gd name="T58" fmla="*/ 0 h 122"/>
                <a:gd name="T59" fmla="*/ 122 w 122"/>
                <a:gd name="T60" fmla="*/ 122 h 1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2" h="122">
                  <a:moveTo>
                    <a:pt x="0" y="97"/>
                  </a:moveTo>
                  <a:lnTo>
                    <a:pt x="6" y="106"/>
                  </a:lnTo>
                  <a:lnTo>
                    <a:pt x="6" y="121"/>
                  </a:lnTo>
                  <a:lnTo>
                    <a:pt x="24" y="121"/>
                  </a:lnTo>
                  <a:lnTo>
                    <a:pt x="47" y="106"/>
                  </a:lnTo>
                  <a:lnTo>
                    <a:pt x="55" y="113"/>
                  </a:lnTo>
                  <a:lnTo>
                    <a:pt x="65" y="106"/>
                  </a:lnTo>
                  <a:lnTo>
                    <a:pt x="97" y="72"/>
                  </a:lnTo>
                  <a:lnTo>
                    <a:pt x="121" y="56"/>
                  </a:lnTo>
                  <a:lnTo>
                    <a:pt x="105" y="56"/>
                  </a:lnTo>
                  <a:lnTo>
                    <a:pt x="97" y="41"/>
                  </a:lnTo>
                  <a:lnTo>
                    <a:pt x="80" y="24"/>
                  </a:lnTo>
                  <a:lnTo>
                    <a:pt x="65" y="0"/>
                  </a:lnTo>
                  <a:lnTo>
                    <a:pt x="47" y="16"/>
                  </a:lnTo>
                  <a:lnTo>
                    <a:pt x="40" y="7"/>
                  </a:lnTo>
                  <a:lnTo>
                    <a:pt x="15" y="7"/>
                  </a:lnTo>
                  <a:lnTo>
                    <a:pt x="6" y="56"/>
                  </a:lnTo>
                  <a:lnTo>
                    <a:pt x="0" y="66"/>
                  </a:lnTo>
                  <a:lnTo>
                    <a:pt x="0" y="97"/>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5" name="Freeform 311">
              <a:extLst>
                <a:ext uri="{FF2B5EF4-FFF2-40B4-BE49-F238E27FC236}">
                  <a16:creationId xmlns:a16="http://schemas.microsoft.com/office/drawing/2014/main" id="{642861D0-1C19-4F23-B64A-F1D754D691D6}"/>
                </a:ext>
              </a:extLst>
            </p:cNvPr>
            <p:cNvSpPr>
              <a:spLocks/>
            </p:cNvSpPr>
            <p:nvPr/>
          </p:nvSpPr>
          <p:spPr bwMode="auto">
            <a:xfrm>
              <a:off x="6183313" y="4835525"/>
              <a:ext cx="203200" cy="149225"/>
            </a:xfrm>
            <a:custGeom>
              <a:avLst/>
              <a:gdLst>
                <a:gd name="T0" fmla="*/ 2147483647 w 106"/>
                <a:gd name="T1" fmla="*/ 0 h 91"/>
                <a:gd name="T2" fmla="*/ 2147483647 w 106"/>
                <a:gd name="T3" fmla="*/ 0 h 91"/>
                <a:gd name="T4" fmla="*/ 2147483647 w 106"/>
                <a:gd name="T5" fmla="*/ 2147483647 h 91"/>
                <a:gd name="T6" fmla="*/ 2147483647 w 106"/>
                <a:gd name="T7" fmla="*/ 2147483647 h 91"/>
                <a:gd name="T8" fmla="*/ 0 w 106"/>
                <a:gd name="T9" fmla="*/ 2147483647 h 91"/>
                <a:gd name="T10" fmla="*/ 2147483647 w 106"/>
                <a:gd name="T11" fmla="*/ 2147483647 h 91"/>
                <a:gd name="T12" fmla="*/ 2147483647 w 106"/>
                <a:gd name="T13" fmla="*/ 2147483647 h 91"/>
                <a:gd name="T14" fmla="*/ 2147483647 w 106"/>
                <a:gd name="T15" fmla="*/ 2147483647 h 91"/>
                <a:gd name="T16" fmla="*/ 2147483647 w 106"/>
                <a:gd name="T17" fmla="*/ 2147483647 h 91"/>
                <a:gd name="T18" fmla="*/ 2147483647 w 106"/>
                <a:gd name="T19" fmla="*/ 2147483647 h 91"/>
                <a:gd name="T20" fmla="*/ 2147483647 w 106"/>
                <a:gd name="T21" fmla="*/ 2147483647 h 91"/>
                <a:gd name="T22" fmla="*/ 2147483647 w 106"/>
                <a:gd name="T23" fmla="*/ 2147483647 h 91"/>
                <a:gd name="T24" fmla="*/ 2147483647 w 106"/>
                <a:gd name="T25" fmla="*/ 2147483647 h 91"/>
                <a:gd name="T26" fmla="*/ 2147483647 w 106"/>
                <a:gd name="T27" fmla="*/ 2147483647 h 91"/>
                <a:gd name="T28" fmla="*/ 2147483647 w 106"/>
                <a:gd name="T29" fmla="*/ 0 h 91"/>
                <a:gd name="T30" fmla="*/ 2147483647 w 106"/>
                <a:gd name="T31" fmla="*/ 0 h 9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6"/>
                <a:gd name="T49" fmla="*/ 0 h 91"/>
                <a:gd name="T50" fmla="*/ 106 w 106"/>
                <a:gd name="T51" fmla="*/ 91 h 9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6" h="91">
                  <a:moveTo>
                    <a:pt x="65" y="0"/>
                  </a:moveTo>
                  <a:lnTo>
                    <a:pt x="47" y="0"/>
                  </a:lnTo>
                  <a:lnTo>
                    <a:pt x="47" y="8"/>
                  </a:lnTo>
                  <a:lnTo>
                    <a:pt x="24" y="24"/>
                  </a:lnTo>
                  <a:lnTo>
                    <a:pt x="0" y="24"/>
                  </a:lnTo>
                  <a:lnTo>
                    <a:pt x="15" y="48"/>
                  </a:lnTo>
                  <a:lnTo>
                    <a:pt x="32" y="65"/>
                  </a:lnTo>
                  <a:lnTo>
                    <a:pt x="40" y="80"/>
                  </a:lnTo>
                  <a:lnTo>
                    <a:pt x="56" y="80"/>
                  </a:lnTo>
                  <a:lnTo>
                    <a:pt x="72" y="90"/>
                  </a:lnTo>
                  <a:lnTo>
                    <a:pt x="81" y="90"/>
                  </a:lnTo>
                  <a:lnTo>
                    <a:pt x="97" y="56"/>
                  </a:lnTo>
                  <a:lnTo>
                    <a:pt x="105" y="24"/>
                  </a:lnTo>
                  <a:lnTo>
                    <a:pt x="97" y="8"/>
                  </a:lnTo>
                  <a:lnTo>
                    <a:pt x="81" y="0"/>
                  </a:lnTo>
                  <a:lnTo>
                    <a:pt x="65" y="0"/>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6" name="Freeform 312">
              <a:extLst>
                <a:ext uri="{FF2B5EF4-FFF2-40B4-BE49-F238E27FC236}">
                  <a16:creationId xmlns:a16="http://schemas.microsoft.com/office/drawing/2014/main" id="{A328BF7E-7D3D-4297-AA8D-79DD6837E77C}"/>
                </a:ext>
              </a:extLst>
            </p:cNvPr>
            <p:cNvSpPr>
              <a:spLocks/>
            </p:cNvSpPr>
            <p:nvPr/>
          </p:nvSpPr>
          <p:spPr bwMode="auto">
            <a:xfrm>
              <a:off x="6307138" y="4718050"/>
              <a:ext cx="265112" cy="354013"/>
            </a:xfrm>
            <a:custGeom>
              <a:avLst/>
              <a:gdLst>
                <a:gd name="T0" fmla="*/ 2147483647 w 138"/>
                <a:gd name="T1" fmla="*/ 2147483647 h 218"/>
                <a:gd name="T2" fmla="*/ 2147483647 w 138"/>
                <a:gd name="T3" fmla="*/ 2147483647 h 218"/>
                <a:gd name="T4" fmla="*/ 2147483647 w 138"/>
                <a:gd name="T5" fmla="*/ 2147483647 h 218"/>
                <a:gd name="T6" fmla="*/ 2147483647 w 138"/>
                <a:gd name="T7" fmla="*/ 2147483647 h 218"/>
                <a:gd name="T8" fmla="*/ 2147483647 w 138"/>
                <a:gd name="T9" fmla="*/ 2147483647 h 218"/>
                <a:gd name="T10" fmla="*/ 2147483647 w 138"/>
                <a:gd name="T11" fmla="*/ 2147483647 h 218"/>
                <a:gd name="T12" fmla="*/ 2147483647 w 138"/>
                <a:gd name="T13" fmla="*/ 2147483647 h 218"/>
                <a:gd name="T14" fmla="*/ 2147483647 w 138"/>
                <a:gd name="T15" fmla="*/ 2147483647 h 218"/>
                <a:gd name="T16" fmla="*/ 2147483647 w 138"/>
                <a:gd name="T17" fmla="*/ 2147483647 h 218"/>
                <a:gd name="T18" fmla="*/ 2147483647 w 138"/>
                <a:gd name="T19" fmla="*/ 2147483647 h 218"/>
                <a:gd name="T20" fmla="*/ 2147483647 w 138"/>
                <a:gd name="T21" fmla="*/ 0 h 218"/>
                <a:gd name="T22" fmla="*/ 2147483647 w 138"/>
                <a:gd name="T23" fmla="*/ 2147483647 h 218"/>
                <a:gd name="T24" fmla="*/ 2147483647 w 138"/>
                <a:gd name="T25" fmla="*/ 2147483647 h 218"/>
                <a:gd name="T26" fmla="*/ 2147483647 w 138"/>
                <a:gd name="T27" fmla="*/ 2147483647 h 218"/>
                <a:gd name="T28" fmla="*/ 2147483647 w 138"/>
                <a:gd name="T29" fmla="*/ 2147483647 h 218"/>
                <a:gd name="T30" fmla="*/ 2147483647 w 138"/>
                <a:gd name="T31" fmla="*/ 2147483647 h 218"/>
                <a:gd name="T32" fmla="*/ 2147483647 w 138"/>
                <a:gd name="T33" fmla="*/ 2147483647 h 218"/>
                <a:gd name="T34" fmla="*/ 2147483647 w 138"/>
                <a:gd name="T35" fmla="*/ 2147483647 h 218"/>
                <a:gd name="T36" fmla="*/ 2147483647 w 138"/>
                <a:gd name="T37" fmla="*/ 2147483647 h 218"/>
                <a:gd name="T38" fmla="*/ 2147483647 w 138"/>
                <a:gd name="T39" fmla="*/ 2147483647 h 218"/>
                <a:gd name="T40" fmla="*/ 2147483647 w 138"/>
                <a:gd name="T41" fmla="*/ 2147483647 h 218"/>
                <a:gd name="T42" fmla="*/ 2147483647 w 138"/>
                <a:gd name="T43" fmla="*/ 2147483647 h 218"/>
                <a:gd name="T44" fmla="*/ 2147483647 w 138"/>
                <a:gd name="T45" fmla="*/ 2147483647 h 218"/>
                <a:gd name="T46" fmla="*/ 0 w 138"/>
                <a:gd name="T47" fmla="*/ 2147483647 h 218"/>
                <a:gd name="T48" fmla="*/ 0 w 138"/>
                <a:gd name="T49" fmla="*/ 2147483647 h 218"/>
                <a:gd name="T50" fmla="*/ 2147483647 w 138"/>
                <a:gd name="T51" fmla="*/ 2147483647 h 218"/>
                <a:gd name="T52" fmla="*/ 2147483647 w 138"/>
                <a:gd name="T53" fmla="*/ 2147483647 h 218"/>
                <a:gd name="T54" fmla="*/ 2147483647 w 138"/>
                <a:gd name="T55" fmla="*/ 2147483647 h 218"/>
                <a:gd name="T56" fmla="*/ 2147483647 w 138"/>
                <a:gd name="T57" fmla="*/ 2147483647 h 218"/>
                <a:gd name="T58" fmla="*/ 2147483647 w 138"/>
                <a:gd name="T59" fmla="*/ 2147483647 h 218"/>
                <a:gd name="T60" fmla="*/ 2147483647 w 138"/>
                <a:gd name="T61" fmla="*/ 2147483647 h 218"/>
                <a:gd name="T62" fmla="*/ 2147483647 w 138"/>
                <a:gd name="T63" fmla="*/ 2147483647 h 218"/>
                <a:gd name="T64" fmla="*/ 2147483647 w 138"/>
                <a:gd name="T65" fmla="*/ 2147483647 h 21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38"/>
                <a:gd name="T100" fmla="*/ 0 h 218"/>
                <a:gd name="T101" fmla="*/ 138 w 138"/>
                <a:gd name="T102" fmla="*/ 218 h 21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38" h="218">
                  <a:moveTo>
                    <a:pt x="32" y="217"/>
                  </a:moveTo>
                  <a:lnTo>
                    <a:pt x="32" y="209"/>
                  </a:lnTo>
                  <a:lnTo>
                    <a:pt x="32" y="202"/>
                  </a:lnTo>
                  <a:lnTo>
                    <a:pt x="64" y="193"/>
                  </a:lnTo>
                  <a:lnTo>
                    <a:pt x="72" y="186"/>
                  </a:lnTo>
                  <a:lnTo>
                    <a:pt x="72" y="162"/>
                  </a:lnTo>
                  <a:lnTo>
                    <a:pt x="56" y="128"/>
                  </a:lnTo>
                  <a:lnTo>
                    <a:pt x="87" y="96"/>
                  </a:lnTo>
                  <a:lnTo>
                    <a:pt x="112" y="87"/>
                  </a:lnTo>
                  <a:lnTo>
                    <a:pt x="137" y="63"/>
                  </a:lnTo>
                  <a:lnTo>
                    <a:pt x="129" y="0"/>
                  </a:lnTo>
                  <a:lnTo>
                    <a:pt x="112" y="15"/>
                  </a:lnTo>
                  <a:lnTo>
                    <a:pt x="81" y="15"/>
                  </a:lnTo>
                  <a:lnTo>
                    <a:pt x="64" y="15"/>
                  </a:lnTo>
                  <a:lnTo>
                    <a:pt x="56" y="23"/>
                  </a:lnTo>
                  <a:lnTo>
                    <a:pt x="64" y="40"/>
                  </a:lnTo>
                  <a:lnTo>
                    <a:pt x="72" y="55"/>
                  </a:lnTo>
                  <a:lnTo>
                    <a:pt x="72" y="72"/>
                  </a:lnTo>
                  <a:lnTo>
                    <a:pt x="64" y="87"/>
                  </a:lnTo>
                  <a:lnTo>
                    <a:pt x="56" y="72"/>
                  </a:lnTo>
                  <a:lnTo>
                    <a:pt x="56" y="55"/>
                  </a:lnTo>
                  <a:lnTo>
                    <a:pt x="47" y="55"/>
                  </a:lnTo>
                  <a:lnTo>
                    <a:pt x="40" y="47"/>
                  </a:lnTo>
                  <a:lnTo>
                    <a:pt x="0" y="63"/>
                  </a:lnTo>
                  <a:lnTo>
                    <a:pt x="0" y="72"/>
                  </a:lnTo>
                  <a:lnTo>
                    <a:pt x="16" y="72"/>
                  </a:lnTo>
                  <a:lnTo>
                    <a:pt x="32" y="80"/>
                  </a:lnTo>
                  <a:lnTo>
                    <a:pt x="40" y="96"/>
                  </a:lnTo>
                  <a:lnTo>
                    <a:pt x="32" y="128"/>
                  </a:lnTo>
                  <a:lnTo>
                    <a:pt x="16" y="162"/>
                  </a:lnTo>
                  <a:lnTo>
                    <a:pt x="22" y="209"/>
                  </a:lnTo>
                  <a:lnTo>
                    <a:pt x="22" y="217"/>
                  </a:lnTo>
                  <a:lnTo>
                    <a:pt x="32" y="217"/>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7" name="Freeform 313">
              <a:extLst>
                <a:ext uri="{FF2B5EF4-FFF2-40B4-BE49-F238E27FC236}">
                  <a16:creationId xmlns:a16="http://schemas.microsoft.com/office/drawing/2014/main" id="{432ABBF6-D1A8-4195-8FF5-C38B5FD99C2A}"/>
                </a:ext>
              </a:extLst>
            </p:cNvPr>
            <p:cNvSpPr>
              <a:spLocks/>
            </p:cNvSpPr>
            <p:nvPr/>
          </p:nvSpPr>
          <p:spPr bwMode="auto">
            <a:xfrm>
              <a:off x="6321425" y="5059363"/>
              <a:ext cx="33338" cy="28575"/>
            </a:xfrm>
            <a:custGeom>
              <a:avLst/>
              <a:gdLst>
                <a:gd name="T0" fmla="*/ 2147483647 w 17"/>
                <a:gd name="T1" fmla="*/ 2147483647 h 18"/>
                <a:gd name="T2" fmla="*/ 2147483647 w 17"/>
                <a:gd name="T3" fmla="*/ 0 h 18"/>
                <a:gd name="T4" fmla="*/ 2147483647 w 17"/>
                <a:gd name="T5" fmla="*/ 0 h 18"/>
                <a:gd name="T6" fmla="*/ 0 w 17"/>
                <a:gd name="T7" fmla="*/ 2147483647 h 18"/>
                <a:gd name="T8" fmla="*/ 2147483647 w 17"/>
                <a:gd name="T9" fmla="*/ 2147483647 h 18"/>
                <a:gd name="T10" fmla="*/ 2147483647 w 17"/>
                <a:gd name="T11" fmla="*/ 2147483647 h 18"/>
                <a:gd name="T12" fmla="*/ 0 60000 65536"/>
                <a:gd name="T13" fmla="*/ 0 60000 65536"/>
                <a:gd name="T14" fmla="*/ 0 60000 65536"/>
                <a:gd name="T15" fmla="*/ 0 60000 65536"/>
                <a:gd name="T16" fmla="*/ 0 60000 65536"/>
                <a:gd name="T17" fmla="*/ 0 60000 65536"/>
                <a:gd name="T18" fmla="*/ 0 w 17"/>
                <a:gd name="T19" fmla="*/ 0 h 18"/>
                <a:gd name="T20" fmla="*/ 17 w 1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17" h="18">
                  <a:moveTo>
                    <a:pt x="16" y="8"/>
                  </a:moveTo>
                  <a:lnTo>
                    <a:pt x="16" y="0"/>
                  </a:lnTo>
                  <a:lnTo>
                    <a:pt x="9" y="0"/>
                  </a:lnTo>
                  <a:lnTo>
                    <a:pt x="0" y="8"/>
                  </a:lnTo>
                  <a:lnTo>
                    <a:pt x="9" y="17"/>
                  </a:lnTo>
                  <a:lnTo>
                    <a:pt x="16" y="8"/>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8" name="Freeform 314">
              <a:extLst>
                <a:ext uri="{FF2B5EF4-FFF2-40B4-BE49-F238E27FC236}">
                  <a16:creationId xmlns:a16="http://schemas.microsoft.com/office/drawing/2014/main" id="{229C640B-0B7C-4EED-B277-5F75B9B62550}"/>
                </a:ext>
              </a:extLst>
            </p:cNvPr>
            <p:cNvSpPr>
              <a:spLocks/>
            </p:cNvSpPr>
            <p:nvPr/>
          </p:nvSpPr>
          <p:spPr bwMode="auto">
            <a:xfrm>
              <a:off x="6321425" y="5059363"/>
              <a:ext cx="33338" cy="28575"/>
            </a:xfrm>
            <a:custGeom>
              <a:avLst/>
              <a:gdLst>
                <a:gd name="T0" fmla="*/ 2147483647 w 17"/>
                <a:gd name="T1" fmla="*/ 2147483647 h 18"/>
                <a:gd name="T2" fmla="*/ 2147483647 w 17"/>
                <a:gd name="T3" fmla="*/ 0 h 18"/>
                <a:gd name="T4" fmla="*/ 2147483647 w 17"/>
                <a:gd name="T5" fmla="*/ 0 h 18"/>
                <a:gd name="T6" fmla="*/ 0 w 17"/>
                <a:gd name="T7" fmla="*/ 2147483647 h 18"/>
                <a:gd name="T8" fmla="*/ 2147483647 w 17"/>
                <a:gd name="T9" fmla="*/ 2147483647 h 18"/>
                <a:gd name="T10" fmla="*/ 2147483647 w 17"/>
                <a:gd name="T11" fmla="*/ 2147483647 h 18"/>
                <a:gd name="T12" fmla="*/ 0 60000 65536"/>
                <a:gd name="T13" fmla="*/ 0 60000 65536"/>
                <a:gd name="T14" fmla="*/ 0 60000 65536"/>
                <a:gd name="T15" fmla="*/ 0 60000 65536"/>
                <a:gd name="T16" fmla="*/ 0 60000 65536"/>
                <a:gd name="T17" fmla="*/ 0 60000 65536"/>
                <a:gd name="T18" fmla="*/ 0 w 17"/>
                <a:gd name="T19" fmla="*/ 0 h 18"/>
                <a:gd name="T20" fmla="*/ 17 w 1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17" h="18">
                  <a:moveTo>
                    <a:pt x="16" y="8"/>
                  </a:moveTo>
                  <a:lnTo>
                    <a:pt x="16" y="0"/>
                  </a:lnTo>
                  <a:lnTo>
                    <a:pt x="9" y="0"/>
                  </a:lnTo>
                  <a:lnTo>
                    <a:pt x="0" y="8"/>
                  </a:lnTo>
                  <a:lnTo>
                    <a:pt x="9" y="17"/>
                  </a:lnTo>
                  <a:lnTo>
                    <a:pt x="16" y="8"/>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9" name="Freeform 315">
              <a:extLst>
                <a:ext uri="{FF2B5EF4-FFF2-40B4-BE49-F238E27FC236}">
                  <a16:creationId xmlns:a16="http://schemas.microsoft.com/office/drawing/2014/main" id="{DCC0F2EB-D624-43C6-AE88-3FF3CFAC18BA}"/>
                </a:ext>
              </a:extLst>
            </p:cNvPr>
            <p:cNvSpPr>
              <a:spLocks/>
            </p:cNvSpPr>
            <p:nvPr/>
          </p:nvSpPr>
          <p:spPr bwMode="auto">
            <a:xfrm>
              <a:off x="3743325" y="5454650"/>
              <a:ext cx="33338" cy="55563"/>
            </a:xfrm>
            <a:custGeom>
              <a:avLst/>
              <a:gdLst>
                <a:gd name="T0" fmla="*/ 2147483647 w 17"/>
                <a:gd name="T1" fmla="*/ 0 h 33"/>
                <a:gd name="T2" fmla="*/ 0 w 17"/>
                <a:gd name="T3" fmla="*/ 2147483647 h 33"/>
                <a:gd name="T4" fmla="*/ 2147483647 w 17"/>
                <a:gd name="T5" fmla="*/ 2147483647 h 33"/>
                <a:gd name="T6" fmla="*/ 2147483647 w 17"/>
                <a:gd name="T7" fmla="*/ 2147483647 h 33"/>
                <a:gd name="T8" fmla="*/ 2147483647 w 17"/>
                <a:gd name="T9" fmla="*/ 0 h 33"/>
                <a:gd name="T10" fmla="*/ 0 60000 65536"/>
                <a:gd name="T11" fmla="*/ 0 60000 65536"/>
                <a:gd name="T12" fmla="*/ 0 60000 65536"/>
                <a:gd name="T13" fmla="*/ 0 60000 65536"/>
                <a:gd name="T14" fmla="*/ 0 60000 65536"/>
                <a:gd name="T15" fmla="*/ 0 w 17"/>
                <a:gd name="T16" fmla="*/ 0 h 33"/>
                <a:gd name="T17" fmla="*/ 17 w 17"/>
                <a:gd name="T18" fmla="*/ 33 h 33"/>
              </a:gdLst>
              <a:ahLst/>
              <a:cxnLst>
                <a:cxn ang="T10">
                  <a:pos x="T0" y="T1"/>
                </a:cxn>
                <a:cxn ang="T11">
                  <a:pos x="T2" y="T3"/>
                </a:cxn>
                <a:cxn ang="T12">
                  <a:pos x="T4" y="T5"/>
                </a:cxn>
                <a:cxn ang="T13">
                  <a:pos x="T6" y="T7"/>
                </a:cxn>
                <a:cxn ang="T14">
                  <a:pos x="T8" y="T9"/>
                </a:cxn>
              </a:cxnLst>
              <a:rect l="T15" t="T16" r="T17" b="T18"/>
              <a:pathLst>
                <a:path w="17" h="33">
                  <a:moveTo>
                    <a:pt x="6" y="0"/>
                  </a:moveTo>
                  <a:lnTo>
                    <a:pt x="0" y="23"/>
                  </a:lnTo>
                  <a:lnTo>
                    <a:pt x="6" y="32"/>
                  </a:lnTo>
                  <a:lnTo>
                    <a:pt x="16" y="7"/>
                  </a:lnTo>
                  <a:lnTo>
                    <a:pt x="6"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60" name="Freeform 316">
              <a:extLst>
                <a:ext uri="{FF2B5EF4-FFF2-40B4-BE49-F238E27FC236}">
                  <a16:creationId xmlns:a16="http://schemas.microsoft.com/office/drawing/2014/main" id="{357E5980-42A6-4B45-998E-7C7BF5A5652F}"/>
                </a:ext>
              </a:extLst>
            </p:cNvPr>
            <p:cNvSpPr>
              <a:spLocks/>
            </p:cNvSpPr>
            <p:nvPr/>
          </p:nvSpPr>
          <p:spPr bwMode="auto">
            <a:xfrm>
              <a:off x="3648075" y="4110038"/>
              <a:ext cx="49213" cy="26987"/>
            </a:xfrm>
            <a:custGeom>
              <a:avLst/>
              <a:gdLst>
                <a:gd name="T0" fmla="*/ 0 w 26"/>
                <a:gd name="T1" fmla="*/ 2147483647 h 17"/>
                <a:gd name="T2" fmla="*/ 2147483647 w 26"/>
                <a:gd name="T3" fmla="*/ 2147483647 h 17"/>
                <a:gd name="T4" fmla="*/ 2147483647 w 26"/>
                <a:gd name="T5" fmla="*/ 2147483647 h 17"/>
                <a:gd name="T6" fmla="*/ 2147483647 w 26"/>
                <a:gd name="T7" fmla="*/ 0 h 17"/>
                <a:gd name="T8" fmla="*/ 0 w 26"/>
                <a:gd name="T9" fmla="*/ 2147483647 h 17"/>
                <a:gd name="T10" fmla="*/ 0 60000 65536"/>
                <a:gd name="T11" fmla="*/ 0 60000 65536"/>
                <a:gd name="T12" fmla="*/ 0 60000 65536"/>
                <a:gd name="T13" fmla="*/ 0 60000 65536"/>
                <a:gd name="T14" fmla="*/ 0 60000 65536"/>
                <a:gd name="T15" fmla="*/ 0 w 26"/>
                <a:gd name="T16" fmla="*/ 0 h 17"/>
                <a:gd name="T17" fmla="*/ 26 w 26"/>
                <a:gd name="T18" fmla="*/ 17 h 17"/>
              </a:gdLst>
              <a:ahLst/>
              <a:cxnLst>
                <a:cxn ang="T10">
                  <a:pos x="T0" y="T1"/>
                </a:cxn>
                <a:cxn ang="T11">
                  <a:pos x="T2" y="T3"/>
                </a:cxn>
                <a:cxn ang="T12">
                  <a:pos x="T4" y="T5"/>
                </a:cxn>
                <a:cxn ang="T13">
                  <a:pos x="T6" y="T7"/>
                </a:cxn>
                <a:cxn ang="T14">
                  <a:pos x="T8" y="T9"/>
                </a:cxn>
              </a:cxnLst>
              <a:rect l="T15" t="T16" r="T17" b="T18"/>
              <a:pathLst>
                <a:path w="26" h="17">
                  <a:moveTo>
                    <a:pt x="0" y="7"/>
                  </a:moveTo>
                  <a:lnTo>
                    <a:pt x="16" y="16"/>
                  </a:lnTo>
                  <a:lnTo>
                    <a:pt x="25" y="7"/>
                  </a:lnTo>
                  <a:lnTo>
                    <a:pt x="9" y="0"/>
                  </a:lnTo>
                  <a:lnTo>
                    <a:pt x="0" y="7"/>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61" name="Freeform 317">
              <a:extLst>
                <a:ext uri="{FF2B5EF4-FFF2-40B4-BE49-F238E27FC236}">
                  <a16:creationId xmlns:a16="http://schemas.microsoft.com/office/drawing/2014/main" id="{1B42DB50-E9FD-4170-8EC3-AD958E928895}"/>
                </a:ext>
              </a:extLst>
            </p:cNvPr>
            <p:cNvSpPr>
              <a:spLocks/>
            </p:cNvSpPr>
            <p:nvPr/>
          </p:nvSpPr>
          <p:spPr bwMode="auto">
            <a:xfrm>
              <a:off x="3492500" y="4003675"/>
              <a:ext cx="252413" cy="82550"/>
            </a:xfrm>
            <a:custGeom>
              <a:avLst/>
              <a:gdLst>
                <a:gd name="T0" fmla="*/ 0 w 132"/>
                <a:gd name="T1" fmla="*/ 2147483647 h 50"/>
                <a:gd name="T2" fmla="*/ 2147483647 w 132"/>
                <a:gd name="T3" fmla="*/ 2147483647 h 50"/>
                <a:gd name="T4" fmla="*/ 2147483647 w 132"/>
                <a:gd name="T5" fmla="*/ 2147483647 h 50"/>
                <a:gd name="T6" fmla="*/ 2147483647 w 132"/>
                <a:gd name="T7" fmla="*/ 2147483647 h 50"/>
                <a:gd name="T8" fmla="*/ 2147483647 w 132"/>
                <a:gd name="T9" fmla="*/ 2147483647 h 50"/>
                <a:gd name="T10" fmla="*/ 2147483647 w 132"/>
                <a:gd name="T11" fmla="*/ 2147483647 h 50"/>
                <a:gd name="T12" fmla="*/ 2147483647 w 132"/>
                <a:gd name="T13" fmla="*/ 2147483647 h 50"/>
                <a:gd name="T14" fmla="*/ 2147483647 w 132"/>
                <a:gd name="T15" fmla="*/ 2147483647 h 50"/>
                <a:gd name="T16" fmla="*/ 2147483647 w 132"/>
                <a:gd name="T17" fmla="*/ 2147483647 h 50"/>
                <a:gd name="T18" fmla="*/ 2147483647 w 132"/>
                <a:gd name="T19" fmla="*/ 2147483647 h 50"/>
                <a:gd name="T20" fmla="*/ 2147483647 w 132"/>
                <a:gd name="T21" fmla="*/ 2147483647 h 50"/>
                <a:gd name="T22" fmla="*/ 2147483647 w 132"/>
                <a:gd name="T23" fmla="*/ 2147483647 h 50"/>
                <a:gd name="T24" fmla="*/ 2147483647 w 132"/>
                <a:gd name="T25" fmla="*/ 2147483647 h 50"/>
                <a:gd name="T26" fmla="*/ 2147483647 w 132"/>
                <a:gd name="T27" fmla="*/ 2147483647 h 50"/>
                <a:gd name="T28" fmla="*/ 2147483647 w 132"/>
                <a:gd name="T29" fmla="*/ 2147483647 h 50"/>
                <a:gd name="T30" fmla="*/ 2147483647 w 132"/>
                <a:gd name="T31" fmla="*/ 0 h 50"/>
                <a:gd name="T32" fmla="*/ 2147483647 w 132"/>
                <a:gd name="T33" fmla="*/ 2147483647 h 50"/>
                <a:gd name="T34" fmla="*/ 0 w 132"/>
                <a:gd name="T35" fmla="*/ 2147483647 h 5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2"/>
                <a:gd name="T55" fmla="*/ 0 h 50"/>
                <a:gd name="T56" fmla="*/ 132 w 132"/>
                <a:gd name="T57" fmla="*/ 50 h 5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2" h="50">
                  <a:moveTo>
                    <a:pt x="0" y="24"/>
                  </a:moveTo>
                  <a:lnTo>
                    <a:pt x="9" y="24"/>
                  </a:lnTo>
                  <a:lnTo>
                    <a:pt x="25" y="8"/>
                  </a:lnTo>
                  <a:lnTo>
                    <a:pt x="41" y="15"/>
                  </a:lnTo>
                  <a:lnTo>
                    <a:pt x="34" y="15"/>
                  </a:lnTo>
                  <a:lnTo>
                    <a:pt x="41" y="15"/>
                  </a:lnTo>
                  <a:lnTo>
                    <a:pt x="74" y="24"/>
                  </a:lnTo>
                  <a:lnTo>
                    <a:pt x="81" y="40"/>
                  </a:lnTo>
                  <a:lnTo>
                    <a:pt x="97" y="40"/>
                  </a:lnTo>
                  <a:lnTo>
                    <a:pt x="90" y="49"/>
                  </a:lnTo>
                  <a:lnTo>
                    <a:pt x="131" y="49"/>
                  </a:lnTo>
                  <a:lnTo>
                    <a:pt x="122" y="40"/>
                  </a:lnTo>
                  <a:lnTo>
                    <a:pt x="114" y="40"/>
                  </a:lnTo>
                  <a:lnTo>
                    <a:pt x="114" y="31"/>
                  </a:lnTo>
                  <a:lnTo>
                    <a:pt x="81" y="15"/>
                  </a:lnTo>
                  <a:lnTo>
                    <a:pt x="41" y="0"/>
                  </a:lnTo>
                  <a:lnTo>
                    <a:pt x="16" y="8"/>
                  </a:lnTo>
                  <a:lnTo>
                    <a:pt x="0" y="24"/>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62" name="Freeform 318">
              <a:extLst>
                <a:ext uri="{FF2B5EF4-FFF2-40B4-BE49-F238E27FC236}">
                  <a16:creationId xmlns:a16="http://schemas.microsoft.com/office/drawing/2014/main" id="{FDFB1A8E-CBD6-4ABE-803A-633B904191DB}"/>
                </a:ext>
              </a:extLst>
            </p:cNvPr>
            <p:cNvSpPr>
              <a:spLocks/>
            </p:cNvSpPr>
            <p:nvPr/>
          </p:nvSpPr>
          <p:spPr bwMode="auto">
            <a:xfrm>
              <a:off x="3648075" y="3962400"/>
              <a:ext cx="31750" cy="42863"/>
            </a:xfrm>
            <a:custGeom>
              <a:avLst/>
              <a:gdLst>
                <a:gd name="T0" fmla="*/ 0 w 17"/>
                <a:gd name="T1" fmla="*/ 0 h 26"/>
                <a:gd name="T2" fmla="*/ 0 w 17"/>
                <a:gd name="T3" fmla="*/ 2147483647 h 26"/>
                <a:gd name="T4" fmla="*/ 2147483647 w 17"/>
                <a:gd name="T5" fmla="*/ 2147483647 h 26"/>
                <a:gd name="T6" fmla="*/ 2147483647 w 17"/>
                <a:gd name="T7" fmla="*/ 2147483647 h 26"/>
                <a:gd name="T8" fmla="*/ 0 w 17"/>
                <a:gd name="T9" fmla="*/ 0 h 26"/>
                <a:gd name="T10" fmla="*/ 0 60000 65536"/>
                <a:gd name="T11" fmla="*/ 0 60000 65536"/>
                <a:gd name="T12" fmla="*/ 0 60000 65536"/>
                <a:gd name="T13" fmla="*/ 0 60000 65536"/>
                <a:gd name="T14" fmla="*/ 0 60000 65536"/>
                <a:gd name="T15" fmla="*/ 0 w 17"/>
                <a:gd name="T16" fmla="*/ 0 h 26"/>
                <a:gd name="T17" fmla="*/ 17 w 17"/>
                <a:gd name="T18" fmla="*/ 26 h 26"/>
              </a:gdLst>
              <a:ahLst/>
              <a:cxnLst>
                <a:cxn ang="T10">
                  <a:pos x="T0" y="T1"/>
                </a:cxn>
                <a:cxn ang="T11">
                  <a:pos x="T2" y="T3"/>
                </a:cxn>
                <a:cxn ang="T12">
                  <a:pos x="T4" y="T5"/>
                </a:cxn>
                <a:cxn ang="T13">
                  <a:pos x="T6" y="T7"/>
                </a:cxn>
                <a:cxn ang="T14">
                  <a:pos x="T8" y="T9"/>
                </a:cxn>
              </a:cxnLst>
              <a:rect l="T15" t="T16" r="T17" b="T18"/>
              <a:pathLst>
                <a:path w="17" h="26">
                  <a:moveTo>
                    <a:pt x="0" y="0"/>
                  </a:moveTo>
                  <a:lnTo>
                    <a:pt x="0" y="8"/>
                  </a:lnTo>
                  <a:lnTo>
                    <a:pt x="16" y="25"/>
                  </a:lnTo>
                  <a:lnTo>
                    <a:pt x="16" y="8"/>
                  </a:lnTo>
                  <a:lnTo>
                    <a:pt x="0"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63" name="Freeform 319">
              <a:extLst>
                <a:ext uri="{FF2B5EF4-FFF2-40B4-BE49-F238E27FC236}">
                  <a16:creationId xmlns:a16="http://schemas.microsoft.com/office/drawing/2014/main" id="{82A2EFE2-BBB5-4315-9FFD-2BBD41A8C255}"/>
                </a:ext>
              </a:extLst>
            </p:cNvPr>
            <p:cNvSpPr>
              <a:spLocks/>
            </p:cNvSpPr>
            <p:nvPr/>
          </p:nvSpPr>
          <p:spPr bwMode="auto">
            <a:xfrm>
              <a:off x="3432175" y="2655888"/>
              <a:ext cx="171450" cy="147637"/>
            </a:xfrm>
            <a:custGeom>
              <a:avLst/>
              <a:gdLst>
                <a:gd name="T0" fmla="*/ 0 w 89"/>
                <a:gd name="T1" fmla="*/ 2147483647 h 91"/>
                <a:gd name="T2" fmla="*/ 2147483647 w 89"/>
                <a:gd name="T3" fmla="*/ 2147483647 h 91"/>
                <a:gd name="T4" fmla="*/ 2147483647 w 89"/>
                <a:gd name="T5" fmla="*/ 2147483647 h 91"/>
                <a:gd name="T6" fmla="*/ 2147483647 w 89"/>
                <a:gd name="T7" fmla="*/ 2147483647 h 91"/>
                <a:gd name="T8" fmla="*/ 2147483647 w 89"/>
                <a:gd name="T9" fmla="*/ 2147483647 h 91"/>
                <a:gd name="T10" fmla="*/ 2147483647 w 89"/>
                <a:gd name="T11" fmla="*/ 2147483647 h 91"/>
                <a:gd name="T12" fmla="*/ 2147483647 w 89"/>
                <a:gd name="T13" fmla="*/ 2147483647 h 91"/>
                <a:gd name="T14" fmla="*/ 2147483647 w 89"/>
                <a:gd name="T15" fmla="*/ 2147483647 h 91"/>
                <a:gd name="T16" fmla="*/ 2147483647 w 89"/>
                <a:gd name="T17" fmla="*/ 2147483647 h 91"/>
                <a:gd name="T18" fmla="*/ 2147483647 w 89"/>
                <a:gd name="T19" fmla="*/ 2147483647 h 91"/>
                <a:gd name="T20" fmla="*/ 2147483647 w 89"/>
                <a:gd name="T21" fmla="*/ 2147483647 h 91"/>
                <a:gd name="T22" fmla="*/ 2147483647 w 89"/>
                <a:gd name="T23" fmla="*/ 0 h 91"/>
                <a:gd name="T24" fmla="*/ 2147483647 w 89"/>
                <a:gd name="T25" fmla="*/ 2147483647 h 91"/>
                <a:gd name="T26" fmla="*/ 2147483647 w 89"/>
                <a:gd name="T27" fmla="*/ 2147483647 h 91"/>
                <a:gd name="T28" fmla="*/ 2147483647 w 89"/>
                <a:gd name="T29" fmla="*/ 2147483647 h 91"/>
                <a:gd name="T30" fmla="*/ 0 w 89"/>
                <a:gd name="T31" fmla="*/ 2147483647 h 9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9"/>
                <a:gd name="T49" fmla="*/ 0 h 91"/>
                <a:gd name="T50" fmla="*/ 89 w 89"/>
                <a:gd name="T51" fmla="*/ 91 h 9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9" h="91">
                  <a:moveTo>
                    <a:pt x="0" y="73"/>
                  </a:moveTo>
                  <a:lnTo>
                    <a:pt x="15" y="73"/>
                  </a:lnTo>
                  <a:lnTo>
                    <a:pt x="15" y="90"/>
                  </a:lnTo>
                  <a:lnTo>
                    <a:pt x="31" y="90"/>
                  </a:lnTo>
                  <a:lnTo>
                    <a:pt x="47" y="65"/>
                  </a:lnTo>
                  <a:lnTo>
                    <a:pt x="56" y="65"/>
                  </a:lnTo>
                  <a:lnTo>
                    <a:pt x="72" y="81"/>
                  </a:lnTo>
                  <a:lnTo>
                    <a:pt x="88" y="65"/>
                  </a:lnTo>
                  <a:lnTo>
                    <a:pt x="72" y="65"/>
                  </a:lnTo>
                  <a:lnTo>
                    <a:pt x="56" y="40"/>
                  </a:lnTo>
                  <a:lnTo>
                    <a:pt x="31" y="16"/>
                  </a:lnTo>
                  <a:lnTo>
                    <a:pt x="25" y="0"/>
                  </a:lnTo>
                  <a:lnTo>
                    <a:pt x="15" y="16"/>
                  </a:lnTo>
                  <a:lnTo>
                    <a:pt x="6" y="25"/>
                  </a:lnTo>
                  <a:lnTo>
                    <a:pt x="15" y="65"/>
                  </a:lnTo>
                  <a:lnTo>
                    <a:pt x="0" y="73"/>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64" name="Freeform 320">
              <a:extLst>
                <a:ext uri="{FF2B5EF4-FFF2-40B4-BE49-F238E27FC236}">
                  <a16:creationId xmlns:a16="http://schemas.microsoft.com/office/drawing/2014/main" id="{2137603E-1D0D-4E0A-B62C-A6BA9AFADD25}"/>
                </a:ext>
              </a:extLst>
            </p:cNvPr>
            <p:cNvSpPr>
              <a:spLocks/>
            </p:cNvSpPr>
            <p:nvPr/>
          </p:nvSpPr>
          <p:spPr bwMode="auto">
            <a:xfrm>
              <a:off x="3678238" y="2538413"/>
              <a:ext cx="50800" cy="66675"/>
            </a:xfrm>
            <a:custGeom>
              <a:avLst/>
              <a:gdLst>
                <a:gd name="T0" fmla="*/ 0 w 26"/>
                <a:gd name="T1" fmla="*/ 2147483647 h 41"/>
                <a:gd name="T2" fmla="*/ 0 w 26"/>
                <a:gd name="T3" fmla="*/ 2147483647 h 41"/>
                <a:gd name="T4" fmla="*/ 2147483647 w 26"/>
                <a:gd name="T5" fmla="*/ 2147483647 h 41"/>
                <a:gd name="T6" fmla="*/ 2147483647 w 26"/>
                <a:gd name="T7" fmla="*/ 2147483647 h 41"/>
                <a:gd name="T8" fmla="*/ 2147483647 w 26"/>
                <a:gd name="T9" fmla="*/ 2147483647 h 41"/>
                <a:gd name="T10" fmla="*/ 2147483647 w 26"/>
                <a:gd name="T11" fmla="*/ 0 h 41"/>
                <a:gd name="T12" fmla="*/ 2147483647 w 26"/>
                <a:gd name="T13" fmla="*/ 0 h 41"/>
                <a:gd name="T14" fmla="*/ 0 w 26"/>
                <a:gd name="T15" fmla="*/ 2147483647 h 41"/>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41"/>
                <a:gd name="T26" fmla="*/ 26 w 26"/>
                <a:gd name="T27" fmla="*/ 41 h 4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41">
                  <a:moveTo>
                    <a:pt x="0" y="25"/>
                  </a:moveTo>
                  <a:lnTo>
                    <a:pt x="0" y="40"/>
                  </a:lnTo>
                  <a:lnTo>
                    <a:pt x="17" y="31"/>
                  </a:lnTo>
                  <a:lnTo>
                    <a:pt x="25" y="25"/>
                  </a:lnTo>
                  <a:lnTo>
                    <a:pt x="25" y="16"/>
                  </a:lnTo>
                  <a:lnTo>
                    <a:pt x="25" y="0"/>
                  </a:lnTo>
                  <a:lnTo>
                    <a:pt x="9" y="0"/>
                  </a:lnTo>
                  <a:lnTo>
                    <a:pt x="0" y="25"/>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65" name="Freeform 321">
              <a:extLst>
                <a:ext uri="{FF2B5EF4-FFF2-40B4-BE49-F238E27FC236}">
                  <a16:creationId xmlns:a16="http://schemas.microsoft.com/office/drawing/2014/main" id="{779CF156-7C4A-4CB0-A444-B6C8D771E40E}"/>
                </a:ext>
              </a:extLst>
            </p:cNvPr>
            <p:cNvSpPr>
              <a:spLocks/>
            </p:cNvSpPr>
            <p:nvPr/>
          </p:nvSpPr>
          <p:spPr bwMode="auto">
            <a:xfrm>
              <a:off x="3586163" y="2179638"/>
              <a:ext cx="111125" cy="71437"/>
            </a:xfrm>
            <a:custGeom>
              <a:avLst/>
              <a:gdLst>
                <a:gd name="T0" fmla="*/ 0 w 58"/>
                <a:gd name="T1" fmla="*/ 0 h 43"/>
                <a:gd name="T2" fmla="*/ 0 w 58"/>
                <a:gd name="T3" fmla="*/ 2147483647 h 43"/>
                <a:gd name="T4" fmla="*/ 0 w 58"/>
                <a:gd name="T5" fmla="*/ 2147483647 h 43"/>
                <a:gd name="T6" fmla="*/ 2147483647 w 58"/>
                <a:gd name="T7" fmla="*/ 2147483647 h 43"/>
                <a:gd name="T8" fmla="*/ 2147483647 w 58"/>
                <a:gd name="T9" fmla="*/ 2147483647 h 43"/>
                <a:gd name="T10" fmla="*/ 2147483647 w 58"/>
                <a:gd name="T11" fmla="*/ 2147483647 h 43"/>
                <a:gd name="T12" fmla="*/ 2147483647 w 58"/>
                <a:gd name="T13" fmla="*/ 2147483647 h 43"/>
                <a:gd name="T14" fmla="*/ 2147483647 w 58"/>
                <a:gd name="T15" fmla="*/ 2147483647 h 43"/>
                <a:gd name="T16" fmla="*/ 2147483647 w 58"/>
                <a:gd name="T17" fmla="*/ 0 h 43"/>
                <a:gd name="T18" fmla="*/ 2147483647 w 58"/>
                <a:gd name="T19" fmla="*/ 0 h 43"/>
                <a:gd name="T20" fmla="*/ 0 w 58"/>
                <a:gd name="T21" fmla="*/ 0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8"/>
                <a:gd name="T34" fmla="*/ 0 h 43"/>
                <a:gd name="T35" fmla="*/ 58 w 58"/>
                <a:gd name="T36" fmla="*/ 43 h 4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8" h="43">
                  <a:moveTo>
                    <a:pt x="0" y="0"/>
                  </a:moveTo>
                  <a:lnTo>
                    <a:pt x="0" y="17"/>
                  </a:lnTo>
                  <a:lnTo>
                    <a:pt x="0" y="42"/>
                  </a:lnTo>
                  <a:lnTo>
                    <a:pt x="25" y="42"/>
                  </a:lnTo>
                  <a:lnTo>
                    <a:pt x="32" y="42"/>
                  </a:lnTo>
                  <a:lnTo>
                    <a:pt x="57" y="42"/>
                  </a:lnTo>
                  <a:lnTo>
                    <a:pt x="57" y="34"/>
                  </a:lnTo>
                  <a:lnTo>
                    <a:pt x="48" y="9"/>
                  </a:lnTo>
                  <a:lnTo>
                    <a:pt x="41" y="0"/>
                  </a:lnTo>
                  <a:lnTo>
                    <a:pt x="17" y="0"/>
                  </a:lnTo>
                  <a:lnTo>
                    <a:pt x="0" y="0"/>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66" name="Freeform 322">
              <a:extLst>
                <a:ext uri="{FF2B5EF4-FFF2-40B4-BE49-F238E27FC236}">
                  <a16:creationId xmlns:a16="http://schemas.microsoft.com/office/drawing/2014/main" id="{41741002-4914-47E5-8452-93F2F03D09A9}"/>
                </a:ext>
              </a:extLst>
            </p:cNvPr>
            <p:cNvSpPr>
              <a:spLocks/>
            </p:cNvSpPr>
            <p:nvPr/>
          </p:nvSpPr>
          <p:spPr bwMode="auto">
            <a:xfrm>
              <a:off x="3771900" y="1058863"/>
              <a:ext cx="1509713" cy="1890712"/>
            </a:xfrm>
            <a:custGeom>
              <a:avLst/>
              <a:gdLst>
                <a:gd name="T0" fmla="*/ 2147483647 w 788"/>
                <a:gd name="T1" fmla="*/ 2147483647 h 1160"/>
                <a:gd name="T2" fmla="*/ 2147483647 w 788"/>
                <a:gd name="T3" fmla="*/ 2147483647 h 1160"/>
                <a:gd name="T4" fmla="*/ 2147483647 w 788"/>
                <a:gd name="T5" fmla="*/ 2147483647 h 1160"/>
                <a:gd name="T6" fmla="*/ 2147483647 w 788"/>
                <a:gd name="T7" fmla="*/ 2147483647 h 1160"/>
                <a:gd name="T8" fmla="*/ 2147483647 w 788"/>
                <a:gd name="T9" fmla="*/ 2147483647 h 1160"/>
                <a:gd name="T10" fmla="*/ 2147483647 w 788"/>
                <a:gd name="T11" fmla="*/ 2147483647 h 1160"/>
                <a:gd name="T12" fmla="*/ 2147483647 w 788"/>
                <a:gd name="T13" fmla="*/ 2147483647 h 1160"/>
                <a:gd name="T14" fmla="*/ 2147483647 w 788"/>
                <a:gd name="T15" fmla="*/ 2147483647 h 1160"/>
                <a:gd name="T16" fmla="*/ 2147483647 w 788"/>
                <a:gd name="T17" fmla="*/ 2147483647 h 1160"/>
                <a:gd name="T18" fmla="*/ 2147483647 w 788"/>
                <a:gd name="T19" fmla="*/ 2147483647 h 1160"/>
                <a:gd name="T20" fmla="*/ 2147483647 w 788"/>
                <a:gd name="T21" fmla="*/ 2147483647 h 1160"/>
                <a:gd name="T22" fmla="*/ 2147483647 w 788"/>
                <a:gd name="T23" fmla="*/ 2147483647 h 1160"/>
                <a:gd name="T24" fmla="*/ 2147483647 w 788"/>
                <a:gd name="T25" fmla="*/ 2147483647 h 1160"/>
                <a:gd name="T26" fmla="*/ 2147483647 w 788"/>
                <a:gd name="T27" fmla="*/ 2147483647 h 1160"/>
                <a:gd name="T28" fmla="*/ 2147483647 w 788"/>
                <a:gd name="T29" fmla="*/ 2147483647 h 1160"/>
                <a:gd name="T30" fmla="*/ 2147483647 w 788"/>
                <a:gd name="T31" fmla="*/ 2147483647 h 1160"/>
                <a:gd name="T32" fmla="*/ 2147483647 w 788"/>
                <a:gd name="T33" fmla="*/ 2147483647 h 1160"/>
                <a:gd name="T34" fmla="*/ 2147483647 w 788"/>
                <a:gd name="T35" fmla="*/ 2147483647 h 1160"/>
                <a:gd name="T36" fmla="*/ 2147483647 w 788"/>
                <a:gd name="T37" fmla="*/ 2147483647 h 1160"/>
                <a:gd name="T38" fmla="*/ 2147483647 w 788"/>
                <a:gd name="T39" fmla="*/ 2147483647 h 1160"/>
                <a:gd name="T40" fmla="*/ 2147483647 w 788"/>
                <a:gd name="T41" fmla="*/ 2147483647 h 1160"/>
                <a:gd name="T42" fmla="*/ 2147483647 w 788"/>
                <a:gd name="T43" fmla="*/ 2147483647 h 1160"/>
                <a:gd name="T44" fmla="*/ 2147483647 w 788"/>
                <a:gd name="T45" fmla="*/ 2147483647 h 1160"/>
                <a:gd name="T46" fmla="*/ 2147483647 w 788"/>
                <a:gd name="T47" fmla="*/ 2147483647 h 1160"/>
                <a:gd name="T48" fmla="*/ 2147483647 w 788"/>
                <a:gd name="T49" fmla="*/ 2147483647 h 1160"/>
                <a:gd name="T50" fmla="*/ 2147483647 w 788"/>
                <a:gd name="T51" fmla="*/ 2147483647 h 1160"/>
                <a:gd name="T52" fmla="*/ 2147483647 w 788"/>
                <a:gd name="T53" fmla="*/ 2147483647 h 1160"/>
                <a:gd name="T54" fmla="*/ 2147483647 w 788"/>
                <a:gd name="T55" fmla="*/ 2147483647 h 1160"/>
                <a:gd name="T56" fmla="*/ 2147483647 w 788"/>
                <a:gd name="T57" fmla="*/ 2147483647 h 1160"/>
                <a:gd name="T58" fmla="*/ 2147483647 w 788"/>
                <a:gd name="T59" fmla="*/ 2147483647 h 1160"/>
                <a:gd name="T60" fmla="*/ 2147483647 w 788"/>
                <a:gd name="T61" fmla="*/ 2147483647 h 1160"/>
                <a:gd name="T62" fmla="*/ 2147483647 w 788"/>
                <a:gd name="T63" fmla="*/ 2147483647 h 1160"/>
                <a:gd name="T64" fmla="*/ 2147483647 w 788"/>
                <a:gd name="T65" fmla="*/ 2147483647 h 1160"/>
                <a:gd name="T66" fmla="*/ 2147483647 w 788"/>
                <a:gd name="T67" fmla="*/ 2147483647 h 1160"/>
                <a:gd name="T68" fmla="*/ 2147483647 w 788"/>
                <a:gd name="T69" fmla="*/ 2147483647 h 1160"/>
                <a:gd name="T70" fmla="*/ 2147483647 w 788"/>
                <a:gd name="T71" fmla="*/ 2147483647 h 1160"/>
                <a:gd name="T72" fmla="*/ 2147483647 w 788"/>
                <a:gd name="T73" fmla="*/ 2147483647 h 1160"/>
                <a:gd name="T74" fmla="*/ 2147483647 w 788"/>
                <a:gd name="T75" fmla="*/ 0 h 1160"/>
                <a:gd name="T76" fmla="*/ 2147483647 w 788"/>
                <a:gd name="T77" fmla="*/ 2147483647 h 1160"/>
                <a:gd name="T78" fmla="*/ 2147483647 w 788"/>
                <a:gd name="T79" fmla="*/ 2147483647 h 1160"/>
                <a:gd name="T80" fmla="*/ 2147483647 w 788"/>
                <a:gd name="T81" fmla="*/ 2147483647 h 1160"/>
                <a:gd name="T82" fmla="*/ 2147483647 w 788"/>
                <a:gd name="T83" fmla="*/ 2147483647 h 1160"/>
                <a:gd name="T84" fmla="*/ 2147483647 w 788"/>
                <a:gd name="T85" fmla="*/ 2147483647 h 1160"/>
                <a:gd name="T86" fmla="*/ 2147483647 w 788"/>
                <a:gd name="T87" fmla="*/ 2147483647 h 116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88"/>
                <a:gd name="T133" fmla="*/ 0 h 1160"/>
                <a:gd name="T134" fmla="*/ 788 w 788"/>
                <a:gd name="T135" fmla="*/ 1160 h 116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88" h="1160">
                  <a:moveTo>
                    <a:pt x="0" y="463"/>
                  </a:moveTo>
                  <a:lnTo>
                    <a:pt x="25" y="478"/>
                  </a:lnTo>
                  <a:lnTo>
                    <a:pt x="40" y="470"/>
                  </a:lnTo>
                  <a:lnTo>
                    <a:pt x="40" y="495"/>
                  </a:lnTo>
                  <a:lnTo>
                    <a:pt x="65" y="510"/>
                  </a:lnTo>
                  <a:lnTo>
                    <a:pt x="25" y="528"/>
                  </a:lnTo>
                  <a:lnTo>
                    <a:pt x="57" y="551"/>
                  </a:lnTo>
                  <a:lnTo>
                    <a:pt x="50" y="560"/>
                  </a:lnTo>
                  <a:lnTo>
                    <a:pt x="57" y="575"/>
                  </a:lnTo>
                  <a:lnTo>
                    <a:pt x="90" y="584"/>
                  </a:lnTo>
                  <a:lnTo>
                    <a:pt x="99" y="575"/>
                  </a:lnTo>
                  <a:lnTo>
                    <a:pt x="147" y="575"/>
                  </a:lnTo>
                  <a:lnTo>
                    <a:pt x="196" y="600"/>
                  </a:lnTo>
                  <a:lnTo>
                    <a:pt x="196" y="615"/>
                  </a:lnTo>
                  <a:lnTo>
                    <a:pt x="211" y="657"/>
                  </a:lnTo>
                  <a:lnTo>
                    <a:pt x="211" y="681"/>
                  </a:lnTo>
                  <a:lnTo>
                    <a:pt x="227" y="697"/>
                  </a:lnTo>
                  <a:lnTo>
                    <a:pt x="221" y="746"/>
                  </a:lnTo>
                  <a:lnTo>
                    <a:pt x="227" y="762"/>
                  </a:lnTo>
                  <a:lnTo>
                    <a:pt x="227" y="777"/>
                  </a:lnTo>
                  <a:lnTo>
                    <a:pt x="227" y="794"/>
                  </a:lnTo>
                  <a:lnTo>
                    <a:pt x="244" y="794"/>
                  </a:lnTo>
                  <a:lnTo>
                    <a:pt x="252" y="777"/>
                  </a:lnTo>
                  <a:lnTo>
                    <a:pt x="261" y="802"/>
                  </a:lnTo>
                  <a:lnTo>
                    <a:pt x="276" y="811"/>
                  </a:lnTo>
                  <a:lnTo>
                    <a:pt x="284" y="827"/>
                  </a:lnTo>
                  <a:lnTo>
                    <a:pt x="244" y="818"/>
                  </a:lnTo>
                  <a:lnTo>
                    <a:pt x="236" y="836"/>
                  </a:lnTo>
                  <a:lnTo>
                    <a:pt x="236" y="859"/>
                  </a:lnTo>
                  <a:lnTo>
                    <a:pt x="252" y="874"/>
                  </a:lnTo>
                  <a:lnTo>
                    <a:pt x="268" y="867"/>
                  </a:lnTo>
                  <a:lnTo>
                    <a:pt x="284" y="851"/>
                  </a:lnTo>
                  <a:lnTo>
                    <a:pt x="293" y="874"/>
                  </a:lnTo>
                  <a:lnTo>
                    <a:pt x="284" y="899"/>
                  </a:lnTo>
                  <a:lnTo>
                    <a:pt x="268" y="899"/>
                  </a:lnTo>
                  <a:lnTo>
                    <a:pt x="252" y="914"/>
                  </a:lnTo>
                  <a:lnTo>
                    <a:pt x="252" y="980"/>
                  </a:lnTo>
                  <a:lnTo>
                    <a:pt x="268" y="996"/>
                  </a:lnTo>
                  <a:lnTo>
                    <a:pt x="276" y="1038"/>
                  </a:lnTo>
                  <a:lnTo>
                    <a:pt x="308" y="1119"/>
                  </a:lnTo>
                  <a:lnTo>
                    <a:pt x="324" y="1135"/>
                  </a:lnTo>
                  <a:lnTo>
                    <a:pt x="349" y="1135"/>
                  </a:lnTo>
                  <a:lnTo>
                    <a:pt x="373" y="1159"/>
                  </a:lnTo>
                  <a:lnTo>
                    <a:pt x="383" y="1150"/>
                  </a:lnTo>
                  <a:lnTo>
                    <a:pt x="398" y="1101"/>
                  </a:lnTo>
                  <a:lnTo>
                    <a:pt x="398" y="1085"/>
                  </a:lnTo>
                  <a:lnTo>
                    <a:pt x="414" y="1061"/>
                  </a:lnTo>
                  <a:lnTo>
                    <a:pt x="423" y="1029"/>
                  </a:lnTo>
                  <a:lnTo>
                    <a:pt x="414" y="1013"/>
                  </a:lnTo>
                  <a:lnTo>
                    <a:pt x="423" y="1013"/>
                  </a:lnTo>
                  <a:lnTo>
                    <a:pt x="430" y="996"/>
                  </a:lnTo>
                  <a:lnTo>
                    <a:pt x="463" y="996"/>
                  </a:lnTo>
                  <a:lnTo>
                    <a:pt x="479" y="980"/>
                  </a:lnTo>
                  <a:lnTo>
                    <a:pt x="537" y="914"/>
                  </a:lnTo>
                  <a:lnTo>
                    <a:pt x="553" y="914"/>
                  </a:lnTo>
                  <a:lnTo>
                    <a:pt x="585" y="899"/>
                  </a:lnTo>
                  <a:lnTo>
                    <a:pt x="641" y="859"/>
                  </a:lnTo>
                  <a:lnTo>
                    <a:pt x="650" y="843"/>
                  </a:lnTo>
                  <a:lnTo>
                    <a:pt x="618" y="836"/>
                  </a:lnTo>
                  <a:lnTo>
                    <a:pt x="600" y="843"/>
                  </a:lnTo>
                  <a:lnTo>
                    <a:pt x="600" y="836"/>
                  </a:lnTo>
                  <a:lnTo>
                    <a:pt x="618" y="818"/>
                  </a:lnTo>
                  <a:lnTo>
                    <a:pt x="609" y="802"/>
                  </a:lnTo>
                  <a:lnTo>
                    <a:pt x="625" y="794"/>
                  </a:lnTo>
                  <a:lnTo>
                    <a:pt x="634" y="827"/>
                  </a:lnTo>
                  <a:lnTo>
                    <a:pt x="641" y="836"/>
                  </a:lnTo>
                  <a:lnTo>
                    <a:pt x="659" y="827"/>
                  </a:lnTo>
                  <a:lnTo>
                    <a:pt x="659" y="794"/>
                  </a:lnTo>
                  <a:lnTo>
                    <a:pt x="625" y="746"/>
                  </a:lnTo>
                  <a:lnTo>
                    <a:pt x="659" y="762"/>
                  </a:lnTo>
                  <a:lnTo>
                    <a:pt x="659" y="730"/>
                  </a:lnTo>
                  <a:lnTo>
                    <a:pt x="641" y="722"/>
                  </a:lnTo>
                  <a:lnTo>
                    <a:pt x="666" y="705"/>
                  </a:lnTo>
                  <a:lnTo>
                    <a:pt x="674" y="705"/>
                  </a:lnTo>
                  <a:lnTo>
                    <a:pt x="674" y="688"/>
                  </a:lnTo>
                  <a:lnTo>
                    <a:pt x="666" y="681"/>
                  </a:lnTo>
                  <a:lnTo>
                    <a:pt x="690" y="672"/>
                  </a:lnTo>
                  <a:lnTo>
                    <a:pt x="699" y="649"/>
                  </a:lnTo>
                  <a:lnTo>
                    <a:pt x="682" y="649"/>
                  </a:lnTo>
                  <a:lnTo>
                    <a:pt x="690" y="625"/>
                  </a:lnTo>
                  <a:lnTo>
                    <a:pt x="682" y="575"/>
                  </a:lnTo>
                  <a:lnTo>
                    <a:pt x="666" y="568"/>
                  </a:lnTo>
                  <a:lnTo>
                    <a:pt x="666" y="544"/>
                  </a:lnTo>
                  <a:lnTo>
                    <a:pt x="674" y="535"/>
                  </a:lnTo>
                  <a:lnTo>
                    <a:pt x="699" y="544"/>
                  </a:lnTo>
                  <a:lnTo>
                    <a:pt x="706" y="528"/>
                  </a:lnTo>
                  <a:lnTo>
                    <a:pt x="690" y="470"/>
                  </a:lnTo>
                  <a:lnTo>
                    <a:pt x="690" y="445"/>
                  </a:lnTo>
                  <a:lnTo>
                    <a:pt x="690" y="413"/>
                  </a:lnTo>
                  <a:lnTo>
                    <a:pt x="739" y="301"/>
                  </a:lnTo>
                  <a:lnTo>
                    <a:pt x="787" y="227"/>
                  </a:lnTo>
                  <a:lnTo>
                    <a:pt x="771" y="202"/>
                  </a:lnTo>
                  <a:lnTo>
                    <a:pt x="731" y="187"/>
                  </a:lnTo>
                  <a:lnTo>
                    <a:pt x="706" y="221"/>
                  </a:lnTo>
                  <a:lnTo>
                    <a:pt x="690" y="211"/>
                  </a:lnTo>
                  <a:lnTo>
                    <a:pt x="650" y="252"/>
                  </a:lnTo>
                  <a:lnTo>
                    <a:pt x="618" y="268"/>
                  </a:lnTo>
                  <a:lnTo>
                    <a:pt x="634" y="227"/>
                  </a:lnTo>
                  <a:lnTo>
                    <a:pt x="666" y="187"/>
                  </a:lnTo>
                  <a:lnTo>
                    <a:pt x="659" y="162"/>
                  </a:lnTo>
                  <a:lnTo>
                    <a:pt x="634" y="171"/>
                  </a:lnTo>
                  <a:lnTo>
                    <a:pt x="634" y="196"/>
                  </a:lnTo>
                  <a:lnTo>
                    <a:pt x="618" y="202"/>
                  </a:lnTo>
                  <a:lnTo>
                    <a:pt x="618" y="162"/>
                  </a:lnTo>
                  <a:lnTo>
                    <a:pt x="553" y="162"/>
                  </a:lnTo>
                  <a:lnTo>
                    <a:pt x="577" y="146"/>
                  </a:lnTo>
                  <a:lnTo>
                    <a:pt x="609" y="155"/>
                  </a:lnTo>
                  <a:lnTo>
                    <a:pt x="659" y="137"/>
                  </a:lnTo>
                  <a:lnTo>
                    <a:pt x="682" y="114"/>
                  </a:lnTo>
                  <a:lnTo>
                    <a:pt x="659" y="90"/>
                  </a:lnTo>
                  <a:lnTo>
                    <a:pt x="634" y="74"/>
                  </a:lnTo>
                  <a:lnTo>
                    <a:pt x="618" y="50"/>
                  </a:lnTo>
                  <a:lnTo>
                    <a:pt x="585" y="16"/>
                  </a:lnTo>
                  <a:lnTo>
                    <a:pt x="479" y="0"/>
                  </a:lnTo>
                  <a:lnTo>
                    <a:pt x="373" y="50"/>
                  </a:lnTo>
                  <a:lnTo>
                    <a:pt x="341" y="90"/>
                  </a:lnTo>
                  <a:lnTo>
                    <a:pt x="333" y="130"/>
                  </a:lnTo>
                  <a:lnTo>
                    <a:pt x="293" y="130"/>
                  </a:lnTo>
                  <a:lnTo>
                    <a:pt x="284" y="171"/>
                  </a:lnTo>
                  <a:lnTo>
                    <a:pt x="244" y="137"/>
                  </a:lnTo>
                  <a:lnTo>
                    <a:pt x="179" y="162"/>
                  </a:lnTo>
                  <a:lnTo>
                    <a:pt x="147" y="196"/>
                  </a:lnTo>
                  <a:lnTo>
                    <a:pt x="155" y="221"/>
                  </a:lnTo>
                  <a:lnTo>
                    <a:pt x="147" y="243"/>
                  </a:lnTo>
                  <a:lnTo>
                    <a:pt x="122" y="243"/>
                  </a:lnTo>
                  <a:lnTo>
                    <a:pt x="82" y="292"/>
                  </a:lnTo>
                  <a:lnTo>
                    <a:pt x="74" y="333"/>
                  </a:lnTo>
                  <a:lnTo>
                    <a:pt x="106" y="333"/>
                  </a:lnTo>
                  <a:lnTo>
                    <a:pt x="115" y="358"/>
                  </a:lnTo>
                  <a:lnTo>
                    <a:pt x="99" y="389"/>
                  </a:lnTo>
                  <a:lnTo>
                    <a:pt x="57" y="405"/>
                  </a:lnTo>
                  <a:lnTo>
                    <a:pt x="9" y="429"/>
                  </a:lnTo>
                  <a:lnTo>
                    <a:pt x="0" y="463"/>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67" name="Freeform 323">
              <a:extLst>
                <a:ext uri="{FF2B5EF4-FFF2-40B4-BE49-F238E27FC236}">
                  <a16:creationId xmlns:a16="http://schemas.microsoft.com/office/drawing/2014/main" id="{8FD76EF9-9006-4EF0-8B4D-1EA731007063}"/>
                </a:ext>
              </a:extLst>
            </p:cNvPr>
            <p:cNvSpPr>
              <a:spLocks/>
            </p:cNvSpPr>
            <p:nvPr/>
          </p:nvSpPr>
          <p:spPr bwMode="auto">
            <a:xfrm>
              <a:off x="7999413" y="1666875"/>
              <a:ext cx="144462" cy="160338"/>
            </a:xfrm>
            <a:custGeom>
              <a:avLst/>
              <a:gdLst>
                <a:gd name="T0" fmla="*/ 0 w 75"/>
                <a:gd name="T1" fmla="*/ 2147483647 h 98"/>
                <a:gd name="T2" fmla="*/ 2147483647 w 75"/>
                <a:gd name="T3" fmla="*/ 2147483647 h 98"/>
                <a:gd name="T4" fmla="*/ 2147483647 w 75"/>
                <a:gd name="T5" fmla="*/ 2147483647 h 98"/>
                <a:gd name="T6" fmla="*/ 2147483647 w 75"/>
                <a:gd name="T7" fmla="*/ 2147483647 h 98"/>
                <a:gd name="T8" fmla="*/ 2147483647 w 75"/>
                <a:gd name="T9" fmla="*/ 2147483647 h 98"/>
                <a:gd name="T10" fmla="*/ 2147483647 w 75"/>
                <a:gd name="T11" fmla="*/ 0 h 98"/>
                <a:gd name="T12" fmla="*/ 2147483647 w 75"/>
                <a:gd name="T13" fmla="*/ 2147483647 h 98"/>
                <a:gd name="T14" fmla="*/ 0 w 75"/>
                <a:gd name="T15" fmla="*/ 2147483647 h 98"/>
                <a:gd name="T16" fmla="*/ 0 60000 65536"/>
                <a:gd name="T17" fmla="*/ 0 60000 65536"/>
                <a:gd name="T18" fmla="*/ 0 60000 65536"/>
                <a:gd name="T19" fmla="*/ 0 60000 65536"/>
                <a:gd name="T20" fmla="*/ 0 60000 65536"/>
                <a:gd name="T21" fmla="*/ 0 60000 65536"/>
                <a:gd name="T22" fmla="*/ 0 60000 65536"/>
                <a:gd name="T23" fmla="*/ 0 60000 65536"/>
                <a:gd name="T24" fmla="*/ 0 w 75"/>
                <a:gd name="T25" fmla="*/ 0 h 98"/>
                <a:gd name="T26" fmla="*/ 75 w 75"/>
                <a:gd name="T27" fmla="*/ 98 h 9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5" h="98">
                  <a:moveTo>
                    <a:pt x="0" y="97"/>
                  </a:moveTo>
                  <a:lnTo>
                    <a:pt x="25" y="90"/>
                  </a:lnTo>
                  <a:lnTo>
                    <a:pt x="49" y="90"/>
                  </a:lnTo>
                  <a:lnTo>
                    <a:pt x="74" y="72"/>
                  </a:lnTo>
                  <a:lnTo>
                    <a:pt x="74" y="40"/>
                  </a:lnTo>
                  <a:lnTo>
                    <a:pt x="40" y="0"/>
                  </a:lnTo>
                  <a:lnTo>
                    <a:pt x="25" y="16"/>
                  </a:lnTo>
                  <a:lnTo>
                    <a:pt x="0" y="97"/>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68" name="Freeform 324">
              <a:extLst>
                <a:ext uri="{FF2B5EF4-FFF2-40B4-BE49-F238E27FC236}">
                  <a16:creationId xmlns:a16="http://schemas.microsoft.com/office/drawing/2014/main" id="{6B335A14-805A-452C-ADB7-0F29031525B2}"/>
                </a:ext>
              </a:extLst>
            </p:cNvPr>
            <p:cNvSpPr>
              <a:spLocks/>
            </p:cNvSpPr>
            <p:nvPr/>
          </p:nvSpPr>
          <p:spPr bwMode="auto">
            <a:xfrm>
              <a:off x="7797800" y="1443038"/>
              <a:ext cx="234950" cy="307975"/>
            </a:xfrm>
            <a:custGeom>
              <a:avLst/>
              <a:gdLst>
                <a:gd name="T0" fmla="*/ 0 w 122"/>
                <a:gd name="T1" fmla="*/ 2147483647 h 188"/>
                <a:gd name="T2" fmla="*/ 2147483647 w 122"/>
                <a:gd name="T3" fmla="*/ 2147483647 h 188"/>
                <a:gd name="T4" fmla="*/ 2147483647 w 122"/>
                <a:gd name="T5" fmla="*/ 2147483647 h 188"/>
                <a:gd name="T6" fmla="*/ 2147483647 w 122"/>
                <a:gd name="T7" fmla="*/ 2147483647 h 188"/>
                <a:gd name="T8" fmla="*/ 2147483647 w 122"/>
                <a:gd name="T9" fmla="*/ 2147483647 h 188"/>
                <a:gd name="T10" fmla="*/ 2147483647 w 122"/>
                <a:gd name="T11" fmla="*/ 2147483647 h 188"/>
                <a:gd name="T12" fmla="*/ 2147483647 w 122"/>
                <a:gd name="T13" fmla="*/ 2147483647 h 188"/>
                <a:gd name="T14" fmla="*/ 2147483647 w 122"/>
                <a:gd name="T15" fmla="*/ 2147483647 h 188"/>
                <a:gd name="T16" fmla="*/ 2147483647 w 122"/>
                <a:gd name="T17" fmla="*/ 2147483647 h 188"/>
                <a:gd name="T18" fmla="*/ 2147483647 w 122"/>
                <a:gd name="T19" fmla="*/ 2147483647 h 188"/>
                <a:gd name="T20" fmla="*/ 2147483647 w 122"/>
                <a:gd name="T21" fmla="*/ 2147483647 h 188"/>
                <a:gd name="T22" fmla="*/ 2147483647 w 122"/>
                <a:gd name="T23" fmla="*/ 2147483647 h 188"/>
                <a:gd name="T24" fmla="*/ 2147483647 w 122"/>
                <a:gd name="T25" fmla="*/ 0 h 188"/>
                <a:gd name="T26" fmla="*/ 2147483647 w 122"/>
                <a:gd name="T27" fmla="*/ 2147483647 h 188"/>
                <a:gd name="T28" fmla="*/ 2147483647 w 122"/>
                <a:gd name="T29" fmla="*/ 2147483647 h 188"/>
                <a:gd name="T30" fmla="*/ 0 w 122"/>
                <a:gd name="T31" fmla="*/ 2147483647 h 18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2"/>
                <a:gd name="T49" fmla="*/ 0 h 188"/>
                <a:gd name="T50" fmla="*/ 122 w 122"/>
                <a:gd name="T51" fmla="*/ 188 h 18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2" h="188">
                  <a:moveTo>
                    <a:pt x="0" y="97"/>
                  </a:moveTo>
                  <a:lnTo>
                    <a:pt x="8" y="122"/>
                  </a:lnTo>
                  <a:lnTo>
                    <a:pt x="40" y="137"/>
                  </a:lnTo>
                  <a:lnTo>
                    <a:pt x="49" y="162"/>
                  </a:lnTo>
                  <a:lnTo>
                    <a:pt x="98" y="187"/>
                  </a:lnTo>
                  <a:lnTo>
                    <a:pt x="114" y="177"/>
                  </a:lnTo>
                  <a:lnTo>
                    <a:pt x="114" y="153"/>
                  </a:lnTo>
                  <a:lnTo>
                    <a:pt x="121" y="122"/>
                  </a:lnTo>
                  <a:lnTo>
                    <a:pt x="105" y="97"/>
                  </a:lnTo>
                  <a:lnTo>
                    <a:pt x="80" y="88"/>
                  </a:lnTo>
                  <a:lnTo>
                    <a:pt x="80" y="65"/>
                  </a:lnTo>
                  <a:lnTo>
                    <a:pt x="80" y="40"/>
                  </a:lnTo>
                  <a:lnTo>
                    <a:pt x="56" y="0"/>
                  </a:lnTo>
                  <a:lnTo>
                    <a:pt x="33" y="32"/>
                  </a:lnTo>
                  <a:lnTo>
                    <a:pt x="25" y="65"/>
                  </a:lnTo>
                  <a:lnTo>
                    <a:pt x="0" y="97"/>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69" name="Freeform 325">
              <a:extLst>
                <a:ext uri="{FF2B5EF4-FFF2-40B4-BE49-F238E27FC236}">
                  <a16:creationId xmlns:a16="http://schemas.microsoft.com/office/drawing/2014/main" id="{5CF446AD-32CA-480E-81BB-8B4087408CED}"/>
                </a:ext>
              </a:extLst>
            </p:cNvPr>
            <p:cNvSpPr>
              <a:spLocks/>
            </p:cNvSpPr>
            <p:nvPr/>
          </p:nvSpPr>
          <p:spPr bwMode="auto">
            <a:xfrm>
              <a:off x="5838825" y="1549400"/>
              <a:ext cx="392113" cy="425450"/>
            </a:xfrm>
            <a:custGeom>
              <a:avLst/>
              <a:gdLst>
                <a:gd name="T0" fmla="*/ 0 w 205"/>
                <a:gd name="T1" fmla="*/ 2147483647 h 260"/>
                <a:gd name="T2" fmla="*/ 2147483647 w 205"/>
                <a:gd name="T3" fmla="*/ 2147483647 h 260"/>
                <a:gd name="T4" fmla="*/ 2147483647 w 205"/>
                <a:gd name="T5" fmla="*/ 2147483647 h 260"/>
                <a:gd name="T6" fmla="*/ 2147483647 w 205"/>
                <a:gd name="T7" fmla="*/ 2147483647 h 260"/>
                <a:gd name="T8" fmla="*/ 2147483647 w 205"/>
                <a:gd name="T9" fmla="*/ 2147483647 h 260"/>
                <a:gd name="T10" fmla="*/ 2147483647 w 205"/>
                <a:gd name="T11" fmla="*/ 2147483647 h 260"/>
                <a:gd name="T12" fmla="*/ 2147483647 w 205"/>
                <a:gd name="T13" fmla="*/ 2147483647 h 260"/>
                <a:gd name="T14" fmla="*/ 2147483647 w 205"/>
                <a:gd name="T15" fmla="*/ 2147483647 h 260"/>
                <a:gd name="T16" fmla="*/ 2147483647 w 205"/>
                <a:gd name="T17" fmla="*/ 2147483647 h 260"/>
                <a:gd name="T18" fmla="*/ 2147483647 w 205"/>
                <a:gd name="T19" fmla="*/ 2147483647 h 260"/>
                <a:gd name="T20" fmla="*/ 2147483647 w 205"/>
                <a:gd name="T21" fmla="*/ 2147483647 h 260"/>
                <a:gd name="T22" fmla="*/ 2147483647 w 205"/>
                <a:gd name="T23" fmla="*/ 2147483647 h 260"/>
                <a:gd name="T24" fmla="*/ 2147483647 w 205"/>
                <a:gd name="T25" fmla="*/ 2147483647 h 260"/>
                <a:gd name="T26" fmla="*/ 2147483647 w 205"/>
                <a:gd name="T27" fmla="*/ 2147483647 h 260"/>
                <a:gd name="T28" fmla="*/ 2147483647 w 205"/>
                <a:gd name="T29" fmla="*/ 2147483647 h 260"/>
                <a:gd name="T30" fmla="*/ 2147483647 w 205"/>
                <a:gd name="T31" fmla="*/ 2147483647 h 260"/>
                <a:gd name="T32" fmla="*/ 2147483647 w 205"/>
                <a:gd name="T33" fmla="*/ 2147483647 h 260"/>
                <a:gd name="T34" fmla="*/ 2147483647 w 205"/>
                <a:gd name="T35" fmla="*/ 2147483647 h 260"/>
                <a:gd name="T36" fmla="*/ 2147483647 w 205"/>
                <a:gd name="T37" fmla="*/ 2147483647 h 260"/>
                <a:gd name="T38" fmla="*/ 2147483647 w 205"/>
                <a:gd name="T39" fmla="*/ 2147483647 h 260"/>
                <a:gd name="T40" fmla="*/ 2147483647 w 205"/>
                <a:gd name="T41" fmla="*/ 2147483647 h 260"/>
                <a:gd name="T42" fmla="*/ 2147483647 w 205"/>
                <a:gd name="T43" fmla="*/ 2147483647 h 260"/>
                <a:gd name="T44" fmla="*/ 2147483647 w 205"/>
                <a:gd name="T45" fmla="*/ 2147483647 h 260"/>
                <a:gd name="T46" fmla="*/ 2147483647 w 205"/>
                <a:gd name="T47" fmla="*/ 0 h 260"/>
                <a:gd name="T48" fmla="*/ 2147483647 w 205"/>
                <a:gd name="T49" fmla="*/ 2147483647 h 260"/>
                <a:gd name="T50" fmla="*/ 2147483647 w 205"/>
                <a:gd name="T51" fmla="*/ 0 h 260"/>
                <a:gd name="T52" fmla="*/ 2147483647 w 205"/>
                <a:gd name="T53" fmla="*/ 2147483647 h 260"/>
                <a:gd name="T54" fmla="*/ 2147483647 w 205"/>
                <a:gd name="T55" fmla="*/ 2147483647 h 260"/>
                <a:gd name="T56" fmla="*/ 2147483647 w 205"/>
                <a:gd name="T57" fmla="*/ 2147483647 h 260"/>
                <a:gd name="T58" fmla="*/ 2147483647 w 205"/>
                <a:gd name="T59" fmla="*/ 2147483647 h 260"/>
                <a:gd name="T60" fmla="*/ 2147483647 w 205"/>
                <a:gd name="T61" fmla="*/ 2147483647 h 260"/>
                <a:gd name="T62" fmla="*/ 0 w 205"/>
                <a:gd name="T63" fmla="*/ 2147483647 h 26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05"/>
                <a:gd name="T97" fmla="*/ 0 h 260"/>
                <a:gd name="T98" fmla="*/ 205 w 205"/>
                <a:gd name="T99" fmla="*/ 260 h 26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05" h="260">
                  <a:moveTo>
                    <a:pt x="0" y="57"/>
                  </a:moveTo>
                  <a:lnTo>
                    <a:pt x="9" y="122"/>
                  </a:lnTo>
                  <a:lnTo>
                    <a:pt x="25" y="153"/>
                  </a:lnTo>
                  <a:lnTo>
                    <a:pt x="50" y="153"/>
                  </a:lnTo>
                  <a:lnTo>
                    <a:pt x="33" y="169"/>
                  </a:lnTo>
                  <a:lnTo>
                    <a:pt x="41" y="202"/>
                  </a:lnTo>
                  <a:lnTo>
                    <a:pt x="75" y="259"/>
                  </a:lnTo>
                  <a:lnTo>
                    <a:pt x="106" y="144"/>
                  </a:lnTo>
                  <a:lnTo>
                    <a:pt x="115" y="128"/>
                  </a:lnTo>
                  <a:lnTo>
                    <a:pt x="121" y="153"/>
                  </a:lnTo>
                  <a:lnTo>
                    <a:pt x="139" y="169"/>
                  </a:lnTo>
                  <a:lnTo>
                    <a:pt x="121" y="202"/>
                  </a:lnTo>
                  <a:lnTo>
                    <a:pt x="146" y="209"/>
                  </a:lnTo>
                  <a:lnTo>
                    <a:pt x="180" y="186"/>
                  </a:lnTo>
                  <a:lnTo>
                    <a:pt x="155" y="162"/>
                  </a:lnTo>
                  <a:lnTo>
                    <a:pt x="130" y="112"/>
                  </a:lnTo>
                  <a:lnTo>
                    <a:pt x="106" y="97"/>
                  </a:lnTo>
                  <a:lnTo>
                    <a:pt x="98" y="57"/>
                  </a:lnTo>
                  <a:lnTo>
                    <a:pt x="130" y="81"/>
                  </a:lnTo>
                  <a:lnTo>
                    <a:pt x="162" y="97"/>
                  </a:lnTo>
                  <a:lnTo>
                    <a:pt x="187" y="72"/>
                  </a:lnTo>
                  <a:lnTo>
                    <a:pt x="204" y="40"/>
                  </a:lnTo>
                  <a:lnTo>
                    <a:pt x="204" y="23"/>
                  </a:lnTo>
                  <a:lnTo>
                    <a:pt x="155" y="0"/>
                  </a:lnTo>
                  <a:lnTo>
                    <a:pt x="130" y="23"/>
                  </a:lnTo>
                  <a:lnTo>
                    <a:pt x="115" y="0"/>
                  </a:lnTo>
                  <a:lnTo>
                    <a:pt x="90" y="15"/>
                  </a:lnTo>
                  <a:lnTo>
                    <a:pt x="90" y="40"/>
                  </a:lnTo>
                  <a:lnTo>
                    <a:pt x="65" y="32"/>
                  </a:lnTo>
                  <a:lnTo>
                    <a:pt x="58" y="57"/>
                  </a:lnTo>
                  <a:lnTo>
                    <a:pt x="33" y="48"/>
                  </a:lnTo>
                  <a:lnTo>
                    <a:pt x="0" y="57"/>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70" name="Freeform 326">
              <a:extLst>
                <a:ext uri="{FF2B5EF4-FFF2-40B4-BE49-F238E27FC236}">
                  <a16:creationId xmlns:a16="http://schemas.microsoft.com/office/drawing/2014/main" id="{16200594-7B38-4EE1-813B-A543A2AEAB5B}"/>
                </a:ext>
              </a:extLst>
            </p:cNvPr>
            <p:cNvSpPr>
              <a:spLocks/>
            </p:cNvSpPr>
            <p:nvPr/>
          </p:nvSpPr>
          <p:spPr bwMode="auto">
            <a:xfrm>
              <a:off x="3198813" y="2051050"/>
              <a:ext cx="77787" cy="66675"/>
            </a:xfrm>
            <a:custGeom>
              <a:avLst/>
              <a:gdLst>
                <a:gd name="T0" fmla="*/ 0 w 41"/>
                <a:gd name="T1" fmla="*/ 2147483647 h 41"/>
                <a:gd name="T2" fmla="*/ 2147483647 w 41"/>
                <a:gd name="T3" fmla="*/ 2147483647 h 41"/>
                <a:gd name="T4" fmla="*/ 2147483647 w 41"/>
                <a:gd name="T5" fmla="*/ 2147483647 h 41"/>
                <a:gd name="T6" fmla="*/ 2147483647 w 41"/>
                <a:gd name="T7" fmla="*/ 0 h 41"/>
                <a:gd name="T8" fmla="*/ 2147483647 w 41"/>
                <a:gd name="T9" fmla="*/ 0 h 41"/>
                <a:gd name="T10" fmla="*/ 0 w 41"/>
                <a:gd name="T11" fmla="*/ 2147483647 h 41"/>
                <a:gd name="T12" fmla="*/ 0 60000 65536"/>
                <a:gd name="T13" fmla="*/ 0 60000 65536"/>
                <a:gd name="T14" fmla="*/ 0 60000 65536"/>
                <a:gd name="T15" fmla="*/ 0 60000 65536"/>
                <a:gd name="T16" fmla="*/ 0 60000 65536"/>
                <a:gd name="T17" fmla="*/ 0 60000 65536"/>
                <a:gd name="T18" fmla="*/ 0 w 41"/>
                <a:gd name="T19" fmla="*/ 0 h 41"/>
                <a:gd name="T20" fmla="*/ 41 w 41"/>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41" h="41">
                  <a:moveTo>
                    <a:pt x="0" y="23"/>
                  </a:moveTo>
                  <a:lnTo>
                    <a:pt x="40" y="40"/>
                  </a:lnTo>
                  <a:lnTo>
                    <a:pt x="40" y="16"/>
                  </a:lnTo>
                  <a:lnTo>
                    <a:pt x="23" y="0"/>
                  </a:lnTo>
                  <a:lnTo>
                    <a:pt x="16" y="0"/>
                  </a:lnTo>
                  <a:lnTo>
                    <a:pt x="0" y="23"/>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71" name="Freeform 327">
              <a:extLst>
                <a:ext uri="{FF2B5EF4-FFF2-40B4-BE49-F238E27FC236}">
                  <a16:creationId xmlns:a16="http://schemas.microsoft.com/office/drawing/2014/main" id="{176A3F45-0B37-4A41-92FA-C461DA530571}"/>
                </a:ext>
              </a:extLst>
            </p:cNvPr>
            <p:cNvSpPr>
              <a:spLocks/>
            </p:cNvSpPr>
            <p:nvPr/>
          </p:nvSpPr>
          <p:spPr bwMode="auto">
            <a:xfrm>
              <a:off x="3213100" y="1919288"/>
              <a:ext cx="407988" cy="225425"/>
            </a:xfrm>
            <a:custGeom>
              <a:avLst/>
              <a:gdLst>
                <a:gd name="T0" fmla="*/ 0 w 212"/>
                <a:gd name="T1" fmla="*/ 0 h 138"/>
                <a:gd name="T2" fmla="*/ 0 w 212"/>
                <a:gd name="T3" fmla="*/ 2147483647 h 138"/>
                <a:gd name="T4" fmla="*/ 2147483647 w 212"/>
                <a:gd name="T5" fmla="*/ 2147483647 h 138"/>
                <a:gd name="T6" fmla="*/ 2147483647 w 212"/>
                <a:gd name="T7" fmla="*/ 2147483647 h 138"/>
                <a:gd name="T8" fmla="*/ 2147483647 w 212"/>
                <a:gd name="T9" fmla="*/ 2147483647 h 138"/>
                <a:gd name="T10" fmla="*/ 2147483647 w 212"/>
                <a:gd name="T11" fmla="*/ 2147483647 h 138"/>
                <a:gd name="T12" fmla="*/ 2147483647 w 212"/>
                <a:gd name="T13" fmla="*/ 2147483647 h 138"/>
                <a:gd name="T14" fmla="*/ 2147483647 w 212"/>
                <a:gd name="T15" fmla="*/ 2147483647 h 138"/>
                <a:gd name="T16" fmla="*/ 2147483647 w 212"/>
                <a:gd name="T17" fmla="*/ 2147483647 h 138"/>
                <a:gd name="T18" fmla="*/ 2147483647 w 212"/>
                <a:gd name="T19" fmla="*/ 2147483647 h 138"/>
                <a:gd name="T20" fmla="*/ 2147483647 w 212"/>
                <a:gd name="T21" fmla="*/ 2147483647 h 138"/>
                <a:gd name="T22" fmla="*/ 2147483647 w 212"/>
                <a:gd name="T23" fmla="*/ 2147483647 h 138"/>
                <a:gd name="T24" fmla="*/ 2147483647 w 212"/>
                <a:gd name="T25" fmla="*/ 2147483647 h 138"/>
                <a:gd name="T26" fmla="*/ 2147483647 w 212"/>
                <a:gd name="T27" fmla="*/ 2147483647 h 138"/>
                <a:gd name="T28" fmla="*/ 2147483647 w 212"/>
                <a:gd name="T29" fmla="*/ 2147483647 h 138"/>
                <a:gd name="T30" fmla="*/ 2147483647 w 212"/>
                <a:gd name="T31" fmla="*/ 2147483647 h 138"/>
                <a:gd name="T32" fmla="*/ 2147483647 w 212"/>
                <a:gd name="T33" fmla="*/ 2147483647 h 138"/>
                <a:gd name="T34" fmla="*/ 2147483647 w 212"/>
                <a:gd name="T35" fmla="*/ 2147483647 h 138"/>
                <a:gd name="T36" fmla="*/ 2147483647 w 212"/>
                <a:gd name="T37" fmla="*/ 2147483647 h 138"/>
                <a:gd name="T38" fmla="*/ 2147483647 w 212"/>
                <a:gd name="T39" fmla="*/ 2147483647 h 138"/>
                <a:gd name="T40" fmla="*/ 2147483647 w 212"/>
                <a:gd name="T41" fmla="*/ 2147483647 h 138"/>
                <a:gd name="T42" fmla="*/ 0 w 212"/>
                <a:gd name="T43" fmla="*/ 0 h 13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12"/>
                <a:gd name="T67" fmla="*/ 0 h 138"/>
                <a:gd name="T68" fmla="*/ 212 w 212"/>
                <a:gd name="T69" fmla="*/ 138 h 13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12" h="138">
                  <a:moveTo>
                    <a:pt x="0" y="0"/>
                  </a:moveTo>
                  <a:lnTo>
                    <a:pt x="0" y="16"/>
                  </a:lnTo>
                  <a:lnTo>
                    <a:pt x="15" y="40"/>
                  </a:lnTo>
                  <a:lnTo>
                    <a:pt x="32" y="40"/>
                  </a:lnTo>
                  <a:lnTo>
                    <a:pt x="49" y="47"/>
                  </a:lnTo>
                  <a:lnTo>
                    <a:pt x="49" y="121"/>
                  </a:lnTo>
                  <a:lnTo>
                    <a:pt x="120" y="137"/>
                  </a:lnTo>
                  <a:lnTo>
                    <a:pt x="145" y="137"/>
                  </a:lnTo>
                  <a:lnTo>
                    <a:pt x="161" y="121"/>
                  </a:lnTo>
                  <a:lnTo>
                    <a:pt x="179" y="129"/>
                  </a:lnTo>
                  <a:lnTo>
                    <a:pt x="202" y="121"/>
                  </a:lnTo>
                  <a:lnTo>
                    <a:pt x="211" y="81"/>
                  </a:lnTo>
                  <a:lnTo>
                    <a:pt x="186" y="72"/>
                  </a:lnTo>
                  <a:lnTo>
                    <a:pt x="145" y="63"/>
                  </a:lnTo>
                  <a:lnTo>
                    <a:pt x="120" y="81"/>
                  </a:lnTo>
                  <a:lnTo>
                    <a:pt x="96" y="72"/>
                  </a:lnTo>
                  <a:lnTo>
                    <a:pt x="73" y="56"/>
                  </a:lnTo>
                  <a:lnTo>
                    <a:pt x="80" y="47"/>
                  </a:lnTo>
                  <a:lnTo>
                    <a:pt x="64" y="23"/>
                  </a:lnTo>
                  <a:lnTo>
                    <a:pt x="40" y="23"/>
                  </a:lnTo>
                  <a:lnTo>
                    <a:pt x="24" y="7"/>
                  </a:lnTo>
                  <a:lnTo>
                    <a:pt x="0"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72" name="Freeform 328">
              <a:extLst>
                <a:ext uri="{FF2B5EF4-FFF2-40B4-BE49-F238E27FC236}">
                  <a16:creationId xmlns:a16="http://schemas.microsoft.com/office/drawing/2014/main" id="{3160C0EE-4A37-4C06-BF2C-587D925A4B26}"/>
                </a:ext>
              </a:extLst>
            </p:cNvPr>
            <p:cNvSpPr>
              <a:spLocks/>
            </p:cNvSpPr>
            <p:nvPr/>
          </p:nvSpPr>
          <p:spPr bwMode="auto">
            <a:xfrm>
              <a:off x="3243263" y="1443038"/>
              <a:ext cx="220662" cy="373062"/>
            </a:xfrm>
            <a:custGeom>
              <a:avLst/>
              <a:gdLst>
                <a:gd name="T0" fmla="*/ 0 w 115"/>
                <a:gd name="T1" fmla="*/ 2147483647 h 228"/>
                <a:gd name="T2" fmla="*/ 2147483647 w 115"/>
                <a:gd name="T3" fmla="*/ 2147483647 h 228"/>
                <a:gd name="T4" fmla="*/ 2147483647 w 115"/>
                <a:gd name="T5" fmla="*/ 2147483647 h 228"/>
                <a:gd name="T6" fmla="*/ 2147483647 w 115"/>
                <a:gd name="T7" fmla="*/ 2147483647 h 228"/>
                <a:gd name="T8" fmla="*/ 2147483647 w 115"/>
                <a:gd name="T9" fmla="*/ 2147483647 h 228"/>
                <a:gd name="T10" fmla="*/ 2147483647 w 115"/>
                <a:gd name="T11" fmla="*/ 2147483647 h 228"/>
                <a:gd name="T12" fmla="*/ 2147483647 w 115"/>
                <a:gd name="T13" fmla="*/ 2147483647 h 228"/>
                <a:gd name="T14" fmla="*/ 2147483647 w 115"/>
                <a:gd name="T15" fmla="*/ 2147483647 h 228"/>
                <a:gd name="T16" fmla="*/ 2147483647 w 115"/>
                <a:gd name="T17" fmla="*/ 2147483647 h 228"/>
                <a:gd name="T18" fmla="*/ 2147483647 w 115"/>
                <a:gd name="T19" fmla="*/ 2147483647 h 228"/>
                <a:gd name="T20" fmla="*/ 2147483647 w 115"/>
                <a:gd name="T21" fmla="*/ 2147483647 h 228"/>
                <a:gd name="T22" fmla="*/ 2147483647 w 115"/>
                <a:gd name="T23" fmla="*/ 2147483647 h 228"/>
                <a:gd name="T24" fmla="*/ 2147483647 w 115"/>
                <a:gd name="T25" fmla="*/ 2147483647 h 228"/>
                <a:gd name="T26" fmla="*/ 2147483647 w 115"/>
                <a:gd name="T27" fmla="*/ 2147483647 h 228"/>
                <a:gd name="T28" fmla="*/ 2147483647 w 115"/>
                <a:gd name="T29" fmla="*/ 0 h 228"/>
                <a:gd name="T30" fmla="*/ 2147483647 w 115"/>
                <a:gd name="T31" fmla="*/ 0 h 228"/>
                <a:gd name="T32" fmla="*/ 2147483647 w 115"/>
                <a:gd name="T33" fmla="*/ 2147483647 h 228"/>
                <a:gd name="T34" fmla="*/ 0 w 115"/>
                <a:gd name="T35" fmla="*/ 2147483647 h 228"/>
                <a:gd name="T36" fmla="*/ 0 w 115"/>
                <a:gd name="T37" fmla="*/ 2147483647 h 2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15"/>
                <a:gd name="T58" fmla="*/ 0 h 228"/>
                <a:gd name="T59" fmla="*/ 115 w 115"/>
                <a:gd name="T60" fmla="*/ 228 h 22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15" h="228">
                  <a:moveTo>
                    <a:pt x="0" y="97"/>
                  </a:moveTo>
                  <a:lnTo>
                    <a:pt x="25" y="146"/>
                  </a:lnTo>
                  <a:lnTo>
                    <a:pt x="17" y="169"/>
                  </a:lnTo>
                  <a:lnTo>
                    <a:pt x="17" y="202"/>
                  </a:lnTo>
                  <a:lnTo>
                    <a:pt x="34" y="227"/>
                  </a:lnTo>
                  <a:lnTo>
                    <a:pt x="74" y="227"/>
                  </a:lnTo>
                  <a:lnTo>
                    <a:pt x="99" y="169"/>
                  </a:lnTo>
                  <a:lnTo>
                    <a:pt x="114" y="153"/>
                  </a:lnTo>
                  <a:lnTo>
                    <a:pt x="114" y="128"/>
                  </a:lnTo>
                  <a:lnTo>
                    <a:pt x="90" y="122"/>
                  </a:lnTo>
                  <a:lnTo>
                    <a:pt x="99" y="88"/>
                  </a:lnTo>
                  <a:lnTo>
                    <a:pt x="90" y="65"/>
                  </a:lnTo>
                  <a:lnTo>
                    <a:pt x="58" y="65"/>
                  </a:lnTo>
                  <a:lnTo>
                    <a:pt x="40" y="40"/>
                  </a:lnTo>
                  <a:lnTo>
                    <a:pt x="34" y="0"/>
                  </a:lnTo>
                  <a:lnTo>
                    <a:pt x="17" y="0"/>
                  </a:lnTo>
                  <a:lnTo>
                    <a:pt x="17" y="40"/>
                  </a:lnTo>
                  <a:lnTo>
                    <a:pt x="0" y="65"/>
                  </a:lnTo>
                  <a:lnTo>
                    <a:pt x="0" y="97"/>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73" name="Freeform 329">
              <a:extLst>
                <a:ext uri="{FF2B5EF4-FFF2-40B4-BE49-F238E27FC236}">
                  <a16:creationId xmlns:a16="http://schemas.microsoft.com/office/drawing/2014/main" id="{5396886D-5CFB-43C5-B685-EDA740A3150A}"/>
                </a:ext>
              </a:extLst>
            </p:cNvPr>
            <p:cNvSpPr>
              <a:spLocks/>
            </p:cNvSpPr>
            <p:nvPr/>
          </p:nvSpPr>
          <p:spPr bwMode="auto">
            <a:xfrm>
              <a:off x="3354388" y="1165225"/>
              <a:ext cx="715962" cy="831850"/>
            </a:xfrm>
            <a:custGeom>
              <a:avLst/>
              <a:gdLst>
                <a:gd name="T0" fmla="*/ 0 w 374"/>
                <a:gd name="T1" fmla="*/ 2147483647 h 511"/>
                <a:gd name="T2" fmla="*/ 2147483647 w 374"/>
                <a:gd name="T3" fmla="*/ 2147483647 h 511"/>
                <a:gd name="T4" fmla="*/ 2147483647 w 374"/>
                <a:gd name="T5" fmla="*/ 2147483647 h 511"/>
                <a:gd name="T6" fmla="*/ 2147483647 w 374"/>
                <a:gd name="T7" fmla="*/ 2147483647 h 511"/>
                <a:gd name="T8" fmla="*/ 2147483647 w 374"/>
                <a:gd name="T9" fmla="*/ 2147483647 h 511"/>
                <a:gd name="T10" fmla="*/ 2147483647 w 374"/>
                <a:gd name="T11" fmla="*/ 2147483647 h 511"/>
                <a:gd name="T12" fmla="*/ 2147483647 w 374"/>
                <a:gd name="T13" fmla="*/ 2147483647 h 511"/>
                <a:gd name="T14" fmla="*/ 2147483647 w 374"/>
                <a:gd name="T15" fmla="*/ 2147483647 h 511"/>
                <a:gd name="T16" fmla="*/ 2147483647 w 374"/>
                <a:gd name="T17" fmla="*/ 2147483647 h 511"/>
                <a:gd name="T18" fmla="*/ 2147483647 w 374"/>
                <a:gd name="T19" fmla="*/ 2147483647 h 511"/>
                <a:gd name="T20" fmla="*/ 2147483647 w 374"/>
                <a:gd name="T21" fmla="*/ 2147483647 h 511"/>
                <a:gd name="T22" fmla="*/ 2147483647 w 374"/>
                <a:gd name="T23" fmla="*/ 2147483647 h 511"/>
                <a:gd name="T24" fmla="*/ 2147483647 w 374"/>
                <a:gd name="T25" fmla="*/ 2147483647 h 511"/>
                <a:gd name="T26" fmla="*/ 2147483647 w 374"/>
                <a:gd name="T27" fmla="*/ 2147483647 h 511"/>
                <a:gd name="T28" fmla="*/ 2147483647 w 374"/>
                <a:gd name="T29" fmla="*/ 2147483647 h 511"/>
                <a:gd name="T30" fmla="*/ 2147483647 w 374"/>
                <a:gd name="T31" fmla="*/ 2147483647 h 511"/>
                <a:gd name="T32" fmla="*/ 2147483647 w 374"/>
                <a:gd name="T33" fmla="*/ 2147483647 h 511"/>
                <a:gd name="T34" fmla="*/ 2147483647 w 374"/>
                <a:gd name="T35" fmla="*/ 2147483647 h 511"/>
                <a:gd name="T36" fmla="*/ 2147483647 w 374"/>
                <a:gd name="T37" fmla="*/ 2147483647 h 511"/>
                <a:gd name="T38" fmla="*/ 2147483647 w 374"/>
                <a:gd name="T39" fmla="*/ 2147483647 h 511"/>
                <a:gd name="T40" fmla="*/ 2147483647 w 374"/>
                <a:gd name="T41" fmla="*/ 2147483647 h 511"/>
                <a:gd name="T42" fmla="*/ 2147483647 w 374"/>
                <a:gd name="T43" fmla="*/ 2147483647 h 511"/>
                <a:gd name="T44" fmla="*/ 2147483647 w 374"/>
                <a:gd name="T45" fmla="*/ 2147483647 h 511"/>
                <a:gd name="T46" fmla="*/ 2147483647 w 374"/>
                <a:gd name="T47" fmla="*/ 2147483647 h 511"/>
                <a:gd name="T48" fmla="*/ 2147483647 w 374"/>
                <a:gd name="T49" fmla="*/ 2147483647 h 511"/>
                <a:gd name="T50" fmla="*/ 2147483647 w 374"/>
                <a:gd name="T51" fmla="*/ 2147483647 h 511"/>
                <a:gd name="T52" fmla="*/ 2147483647 w 374"/>
                <a:gd name="T53" fmla="*/ 2147483647 h 511"/>
                <a:gd name="T54" fmla="*/ 2147483647 w 374"/>
                <a:gd name="T55" fmla="*/ 2147483647 h 511"/>
                <a:gd name="T56" fmla="*/ 2147483647 w 374"/>
                <a:gd name="T57" fmla="*/ 2147483647 h 511"/>
                <a:gd name="T58" fmla="*/ 2147483647 w 374"/>
                <a:gd name="T59" fmla="*/ 2147483647 h 511"/>
                <a:gd name="T60" fmla="*/ 2147483647 w 374"/>
                <a:gd name="T61" fmla="*/ 2147483647 h 511"/>
                <a:gd name="T62" fmla="*/ 2147483647 w 374"/>
                <a:gd name="T63" fmla="*/ 2147483647 h 511"/>
                <a:gd name="T64" fmla="*/ 2147483647 w 374"/>
                <a:gd name="T65" fmla="*/ 2147483647 h 511"/>
                <a:gd name="T66" fmla="*/ 2147483647 w 374"/>
                <a:gd name="T67" fmla="*/ 2147483647 h 511"/>
                <a:gd name="T68" fmla="*/ 2147483647 w 374"/>
                <a:gd name="T69" fmla="*/ 2147483647 h 511"/>
                <a:gd name="T70" fmla="*/ 2147483647 w 374"/>
                <a:gd name="T71" fmla="*/ 2147483647 h 511"/>
                <a:gd name="T72" fmla="*/ 2147483647 w 374"/>
                <a:gd name="T73" fmla="*/ 2147483647 h 511"/>
                <a:gd name="T74" fmla="*/ 2147483647 w 374"/>
                <a:gd name="T75" fmla="*/ 2147483647 h 511"/>
                <a:gd name="T76" fmla="*/ 2147483647 w 374"/>
                <a:gd name="T77" fmla="*/ 2147483647 h 511"/>
                <a:gd name="T78" fmla="*/ 2147483647 w 374"/>
                <a:gd name="T79" fmla="*/ 2147483647 h 511"/>
                <a:gd name="T80" fmla="*/ 2147483647 w 374"/>
                <a:gd name="T81" fmla="*/ 2147483647 h 511"/>
                <a:gd name="T82" fmla="*/ 2147483647 w 374"/>
                <a:gd name="T83" fmla="*/ 0 h 511"/>
                <a:gd name="T84" fmla="*/ 2147483647 w 374"/>
                <a:gd name="T85" fmla="*/ 0 h 511"/>
                <a:gd name="T86" fmla="*/ 2147483647 w 374"/>
                <a:gd name="T87" fmla="*/ 2147483647 h 511"/>
                <a:gd name="T88" fmla="*/ 2147483647 w 374"/>
                <a:gd name="T89" fmla="*/ 0 h 511"/>
                <a:gd name="T90" fmla="*/ 2147483647 w 374"/>
                <a:gd name="T91" fmla="*/ 2147483647 h 511"/>
                <a:gd name="T92" fmla="*/ 2147483647 w 374"/>
                <a:gd name="T93" fmla="*/ 2147483647 h 511"/>
                <a:gd name="T94" fmla="*/ 2147483647 w 374"/>
                <a:gd name="T95" fmla="*/ 2147483647 h 511"/>
                <a:gd name="T96" fmla="*/ 2147483647 w 374"/>
                <a:gd name="T97" fmla="*/ 2147483647 h 511"/>
                <a:gd name="T98" fmla="*/ 2147483647 w 374"/>
                <a:gd name="T99" fmla="*/ 2147483647 h 511"/>
                <a:gd name="T100" fmla="*/ 0 w 374"/>
                <a:gd name="T101" fmla="*/ 2147483647 h 51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74"/>
                <a:gd name="T154" fmla="*/ 0 h 511"/>
                <a:gd name="T155" fmla="*/ 374 w 374"/>
                <a:gd name="T156" fmla="*/ 511 h 51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74" h="511">
                  <a:moveTo>
                    <a:pt x="0" y="156"/>
                  </a:moveTo>
                  <a:lnTo>
                    <a:pt x="7" y="196"/>
                  </a:lnTo>
                  <a:lnTo>
                    <a:pt x="23" y="219"/>
                  </a:lnTo>
                  <a:lnTo>
                    <a:pt x="66" y="219"/>
                  </a:lnTo>
                  <a:lnTo>
                    <a:pt x="88" y="211"/>
                  </a:lnTo>
                  <a:lnTo>
                    <a:pt x="162" y="203"/>
                  </a:lnTo>
                  <a:lnTo>
                    <a:pt x="138" y="219"/>
                  </a:lnTo>
                  <a:lnTo>
                    <a:pt x="97" y="236"/>
                  </a:lnTo>
                  <a:lnTo>
                    <a:pt x="88" y="251"/>
                  </a:lnTo>
                  <a:lnTo>
                    <a:pt x="56" y="236"/>
                  </a:lnTo>
                  <a:lnTo>
                    <a:pt x="47" y="276"/>
                  </a:lnTo>
                  <a:lnTo>
                    <a:pt x="66" y="293"/>
                  </a:lnTo>
                  <a:lnTo>
                    <a:pt x="72" y="348"/>
                  </a:lnTo>
                  <a:lnTo>
                    <a:pt x="56" y="358"/>
                  </a:lnTo>
                  <a:lnTo>
                    <a:pt x="32" y="398"/>
                  </a:lnTo>
                  <a:lnTo>
                    <a:pt x="66" y="405"/>
                  </a:lnTo>
                  <a:lnTo>
                    <a:pt x="32" y="413"/>
                  </a:lnTo>
                  <a:lnTo>
                    <a:pt x="32" y="438"/>
                  </a:lnTo>
                  <a:lnTo>
                    <a:pt x="41" y="445"/>
                  </a:lnTo>
                  <a:lnTo>
                    <a:pt x="7" y="470"/>
                  </a:lnTo>
                  <a:lnTo>
                    <a:pt x="7" y="495"/>
                  </a:lnTo>
                  <a:lnTo>
                    <a:pt x="66" y="503"/>
                  </a:lnTo>
                  <a:lnTo>
                    <a:pt x="81" y="495"/>
                  </a:lnTo>
                  <a:lnTo>
                    <a:pt x="97" y="503"/>
                  </a:lnTo>
                  <a:lnTo>
                    <a:pt x="113" y="495"/>
                  </a:lnTo>
                  <a:lnTo>
                    <a:pt x="121" y="510"/>
                  </a:lnTo>
                  <a:lnTo>
                    <a:pt x="146" y="495"/>
                  </a:lnTo>
                  <a:lnTo>
                    <a:pt x="162" y="470"/>
                  </a:lnTo>
                  <a:lnTo>
                    <a:pt x="146" y="445"/>
                  </a:lnTo>
                  <a:lnTo>
                    <a:pt x="162" y="430"/>
                  </a:lnTo>
                  <a:lnTo>
                    <a:pt x="162" y="405"/>
                  </a:lnTo>
                  <a:lnTo>
                    <a:pt x="186" y="405"/>
                  </a:lnTo>
                  <a:lnTo>
                    <a:pt x="209" y="308"/>
                  </a:lnTo>
                  <a:lnTo>
                    <a:pt x="243" y="293"/>
                  </a:lnTo>
                  <a:lnTo>
                    <a:pt x="275" y="227"/>
                  </a:lnTo>
                  <a:lnTo>
                    <a:pt x="333" y="156"/>
                  </a:lnTo>
                  <a:lnTo>
                    <a:pt x="333" y="137"/>
                  </a:lnTo>
                  <a:lnTo>
                    <a:pt x="373" y="90"/>
                  </a:lnTo>
                  <a:lnTo>
                    <a:pt x="373" y="65"/>
                  </a:lnTo>
                  <a:lnTo>
                    <a:pt x="349" y="57"/>
                  </a:lnTo>
                  <a:lnTo>
                    <a:pt x="333" y="25"/>
                  </a:lnTo>
                  <a:lnTo>
                    <a:pt x="268" y="0"/>
                  </a:lnTo>
                  <a:lnTo>
                    <a:pt x="227" y="0"/>
                  </a:lnTo>
                  <a:lnTo>
                    <a:pt x="203" y="9"/>
                  </a:lnTo>
                  <a:lnTo>
                    <a:pt x="169" y="0"/>
                  </a:lnTo>
                  <a:lnTo>
                    <a:pt x="121" y="17"/>
                  </a:lnTo>
                  <a:lnTo>
                    <a:pt x="97" y="49"/>
                  </a:lnTo>
                  <a:lnTo>
                    <a:pt x="47" y="90"/>
                  </a:lnTo>
                  <a:lnTo>
                    <a:pt x="47" y="113"/>
                  </a:lnTo>
                  <a:lnTo>
                    <a:pt x="16" y="113"/>
                  </a:lnTo>
                  <a:lnTo>
                    <a:pt x="0" y="156"/>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74" name="Freeform 330">
              <a:extLst>
                <a:ext uri="{FF2B5EF4-FFF2-40B4-BE49-F238E27FC236}">
                  <a16:creationId xmlns:a16="http://schemas.microsoft.com/office/drawing/2014/main" id="{6C9B75A5-C109-4D88-BB4B-131A461157A9}"/>
                </a:ext>
              </a:extLst>
            </p:cNvPr>
            <p:cNvSpPr>
              <a:spLocks/>
            </p:cNvSpPr>
            <p:nvPr/>
          </p:nvSpPr>
          <p:spPr bwMode="auto">
            <a:xfrm>
              <a:off x="2963863" y="1681163"/>
              <a:ext cx="268287" cy="173037"/>
            </a:xfrm>
            <a:custGeom>
              <a:avLst/>
              <a:gdLst>
                <a:gd name="T0" fmla="*/ 0 w 140"/>
                <a:gd name="T1" fmla="*/ 2147483647 h 106"/>
                <a:gd name="T2" fmla="*/ 0 w 140"/>
                <a:gd name="T3" fmla="*/ 2147483647 h 106"/>
                <a:gd name="T4" fmla="*/ 2147483647 w 140"/>
                <a:gd name="T5" fmla="*/ 2147483647 h 106"/>
                <a:gd name="T6" fmla="*/ 2147483647 w 140"/>
                <a:gd name="T7" fmla="*/ 2147483647 h 106"/>
                <a:gd name="T8" fmla="*/ 2147483647 w 140"/>
                <a:gd name="T9" fmla="*/ 2147483647 h 106"/>
                <a:gd name="T10" fmla="*/ 2147483647 w 140"/>
                <a:gd name="T11" fmla="*/ 2147483647 h 106"/>
                <a:gd name="T12" fmla="*/ 2147483647 w 140"/>
                <a:gd name="T13" fmla="*/ 2147483647 h 106"/>
                <a:gd name="T14" fmla="*/ 2147483647 w 140"/>
                <a:gd name="T15" fmla="*/ 2147483647 h 106"/>
                <a:gd name="T16" fmla="*/ 2147483647 w 140"/>
                <a:gd name="T17" fmla="*/ 2147483647 h 106"/>
                <a:gd name="T18" fmla="*/ 2147483647 w 140"/>
                <a:gd name="T19" fmla="*/ 2147483647 h 106"/>
                <a:gd name="T20" fmla="*/ 2147483647 w 140"/>
                <a:gd name="T21" fmla="*/ 2147483647 h 106"/>
                <a:gd name="T22" fmla="*/ 2147483647 w 140"/>
                <a:gd name="T23" fmla="*/ 2147483647 h 106"/>
                <a:gd name="T24" fmla="*/ 2147483647 w 140"/>
                <a:gd name="T25" fmla="*/ 2147483647 h 106"/>
                <a:gd name="T26" fmla="*/ 2147483647 w 140"/>
                <a:gd name="T27" fmla="*/ 2147483647 h 106"/>
                <a:gd name="T28" fmla="*/ 2147483647 w 140"/>
                <a:gd name="T29" fmla="*/ 2147483647 h 106"/>
                <a:gd name="T30" fmla="*/ 2147483647 w 140"/>
                <a:gd name="T31" fmla="*/ 2147483647 h 106"/>
                <a:gd name="T32" fmla="*/ 2147483647 w 140"/>
                <a:gd name="T33" fmla="*/ 0 h 106"/>
                <a:gd name="T34" fmla="*/ 0 w 140"/>
                <a:gd name="T35" fmla="*/ 2147483647 h 10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40"/>
                <a:gd name="T55" fmla="*/ 0 h 106"/>
                <a:gd name="T56" fmla="*/ 140 w 140"/>
                <a:gd name="T57" fmla="*/ 106 h 10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40" h="106">
                  <a:moveTo>
                    <a:pt x="0" y="7"/>
                  </a:moveTo>
                  <a:lnTo>
                    <a:pt x="0" y="23"/>
                  </a:lnTo>
                  <a:lnTo>
                    <a:pt x="24" y="31"/>
                  </a:lnTo>
                  <a:lnTo>
                    <a:pt x="18" y="56"/>
                  </a:lnTo>
                  <a:lnTo>
                    <a:pt x="24" y="72"/>
                  </a:lnTo>
                  <a:lnTo>
                    <a:pt x="65" y="81"/>
                  </a:lnTo>
                  <a:lnTo>
                    <a:pt x="83" y="105"/>
                  </a:lnTo>
                  <a:lnTo>
                    <a:pt x="98" y="88"/>
                  </a:lnTo>
                  <a:lnTo>
                    <a:pt x="131" y="88"/>
                  </a:lnTo>
                  <a:lnTo>
                    <a:pt x="139" y="72"/>
                  </a:lnTo>
                  <a:lnTo>
                    <a:pt x="131" y="56"/>
                  </a:lnTo>
                  <a:lnTo>
                    <a:pt x="106" y="31"/>
                  </a:lnTo>
                  <a:lnTo>
                    <a:pt x="98" y="81"/>
                  </a:lnTo>
                  <a:lnTo>
                    <a:pt x="83" y="81"/>
                  </a:lnTo>
                  <a:lnTo>
                    <a:pt x="83" y="31"/>
                  </a:lnTo>
                  <a:lnTo>
                    <a:pt x="65" y="7"/>
                  </a:lnTo>
                  <a:lnTo>
                    <a:pt x="9" y="0"/>
                  </a:lnTo>
                  <a:lnTo>
                    <a:pt x="0" y="7"/>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75" name="Freeform 331">
              <a:extLst>
                <a:ext uri="{FF2B5EF4-FFF2-40B4-BE49-F238E27FC236}">
                  <a16:creationId xmlns:a16="http://schemas.microsoft.com/office/drawing/2014/main" id="{6DACC07D-46E4-4904-9660-AED8C506D77A}"/>
                </a:ext>
              </a:extLst>
            </p:cNvPr>
            <p:cNvSpPr>
              <a:spLocks/>
            </p:cNvSpPr>
            <p:nvPr/>
          </p:nvSpPr>
          <p:spPr bwMode="auto">
            <a:xfrm>
              <a:off x="3198813" y="1838325"/>
              <a:ext cx="111125" cy="52388"/>
            </a:xfrm>
            <a:custGeom>
              <a:avLst/>
              <a:gdLst>
                <a:gd name="T0" fmla="*/ 0 w 58"/>
                <a:gd name="T1" fmla="*/ 2147483647 h 33"/>
                <a:gd name="T2" fmla="*/ 2147483647 w 58"/>
                <a:gd name="T3" fmla="*/ 2147483647 h 33"/>
                <a:gd name="T4" fmla="*/ 2147483647 w 58"/>
                <a:gd name="T5" fmla="*/ 2147483647 h 33"/>
                <a:gd name="T6" fmla="*/ 2147483647 w 58"/>
                <a:gd name="T7" fmla="*/ 0 h 33"/>
                <a:gd name="T8" fmla="*/ 2147483647 w 58"/>
                <a:gd name="T9" fmla="*/ 0 h 33"/>
                <a:gd name="T10" fmla="*/ 0 w 58"/>
                <a:gd name="T11" fmla="*/ 2147483647 h 33"/>
                <a:gd name="T12" fmla="*/ 0 60000 65536"/>
                <a:gd name="T13" fmla="*/ 0 60000 65536"/>
                <a:gd name="T14" fmla="*/ 0 60000 65536"/>
                <a:gd name="T15" fmla="*/ 0 60000 65536"/>
                <a:gd name="T16" fmla="*/ 0 60000 65536"/>
                <a:gd name="T17" fmla="*/ 0 60000 65536"/>
                <a:gd name="T18" fmla="*/ 0 w 58"/>
                <a:gd name="T19" fmla="*/ 0 h 33"/>
                <a:gd name="T20" fmla="*/ 58 w 58"/>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58" h="33">
                  <a:moveTo>
                    <a:pt x="0" y="9"/>
                  </a:moveTo>
                  <a:lnTo>
                    <a:pt x="48" y="32"/>
                  </a:lnTo>
                  <a:lnTo>
                    <a:pt x="57" y="17"/>
                  </a:lnTo>
                  <a:lnTo>
                    <a:pt x="57" y="0"/>
                  </a:lnTo>
                  <a:lnTo>
                    <a:pt x="23" y="0"/>
                  </a:lnTo>
                  <a:lnTo>
                    <a:pt x="0" y="9"/>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76" name="Freeform 332">
              <a:extLst>
                <a:ext uri="{FF2B5EF4-FFF2-40B4-BE49-F238E27FC236}">
                  <a16:creationId xmlns:a16="http://schemas.microsoft.com/office/drawing/2014/main" id="{0C46FE76-0B88-4555-AF39-5A75B211ADF0}"/>
                </a:ext>
              </a:extLst>
            </p:cNvPr>
            <p:cNvSpPr>
              <a:spLocks/>
            </p:cNvSpPr>
            <p:nvPr/>
          </p:nvSpPr>
          <p:spPr bwMode="auto">
            <a:xfrm>
              <a:off x="2981325" y="1852613"/>
              <a:ext cx="49213" cy="68262"/>
            </a:xfrm>
            <a:custGeom>
              <a:avLst/>
              <a:gdLst>
                <a:gd name="T0" fmla="*/ 0 w 26"/>
                <a:gd name="T1" fmla="*/ 0 h 42"/>
                <a:gd name="T2" fmla="*/ 0 w 26"/>
                <a:gd name="T3" fmla="*/ 2147483647 h 42"/>
                <a:gd name="T4" fmla="*/ 2147483647 w 26"/>
                <a:gd name="T5" fmla="*/ 2147483647 h 42"/>
                <a:gd name="T6" fmla="*/ 2147483647 w 26"/>
                <a:gd name="T7" fmla="*/ 0 h 42"/>
                <a:gd name="T8" fmla="*/ 0 w 26"/>
                <a:gd name="T9" fmla="*/ 0 h 42"/>
                <a:gd name="T10" fmla="*/ 0 60000 65536"/>
                <a:gd name="T11" fmla="*/ 0 60000 65536"/>
                <a:gd name="T12" fmla="*/ 0 60000 65536"/>
                <a:gd name="T13" fmla="*/ 0 60000 65536"/>
                <a:gd name="T14" fmla="*/ 0 60000 65536"/>
                <a:gd name="T15" fmla="*/ 0 w 26"/>
                <a:gd name="T16" fmla="*/ 0 h 42"/>
                <a:gd name="T17" fmla="*/ 26 w 26"/>
                <a:gd name="T18" fmla="*/ 42 h 42"/>
              </a:gdLst>
              <a:ahLst/>
              <a:cxnLst>
                <a:cxn ang="T10">
                  <a:pos x="T0" y="T1"/>
                </a:cxn>
                <a:cxn ang="T11">
                  <a:pos x="T2" y="T3"/>
                </a:cxn>
                <a:cxn ang="T12">
                  <a:pos x="T4" y="T5"/>
                </a:cxn>
                <a:cxn ang="T13">
                  <a:pos x="T6" y="T7"/>
                </a:cxn>
                <a:cxn ang="T14">
                  <a:pos x="T8" y="T9"/>
                </a:cxn>
              </a:cxnLst>
              <a:rect l="T15" t="T16" r="T17" b="T18"/>
              <a:pathLst>
                <a:path w="26" h="42">
                  <a:moveTo>
                    <a:pt x="0" y="0"/>
                  </a:moveTo>
                  <a:lnTo>
                    <a:pt x="0" y="33"/>
                  </a:lnTo>
                  <a:lnTo>
                    <a:pt x="25" y="41"/>
                  </a:lnTo>
                  <a:lnTo>
                    <a:pt x="9" y="0"/>
                  </a:lnTo>
                  <a:lnTo>
                    <a:pt x="0"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77" name="Freeform 333">
              <a:extLst>
                <a:ext uri="{FF2B5EF4-FFF2-40B4-BE49-F238E27FC236}">
                  <a16:creationId xmlns:a16="http://schemas.microsoft.com/office/drawing/2014/main" id="{D3971A79-BADE-45C7-99C2-F7D596FB33C1}"/>
                </a:ext>
              </a:extLst>
            </p:cNvPr>
            <p:cNvSpPr>
              <a:spLocks/>
            </p:cNvSpPr>
            <p:nvPr/>
          </p:nvSpPr>
          <p:spPr bwMode="auto">
            <a:xfrm>
              <a:off x="2997200" y="1944688"/>
              <a:ext cx="171450" cy="146050"/>
            </a:xfrm>
            <a:custGeom>
              <a:avLst/>
              <a:gdLst>
                <a:gd name="T0" fmla="*/ 0 w 89"/>
                <a:gd name="T1" fmla="*/ 2147483647 h 89"/>
                <a:gd name="T2" fmla="*/ 2147483647 w 89"/>
                <a:gd name="T3" fmla="*/ 2147483647 h 89"/>
                <a:gd name="T4" fmla="*/ 2147483647 w 89"/>
                <a:gd name="T5" fmla="*/ 2147483647 h 89"/>
                <a:gd name="T6" fmla="*/ 2147483647 w 89"/>
                <a:gd name="T7" fmla="*/ 2147483647 h 89"/>
                <a:gd name="T8" fmla="*/ 2147483647 w 89"/>
                <a:gd name="T9" fmla="*/ 2147483647 h 89"/>
                <a:gd name="T10" fmla="*/ 2147483647 w 89"/>
                <a:gd name="T11" fmla="*/ 2147483647 h 89"/>
                <a:gd name="T12" fmla="*/ 2147483647 w 89"/>
                <a:gd name="T13" fmla="*/ 2147483647 h 89"/>
                <a:gd name="T14" fmla="*/ 2147483647 w 89"/>
                <a:gd name="T15" fmla="*/ 0 h 89"/>
                <a:gd name="T16" fmla="*/ 2147483647 w 89"/>
                <a:gd name="T17" fmla="*/ 0 h 89"/>
                <a:gd name="T18" fmla="*/ 2147483647 w 89"/>
                <a:gd name="T19" fmla="*/ 2147483647 h 89"/>
                <a:gd name="T20" fmla="*/ 2147483647 w 89"/>
                <a:gd name="T21" fmla="*/ 2147483647 h 89"/>
                <a:gd name="T22" fmla="*/ 0 w 89"/>
                <a:gd name="T23" fmla="*/ 2147483647 h 8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9"/>
                <a:gd name="T37" fmla="*/ 0 h 89"/>
                <a:gd name="T38" fmla="*/ 89 w 89"/>
                <a:gd name="T39" fmla="*/ 89 h 8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9" h="89">
                  <a:moveTo>
                    <a:pt x="0" y="7"/>
                  </a:moveTo>
                  <a:lnTo>
                    <a:pt x="24" y="71"/>
                  </a:lnTo>
                  <a:lnTo>
                    <a:pt x="40" y="56"/>
                  </a:lnTo>
                  <a:lnTo>
                    <a:pt x="56" y="88"/>
                  </a:lnTo>
                  <a:lnTo>
                    <a:pt x="80" y="88"/>
                  </a:lnTo>
                  <a:lnTo>
                    <a:pt x="88" y="65"/>
                  </a:lnTo>
                  <a:lnTo>
                    <a:pt x="88" y="16"/>
                  </a:lnTo>
                  <a:lnTo>
                    <a:pt x="71" y="0"/>
                  </a:lnTo>
                  <a:lnTo>
                    <a:pt x="47" y="0"/>
                  </a:lnTo>
                  <a:lnTo>
                    <a:pt x="40" y="40"/>
                  </a:lnTo>
                  <a:lnTo>
                    <a:pt x="16" y="7"/>
                  </a:lnTo>
                  <a:lnTo>
                    <a:pt x="0" y="7"/>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78" name="Freeform 334">
              <a:extLst>
                <a:ext uri="{FF2B5EF4-FFF2-40B4-BE49-F238E27FC236}">
                  <a16:creationId xmlns:a16="http://schemas.microsoft.com/office/drawing/2014/main" id="{7CA4DB3C-7642-4DB9-BB57-A34D0B7F1215}"/>
                </a:ext>
              </a:extLst>
            </p:cNvPr>
            <p:cNvSpPr>
              <a:spLocks/>
            </p:cNvSpPr>
            <p:nvPr/>
          </p:nvSpPr>
          <p:spPr bwMode="auto">
            <a:xfrm>
              <a:off x="2776538" y="1758950"/>
              <a:ext cx="128587" cy="41275"/>
            </a:xfrm>
            <a:custGeom>
              <a:avLst/>
              <a:gdLst>
                <a:gd name="T0" fmla="*/ 0 w 67"/>
                <a:gd name="T1" fmla="*/ 2147483647 h 26"/>
                <a:gd name="T2" fmla="*/ 2147483647 w 67"/>
                <a:gd name="T3" fmla="*/ 2147483647 h 26"/>
                <a:gd name="T4" fmla="*/ 2147483647 w 67"/>
                <a:gd name="T5" fmla="*/ 2147483647 h 26"/>
                <a:gd name="T6" fmla="*/ 2147483647 w 67"/>
                <a:gd name="T7" fmla="*/ 0 h 26"/>
                <a:gd name="T8" fmla="*/ 2147483647 w 67"/>
                <a:gd name="T9" fmla="*/ 2147483647 h 26"/>
                <a:gd name="T10" fmla="*/ 0 w 67"/>
                <a:gd name="T11" fmla="*/ 2147483647 h 26"/>
                <a:gd name="T12" fmla="*/ 0 60000 65536"/>
                <a:gd name="T13" fmla="*/ 0 60000 65536"/>
                <a:gd name="T14" fmla="*/ 0 60000 65536"/>
                <a:gd name="T15" fmla="*/ 0 60000 65536"/>
                <a:gd name="T16" fmla="*/ 0 60000 65536"/>
                <a:gd name="T17" fmla="*/ 0 60000 65536"/>
                <a:gd name="T18" fmla="*/ 0 w 67"/>
                <a:gd name="T19" fmla="*/ 0 h 26"/>
                <a:gd name="T20" fmla="*/ 67 w 67"/>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67" h="26">
                  <a:moveTo>
                    <a:pt x="0" y="25"/>
                  </a:moveTo>
                  <a:lnTo>
                    <a:pt x="56" y="25"/>
                  </a:lnTo>
                  <a:lnTo>
                    <a:pt x="66" y="16"/>
                  </a:lnTo>
                  <a:lnTo>
                    <a:pt x="41" y="0"/>
                  </a:lnTo>
                  <a:lnTo>
                    <a:pt x="9" y="9"/>
                  </a:lnTo>
                  <a:lnTo>
                    <a:pt x="0" y="25"/>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79" name="Freeform 335">
              <a:extLst>
                <a:ext uri="{FF2B5EF4-FFF2-40B4-BE49-F238E27FC236}">
                  <a16:creationId xmlns:a16="http://schemas.microsoft.com/office/drawing/2014/main" id="{8A397F2A-E0A4-4B61-9A23-0CF218D0A8F7}"/>
                </a:ext>
              </a:extLst>
            </p:cNvPr>
            <p:cNvSpPr>
              <a:spLocks/>
            </p:cNvSpPr>
            <p:nvPr/>
          </p:nvSpPr>
          <p:spPr bwMode="auto">
            <a:xfrm>
              <a:off x="2732088" y="1812925"/>
              <a:ext cx="46037" cy="41275"/>
            </a:xfrm>
            <a:custGeom>
              <a:avLst/>
              <a:gdLst>
                <a:gd name="T0" fmla="*/ 0 w 25"/>
                <a:gd name="T1" fmla="*/ 2147483647 h 25"/>
                <a:gd name="T2" fmla="*/ 2147483647 w 25"/>
                <a:gd name="T3" fmla="*/ 2147483647 h 25"/>
                <a:gd name="T4" fmla="*/ 2147483647 w 25"/>
                <a:gd name="T5" fmla="*/ 2147483647 h 25"/>
                <a:gd name="T6" fmla="*/ 2147483647 w 25"/>
                <a:gd name="T7" fmla="*/ 0 h 25"/>
                <a:gd name="T8" fmla="*/ 0 w 25"/>
                <a:gd name="T9" fmla="*/ 2147483647 h 25"/>
                <a:gd name="T10" fmla="*/ 0 60000 65536"/>
                <a:gd name="T11" fmla="*/ 0 60000 65536"/>
                <a:gd name="T12" fmla="*/ 0 60000 65536"/>
                <a:gd name="T13" fmla="*/ 0 60000 65536"/>
                <a:gd name="T14" fmla="*/ 0 60000 65536"/>
                <a:gd name="T15" fmla="*/ 0 w 25"/>
                <a:gd name="T16" fmla="*/ 0 h 25"/>
                <a:gd name="T17" fmla="*/ 25 w 25"/>
                <a:gd name="T18" fmla="*/ 25 h 25"/>
              </a:gdLst>
              <a:ahLst/>
              <a:cxnLst>
                <a:cxn ang="T10">
                  <a:pos x="T0" y="T1"/>
                </a:cxn>
                <a:cxn ang="T11">
                  <a:pos x="T2" y="T3"/>
                </a:cxn>
                <a:cxn ang="T12">
                  <a:pos x="T4" y="T5"/>
                </a:cxn>
                <a:cxn ang="T13">
                  <a:pos x="T6" y="T7"/>
                </a:cxn>
                <a:cxn ang="T14">
                  <a:pos x="T8" y="T9"/>
                </a:cxn>
              </a:cxnLst>
              <a:rect l="T15" t="T16" r="T17" b="T18"/>
              <a:pathLst>
                <a:path w="25" h="25">
                  <a:moveTo>
                    <a:pt x="0" y="7"/>
                  </a:moveTo>
                  <a:lnTo>
                    <a:pt x="8" y="24"/>
                  </a:lnTo>
                  <a:lnTo>
                    <a:pt x="24" y="24"/>
                  </a:lnTo>
                  <a:lnTo>
                    <a:pt x="16" y="0"/>
                  </a:lnTo>
                  <a:lnTo>
                    <a:pt x="0" y="7"/>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80" name="Freeform 336">
              <a:extLst>
                <a:ext uri="{FF2B5EF4-FFF2-40B4-BE49-F238E27FC236}">
                  <a16:creationId xmlns:a16="http://schemas.microsoft.com/office/drawing/2014/main" id="{371ACC70-99C4-4E1A-B88F-0303777239C8}"/>
                </a:ext>
              </a:extLst>
            </p:cNvPr>
            <p:cNvSpPr>
              <a:spLocks/>
            </p:cNvSpPr>
            <p:nvPr/>
          </p:nvSpPr>
          <p:spPr bwMode="auto">
            <a:xfrm>
              <a:off x="2776538" y="1825625"/>
              <a:ext cx="98425" cy="65088"/>
            </a:xfrm>
            <a:custGeom>
              <a:avLst/>
              <a:gdLst>
                <a:gd name="T0" fmla="*/ 0 w 50"/>
                <a:gd name="T1" fmla="*/ 2147483647 h 41"/>
                <a:gd name="T2" fmla="*/ 2147483647 w 50"/>
                <a:gd name="T3" fmla="*/ 2147483647 h 41"/>
                <a:gd name="T4" fmla="*/ 2147483647 w 50"/>
                <a:gd name="T5" fmla="*/ 2147483647 h 41"/>
                <a:gd name="T6" fmla="*/ 2147483647 w 50"/>
                <a:gd name="T7" fmla="*/ 2147483647 h 41"/>
                <a:gd name="T8" fmla="*/ 2147483647 w 50"/>
                <a:gd name="T9" fmla="*/ 0 h 41"/>
                <a:gd name="T10" fmla="*/ 0 w 50"/>
                <a:gd name="T11" fmla="*/ 2147483647 h 41"/>
                <a:gd name="T12" fmla="*/ 0 60000 65536"/>
                <a:gd name="T13" fmla="*/ 0 60000 65536"/>
                <a:gd name="T14" fmla="*/ 0 60000 65536"/>
                <a:gd name="T15" fmla="*/ 0 60000 65536"/>
                <a:gd name="T16" fmla="*/ 0 60000 65536"/>
                <a:gd name="T17" fmla="*/ 0 60000 65536"/>
                <a:gd name="T18" fmla="*/ 0 w 50"/>
                <a:gd name="T19" fmla="*/ 0 h 41"/>
                <a:gd name="T20" fmla="*/ 50 w 50"/>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50" h="41">
                  <a:moveTo>
                    <a:pt x="0" y="17"/>
                  </a:moveTo>
                  <a:lnTo>
                    <a:pt x="9" y="33"/>
                  </a:lnTo>
                  <a:lnTo>
                    <a:pt x="24" y="40"/>
                  </a:lnTo>
                  <a:lnTo>
                    <a:pt x="49" y="25"/>
                  </a:lnTo>
                  <a:lnTo>
                    <a:pt x="49" y="0"/>
                  </a:lnTo>
                  <a:lnTo>
                    <a:pt x="0" y="17"/>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81" name="Freeform 337">
              <a:extLst>
                <a:ext uri="{FF2B5EF4-FFF2-40B4-BE49-F238E27FC236}">
                  <a16:creationId xmlns:a16="http://schemas.microsoft.com/office/drawing/2014/main" id="{695CFFE1-4587-422A-8A78-199D6E4E3D55}"/>
                </a:ext>
              </a:extLst>
            </p:cNvPr>
            <p:cNvSpPr>
              <a:spLocks/>
            </p:cNvSpPr>
            <p:nvPr/>
          </p:nvSpPr>
          <p:spPr bwMode="auto">
            <a:xfrm>
              <a:off x="2527300" y="1866900"/>
              <a:ext cx="206375" cy="157163"/>
            </a:xfrm>
            <a:custGeom>
              <a:avLst/>
              <a:gdLst>
                <a:gd name="T0" fmla="*/ 0 w 107"/>
                <a:gd name="T1" fmla="*/ 2147483647 h 97"/>
                <a:gd name="T2" fmla="*/ 2147483647 w 107"/>
                <a:gd name="T3" fmla="*/ 2147483647 h 97"/>
                <a:gd name="T4" fmla="*/ 2147483647 w 107"/>
                <a:gd name="T5" fmla="*/ 2147483647 h 97"/>
                <a:gd name="T6" fmla="*/ 2147483647 w 107"/>
                <a:gd name="T7" fmla="*/ 2147483647 h 97"/>
                <a:gd name="T8" fmla="*/ 2147483647 w 107"/>
                <a:gd name="T9" fmla="*/ 2147483647 h 97"/>
                <a:gd name="T10" fmla="*/ 2147483647 w 107"/>
                <a:gd name="T11" fmla="*/ 2147483647 h 97"/>
                <a:gd name="T12" fmla="*/ 2147483647 w 107"/>
                <a:gd name="T13" fmla="*/ 2147483647 h 97"/>
                <a:gd name="T14" fmla="*/ 2147483647 w 107"/>
                <a:gd name="T15" fmla="*/ 2147483647 h 97"/>
                <a:gd name="T16" fmla="*/ 2147483647 w 107"/>
                <a:gd name="T17" fmla="*/ 0 h 97"/>
                <a:gd name="T18" fmla="*/ 2147483647 w 107"/>
                <a:gd name="T19" fmla="*/ 2147483647 h 97"/>
                <a:gd name="T20" fmla="*/ 2147483647 w 107"/>
                <a:gd name="T21" fmla="*/ 2147483647 h 97"/>
                <a:gd name="T22" fmla="*/ 0 w 107"/>
                <a:gd name="T23" fmla="*/ 2147483647 h 9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7"/>
                <a:gd name="T37" fmla="*/ 0 h 97"/>
                <a:gd name="T38" fmla="*/ 107 w 107"/>
                <a:gd name="T39" fmla="*/ 97 h 9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7" h="97">
                  <a:moveTo>
                    <a:pt x="0" y="73"/>
                  </a:moveTo>
                  <a:lnTo>
                    <a:pt x="9" y="96"/>
                  </a:lnTo>
                  <a:lnTo>
                    <a:pt x="40" y="96"/>
                  </a:lnTo>
                  <a:lnTo>
                    <a:pt x="65" y="65"/>
                  </a:lnTo>
                  <a:lnTo>
                    <a:pt x="81" y="73"/>
                  </a:lnTo>
                  <a:lnTo>
                    <a:pt x="99" y="49"/>
                  </a:lnTo>
                  <a:lnTo>
                    <a:pt x="99" y="33"/>
                  </a:lnTo>
                  <a:lnTo>
                    <a:pt x="106" y="15"/>
                  </a:lnTo>
                  <a:lnTo>
                    <a:pt x="90" y="0"/>
                  </a:lnTo>
                  <a:lnTo>
                    <a:pt x="81" y="15"/>
                  </a:lnTo>
                  <a:lnTo>
                    <a:pt x="58" y="15"/>
                  </a:lnTo>
                  <a:lnTo>
                    <a:pt x="0" y="73"/>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82" name="Freeform 338">
              <a:extLst>
                <a:ext uri="{FF2B5EF4-FFF2-40B4-BE49-F238E27FC236}">
                  <a16:creationId xmlns:a16="http://schemas.microsoft.com/office/drawing/2014/main" id="{A354632C-5247-40EB-BCD6-C2EBC18043AA}"/>
                </a:ext>
              </a:extLst>
            </p:cNvPr>
            <p:cNvSpPr>
              <a:spLocks/>
            </p:cNvSpPr>
            <p:nvPr/>
          </p:nvSpPr>
          <p:spPr bwMode="auto">
            <a:xfrm>
              <a:off x="2682875" y="1944688"/>
              <a:ext cx="300038" cy="200025"/>
            </a:xfrm>
            <a:custGeom>
              <a:avLst/>
              <a:gdLst>
                <a:gd name="T0" fmla="*/ 0 w 156"/>
                <a:gd name="T1" fmla="*/ 2147483647 h 122"/>
                <a:gd name="T2" fmla="*/ 2147483647 w 156"/>
                <a:gd name="T3" fmla="*/ 2147483647 h 122"/>
                <a:gd name="T4" fmla="*/ 2147483647 w 156"/>
                <a:gd name="T5" fmla="*/ 2147483647 h 122"/>
                <a:gd name="T6" fmla="*/ 2147483647 w 156"/>
                <a:gd name="T7" fmla="*/ 2147483647 h 122"/>
                <a:gd name="T8" fmla="*/ 2147483647 w 156"/>
                <a:gd name="T9" fmla="*/ 2147483647 h 122"/>
                <a:gd name="T10" fmla="*/ 2147483647 w 156"/>
                <a:gd name="T11" fmla="*/ 2147483647 h 122"/>
                <a:gd name="T12" fmla="*/ 2147483647 w 156"/>
                <a:gd name="T13" fmla="*/ 2147483647 h 122"/>
                <a:gd name="T14" fmla="*/ 2147483647 w 156"/>
                <a:gd name="T15" fmla="*/ 2147483647 h 122"/>
                <a:gd name="T16" fmla="*/ 2147483647 w 156"/>
                <a:gd name="T17" fmla="*/ 2147483647 h 122"/>
                <a:gd name="T18" fmla="*/ 2147483647 w 156"/>
                <a:gd name="T19" fmla="*/ 2147483647 h 122"/>
                <a:gd name="T20" fmla="*/ 2147483647 w 156"/>
                <a:gd name="T21" fmla="*/ 2147483647 h 122"/>
                <a:gd name="T22" fmla="*/ 2147483647 w 156"/>
                <a:gd name="T23" fmla="*/ 0 h 122"/>
                <a:gd name="T24" fmla="*/ 2147483647 w 156"/>
                <a:gd name="T25" fmla="*/ 2147483647 h 122"/>
                <a:gd name="T26" fmla="*/ 2147483647 w 156"/>
                <a:gd name="T27" fmla="*/ 2147483647 h 122"/>
                <a:gd name="T28" fmla="*/ 2147483647 w 156"/>
                <a:gd name="T29" fmla="*/ 2147483647 h 122"/>
                <a:gd name="T30" fmla="*/ 2147483647 w 156"/>
                <a:gd name="T31" fmla="*/ 2147483647 h 122"/>
                <a:gd name="T32" fmla="*/ 2147483647 w 156"/>
                <a:gd name="T33" fmla="*/ 2147483647 h 122"/>
                <a:gd name="T34" fmla="*/ 2147483647 w 156"/>
                <a:gd name="T35" fmla="*/ 2147483647 h 122"/>
                <a:gd name="T36" fmla="*/ 2147483647 w 156"/>
                <a:gd name="T37" fmla="*/ 2147483647 h 122"/>
                <a:gd name="T38" fmla="*/ 0 w 156"/>
                <a:gd name="T39" fmla="*/ 2147483647 h 12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6"/>
                <a:gd name="T61" fmla="*/ 0 h 122"/>
                <a:gd name="T62" fmla="*/ 156 w 156"/>
                <a:gd name="T63" fmla="*/ 122 h 12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6" h="122">
                  <a:moveTo>
                    <a:pt x="0" y="81"/>
                  </a:moveTo>
                  <a:lnTo>
                    <a:pt x="33" y="88"/>
                  </a:lnTo>
                  <a:lnTo>
                    <a:pt x="41" y="81"/>
                  </a:lnTo>
                  <a:lnTo>
                    <a:pt x="58" y="96"/>
                  </a:lnTo>
                  <a:lnTo>
                    <a:pt x="41" y="105"/>
                  </a:lnTo>
                  <a:lnTo>
                    <a:pt x="49" y="113"/>
                  </a:lnTo>
                  <a:lnTo>
                    <a:pt x="65" y="121"/>
                  </a:lnTo>
                  <a:lnTo>
                    <a:pt x="105" y="88"/>
                  </a:lnTo>
                  <a:lnTo>
                    <a:pt x="146" y="88"/>
                  </a:lnTo>
                  <a:lnTo>
                    <a:pt x="155" y="47"/>
                  </a:lnTo>
                  <a:lnTo>
                    <a:pt x="115" y="24"/>
                  </a:lnTo>
                  <a:lnTo>
                    <a:pt x="105" y="0"/>
                  </a:lnTo>
                  <a:lnTo>
                    <a:pt x="90" y="24"/>
                  </a:lnTo>
                  <a:lnTo>
                    <a:pt x="98" y="31"/>
                  </a:lnTo>
                  <a:lnTo>
                    <a:pt x="98" y="47"/>
                  </a:lnTo>
                  <a:lnTo>
                    <a:pt x="105" y="65"/>
                  </a:lnTo>
                  <a:lnTo>
                    <a:pt x="81" y="65"/>
                  </a:lnTo>
                  <a:lnTo>
                    <a:pt x="65" y="31"/>
                  </a:lnTo>
                  <a:lnTo>
                    <a:pt x="25" y="16"/>
                  </a:lnTo>
                  <a:lnTo>
                    <a:pt x="0" y="81"/>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83" name="Freeform 339">
              <a:extLst>
                <a:ext uri="{FF2B5EF4-FFF2-40B4-BE49-F238E27FC236}">
                  <a16:creationId xmlns:a16="http://schemas.microsoft.com/office/drawing/2014/main" id="{B7B9E7C5-A3FB-4088-ADAA-83CF5E35F8C1}"/>
                </a:ext>
              </a:extLst>
            </p:cNvPr>
            <p:cNvSpPr>
              <a:spLocks/>
            </p:cNvSpPr>
            <p:nvPr/>
          </p:nvSpPr>
          <p:spPr bwMode="auto">
            <a:xfrm>
              <a:off x="3043238" y="2154238"/>
              <a:ext cx="173037" cy="200025"/>
            </a:xfrm>
            <a:custGeom>
              <a:avLst/>
              <a:gdLst>
                <a:gd name="T0" fmla="*/ 0 w 90"/>
                <a:gd name="T1" fmla="*/ 2147483647 h 123"/>
                <a:gd name="T2" fmla="*/ 2147483647 w 90"/>
                <a:gd name="T3" fmla="*/ 2147483647 h 123"/>
                <a:gd name="T4" fmla="*/ 2147483647 w 90"/>
                <a:gd name="T5" fmla="*/ 2147483647 h 123"/>
                <a:gd name="T6" fmla="*/ 2147483647 w 90"/>
                <a:gd name="T7" fmla="*/ 2147483647 h 123"/>
                <a:gd name="T8" fmla="*/ 2147483647 w 90"/>
                <a:gd name="T9" fmla="*/ 2147483647 h 123"/>
                <a:gd name="T10" fmla="*/ 2147483647 w 90"/>
                <a:gd name="T11" fmla="*/ 2147483647 h 123"/>
                <a:gd name="T12" fmla="*/ 2147483647 w 90"/>
                <a:gd name="T13" fmla="*/ 2147483647 h 123"/>
                <a:gd name="T14" fmla="*/ 2147483647 w 90"/>
                <a:gd name="T15" fmla="*/ 2147483647 h 123"/>
                <a:gd name="T16" fmla="*/ 2147483647 w 90"/>
                <a:gd name="T17" fmla="*/ 2147483647 h 123"/>
                <a:gd name="T18" fmla="*/ 2147483647 w 90"/>
                <a:gd name="T19" fmla="*/ 2147483647 h 123"/>
                <a:gd name="T20" fmla="*/ 2147483647 w 90"/>
                <a:gd name="T21" fmla="*/ 0 h 123"/>
                <a:gd name="T22" fmla="*/ 2147483647 w 90"/>
                <a:gd name="T23" fmla="*/ 2147483647 h 123"/>
                <a:gd name="T24" fmla="*/ 2147483647 w 90"/>
                <a:gd name="T25" fmla="*/ 2147483647 h 123"/>
                <a:gd name="T26" fmla="*/ 2147483647 w 90"/>
                <a:gd name="T27" fmla="*/ 2147483647 h 123"/>
                <a:gd name="T28" fmla="*/ 2147483647 w 90"/>
                <a:gd name="T29" fmla="*/ 2147483647 h 123"/>
                <a:gd name="T30" fmla="*/ 2147483647 w 90"/>
                <a:gd name="T31" fmla="*/ 2147483647 h 123"/>
                <a:gd name="T32" fmla="*/ 2147483647 w 90"/>
                <a:gd name="T33" fmla="*/ 2147483647 h 123"/>
                <a:gd name="T34" fmla="*/ 0 w 90"/>
                <a:gd name="T35" fmla="*/ 2147483647 h 12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0"/>
                <a:gd name="T55" fmla="*/ 0 h 123"/>
                <a:gd name="T56" fmla="*/ 90 w 90"/>
                <a:gd name="T57" fmla="*/ 123 h 12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0" h="123">
                  <a:moveTo>
                    <a:pt x="0" y="58"/>
                  </a:moveTo>
                  <a:lnTo>
                    <a:pt x="16" y="90"/>
                  </a:lnTo>
                  <a:lnTo>
                    <a:pt x="23" y="90"/>
                  </a:lnTo>
                  <a:lnTo>
                    <a:pt x="47" y="122"/>
                  </a:lnTo>
                  <a:lnTo>
                    <a:pt x="64" y="114"/>
                  </a:lnTo>
                  <a:lnTo>
                    <a:pt x="81" y="105"/>
                  </a:lnTo>
                  <a:lnTo>
                    <a:pt x="89" y="81"/>
                  </a:lnTo>
                  <a:lnTo>
                    <a:pt x="81" y="58"/>
                  </a:lnTo>
                  <a:lnTo>
                    <a:pt x="64" y="50"/>
                  </a:lnTo>
                  <a:lnTo>
                    <a:pt x="72" y="25"/>
                  </a:lnTo>
                  <a:lnTo>
                    <a:pt x="64" y="0"/>
                  </a:lnTo>
                  <a:lnTo>
                    <a:pt x="56" y="16"/>
                  </a:lnTo>
                  <a:lnTo>
                    <a:pt x="32" y="9"/>
                  </a:lnTo>
                  <a:lnTo>
                    <a:pt x="23" y="16"/>
                  </a:lnTo>
                  <a:lnTo>
                    <a:pt x="16" y="33"/>
                  </a:lnTo>
                  <a:lnTo>
                    <a:pt x="32" y="50"/>
                  </a:lnTo>
                  <a:lnTo>
                    <a:pt x="16" y="50"/>
                  </a:lnTo>
                  <a:lnTo>
                    <a:pt x="0" y="58"/>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84" name="Freeform 340">
              <a:extLst>
                <a:ext uri="{FF2B5EF4-FFF2-40B4-BE49-F238E27FC236}">
                  <a16:creationId xmlns:a16="http://schemas.microsoft.com/office/drawing/2014/main" id="{C1273DE6-28AD-4DE8-812D-50CAD8370C81}"/>
                </a:ext>
              </a:extLst>
            </p:cNvPr>
            <p:cNvSpPr>
              <a:spLocks/>
            </p:cNvSpPr>
            <p:nvPr/>
          </p:nvSpPr>
          <p:spPr bwMode="auto">
            <a:xfrm>
              <a:off x="2497138" y="2128838"/>
              <a:ext cx="252412" cy="239712"/>
            </a:xfrm>
            <a:custGeom>
              <a:avLst/>
              <a:gdLst>
                <a:gd name="T0" fmla="*/ 0 w 131"/>
                <a:gd name="T1" fmla="*/ 2147483647 h 146"/>
                <a:gd name="T2" fmla="*/ 2147483647 w 131"/>
                <a:gd name="T3" fmla="*/ 2147483647 h 146"/>
                <a:gd name="T4" fmla="*/ 2147483647 w 131"/>
                <a:gd name="T5" fmla="*/ 2147483647 h 146"/>
                <a:gd name="T6" fmla="*/ 2147483647 w 131"/>
                <a:gd name="T7" fmla="*/ 2147483647 h 146"/>
                <a:gd name="T8" fmla="*/ 2147483647 w 131"/>
                <a:gd name="T9" fmla="*/ 2147483647 h 146"/>
                <a:gd name="T10" fmla="*/ 2147483647 w 131"/>
                <a:gd name="T11" fmla="*/ 2147483647 h 146"/>
                <a:gd name="T12" fmla="*/ 2147483647 w 131"/>
                <a:gd name="T13" fmla="*/ 2147483647 h 146"/>
                <a:gd name="T14" fmla="*/ 2147483647 w 131"/>
                <a:gd name="T15" fmla="*/ 2147483647 h 146"/>
                <a:gd name="T16" fmla="*/ 2147483647 w 131"/>
                <a:gd name="T17" fmla="*/ 2147483647 h 146"/>
                <a:gd name="T18" fmla="*/ 2147483647 w 131"/>
                <a:gd name="T19" fmla="*/ 2147483647 h 146"/>
                <a:gd name="T20" fmla="*/ 2147483647 w 131"/>
                <a:gd name="T21" fmla="*/ 0 h 146"/>
                <a:gd name="T22" fmla="*/ 2147483647 w 131"/>
                <a:gd name="T23" fmla="*/ 2147483647 h 146"/>
                <a:gd name="T24" fmla="*/ 2147483647 w 131"/>
                <a:gd name="T25" fmla="*/ 2147483647 h 146"/>
                <a:gd name="T26" fmla="*/ 2147483647 w 131"/>
                <a:gd name="T27" fmla="*/ 2147483647 h 146"/>
                <a:gd name="T28" fmla="*/ 0 w 131"/>
                <a:gd name="T29" fmla="*/ 2147483647 h 14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1"/>
                <a:gd name="T46" fmla="*/ 0 h 146"/>
                <a:gd name="T47" fmla="*/ 131 w 131"/>
                <a:gd name="T48" fmla="*/ 146 h 14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1" h="146">
                  <a:moveTo>
                    <a:pt x="0" y="105"/>
                  </a:moveTo>
                  <a:lnTo>
                    <a:pt x="16" y="129"/>
                  </a:lnTo>
                  <a:lnTo>
                    <a:pt x="25" y="145"/>
                  </a:lnTo>
                  <a:lnTo>
                    <a:pt x="56" y="137"/>
                  </a:lnTo>
                  <a:lnTo>
                    <a:pt x="74" y="114"/>
                  </a:lnTo>
                  <a:lnTo>
                    <a:pt x="74" y="89"/>
                  </a:lnTo>
                  <a:lnTo>
                    <a:pt x="130" y="48"/>
                  </a:lnTo>
                  <a:lnTo>
                    <a:pt x="115" y="31"/>
                  </a:lnTo>
                  <a:lnTo>
                    <a:pt x="97" y="15"/>
                  </a:lnTo>
                  <a:lnTo>
                    <a:pt x="74" y="15"/>
                  </a:lnTo>
                  <a:lnTo>
                    <a:pt x="50" y="0"/>
                  </a:lnTo>
                  <a:lnTo>
                    <a:pt x="9" y="24"/>
                  </a:lnTo>
                  <a:lnTo>
                    <a:pt x="16" y="48"/>
                  </a:lnTo>
                  <a:lnTo>
                    <a:pt x="16" y="73"/>
                  </a:lnTo>
                  <a:lnTo>
                    <a:pt x="0" y="105"/>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85" name="Freeform 341">
              <a:extLst>
                <a:ext uri="{FF2B5EF4-FFF2-40B4-BE49-F238E27FC236}">
                  <a16:creationId xmlns:a16="http://schemas.microsoft.com/office/drawing/2014/main" id="{1611DF97-71B7-466E-96FF-CCB41803A51C}"/>
                </a:ext>
              </a:extLst>
            </p:cNvPr>
            <p:cNvSpPr>
              <a:spLocks/>
            </p:cNvSpPr>
            <p:nvPr/>
          </p:nvSpPr>
          <p:spPr bwMode="auto">
            <a:xfrm>
              <a:off x="10190163" y="2774950"/>
              <a:ext cx="50800" cy="28575"/>
            </a:xfrm>
            <a:custGeom>
              <a:avLst/>
              <a:gdLst>
                <a:gd name="T0" fmla="*/ 0 w 26"/>
                <a:gd name="T1" fmla="*/ 0 h 18"/>
                <a:gd name="T2" fmla="*/ 2147483647 w 26"/>
                <a:gd name="T3" fmla="*/ 0 h 18"/>
                <a:gd name="T4" fmla="*/ 2147483647 w 26"/>
                <a:gd name="T5" fmla="*/ 2147483647 h 18"/>
                <a:gd name="T6" fmla="*/ 2147483647 w 26"/>
                <a:gd name="T7" fmla="*/ 2147483647 h 18"/>
                <a:gd name="T8" fmla="*/ 2147483647 w 26"/>
                <a:gd name="T9" fmla="*/ 2147483647 h 18"/>
                <a:gd name="T10" fmla="*/ 0 w 26"/>
                <a:gd name="T11" fmla="*/ 2147483647 h 18"/>
                <a:gd name="T12" fmla="*/ 0 w 26"/>
                <a:gd name="T13" fmla="*/ 0 h 18"/>
                <a:gd name="T14" fmla="*/ 0 60000 65536"/>
                <a:gd name="T15" fmla="*/ 0 60000 65536"/>
                <a:gd name="T16" fmla="*/ 0 60000 65536"/>
                <a:gd name="T17" fmla="*/ 0 60000 65536"/>
                <a:gd name="T18" fmla="*/ 0 60000 65536"/>
                <a:gd name="T19" fmla="*/ 0 60000 65536"/>
                <a:gd name="T20" fmla="*/ 0 60000 65536"/>
                <a:gd name="T21" fmla="*/ 0 w 26"/>
                <a:gd name="T22" fmla="*/ 0 h 18"/>
                <a:gd name="T23" fmla="*/ 26 w 26"/>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18">
                  <a:moveTo>
                    <a:pt x="0" y="0"/>
                  </a:moveTo>
                  <a:lnTo>
                    <a:pt x="9" y="0"/>
                  </a:lnTo>
                  <a:lnTo>
                    <a:pt x="25" y="8"/>
                  </a:lnTo>
                  <a:lnTo>
                    <a:pt x="25" y="17"/>
                  </a:lnTo>
                  <a:lnTo>
                    <a:pt x="9" y="8"/>
                  </a:lnTo>
                  <a:lnTo>
                    <a:pt x="0" y="8"/>
                  </a:lnTo>
                  <a:lnTo>
                    <a:pt x="0"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86" name="Freeform 342">
              <a:extLst>
                <a:ext uri="{FF2B5EF4-FFF2-40B4-BE49-F238E27FC236}">
                  <a16:creationId xmlns:a16="http://schemas.microsoft.com/office/drawing/2014/main" id="{B23E8383-EE8C-4390-B049-D8C906927191}"/>
                </a:ext>
              </a:extLst>
            </p:cNvPr>
            <p:cNvSpPr>
              <a:spLocks/>
            </p:cNvSpPr>
            <p:nvPr/>
          </p:nvSpPr>
          <p:spPr bwMode="auto">
            <a:xfrm>
              <a:off x="1455738" y="2919413"/>
              <a:ext cx="50800" cy="30162"/>
            </a:xfrm>
            <a:custGeom>
              <a:avLst/>
              <a:gdLst>
                <a:gd name="T0" fmla="*/ 0 w 26"/>
                <a:gd name="T1" fmla="*/ 2147483647 h 18"/>
                <a:gd name="T2" fmla="*/ 2147483647 w 26"/>
                <a:gd name="T3" fmla="*/ 2147483647 h 18"/>
                <a:gd name="T4" fmla="*/ 2147483647 w 26"/>
                <a:gd name="T5" fmla="*/ 2147483647 h 18"/>
                <a:gd name="T6" fmla="*/ 2147483647 w 26"/>
                <a:gd name="T7" fmla="*/ 0 h 18"/>
                <a:gd name="T8" fmla="*/ 0 w 26"/>
                <a:gd name="T9" fmla="*/ 2147483647 h 18"/>
                <a:gd name="T10" fmla="*/ 0 60000 65536"/>
                <a:gd name="T11" fmla="*/ 0 60000 65536"/>
                <a:gd name="T12" fmla="*/ 0 60000 65536"/>
                <a:gd name="T13" fmla="*/ 0 60000 65536"/>
                <a:gd name="T14" fmla="*/ 0 60000 65536"/>
                <a:gd name="T15" fmla="*/ 0 w 26"/>
                <a:gd name="T16" fmla="*/ 0 h 18"/>
                <a:gd name="T17" fmla="*/ 26 w 26"/>
                <a:gd name="T18" fmla="*/ 18 h 18"/>
              </a:gdLst>
              <a:ahLst/>
              <a:cxnLst>
                <a:cxn ang="T10">
                  <a:pos x="T0" y="T1"/>
                </a:cxn>
                <a:cxn ang="T11">
                  <a:pos x="T2" y="T3"/>
                </a:cxn>
                <a:cxn ang="T12">
                  <a:pos x="T4" y="T5"/>
                </a:cxn>
                <a:cxn ang="T13">
                  <a:pos x="T6" y="T7"/>
                </a:cxn>
                <a:cxn ang="T14">
                  <a:pos x="T8" y="T9"/>
                </a:cxn>
              </a:cxnLst>
              <a:rect l="T15" t="T16" r="T17" b="T18"/>
              <a:pathLst>
                <a:path w="26" h="18">
                  <a:moveTo>
                    <a:pt x="0" y="8"/>
                  </a:moveTo>
                  <a:lnTo>
                    <a:pt x="18" y="17"/>
                  </a:lnTo>
                  <a:lnTo>
                    <a:pt x="25" y="8"/>
                  </a:lnTo>
                  <a:lnTo>
                    <a:pt x="18" y="0"/>
                  </a:lnTo>
                  <a:lnTo>
                    <a:pt x="0" y="8"/>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87" name="Freeform 343">
              <a:extLst>
                <a:ext uri="{FF2B5EF4-FFF2-40B4-BE49-F238E27FC236}">
                  <a16:creationId xmlns:a16="http://schemas.microsoft.com/office/drawing/2014/main" id="{A3B67DC6-3255-4FD6-90E0-6226E8CA51D7}"/>
                </a:ext>
              </a:extLst>
            </p:cNvPr>
            <p:cNvSpPr>
              <a:spLocks/>
            </p:cNvSpPr>
            <p:nvPr/>
          </p:nvSpPr>
          <p:spPr bwMode="auto">
            <a:xfrm>
              <a:off x="1455738" y="2919413"/>
              <a:ext cx="50800" cy="30162"/>
            </a:xfrm>
            <a:custGeom>
              <a:avLst/>
              <a:gdLst>
                <a:gd name="T0" fmla="*/ 0 w 26"/>
                <a:gd name="T1" fmla="*/ 2147483647 h 18"/>
                <a:gd name="T2" fmla="*/ 2147483647 w 26"/>
                <a:gd name="T3" fmla="*/ 2147483647 h 18"/>
                <a:gd name="T4" fmla="*/ 2147483647 w 26"/>
                <a:gd name="T5" fmla="*/ 2147483647 h 18"/>
                <a:gd name="T6" fmla="*/ 2147483647 w 26"/>
                <a:gd name="T7" fmla="*/ 0 h 18"/>
                <a:gd name="T8" fmla="*/ 0 w 26"/>
                <a:gd name="T9" fmla="*/ 2147483647 h 18"/>
                <a:gd name="T10" fmla="*/ 0 60000 65536"/>
                <a:gd name="T11" fmla="*/ 0 60000 65536"/>
                <a:gd name="T12" fmla="*/ 0 60000 65536"/>
                <a:gd name="T13" fmla="*/ 0 60000 65536"/>
                <a:gd name="T14" fmla="*/ 0 60000 65536"/>
                <a:gd name="T15" fmla="*/ 0 w 26"/>
                <a:gd name="T16" fmla="*/ 0 h 18"/>
                <a:gd name="T17" fmla="*/ 26 w 26"/>
                <a:gd name="T18" fmla="*/ 18 h 18"/>
              </a:gdLst>
              <a:ahLst/>
              <a:cxnLst>
                <a:cxn ang="T10">
                  <a:pos x="T0" y="T1"/>
                </a:cxn>
                <a:cxn ang="T11">
                  <a:pos x="T2" y="T3"/>
                </a:cxn>
                <a:cxn ang="T12">
                  <a:pos x="T4" y="T5"/>
                </a:cxn>
                <a:cxn ang="T13">
                  <a:pos x="T6" y="T7"/>
                </a:cxn>
                <a:cxn ang="T14">
                  <a:pos x="T8" y="T9"/>
                </a:cxn>
              </a:cxnLst>
              <a:rect l="T15" t="T16" r="T17" b="T18"/>
              <a:pathLst>
                <a:path w="26" h="18">
                  <a:moveTo>
                    <a:pt x="0" y="8"/>
                  </a:moveTo>
                  <a:lnTo>
                    <a:pt x="18" y="17"/>
                  </a:lnTo>
                  <a:lnTo>
                    <a:pt x="25" y="8"/>
                  </a:lnTo>
                  <a:lnTo>
                    <a:pt x="18" y="0"/>
                  </a:lnTo>
                  <a:lnTo>
                    <a:pt x="0" y="8"/>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88" name="Freeform 344">
              <a:extLst>
                <a:ext uri="{FF2B5EF4-FFF2-40B4-BE49-F238E27FC236}">
                  <a16:creationId xmlns:a16="http://schemas.microsoft.com/office/drawing/2014/main" id="{C46140AD-10DE-4827-BBB6-CA53E0A07AC9}"/>
                </a:ext>
              </a:extLst>
            </p:cNvPr>
            <p:cNvSpPr>
              <a:spLocks/>
            </p:cNvSpPr>
            <p:nvPr/>
          </p:nvSpPr>
          <p:spPr bwMode="auto">
            <a:xfrm>
              <a:off x="1766888" y="2998788"/>
              <a:ext cx="77787" cy="69850"/>
            </a:xfrm>
            <a:custGeom>
              <a:avLst/>
              <a:gdLst>
                <a:gd name="T0" fmla="*/ 0 w 41"/>
                <a:gd name="T1" fmla="*/ 2147483647 h 43"/>
                <a:gd name="T2" fmla="*/ 2147483647 w 41"/>
                <a:gd name="T3" fmla="*/ 2147483647 h 43"/>
                <a:gd name="T4" fmla="*/ 2147483647 w 41"/>
                <a:gd name="T5" fmla="*/ 2147483647 h 43"/>
                <a:gd name="T6" fmla="*/ 2147483647 w 41"/>
                <a:gd name="T7" fmla="*/ 2147483647 h 43"/>
                <a:gd name="T8" fmla="*/ 2147483647 w 41"/>
                <a:gd name="T9" fmla="*/ 2147483647 h 43"/>
                <a:gd name="T10" fmla="*/ 2147483647 w 41"/>
                <a:gd name="T11" fmla="*/ 2147483647 h 43"/>
                <a:gd name="T12" fmla="*/ 2147483647 w 41"/>
                <a:gd name="T13" fmla="*/ 2147483647 h 43"/>
                <a:gd name="T14" fmla="*/ 2147483647 w 41"/>
                <a:gd name="T15" fmla="*/ 0 h 43"/>
                <a:gd name="T16" fmla="*/ 0 w 41"/>
                <a:gd name="T17" fmla="*/ 2147483647 h 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1"/>
                <a:gd name="T28" fmla="*/ 0 h 43"/>
                <a:gd name="T29" fmla="*/ 41 w 41"/>
                <a:gd name="T30" fmla="*/ 43 h 4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1" h="43">
                  <a:moveTo>
                    <a:pt x="0" y="33"/>
                  </a:moveTo>
                  <a:lnTo>
                    <a:pt x="9" y="42"/>
                  </a:lnTo>
                  <a:lnTo>
                    <a:pt x="25" y="25"/>
                  </a:lnTo>
                  <a:lnTo>
                    <a:pt x="34" y="25"/>
                  </a:lnTo>
                  <a:lnTo>
                    <a:pt x="34" y="17"/>
                  </a:lnTo>
                  <a:lnTo>
                    <a:pt x="25" y="17"/>
                  </a:lnTo>
                  <a:lnTo>
                    <a:pt x="40" y="10"/>
                  </a:lnTo>
                  <a:lnTo>
                    <a:pt x="34" y="0"/>
                  </a:lnTo>
                  <a:lnTo>
                    <a:pt x="0" y="33"/>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89" name="Freeform 345">
              <a:extLst>
                <a:ext uri="{FF2B5EF4-FFF2-40B4-BE49-F238E27FC236}">
                  <a16:creationId xmlns:a16="http://schemas.microsoft.com/office/drawing/2014/main" id="{C20ABB57-C138-4D2D-8213-B2FD7E62145D}"/>
                </a:ext>
              </a:extLst>
            </p:cNvPr>
            <p:cNvSpPr>
              <a:spLocks/>
            </p:cNvSpPr>
            <p:nvPr/>
          </p:nvSpPr>
          <p:spPr bwMode="auto">
            <a:xfrm>
              <a:off x="1766888" y="2998788"/>
              <a:ext cx="77787" cy="69850"/>
            </a:xfrm>
            <a:custGeom>
              <a:avLst/>
              <a:gdLst>
                <a:gd name="T0" fmla="*/ 0 w 41"/>
                <a:gd name="T1" fmla="*/ 2147483647 h 43"/>
                <a:gd name="T2" fmla="*/ 2147483647 w 41"/>
                <a:gd name="T3" fmla="*/ 2147483647 h 43"/>
                <a:gd name="T4" fmla="*/ 2147483647 w 41"/>
                <a:gd name="T5" fmla="*/ 2147483647 h 43"/>
                <a:gd name="T6" fmla="*/ 2147483647 w 41"/>
                <a:gd name="T7" fmla="*/ 2147483647 h 43"/>
                <a:gd name="T8" fmla="*/ 2147483647 w 41"/>
                <a:gd name="T9" fmla="*/ 2147483647 h 43"/>
                <a:gd name="T10" fmla="*/ 2147483647 w 41"/>
                <a:gd name="T11" fmla="*/ 2147483647 h 43"/>
                <a:gd name="T12" fmla="*/ 2147483647 w 41"/>
                <a:gd name="T13" fmla="*/ 2147483647 h 43"/>
                <a:gd name="T14" fmla="*/ 2147483647 w 41"/>
                <a:gd name="T15" fmla="*/ 0 h 43"/>
                <a:gd name="T16" fmla="*/ 0 w 41"/>
                <a:gd name="T17" fmla="*/ 2147483647 h 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1"/>
                <a:gd name="T28" fmla="*/ 0 h 43"/>
                <a:gd name="T29" fmla="*/ 41 w 41"/>
                <a:gd name="T30" fmla="*/ 43 h 4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1" h="43">
                  <a:moveTo>
                    <a:pt x="0" y="33"/>
                  </a:moveTo>
                  <a:lnTo>
                    <a:pt x="9" y="42"/>
                  </a:lnTo>
                  <a:lnTo>
                    <a:pt x="25" y="25"/>
                  </a:lnTo>
                  <a:lnTo>
                    <a:pt x="34" y="25"/>
                  </a:lnTo>
                  <a:lnTo>
                    <a:pt x="34" y="17"/>
                  </a:lnTo>
                  <a:lnTo>
                    <a:pt x="25" y="17"/>
                  </a:lnTo>
                  <a:lnTo>
                    <a:pt x="40" y="10"/>
                  </a:lnTo>
                  <a:lnTo>
                    <a:pt x="34" y="0"/>
                  </a:lnTo>
                  <a:lnTo>
                    <a:pt x="0" y="33"/>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90" name="Freeform 346">
              <a:extLst>
                <a:ext uri="{FF2B5EF4-FFF2-40B4-BE49-F238E27FC236}">
                  <a16:creationId xmlns:a16="http://schemas.microsoft.com/office/drawing/2014/main" id="{F64B0195-FFAA-4EC4-9B3B-27033B802FE3}"/>
                </a:ext>
              </a:extLst>
            </p:cNvPr>
            <p:cNvSpPr>
              <a:spLocks/>
            </p:cNvSpPr>
            <p:nvPr/>
          </p:nvSpPr>
          <p:spPr bwMode="auto">
            <a:xfrm>
              <a:off x="2311400" y="3157538"/>
              <a:ext cx="50800" cy="80962"/>
            </a:xfrm>
            <a:custGeom>
              <a:avLst/>
              <a:gdLst>
                <a:gd name="T0" fmla="*/ 0 w 26"/>
                <a:gd name="T1" fmla="*/ 0 h 51"/>
                <a:gd name="T2" fmla="*/ 0 w 26"/>
                <a:gd name="T3" fmla="*/ 2147483647 h 51"/>
                <a:gd name="T4" fmla="*/ 2147483647 w 26"/>
                <a:gd name="T5" fmla="*/ 2147483647 h 51"/>
                <a:gd name="T6" fmla="*/ 2147483647 w 26"/>
                <a:gd name="T7" fmla="*/ 2147483647 h 51"/>
                <a:gd name="T8" fmla="*/ 2147483647 w 26"/>
                <a:gd name="T9" fmla="*/ 2147483647 h 51"/>
                <a:gd name="T10" fmla="*/ 2147483647 w 26"/>
                <a:gd name="T11" fmla="*/ 2147483647 h 51"/>
                <a:gd name="T12" fmla="*/ 2147483647 w 26"/>
                <a:gd name="T13" fmla="*/ 2147483647 h 51"/>
                <a:gd name="T14" fmla="*/ 2147483647 w 26"/>
                <a:gd name="T15" fmla="*/ 0 h 51"/>
                <a:gd name="T16" fmla="*/ 0 w 26"/>
                <a:gd name="T17" fmla="*/ 0 h 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
                <a:gd name="T28" fmla="*/ 0 h 51"/>
                <a:gd name="T29" fmla="*/ 26 w 26"/>
                <a:gd name="T30" fmla="*/ 51 h 5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 h="51">
                  <a:moveTo>
                    <a:pt x="0" y="0"/>
                  </a:moveTo>
                  <a:lnTo>
                    <a:pt x="0" y="18"/>
                  </a:lnTo>
                  <a:lnTo>
                    <a:pt x="8" y="41"/>
                  </a:lnTo>
                  <a:lnTo>
                    <a:pt x="25" y="50"/>
                  </a:lnTo>
                  <a:lnTo>
                    <a:pt x="8" y="34"/>
                  </a:lnTo>
                  <a:lnTo>
                    <a:pt x="16" y="25"/>
                  </a:lnTo>
                  <a:lnTo>
                    <a:pt x="8" y="18"/>
                  </a:lnTo>
                  <a:lnTo>
                    <a:pt x="16" y="0"/>
                  </a:lnTo>
                  <a:lnTo>
                    <a:pt x="0"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91" name="Freeform 347">
              <a:extLst>
                <a:ext uri="{FF2B5EF4-FFF2-40B4-BE49-F238E27FC236}">
                  <a16:creationId xmlns:a16="http://schemas.microsoft.com/office/drawing/2014/main" id="{C0B86E2D-B741-42D6-9678-CEF5DEB31F07}"/>
                </a:ext>
              </a:extLst>
            </p:cNvPr>
            <p:cNvSpPr>
              <a:spLocks/>
            </p:cNvSpPr>
            <p:nvPr/>
          </p:nvSpPr>
          <p:spPr bwMode="auto">
            <a:xfrm>
              <a:off x="2311400" y="3157538"/>
              <a:ext cx="50800" cy="80962"/>
            </a:xfrm>
            <a:custGeom>
              <a:avLst/>
              <a:gdLst>
                <a:gd name="T0" fmla="*/ 0 w 26"/>
                <a:gd name="T1" fmla="*/ 0 h 51"/>
                <a:gd name="T2" fmla="*/ 0 w 26"/>
                <a:gd name="T3" fmla="*/ 2147483647 h 51"/>
                <a:gd name="T4" fmla="*/ 2147483647 w 26"/>
                <a:gd name="T5" fmla="*/ 2147483647 h 51"/>
                <a:gd name="T6" fmla="*/ 2147483647 w 26"/>
                <a:gd name="T7" fmla="*/ 2147483647 h 51"/>
                <a:gd name="T8" fmla="*/ 2147483647 w 26"/>
                <a:gd name="T9" fmla="*/ 2147483647 h 51"/>
                <a:gd name="T10" fmla="*/ 2147483647 w 26"/>
                <a:gd name="T11" fmla="*/ 2147483647 h 51"/>
                <a:gd name="T12" fmla="*/ 2147483647 w 26"/>
                <a:gd name="T13" fmla="*/ 2147483647 h 51"/>
                <a:gd name="T14" fmla="*/ 2147483647 w 26"/>
                <a:gd name="T15" fmla="*/ 0 h 51"/>
                <a:gd name="T16" fmla="*/ 0 w 26"/>
                <a:gd name="T17" fmla="*/ 0 h 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
                <a:gd name="T28" fmla="*/ 0 h 51"/>
                <a:gd name="T29" fmla="*/ 26 w 26"/>
                <a:gd name="T30" fmla="*/ 51 h 5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 h="51">
                  <a:moveTo>
                    <a:pt x="0" y="0"/>
                  </a:moveTo>
                  <a:lnTo>
                    <a:pt x="0" y="18"/>
                  </a:lnTo>
                  <a:lnTo>
                    <a:pt x="8" y="41"/>
                  </a:lnTo>
                  <a:lnTo>
                    <a:pt x="25" y="50"/>
                  </a:lnTo>
                  <a:lnTo>
                    <a:pt x="8" y="34"/>
                  </a:lnTo>
                  <a:lnTo>
                    <a:pt x="16" y="25"/>
                  </a:lnTo>
                  <a:lnTo>
                    <a:pt x="8" y="18"/>
                  </a:lnTo>
                  <a:lnTo>
                    <a:pt x="16" y="0"/>
                  </a:lnTo>
                  <a:lnTo>
                    <a:pt x="0" y="0"/>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92" name="Freeform 348">
              <a:extLst>
                <a:ext uri="{FF2B5EF4-FFF2-40B4-BE49-F238E27FC236}">
                  <a16:creationId xmlns:a16="http://schemas.microsoft.com/office/drawing/2014/main" id="{D98F3F98-913F-4E9D-A6FC-F2C6CBEE039D}"/>
                </a:ext>
              </a:extLst>
            </p:cNvPr>
            <p:cNvSpPr>
              <a:spLocks/>
            </p:cNvSpPr>
            <p:nvPr/>
          </p:nvSpPr>
          <p:spPr bwMode="auto">
            <a:xfrm>
              <a:off x="2417763" y="3276600"/>
              <a:ext cx="128587" cy="80963"/>
            </a:xfrm>
            <a:custGeom>
              <a:avLst/>
              <a:gdLst>
                <a:gd name="T0" fmla="*/ 0 w 67"/>
                <a:gd name="T1" fmla="*/ 0 h 49"/>
                <a:gd name="T2" fmla="*/ 2147483647 w 67"/>
                <a:gd name="T3" fmla="*/ 2147483647 h 49"/>
                <a:gd name="T4" fmla="*/ 2147483647 w 67"/>
                <a:gd name="T5" fmla="*/ 2147483647 h 49"/>
                <a:gd name="T6" fmla="*/ 2147483647 w 67"/>
                <a:gd name="T7" fmla="*/ 2147483647 h 49"/>
                <a:gd name="T8" fmla="*/ 2147483647 w 67"/>
                <a:gd name="T9" fmla="*/ 2147483647 h 49"/>
                <a:gd name="T10" fmla="*/ 2147483647 w 67"/>
                <a:gd name="T11" fmla="*/ 2147483647 h 49"/>
                <a:gd name="T12" fmla="*/ 2147483647 w 67"/>
                <a:gd name="T13" fmla="*/ 2147483647 h 49"/>
                <a:gd name="T14" fmla="*/ 2147483647 w 67"/>
                <a:gd name="T15" fmla="*/ 2147483647 h 49"/>
                <a:gd name="T16" fmla="*/ 2147483647 w 67"/>
                <a:gd name="T17" fmla="*/ 0 h 49"/>
                <a:gd name="T18" fmla="*/ 0 w 67"/>
                <a:gd name="T19" fmla="*/ 0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7"/>
                <a:gd name="T31" fmla="*/ 0 h 49"/>
                <a:gd name="T32" fmla="*/ 67 w 67"/>
                <a:gd name="T33" fmla="*/ 49 h 4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7" h="49">
                  <a:moveTo>
                    <a:pt x="0" y="0"/>
                  </a:moveTo>
                  <a:lnTo>
                    <a:pt x="9" y="16"/>
                  </a:lnTo>
                  <a:lnTo>
                    <a:pt x="25" y="25"/>
                  </a:lnTo>
                  <a:lnTo>
                    <a:pt x="41" y="33"/>
                  </a:lnTo>
                  <a:lnTo>
                    <a:pt x="41" y="41"/>
                  </a:lnTo>
                  <a:lnTo>
                    <a:pt x="57" y="48"/>
                  </a:lnTo>
                  <a:lnTo>
                    <a:pt x="66" y="48"/>
                  </a:lnTo>
                  <a:lnTo>
                    <a:pt x="34" y="8"/>
                  </a:lnTo>
                  <a:lnTo>
                    <a:pt x="9" y="0"/>
                  </a:lnTo>
                  <a:lnTo>
                    <a:pt x="0"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93" name="Freeform 349">
              <a:extLst>
                <a:ext uri="{FF2B5EF4-FFF2-40B4-BE49-F238E27FC236}">
                  <a16:creationId xmlns:a16="http://schemas.microsoft.com/office/drawing/2014/main" id="{FCD1D1C4-6BCF-4765-A5FA-BAB1AE8F5877}"/>
                </a:ext>
              </a:extLst>
            </p:cNvPr>
            <p:cNvSpPr>
              <a:spLocks/>
            </p:cNvSpPr>
            <p:nvPr/>
          </p:nvSpPr>
          <p:spPr bwMode="auto">
            <a:xfrm>
              <a:off x="2417763" y="3276600"/>
              <a:ext cx="128587" cy="80963"/>
            </a:xfrm>
            <a:custGeom>
              <a:avLst/>
              <a:gdLst>
                <a:gd name="T0" fmla="*/ 0 w 67"/>
                <a:gd name="T1" fmla="*/ 0 h 49"/>
                <a:gd name="T2" fmla="*/ 2147483647 w 67"/>
                <a:gd name="T3" fmla="*/ 2147483647 h 49"/>
                <a:gd name="T4" fmla="*/ 2147483647 w 67"/>
                <a:gd name="T5" fmla="*/ 2147483647 h 49"/>
                <a:gd name="T6" fmla="*/ 2147483647 w 67"/>
                <a:gd name="T7" fmla="*/ 2147483647 h 49"/>
                <a:gd name="T8" fmla="*/ 2147483647 w 67"/>
                <a:gd name="T9" fmla="*/ 2147483647 h 49"/>
                <a:gd name="T10" fmla="*/ 2147483647 w 67"/>
                <a:gd name="T11" fmla="*/ 2147483647 h 49"/>
                <a:gd name="T12" fmla="*/ 2147483647 w 67"/>
                <a:gd name="T13" fmla="*/ 2147483647 h 49"/>
                <a:gd name="T14" fmla="*/ 2147483647 w 67"/>
                <a:gd name="T15" fmla="*/ 2147483647 h 49"/>
                <a:gd name="T16" fmla="*/ 2147483647 w 67"/>
                <a:gd name="T17" fmla="*/ 0 h 49"/>
                <a:gd name="T18" fmla="*/ 0 w 67"/>
                <a:gd name="T19" fmla="*/ 0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7"/>
                <a:gd name="T31" fmla="*/ 0 h 49"/>
                <a:gd name="T32" fmla="*/ 67 w 67"/>
                <a:gd name="T33" fmla="*/ 49 h 4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7" h="49">
                  <a:moveTo>
                    <a:pt x="0" y="0"/>
                  </a:moveTo>
                  <a:lnTo>
                    <a:pt x="9" y="16"/>
                  </a:lnTo>
                  <a:lnTo>
                    <a:pt x="25" y="25"/>
                  </a:lnTo>
                  <a:lnTo>
                    <a:pt x="41" y="33"/>
                  </a:lnTo>
                  <a:lnTo>
                    <a:pt x="41" y="41"/>
                  </a:lnTo>
                  <a:lnTo>
                    <a:pt x="57" y="48"/>
                  </a:lnTo>
                  <a:lnTo>
                    <a:pt x="66" y="48"/>
                  </a:lnTo>
                  <a:lnTo>
                    <a:pt x="34" y="8"/>
                  </a:lnTo>
                  <a:lnTo>
                    <a:pt x="9" y="0"/>
                  </a:lnTo>
                  <a:lnTo>
                    <a:pt x="0" y="0"/>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94" name="Freeform 350">
              <a:extLst>
                <a:ext uri="{FF2B5EF4-FFF2-40B4-BE49-F238E27FC236}">
                  <a16:creationId xmlns:a16="http://schemas.microsoft.com/office/drawing/2014/main" id="{55F4B9C1-C8FC-4799-82E9-6C8A136D6EAC}"/>
                </a:ext>
              </a:extLst>
            </p:cNvPr>
            <p:cNvSpPr>
              <a:spLocks/>
            </p:cNvSpPr>
            <p:nvPr/>
          </p:nvSpPr>
          <p:spPr bwMode="auto">
            <a:xfrm>
              <a:off x="4968875" y="2628900"/>
              <a:ext cx="263525" cy="161925"/>
            </a:xfrm>
            <a:custGeom>
              <a:avLst/>
              <a:gdLst>
                <a:gd name="T0" fmla="*/ 0 w 138"/>
                <a:gd name="T1" fmla="*/ 2147483647 h 98"/>
                <a:gd name="T2" fmla="*/ 2147483647 w 138"/>
                <a:gd name="T3" fmla="*/ 2147483647 h 98"/>
                <a:gd name="T4" fmla="*/ 2147483647 w 138"/>
                <a:gd name="T5" fmla="*/ 2147483647 h 98"/>
                <a:gd name="T6" fmla="*/ 2147483647 w 138"/>
                <a:gd name="T7" fmla="*/ 2147483647 h 98"/>
                <a:gd name="T8" fmla="*/ 2147483647 w 138"/>
                <a:gd name="T9" fmla="*/ 2147483647 h 98"/>
                <a:gd name="T10" fmla="*/ 2147483647 w 138"/>
                <a:gd name="T11" fmla="*/ 2147483647 h 98"/>
                <a:gd name="T12" fmla="*/ 2147483647 w 138"/>
                <a:gd name="T13" fmla="*/ 2147483647 h 98"/>
                <a:gd name="T14" fmla="*/ 2147483647 w 138"/>
                <a:gd name="T15" fmla="*/ 2147483647 h 98"/>
                <a:gd name="T16" fmla="*/ 2147483647 w 138"/>
                <a:gd name="T17" fmla="*/ 2147483647 h 98"/>
                <a:gd name="T18" fmla="*/ 2147483647 w 138"/>
                <a:gd name="T19" fmla="*/ 2147483647 h 98"/>
                <a:gd name="T20" fmla="*/ 2147483647 w 138"/>
                <a:gd name="T21" fmla="*/ 2147483647 h 98"/>
                <a:gd name="T22" fmla="*/ 2147483647 w 138"/>
                <a:gd name="T23" fmla="*/ 2147483647 h 98"/>
                <a:gd name="T24" fmla="*/ 2147483647 w 138"/>
                <a:gd name="T25" fmla="*/ 2147483647 h 98"/>
                <a:gd name="T26" fmla="*/ 2147483647 w 138"/>
                <a:gd name="T27" fmla="*/ 2147483647 h 98"/>
                <a:gd name="T28" fmla="*/ 2147483647 w 138"/>
                <a:gd name="T29" fmla="*/ 2147483647 h 98"/>
                <a:gd name="T30" fmla="*/ 2147483647 w 138"/>
                <a:gd name="T31" fmla="*/ 2147483647 h 98"/>
                <a:gd name="T32" fmla="*/ 2147483647 w 138"/>
                <a:gd name="T33" fmla="*/ 0 h 98"/>
                <a:gd name="T34" fmla="*/ 2147483647 w 138"/>
                <a:gd name="T35" fmla="*/ 2147483647 h 98"/>
                <a:gd name="T36" fmla="*/ 2147483647 w 138"/>
                <a:gd name="T37" fmla="*/ 2147483647 h 98"/>
                <a:gd name="T38" fmla="*/ 2147483647 w 138"/>
                <a:gd name="T39" fmla="*/ 2147483647 h 98"/>
                <a:gd name="T40" fmla="*/ 2147483647 w 138"/>
                <a:gd name="T41" fmla="*/ 2147483647 h 98"/>
                <a:gd name="T42" fmla="*/ 2147483647 w 138"/>
                <a:gd name="T43" fmla="*/ 2147483647 h 98"/>
                <a:gd name="T44" fmla="*/ 2147483647 w 138"/>
                <a:gd name="T45" fmla="*/ 2147483647 h 98"/>
                <a:gd name="T46" fmla="*/ 2147483647 w 138"/>
                <a:gd name="T47" fmla="*/ 2147483647 h 98"/>
                <a:gd name="T48" fmla="*/ 2147483647 w 138"/>
                <a:gd name="T49" fmla="*/ 2147483647 h 98"/>
                <a:gd name="T50" fmla="*/ 2147483647 w 138"/>
                <a:gd name="T51" fmla="*/ 2147483647 h 98"/>
                <a:gd name="T52" fmla="*/ 2147483647 w 138"/>
                <a:gd name="T53" fmla="*/ 2147483647 h 98"/>
                <a:gd name="T54" fmla="*/ 2147483647 w 138"/>
                <a:gd name="T55" fmla="*/ 2147483647 h 98"/>
                <a:gd name="T56" fmla="*/ 2147483647 w 138"/>
                <a:gd name="T57" fmla="*/ 2147483647 h 98"/>
                <a:gd name="T58" fmla="*/ 2147483647 w 138"/>
                <a:gd name="T59" fmla="*/ 2147483647 h 98"/>
                <a:gd name="T60" fmla="*/ 0 w 138"/>
                <a:gd name="T61" fmla="*/ 2147483647 h 9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38"/>
                <a:gd name="T94" fmla="*/ 0 h 98"/>
                <a:gd name="T95" fmla="*/ 138 w 138"/>
                <a:gd name="T96" fmla="*/ 98 h 9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38" h="98">
                  <a:moveTo>
                    <a:pt x="0" y="32"/>
                  </a:moveTo>
                  <a:lnTo>
                    <a:pt x="9" y="41"/>
                  </a:lnTo>
                  <a:lnTo>
                    <a:pt x="25" y="32"/>
                  </a:lnTo>
                  <a:lnTo>
                    <a:pt x="34" y="41"/>
                  </a:lnTo>
                  <a:lnTo>
                    <a:pt x="9" y="56"/>
                  </a:lnTo>
                  <a:lnTo>
                    <a:pt x="25" y="56"/>
                  </a:lnTo>
                  <a:lnTo>
                    <a:pt x="34" y="74"/>
                  </a:lnTo>
                  <a:lnTo>
                    <a:pt x="25" y="81"/>
                  </a:lnTo>
                  <a:lnTo>
                    <a:pt x="41" y="81"/>
                  </a:lnTo>
                  <a:lnTo>
                    <a:pt x="74" y="97"/>
                  </a:lnTo>
                  <a:lnTo>
                    <a:pt x="131" y="65"/>
                  </a:lnTo>
                  <a:lnTo>
                    <a:pt x="137" y="56"/>
                  </a:lnTo>
                  <a:lnTo>
                    <a:pt x="137" y="32"/>
                  </a:lnTo>
                  <a:lnTo>
                    <a:pt x="121" y="24"/>
                  </a:lnTo>
                  <a:lnTo>
                    <a:pt x="121" y="9"/>
                  </a:lnTo>
                  <a:lnTo>
                    <a:pt x="114" y="9"/>
                  </a:lnTo>
                  <a:lnTo>
                    <a:pt x="106" y="0"/>
                  </a:lnTo>
                  <a:lnTo>
                    <a:pt x="89" y="16"/>
                  </a:lnTo>
                  <a:lnTo>
                    <a:pt x="81" y="16"/>
                  </a:lnTo>
                  <a:lnTo>
                    <a:pt x="65" y="16"/>
                  </a:lnTo>
                  <a:lnTo>
                    <a:pt x="57" y="24"/>
                  </a:lnTo>
                  <a:lnTo>
                    <a:pt x="57" y="16"/>
                  </a:lnTo>
                  <a:lnTo>
                    <a:pt x="49" y="32"/>
                  </a:lnTo>
                  <a:lnTo>
                    <a:pt x="41" y="41"/>
                  </a:lnTo>
                  <a:lnTo>
                    <a:pt x="41" y="16"/>
                  </a:lnTo>
                  <a:lnTo>
                    <a:pt x="25" y="9"/>
                  </a:lnTo>
                  <a:lnTo>
                    <a:pt x="16" y="9"/>
                  </a:lnTo>
                  <a:lnTo>
                    <a:pt x="16" y="16"/>
                  </a:lnTo>
                  <a:lnTo>
                    <a:pt x="9" y="16"/>
                  </a:lnTo>
                  <a:lnTo>
                    <a:pt x="9" y="24"/>
                  </a:lnTo>
                  <a:lnTo>
                    <a:pt x="0" y="32"/>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95" name="Freeform 351">
              <a:extLst>
                <a:ext uri="{FF2B5EF4-FFF2-40B4-BE49-F238E27FC236}">
                  <a16:creationId xmlns:a16="http://schemas.microsoft.com/office/drawing/2014/main" id="{D56A5C9E-EBFF-48FF-88AE-45242E222772}"/>
                </a:ext>
              </a:extLst>
            </p:cNvPr>
            <p:cNvSpPr>
              <a:spLocks/>
            </p:cNvSpPr>
            <p:nvPr/>
          </p:nvSpPr>
          <p:spPr bwMode="auto">
            <a:xfrm>
              <a:off x="5111750" y="2060575"/>
              <a:ext cx="31750" cy="30163"/>
            </a:xfrm>
            <a:custGeom>
              <a:avLst/>
              <a:gdLst>
                <a:gd name="T0" fmla="*/ 0 w 17"/>
                <a:gd name="T1" fmla="*/ 0 h 18"/>
                <a:gd name="T2" fmla="*/ 0 w 17"/>
                <a:gd name="T3" fmla="*/ 2147483647 h 18"/>
                <a:gd name="T4" fmla="*/ 2147483647 w 17"/>
                <a:gd name="T5" fmla="*/ 2147483647 h 18"/>
                <a:gd name="T6" fmla="*/ 0 w 17"/>
                <a:gd name="T7" fmla="*/ 0 h 18"/>
                <a:gd name="T8" fmla="*/ 0 60000 65536"/>
                <a:gd name="T9" fmla="*/ 0 60000 65536"/>
                <a:gd name="T10" fmla="*/ 0 60000 65536"/>
                <a:gd name="T11" fmla="*/ 0 60000 65536"/>
                <a:gd name="T12" fmla="*/ 0 w 17"/>
                <a:gd name="T13" fmla="*/ 0 h 18"/>
                <a:gd name="T14" fmla="*/ 17 w 17"/>
                <a:gd name="T15" fmla="*/ 18 h 18"/>
              </a:gdLst>
              <a:ahLst/>
              <a:cxnLst>
                <a:cxn ang="T8">
                  <a:pos x="T0" y="T1"/>
                </a:cxn>
                <a:cxn ang="T9">
                  <a:pos x="T2" y="T3"/>
                </a:cxn>
                <a:cxn ang="T10">
                  <a:pos x="T4" y="T5"/>
                </a:cxn>
                <a:cxn ang="T11">
                  <a:pos x="T6" y="T7"/>
                </a:cxn>
              </a:cxnLst>
              <a:rect l="T12" t="T13" r="T14" b="T15"/>
              <a:pathLst>
                <a:path w="17" h="18">
                  <a:moveTo>
                    <a:pt x="0" y="0"/>
                  </a:moveTo>
                  <a:lnTo>
                    <a:pt x="0" y="17"/>
                  </a:lnTo>
                  <a:lnTo>
                    <a:pt x="16" y="17"/>
                  </a:lnTo>
                  <a:lnTo>
                    <a:pt x="0"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96" name="Freeform 352">
              <a:extLst>
                <a:ext uri="{FF2B5EF4-FFF2-40B4-BE49-F238E27FC236}">
                  <a16:creationId xmlns:a16="http://schemas.microsoft.com/office/drawing/2014/main" id="{51C2B473-9A05-4572-AA3C-5FBA840B96BF}"/>
                </a:ext>
              </a:extLst>
            </p:cNvPr>
            <p:cNvSpPr>
              <a:spLocks/>
            </p:cNvSpPr>
            <p:nvPr/>
          </p:nvSpPr>
          <p:spPr bwMode="auto">
            <a:xfrm>
              <a:off x="5111750" y="2060575"/>
              <a:ext cx="31750" cy="30163"/>
            </a:xfrm>
            <a:custGeom>
              <a:avLst/>
              <a:gdLst>
                <a:gd name="T0" fmla="*/ 0 w 17"/>
                <a:gd name="T1" fmla="*/ 0 h 18"/>
                <a:gd name="T2" fmla="*/ 0 w 17"/>
                <a:gd name="T3" fmla="*/ 2147483647 h 18"/>
                <a:gd name="T4" fmla="*/ 2147483647 w 17"/>
                <a:gd name="T5" fmla="*/ 2147483647 h 18"/>
                <a:gd name="T6" fmla="*/ 0 w 17"/>
                <a:gd name="T7" fmla="*/ 0 h 18"/>
                <a:gd name="T8" fmla="*/ 0 60000 65536"/>
                <a:gd name="T9" fmla="*/ 0 60000 65536"/>
                <a:gd name="T10" fmla="*/ 0 60000 65536"/>
                <a:gd name="T11" fmla="*/ 0 60000 65536"/>
                <a:gd name="T12" fmla="*/ 0 w 17"/>
                <a:gd name="T13" fmla="*/ 0 h 18"/>
                <a:gd name="T14" fmla="*/ 17 w 17"/>
                <a:gd name="T15" fmla="*/ 18 h 18"/>
              </a:gdLst>
              <a:ahLst/>
              <a:cxnLst>
                <a:cxn ang="T8">
                  <a:pos x="T0" y="T1"/>
                </a:cxn>
                <a:cxn ang="T9">
                  <a:pos x="T2" y="T3"/>
                </a:cxn>
                <a:cxn ang="T10">
                  <a:pos x="T4" y="T5"/>
                </a:cxn>
                <a:cxn ang="T11">
                  <a:pos x="T6" y="T7"/>
                </a:cxn>
              </a:cxnLst>
              <a:rect l="T12" t="T13" r="T14" b="T15"/>
              <a:pathLst>
                <a:path w="17" h="18">
                  <a:moveTo>
                    <a:pt x="0" y="0"/>
                  </a:moveTo>
                  <a:lnTo>
                    <a:pt x="0" y="17"/>
                  </a:lnTo>
                  <a:lnTo>
                    <a:pt x="16" y="17"/>
                  </a:lnTo>
                  <a:lnTo>
                    <a:pt x="0" y="0"/>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97" name="Freeform 353">
              <a:extLst>
                <a:ext uri="{FF2B5EF4-FFF2-40B4-BE49-F238E27FC236}">
                  <a16:creationId xmlns:a16="http://schemas.microsoft.com/office/drawing/2014/main" id="{7B8DAE93-1871-4C9A-8BF0-AFD1EF427D10}"/>
                </a:ext>
              </a:extLst>
            </p:cNvPr>
            <p:cNvSpPr>
              <a:spLocks/>
            </p:cNvSpPr>
            <p:nvPr/>
          </p:nvSpPr>
          <p:spPr bwMode="auto">
            <a:xfrm>
              <a:off x="6632575" y="4754563"/>
              <a:ext cx="169863" cy="293687"/>
            </a:xfrm>
            <a:custGeom>
              <a:avLst/>
              <a:gdLst>
                <a:gd name="T0" fmla="*/ 0 w 90"/>
                <a:gd name="T1" fmla="*/ 2147483647 h 180"/>
                <a:gd name="T2" fmla="*/ 2147483647 w 90"/>
                <a:gd name="T3" fmla="*/ 2147483647 h 180"/>
                <a:gd name="T4" fmla="*/ 2147483647 w 90"/>
                <a:gd name="T5" fmla="*/ 2147483647 h 180"/>
                <a:gd name="T6" fmla="*/ 2147483647 w 90"/>
                <a:gd name="T7" fmla="*/ 2147483647 h 180"/>
                <a:gd name="T8" fmla="*/ 2147483647 w 90"/>
                <a:gd name="T9" fmla="*/ 2147483647 h 180"/>
                <a:gd name="T10" fmla="*/ 2147483647 w 90"/>
                <a:gd name="T11" fmla="*/ 2147483647 h 180"/>
                <a:gd name="T12" fmla="*/ 2147483647 w 90"/>
                <a:gd name="T13" fmla="*/ 2147483647 h 180"/>
                <a:gd name="T14" fmla="*/ 2147483647 w 90"/>
                <a:gd name="T15" fmla="*/ 2147483647 h 180"/>
                <a:gd name="T16" fmla="*/ 2147483647 w 90"/>
                <a:gd name="T17" fmla="*/ 2147483647 h 180"/>
                <a:gd name="T18" fmla="*/ 2147483647 w 90"/>
                <a:gd name="T19" fmla="*/ 2147483647 h 180"/>
                <a:gd name="T20" fmla="*/ 2147483647 w 90"/>
                <a:gd name="T21" fmla="*/ 0 h 180"/>
                <a:gd name="T22" fmla="*/ 2147483647 w 90"/>
                <a:gd name="T23" fmla="*/ 2147483647 h 180"/>
                <a:gd name="T24" fmla="*/ 2147483647 w 90"/>
                <a:gd name="T25" fmla="*/ 2147483647 h 180"/>
                <a:gd name="T26" fmla="*/ 2147483647 w 90"/>
                <a:gd name="T27" fmla="*/ 2147483647 h 180"/>
                <a:gd name="T28" fmla="*/ 2147483647 w 90"/>
                <a:gd name="T29" fmla="*/ 2147483647 h 180"/>
                <a:gd name="T30" fmla="*/ 2147483647 w 90"/>
                <a:gd name="T31" fmla="*/ 2147483647 h 180"/>
                <a:gd name="T32" fmla="*/ 2147483647 w 90"/>
                <a:gd name="T33" fmla="*/ 2147483647 h 180"/>
                <a:gd name="T34" fmla="*/ 0 w 90"/>
                <a:gd name="T35" fmla="*/ 2147483647 h 18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0"/>
                <a:gd name="T55" fmla="*/ 0 h 180"/>
                <a:gd name="T56" fmla="*/ 90 w 90"/>
                <a:gd name="T57" fmla="*/ 180 h 18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0" h="180">
                  <a:moveTo>
                    <a:pt x="0" y="129"/>
                  </a:moveTo>
                  <a:lnTo>
                    <a:pt x="9" y="163"/>
                  </a:lnTo>
                  <a:lnTo>
                    <a:pt x="17" y="179"/>
                  </a:lnTo>
                  <a:lnTo>
                    <a:pt x="40" y="179"/>
                  </a:lnTo>
                  <a:lnTo>
                    <a:pt x="49" y="170"/>
                  </a:lnTo>
                  <a:lnTo>
                    <a:pt x="74" y="80"/>
                  </a:lnTo>
                  <a:lnTo>
                    <a:pt x="82" y="40"/>
                  </a:lnTo>
                  <a:lnTo>
                    <a:pt x="89" y="49"/>
                  </a:lnTo>
                  <a:lnTo>
                    <a:pt x="89" y="40"/>
                  </a:lnTo>
                  <a:lnTo>
                    <a:pt x="82" y="8"/>
                  </a:lnTo>
                  <a:lnTo>
                    <a:pt x="74" y="0"/>
                  </a:lnTo>
                  <a:lnTo>
                    <a:pt x="65" y="17"/>
                  </a:lnTo>
                  <a:lnTo>
                    <a:pt x="57" y="17"/>
                  </a:lnTo>
                  <a:lnTo>
                    <a:pt x="57" y="32"/>
                  </a:lnTo>
                  <a:lnTo>
                    <a:pt x="17" y="57"/>
                  </a:lnTo>
                  <a:lnTo>
                    <a:pt x="9" y="73"/>
                  </a:lnTo>
                  <a:lnTo>
                    <a:pt x="17" y="105"/>
                  </a:lnTo>
                  <a:lnTo>
                    <a:pt x="0" y="129"/>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98" name="Freeform 354">
              <a:extLst>
                <a:ext uri="{FF2B5EF4-FFF2-40B4-BE49-F238E27FC236}">
                  <a16:creationId xmlns:a16="http://schemas.microsoft.com/office/drawing/2014/main" id="{C7D84A02-7A7B-4CD6-81DF-C1BAE07600BB}"/>
                </a:ext>
              </a:extLst>
            </p:cNvPr>
            <p:cNvSpPr>
              <a:spLocks/>
            </p:cNvSpPr>
            <p:nvPr/>
          </p:nvSpPr>
          <p:spPr bwMode="auto">
            <a:xfrm>
              <a:off x="7951788" y="4462463"/>
              <a:ext cx="33337" cy="30162"/>
            </a:xfrm>
            <a:custGeom>
              <a:avLst/>
              <a:gdLst>
                <a:gd name="T0" fmla="*/ 0 w 17"/>
                <a:gd name="T1" fmla="*/ 2147483647 h 18"/>
                <a:gd name="T2" fmla="*/ 2147483647 w 17"/>
                <a:gd name="T3" fmla="*/ 2147483647 h 18"/>
                <a:gd name="T4" fmla="*/ 0 w 17"/>
                <a:gd name="T5" fmla="*/ 0 h 18"/>
                <a:gd name="T6" fmla="*/ 0 w 17"/>
                <a:gd name="T7" fmla="*/ 2147483647 h 18"/>
                <a:gd name="T8" fmla="*/ 0 60000 65536"/>
                <a:gd name="T9" fmla="*/ 0 60000 65536"/>
                <a:gd name="T10" fmla="*/ 0 60000 65536"/>
                <a:gd name="T11" fmla="*/ 0 60000 65536"/>
                <a:gd name="T12" fmla="*/ 0 w 17"/>
                <a:gd name="T13" fmla="*/ 0 h 18"/>
                <a:gd name="T14" fmla="*/ 17 w 17"/>
                <a:gd name="T15" fmla="*/ 18 h 18"/>
              </a:gdLst>
              <a:ahLst/>
              <a:cxnLst>
                <a:cxn ang="T8">
                  <a:pos x="T0" y="T1"/>
                </a:cxn>
                <a:cxn ang="T9">
                  <a:pos x="T2" y="T3"/>
                </a:cxn>
                <a:cxn ang="T10">
                  <a:pos x="T4" y="T5"/>
                </a:cxn>
                <a:cxn ang="T11">
                  <a:pos x="T6" y="T7"/>
                </a:cxn>
              </a:cxnLst>
              <a:rect l="T12" t="T13" r="T14" b="T15"/>
              <a:pathLst>
                <a:path w="17" h="18">
                  <a:moveTo>
                    <a:pt x="0" y="9"/>
                  </a:moveTo>
                  <a:lnTo>
                    <a:pt x="16" y="17"/>
                  </a:lnTo>
                  <a:lnTo>
                    <a:pt x="0" y="0"/>
                  </a:lnTo>
                  <a:lnTo>
                    <a:pt x="0" y="9"/>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99" name="Freeform 355">
              <a:extLst>
                <a:ext uri="{FF2B5EF4-FFF2-40B4-BE49-F238E27FC236}">
                  <a16:creationId xmlns:a16="http://schemas.microsoft.com/office/drawing/2014/main" id="{0D212448-C6E8-448F-9994-11417FFE59AC}"/>
                </a:ext>
              </a:extLst>
            </p:cNvPr>
            <p:cNvSpPr>
              <a:spLocks/>
            </p:cNvSpPr>
            <p:nvPr/>
          </p:nvSpPr>
          <p:spPr bwMode="auto">
            <a:xfrm>
              <a:off x="7951788" y="4462463"/>
              <a:ext cx="33337" cy="30162"/>
            </a:xfrm>
            <a:custGeom>
              <a:avLst/>
              <a:gdLst>
                <a:gd name="T0" fmla="*/ 0 w 17"/>
                <a:gd name="T1" fmla="*/ 2147483647 h 18"/>
                <a:gd name="T2" fmla="*/ 2147483647 w 17"/>
                <a:gd name="T3" fmla="*/ 2147483647 h 18"/>
                <a:gd name="T4" fmla="*/ 0 w 17"/>
                <a:gd name="T5" fmla="*/ 0 h 18"/>
                <a:gd name="T6" fmla="*/ 0 w 17"/>
                <a:gd name="T7" fmla="*/ 2147483647 h 18"/>
                <a:gd name="T8" fmla="*/ 0 60000 65536"/>
                <a:gd name="T9" fmla="*/ 0 60000 65536"/>
                <a:gd name="T10" fmla="*/ 0 60000 65536"/>
                <a:gd name="T11" fmla="*/ 0 60000 65536"/>
                <a:gd name="T12" fmla="*/ 0 w 17"/>
                <a:gd name="T13" fmla="*/ 0 h 18"/>
                <a:gd name="T14" fmla="*/ 17 w 17"/>
                <a:gd name="T15" fmla="*/ 18 h 18"/>
              </a:gdLst>
              <a:ahLst/>
              <a:cxnLst>
                <a:cxn ang="T8">
                  <a:pos x="T0" y="T1"/>
                </a:cxn>
                <a:cxn ang="T9">
                  <a:pos x="T2" y="T3"/>
                </a:cxn>
                <a:cxn ang="T10">
                  <a:pos x="T4" y="T5"/>
                </a:cxn>
                <a:cxn ang="T11">
                  <a:pos x="T6" y="T7"/>
                </a:cxn>
              </a:cxnLst>
              <a:rect l="T12" t="T13" r="T14" b="T15"/>
              <a:pathLst>
                <a:path w="17" h="18">
                  <a:moveTo>
                    <a:pt x="0" y="9"/>
                  </a:moveTo>
                  <a:lnTo>
                    <a:pt x="16" y="17"/>
                  </a:lnTo>
                  <a:lnTo>
                    <a:pt x="0" y="0"/>
                  </a:lnTo>
                  <a:lnTo>
                    <a:pt x="0" y="9"/>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00" name="Freeform 356">
              <a:extLst>
                <a:ext uri="{FF2B5EF4-FFF2-40B4-BE49-F238E27FC236}">
                  <a16:creationId xmlns:a16="http://schemas.microsoft.com/office/drawing/2014/main" id="{A071C9B7-E6CD-4701-875B-599652FBBD76}"/>
                </a:ext>
              </a:extLst>
            </p:cNvPr>
            <p:cNvSpPr>
              <a:spLocks/>
            </p:cNvSpPr>
            <p:nvPr/>
          </p:nvSpPr>
          <p:spPr bwMode="auto">
            <a:xfrm>
              <a:off x="7986713" y="4519613"/>
              <a:ext cx="31750" cy="26987"/>
            </a:xfrm>
            <a:custGeom>
              <a:avLst/>
              <a:gdLst>
                <a:gd name="T0" fmla="*/ 0 w 17"/>
                <a:gd name="T1" fmla="*/ 0 h 17"/>
                <a:gd name="T2" fmla="*/ 2147483647 w 17"/>
                <a:gd name="T3" fmla="*/ 2147483647 h 17"/>
                <a:gd name="T4" fmla="*/ 2147483647 w 17"/>
                <a:gd name="T5" fmla="*/ 2147483647 h 17"/>
                <a:gd name="T6" fmla="*/ 2147483647 w 17"/>
                <a:gd name="T7" fmla="*/ 0 h 17"/>
                <a:gd name="T8" fmla="*/ 0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0"/>
                  </a:moveTo>
                  <a:lnTo>
                    <a:pt x="16" y="16"/>
                  </a:lnTo>
                  <a:lnTo>
                    <a:pt x="16" y="7"/>
                  </a:lnTo>
                  <a:lnTo>
                    <a:pt x="16" y="0"/>
                  </a:lnTo>
                  <a:lnTo>
                    <a:pt x="0"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01" name="Freeform 357">
              <a:extLst>
                <a:ext uri="{FF2B5EF4-FFF2-40B4-BE49-F238E27FC236}">
                  <a16:creationId xmlns:a16="http://schemas.microsoft.com/office/drawing/2014/main" id="{89152D87-7078-4E8E-A94C-4ECCBD6CBDD1}"/>
                </a:ext>
              </a:extLst>
            </p:cNvPr>
            <p:cNvSpPr>
              <a:spLocks/>
            </p:cNvSpPr>
            <p:nvPr/>
          </p:nvSpPr>
          <p:spPr bwMode="auto">
            <a:xfrm>
              <a:off x="7986713" y="4519613"/>
              <a:ext cx="31750" cy="26987"/>
            </a:xfrm>
            <a:custGeom>
              <a:avLst/>
              <a:gdLst>
                <a:gd name="T0" fmla="*/ 0 w 17"/>
                <a:gd name="T1" fmla="*/ 0 h 17"/>
                <a:gd name="T2" fmla="*/ 2147483647 w 17"/>
                <a:gd name="T3" fmla="*/ 2147483647 h 17"/>
                <a:gd name="T4" fmla="*/ 2147483647 w 17"/>
                <a:gd name="T5" fmla="*/ 2147483647 h 17"/>
                <a:gd name="T6" fmla="*/ 2147483647 w 17"/>
                <a:gd name="T7" fmla="*/ 0 h 17"/>
                <a:gd name="T8" fmla="*/ 0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0"/>
                  </a:moveTo>
                  <a:lnTo>
                    <a:pt x="16" y="16"/>
                  </a:lnTo>
                  <a:lnTo>
                    <a:pt x="16" y="7"/>
                  </a:lnTo>
                  <a:lnTo>
                    <a:pt x="16" y="0"/>
                  </a:lnTo>
                  <a:lnTo>
                    <a:pt x="0" y="0"/>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02" name="Freeform 358">
              <a:extLst>
                <a:ext uri="{FF2B5EF4-FFF2-40B4-BE49-F238E27FC236}">
                  <a16:creationId xmlns:a16="http://schemas.microsoft.com/office/drawing/2014/main" id="{6B31AA20-348F-46A7-9E56-BB8ACE9B035E}"/>
                </a:ext>
              </a:extLst>
            </p:cNvPr>
            <p:cNvSpPr>
              <a:spLocks/>
            </p:cNvSpPr>
            <p:nvPr/>
          </p:nvSpPr>
          <p:spPr bwMode="auto">
            <a:xfrm>
              <a:off x="7518400" y="4292600"/>
              <a:ext cx="65088" cy="79375"/>
            </a:xfrm>
            <a:custGeom>
              <a:avLst/>
              <a:gdLst>
                <a:gd name="T0" fmla="*/ 0 w 34"/>
                <a:gd name="T1" fmla="*/ 2147483647 h 50"/>
                <a:gd name="T2" fmla="*/ 2147483647 w 34"/>
                <a:gd name="T3" fmla="*/ 2147483647 h 50"/>
                <a:gd name="T4" fmla="*/ 2147483647 w 34"/>
                <a:gd name="T5" fmla="*/ 2147483647 h 50"/>
                <a:gd name="T6" fmla="*/ 2147483647 w 34"/>
                <a:gd name="T7" fmla="*/ 2147483647 h 50"/>
                <a:gd name="T8" fmla="*/ 2147483647 w 34"/>
                <a:gd name="T9" fmla="*/ 2147483647 h 50"/>
                <a:gd name="T10" fmla="*/ 2147483647 w 34"/>
                <a:gd name="T11" fmla="*/ 0 h 50"/>
                <a:gd name="T12" fmla="*/ 0 w 34"/>
                <a:gd name="T13" fmla="*/ 2147483647 h 50"/>
                <a:gd name="T14" fmla="*/ 0 60000 65536"/>
                <a:gd name="T15" fmla="*/ 0 60000 65536"/>
                <a:gd name="T16" fmla="*/ 0 60000 65536"/>
                <a:gd name="T17" fmla="*/ 0 60000 65536"/>
                <a:gd name="T18" fmla="*/ 0 60000 65536"/>
                <a:gd name="T19" fmla="*/ 0 60000 65536"/>
                <a:gd name="T20" fmla="*/ 0 60000 65536"/>
                <a:gd name="T21" fmla="*/ 0 w 34"/>
                <a:gd name="T22" fmla="*/ 0 h 50"/>
                <a:gd name="T23" fmla="*/ 34 w 34"/>
                <a:gd name="T24" fmla="*/ 50 h 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50">
                  <a:moveTo>
                    <a:pt x="0" y="25"/>
                  </a:moveTo>
                  <a:lnTo>
                    <a:pt x="9" y="49"/>
                  </a:lnTo>
                  <a:lnTo>
                    <a:pt x="24" y="49"/>
                  </a:lnTo>
                  <a:lnTo>
                    <a:pt x="33" y="34"/>
                  </a:lnTo>
                  <a:lnTo>
                    <a:pt x="15" y="9"/>
                  </a:lnTo>
                  <a:lnTo>
                    <a:pt x="9" y="0"/>
                  </a:lnTo>
                  <a:lnTo>
                    <a:pt x="0" y="25"/>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03" name="Freeform 359">
              <a:extLst>
                <a:ext uri="{FF2B5EF4-FFF2-40B4-BE49-F238E27FC236}">
                  <a16:creationId xmlns:a16="http://schemas.microsoft.com/office/drawing/2014/main" id="{78763651-65DA-4FC4-A8DB-E9801350553B}"/>
                </a:ext>
              </a:extLst>
            </p:cNvPr>
            <p:cNvSpPr>
              <a:spLocks/>
            </p:cNvSpPr>
            <p:nvPr/>
          </p:nvSpPr>
          <p:spPr bwMode="auto">
            <a:xfrm>
              <a:off x="8232775" y="4084638"/>
              <a:ext cx="66675" cy="38100"/>
            </a:xfrm>
            <a:custGeom>
              <a:avLst/>
              <a:gdLst>
                <a:gd name="T0" fmla="*/ 0 w 35"/>
                <a:gd name="T1" fmla="*/ 2147483647 h 24"/>
                <a:gd name="T2" fmla="*/ 0 w 35"/>
                <a:gd name="T3" fmla="*/ 2147483647 h 24"/>
                <a:gd name="T4" fmla="*/ 2147483647 w 35"/>
                <a:gd name="T5" fmla="*/ 2147483647 h 24"/>
                <a:gd name="T6" fmla="*/ 2147483647 w 35"/>
                <a:gd name="T7" fmla="*/ 2147483647 h 24"/>
                <a:gd name="T8" fmla="*/ 2147483647 w 35"/>
                <a:gd name="T9" fmla="*/ 0 h 24"/>
                <a:gd name="T10" fmla="*/ 2147483647 w 35"/>
                <a:gd name="T11" fmla="*/ 0 h 24"/>
                <a:gd name="T12" fmla="*/ 0 w 35"/>
                <a:gd name="T13" fmla="*/ 2147483647 h 24"/>
                <a:gd name="T14" fmla="*/ 0 60000 65536"/>
                <a:gd name="T15" fmla="*/ 0 60000 65536"/>
                <a:gd name="T16" fmla="*/ 0 60000 65536"/>
                <a:gd name="T17" fmla="*/ 0 60000 65536"/>
                <a:gd name="T18" fmla="*/ 0 60000 65536"/>
                <a:gd name="T19" fmla="*/ 0 60000 65536"/>
                <a:gd name="T20" fmla="*/ 0 60000 65536"/>
                <a:gd name="T21" fmla="*/ 0 w 35"/>
                <a:gd name="T22" fmla="*/ 0 h 24"/>
                <a:gd name="T23" fmla="*/ 35 w 35"/>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5" h="24">
                  <a:moveTo>
                    <a:pt x="0" y="6"/>
                  </a:moveTo>
                  <a:lnTo>
                    <a:pt x="0" y="16"/>
                  </a:lnTo>
                  <a:lnTo>
                    <a:pt x="17" y="23"/>
                  </a:lnTo>
                  <a:lnTo>
                    <a:pt x="24" y="16"/>
                  </a:lnTo>
                  <a:lnTo>
                    <a:pt x="34" y="0"/>
                  </a:lnTo>
                  <a:lnTo>
                    <a:pt x="9" y="0"/>
                  </a:lnTo>
                  <a:lnTo>
                    <a:pt x="0" y="6"/>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04" name="Freeform 360">
              <a:extLst>
                <a:ext uri="{FF2B5EF4-FFF2-40B4-BE49-F238E27FC236}">
                  <a16:creationId xmlns:a16="http://schemas.microsoft.com/office/drawing/2014/main" id="{E1887261-FA0F-4A24-A3C3-03EB54F4301E}"/>
                </a:ext>
              </a:extLst>
            </p:cNvPr>
            <p:cNvSpPr>
              <a:spLocks/>
            </p:cNvSpPr>
            <p:nvPr/>
          </p:nvSpPr>
          <p:spPr bwMode="auto">
            <a:xfrm>
              <a:off x="8513763" y="3962400"/>
              <a:ext cx="49212" cy="66675"/>
            </a:xfrm>
            <a:custGeom>
              <a:avLst/>
              <a:gdLst>
                <a:gd name="T0" fmla="*/ 0 w 26"/>
                <a:gd name="T1" fmla="*/ 2147483647 h 41"/>
                <a:gd name="T2" fmla="*/ 0 w 26"/>
                <a:gd name="T3" fmla="*/ 2147483647 h 41"/>
                <a:gd name="T4" fmla="*/ 2147483647 w 26"/>
                <a:gd name="T5" fmla="*/ 2147483647 h 41"/>
                <a:gd name="T6" fmla="*/ 2147483647 w 26"/>
                <a:gd name="T7" fmla="*/ 0 h 41"/>
                <a:gd name="T8" fmla="*/ 2147483647 w 26"/>
                <a:gd name="T9" fmla="*/ 0 h 41"/>
                <a:gd name="T10" fmla="*/ 0 w 26"/>
                <a:gd name="T11" fmla="*/ 2147483647 h 41"/>
                <a:gd name="T12" fmla="*/ 0 60000 65536"/>
                <a:gd name="T13" fmla="*/ 0 60000 65536"/>
                <a:gd name="T14" fmla="*/ 0 60000 65536"/>
                <a:gd name="T15" fmla="*/ 0 60000 65536"/>
                <a:gd name="T16" fmla="*/ 0 60000 65536"/>
                <a:gd name="T17" fmla="*/ 0 60000 65536"/>
                <a:gd name="T18" fmla="*/ 0 w 26"/>
                <a:gd name="T19" fmla="*/ 0 h 41"/>
                <a:gd name="T20" fmla="*/ 26 w 26"/>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26" h="41">
                  <a:moveTo>
                    <a:pt x="0" y="25"/>
                  </a:moveTo>
                  <a:lnTo>
                    <a:pt x="0" y="33"/>
                  </a:lnTo>
                  <a:lnTo>
                    <a:pt x="8" y="40"/>
                  </a:lnTo>
                  <a:lnTo>
                    <a:pt x="25" y="0"/>
                  </a:lnTo>
                  <a:lnTo>
                    <a:pt x="17" y="0"/>
                  </a:lnTo>
                  <a:lnTo>
                    <a:pt x="0" y="25"/>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05" name="Freeform 361">
              <a:extLst>
                <a:ext uri="{FF2B5EF4-FFF2-40B4-BE49-F238E27FC236}">
                  <a16:creationId xmlns:a16="http://schemas.microsoft.com/office/drawing/2014/main" id="{97D8B926-08B6-4F61-8100-01D340F71565}"/>
                </a:ext>
              </a:extLst>
            </p:cNvPr>
            <p:cNvSpPr>
              <a:spLocks/>
            </p:cNvSpPr>
            <p:nvPr/>
          </p:nvSpPr>
          <p:spPr bwMode="auto">
            <a:xfrm>
              <a:off x="8748713" y="3752850"/>
              <a:ext cx="61912" cy="79375"/>
            </a:xfrm>
            <a:custGeom>
              <a:avLst/>
              <a:gdLst>
                <a:gd name="T0" fmla="*/ 0 w 33"/>
                <a:gd name="T1" fmla="*/ 2147483647 h 49"/>
                <a:gd name="T2" fmla="*/ 0 w 33"/>
                <a:gd name="T3" fmla="*/ 2147483647 h 49"/>
                <a:gd name="T4" fmla="*/ 2147483647 w 33"/>
                <a:gd name="T5" fmla="*/ 2147483647 h 49"/>
                <a:gd name="T6" fmla="*/ 2147483647 w 33"/>
                <a:gd name="T7" fmla="*/ 2147483647 h 49"/>
                <a:gd name="T8" fmla="*/ 2147483647 w 33"/>
                <a:gd name="T9" fmla="*/ 2147483647 h 49"/>
                <a:gd name="T10" fmla="*/ 2147483647 w 33"/>
                <a:gd name="T11" fmla="*/ 2147483647 h 49"/>
                <a:gd name="T12" fmla="*/ 2147483647 w 33"/>
                <a:gd name="T13" fmla="*/ 2147483647 h 49"/>
                <a:gd name="T14" fmla="*/ 2147483647 w 33"/>
                <a:gd name="T15" fmla="*/ 2147483647 h 49"/>
                <a:gd name="T16" fmla="*/ 2147483647 w 33"/>
                <a:gd name="T17" fmla="*/ 0 h 49"/>
                <a:gd name="T18" fmla="*/ 0 w 33"/>
                <a:gd name="T19" fmla="*/ 2147483647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
                <a:gd name="T31" fmla="*/ 0 h 49"/>
                <a:gd name="T32" fmla="*/ 33 w 33"/>
                <a:gd name="T33" fmla="*/ 49 h 4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 h="49">
                  <a:moveTo>
                    <a:pt x="0" y="7"/>
                  </a:moveTo>
                  <a:lnTo>
                    <a:pt x="0" y="17"/>
                  </a:lnTo>
                  <a:lnTo>
                    <a:pt x="7" y="17"/>
                  </a:lnTo>
                  <a:lnTo>
                    <a:pt x="7" y="41"/>
                  </a:lnTo>
                  <a:lnTo>
                    <a:pt x="16" y="48"/>
                  </a:lnTo>
                  <a:lnTo>
                    <a:pt x="22" y="41"/>
                  </a:lnTo>
                  <a:lnTo>
                    <a:pt x="32" y="17"/>
                  </a:lnTo>
                  <a:lnTo>
                    <a:pt x="22" y="7"/>
                  </a:lnTo>
                  <a:lnTo>
                    <a:pt x="7" y="0"/>
                  </a:lnTo>
                  <a:lnTo>
                    <a:pt x="0" y="7"/>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06" name="Freeform 362">
              <a:extLst>
                <a:ext uri="{FF2B5EF4-FFF2-40B4-BE49-F238E27FC236}">
                  <a16:creationId xmlns:a16="http://schemas.microsoft.com/office/drawing/2014/main" id="{E5E7272A-B3E7-4401-A4A4-82B3C24AE692}"/>
                </a:ext>
              </a:extLst>
            </p:cNvPr>
            <p:cNvSpPr>
              <a:spLocks/>
            </p:cNvSpPr>
            <p:nvPr/>
          </p:nvSpPr>
          <p:spPr bwMode="auto">
            <a:xfrm>
              <a:off x="8809038" y="3752850"/>
              <a:ext cx="65087" cy="30163"/>
            </a:xfrm>
            <a:custGeom>
              <a:avLst/>
              <a:gdLst>
                <a:gd name="T0" fmla="*/ 0 w 33"/>
                <a:gd name="T1" fmla="*/ 2147483647 h 18"/>
                <a:gd name="T2" fmla="*/ 0 w 33"/>
                <a:gd name="T3" fmla="*/ 2147483647 h 18"/>
                <a:gd name="T4" fmla="*/ 2147483647 w 33"/>
                <a:gd name="T5" fmla="*/ 2147483647 h 18"/>
                <a:gd name="T6" fmla="*/ 2147483647 w 33"/>
                <a:gd name="T7" fmla="*/ 2147483647 h 18"/>
                <a:gd name="T8" fmla="*/ 2147483647 w 33"/>
                <a:gd name="T9" fmla="*/ 2147483647 h 18"/>
                <a:gd name="T10" fmla="*/ 2147483647 w 33"/>
                <a:gd name="T11" fmla="*/ 0 h 18"/>
                <a:gd name="T12" fmla="*/ 2147483647 w 33"/>
                <a:gd name="T13" fmla="*/ 0 h 18"/>
                <a:gd name="T14" fmla="*/ 0 w 33"/>
                <a:gd name="T15" fmla="*/ 2147483647 h 18"/>
                <a:gd name="T16" fmla="*/ 0 60000 65536"/>
                <a:gd name="T17" fmla="*/ 0 60000 65536"/>
                <a:gd name="T18" fmla="*/ 0 60000 65536"/>
                <a:gd name="T19" fmla="*/ 0 60000 65536"/>
                <a:gd name="T20" fmla="*/ 0 60000 65536"/>
                <a:gd name="T21" fmla="*/ 0 60000 65536"/>
                <a:gd name="T22" fmla="*/ 0 60000 65536"/>
                <a:gd name="T23" fmla="*/ 0 60000 65536"/>
                <a:gd name="T24" fmla="*/ 0 w 33"/>
                <a:gd name="T25" fmla="*/ 0 h 18"/>
                <a:gd name="T26" fmla="*/ 33 w 33"/>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3" h="18">
                  <a:moveTo>
                    <a:pt x="0" y="7"/>
                  </a:moveTo>
                  <a:lnTo>
                    <a:pt x="0" y="17"/>
                  </a:lnTo>
                  <a:lnTo>
                    <a:pt x="9" y="17"/>
                  </a:lnTo>
                  <a:lnTo>
                    <a:pt x="15" y="7"/>
                  </a:lnTo>
                  <a:lnTo>
                    <a:pt x="24" y="7"/>
                  </a:lnTo>
                  <a:lnTo>
                    <a:pt x="32" y="0"/>
                  </a:lnTo>
                  <a:lnTo>
                    <a:pt x="15" y="0"/>
                  </a:lnTo>
                  <a:lnTo>
                    <a:pt x="0" y="7"/>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07" name="Freeform 363">
              <a:extLst>
                <a:ext uri="{FF2B5EF4-FFF2-40B4-BE49-F238E27FC236}">
                  <a16:creationId xmlns:a16="http://schemas.microsoft.com/office/drawing/2014/main" id="{BC6FF9D5-2023-495A-80DF-B0D76280A8D0}"/>
                </a:ext>
              </a:extLst>
            </p:cNvPr>
            <p:cNvSpPr>
              <a:spLocks/>
            </p:cNvSpPr>
            <p:nvPr/>
          </p:nvSpPr>
          <p:spPr bwMode="auto">
            <a:xfrm>
              <a:off x="8780463" y="3554413"/>
              <a:ext cx="263525" cy="212725"/>
            </a:xfrm>
            <a:custGeom>
              <a:avLst/>
              <a:gdLst>
                <a:gd name="T0" fmla="*/ 0 w 138"/>
                <a:gd name="T1" fmla="*/ 2147483647 h 130"/>
                <a:gd name="T2" fmla="*/ 0 w 138"/>
                <a:gd name="T3" fmla="*/ 2147483647 h 130"/>
                <a:gd name="T4" fmla="*/ 2147483647 w 138"/>
                <a:gd name="T5" fmla="*/ 2147483647 h 130"/>
                <a:gd name="T6" fmla="*/ 2147483647 w 138"/>
                <a:gd name="T7" fmla="*/ 2147483647 h 130"/>
                <a:gd name="T8" fmla="*/ 2147483647 w 138"/>
                <a:gd name="T9" fmla="*/ 2147483647 h 130"/>
                <a:gd name="T10" fmla="*/ 2147483647 w 138"/>
                <a:gd name="T11" fmla="*/ 2147483647 h 130"/>
                <a:gd name="T12" fmla="*/ 2147483647 w 138"/>
                <a:gd name="T13" fmla="*/ 2147483647 h 130"/>
                <a:gd name="T14" fmla="*/ 2147483647 w 138"/>
                <a:gd name="T15" fmla="*/ 2147483647 h 130"/>
                <a:gd name="T16" fmla="*/ 2147483647 w 138"/>
                <a:gd name="T17" fmla="*/ 2147483647 h 130"/>
                <a:gd name="T18" fmla="*/ 2147483647 w 138"/>
                <a:gd name="T19" fmla="*/ 2147483647 h 130"/>
                <a:gd name="T20" fmla="*/ 2147483647 w 138"/>
                <a:gd name="T21" fmla="*/ 2147483647 h 130"/>
                <a:gd name="T22" fmla="*/ 2147483647 w 138"/>
                <a:gd name="T23" fmla="*/ 2147483647 h 130"/>
                <a:gd name="T24" fmla="*/ 2147483647 w 138"/>
                <a:gd name="T25" fmla="*/ 2147483647 h 130"/>
                <a:gd name="T26" fmla="*/ 2147483647 w 138"/>
                <a:gd name="T27" fmla="*/ 2147483647 h 130"/>
                <a:gd name="T28" fmla="*/ 2147483647 w 138"/>
                <a:gd name="T29" fmla="*/ 2147483647 h 130"/>
                <a:gd name="T30" fmla="*/ 2147483647 w 138"/>
                <a:gd name="T31" fmla="*/ 2147483647 h 130"/>
                <a:gd name="T32" fmla="*/ 2147483647 w 138"/>
                <a:gd name="T33" fmla="*/ 2147483647 h 130"/>
                <a:gd name="T34" fmla="*/ 2147483647 w 138"/>
                <a:gd name="T35" fmla="*/ 2147483647 h 130"/>
                <a:gd name="T36" fmla="*/ 2147483647 w 138"/>
                <a:gd name="T37" fmla="*/ 2147483647 h 130"/>
                <a:gd name="T38" fmla="*/ 2147483647 w 138"/>
                <a:gd name="T39" fmla="*/ 2147483647 h 130"/>
                <a:gd name="T40" fmla="*/ 2147483647 w 138"/>
                <a:gd name="T41" fmla="*/ 2147483647 h 130"/>
                <a:gd name="T42" fmla="*/ 2147483647 w 138"/>
                <a:gd name="T43" fmla="*/ 0 h 130"/>
                <a:gd name="T44" fmla="*/ 2147483647 w 138"/>
                <a:gd name="T45" fmla="*/ 2147483647 h 130"/>
                <a:gd name="T46" fmla="*/ 2147483647 w 138"/>
                <a:gd name="T47" fmla="*/ 2147483647 h 130"/>
                <a:gd name="T48" fmla="*/ 2147483647 w 138"/>
                <a:gd name="T49" fmla="*/ 2147483647 h 130"/>
                <a:gd name="T50" fmla="*/ 2147483647 w 138"/>
                <a:gd name="T51" fmla="*/ 2147483647 h 130"/>
                <a:gd name="T52" fmla="*/ 2147483647 w 138"/>
                <a:gd name="T53" fmla="*/ 2147483647 h 130"/>
                <a:gd name="T54" fmla="*/ 2147483647 w 138"/>
                <a:gd name="T55" fmla="*/ 2147483647 h 130"/>
                <a:gd name="T56" fmla="*/ 2147483647 w 138"/>
                <a:gd name="T57" fmla="*/ 2147483647 h 130"/>
                <a:gd name="T58" fmla="*/ 2147483647 w 138"/>
                <a:gd name="T59" fmla="*/ 2147483647 h 130"/>
                <a:gd name="T60" fmla="*/ 2147483647 w 138"/>
                <a:gd name="T61" fmla="*/ 2147483647 h 130"/>
                <a:gd name="T62" fmla="*/ 2147483647 w 138"/>
                <a:gd name="T63" fmla="*/ 2147483647 h 130"/>
                <a:gd name="T64" fmla="*/ 0 w 138"/>
                <a:gd name="T65" fmla="*/ 2147483647 h 13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38"/>
                <a:gd name="T100" fmla="*/ 0 h 130"/>
                <a:gd name="T101" fmla="*/ 138 w 138"/>
                <a:gd name="T102" fmla="*/ 130 h 13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38" h="130">
                  <a:moveTo>
                    <a:pt x="0" y="114"/>
                  </a:moveTo>
                  <a:lnTo>
                    <a:pt x="0" y="122"/>
                  </a:lnTo>
                  <a:lnTo>
                    <a:pt x="16" y="122"/>
                  </a:lnTo>
                  <a:lnTo>
                    <a:pt x="48" y="105"/>
                  </a:lnTo>
                  <a:lnTo>
                    <a:pt x="56" y="114"/>
                  </a:lnTo>
                  <a:lnTo>
                    <a:pt x="56" y="122"/>
                  </a:lnTo>
                  <a:lnTo>
                    <a:pt x="65" y="129"/>
                  </a:lnTo>
                  <a:lnTo>
                    <a:pt x="72" y="114"/>
                  </a:lnTo>
                  <a:lnTo>
                    <a:pt x="72" y="105"/>
                  </a:lnTo>
                  <a:lnTo>
                    <a:pt x="80" y="114"/>
                  </a:lnTo>
                  <a:lnTo>
                    <a:pt x="88" y="114"/>
                  </a:lnTo>
                  <a:lnTo>
                    <a:pt x="97" y="105"/>
                  </a:lnTo>
                  <a:lnTo>
                    <a:pt x="105" y="114"/>
                  </a:lnTo>
                  <a:lnTo>
                    <a:pt x="105" y="105"/>
                  </a:lnTo>
                  <a:lnTo>
                    <a:pt x="112" y="97"/>
                  </a:lnTo>
                  <a:lnTo>
                    <a:pt x="112" y="105"/>
                  </a:lnTo>
                  <a:lnTo>
                    <a:pt x="121" y="105"/>
                  </a:lnTo>
                  <a:lnTo>
                    <a:pt x="130" y="97"/>
                  </a:lnTo>
                  <a:lnTo>
                    <a:pt x="130" y="57"/>
                  </a:lnTo>
                  <a:lnTo>
                    <a:pt x="137" y="57"/>
                  </a:lnTo>
                  <a:lnTo>
                    <a:pt x="137" y="8"/>
                  </a:lnTo>
                  <a:lnTo>
                    <a:pt x="130" y="0"/>
                  </a:lnTo>
                  <a:lnTo>
                    <a:pt x="130" y="8"/>
                  </a:lnTo>
                  <a:lnTo>
                    <a:pt x="121" y="8"/>
                  </a:lnTo>
                  <a:lnTo>
                    <a:pt x="112" y="40"/>
                  </a:lnTo>
                  <a:lnTo>
                    <a:pt x="97" y="65"/>
                  </a:lnTo>
                  <a:lnTo>
                    <a:pt x="80" y="82"/>
                  </a:lnTo>
                  <a:lnTo>
                    <a:pt x="80" y="65"/>
                  </a:lnTo>
                  <a:lnTo>
                    <a:pt x="72" y="73"/>
                  </a:lnTo>
                  <a:lnTo>
                    <a:pt x="65" y="97"/>
                  </a:lnTo>
                  <a:lnTo>
                    <a:pt x="56" y="97"/>
                  </a:lnTo>
                  <a:lnTo>
                    <a:pt x="25" y="97"/>
                  </a:lnTo>
                  <a:lnTo>
                    <a:pt x="0" y="114"/>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08" name="Freeform 364">
              <a:extLst>
                <a:ext uri="{FF2B5EF4-FFF2-40B4-BE49-F238E27FC236}">
                  <a16:creationId xmlns:a16="http://schemas.microsoft.com/office/drawing/2014/main" id="{31BB1C4D-FA29-4678-A8FB-96EAC0BEFE9B}"/>
                </a:ext>
              </a:extLst>
            </p:cNvPr>
            <p:cNvSpPr>
              <a:spLocks/>
            </p:cNvSpPr>
            <p:nvPr/>
          </p:nvSpPr>
          <p:spPr bwMode="auto">
            <a:xfrm>
              <a:off x="8994775" y="3435350"/>
              <a:ext cx="157163" cy="120650"/>
            </a:xfrm>
            <a:custGeom>
              <a:avLst/>
              <a:gdLst>
                <a:gd name="T0" fmla="*/ 0 w 82"/>
                <a:gd name="T1" fmla="*/ 2147483647 h 74"/>
                <a:gd name="T2" fmla="*/ 0 w 82"/>
                <a:gd name="T3" fmla="*/ 2147483647 h 74"/>
                <a:gd name="T4" fmla="*/ 2147483647 w 82"/>
                <a:gd name="T5" fmla="*/ 2147483647 h 74"/>
                <a:gd name="T6" fmla="*/ 2147483647 w 82"/>
                <a:gd name="T7" fmla="*/ 2147483647 h 74"/>
                <a:gd name="T8" fmla="*/ 2147483647 w 82"/>
                <a:gd name="T9" fmla="*/ 2147483647 h 74"/>
                <a:gd name="T10" fmla="*/ 2147483647 w 82"/>
                <a:gd name="T11" fmla="*/ 2147483647 h 74"/>
                <a:gd name="T12" fmla="*/ 2147483647 w 82"/>
                <a:gd name="T13" fmla="*/ 2147483647 h 74"/>
                <a:gd name="T14" fmla="*/ 2147483647 w 82"/>
                <a:gd name="T15" fmla="*/ 2147483647 h 74"/>
                <a:gd name="T16" fmla="*/ 2147483647 w 82"/>
                <a:gd name="T17" fmla="*/ 2147483647 h 74"/>
                <a:gd name="T18" fmla="*/ 2147483647 w 82"/>
                <a:gd name="T19" fmla="*/ 2147483647 h 74"/>
                <a:gd name="T20" fmla="*/ 2147483647 w 82"/>
                <a:gd name="T21" fmla="*/ 2147483647 h 74"/>
                <a:gd name="T22" fmla="*/ 2147483647 w 82"/>
                <a:gd name="T23" fmla="*/ 2147483647 h 74"/>
                <a:gd name="T24" fmla="*/ 2147483647 w 82"/>
                <a:gd name="T25" fmla="*/ 2147483647 h 74"/>
                <a:gd name="T26" fmla="*/ 2147483647 w 82"/>
                <a:gd name="T27" fmla="*/ 2147483647 h 74"/>
                <a:gd name="T28" fmla="*/ 2147483647 w 82"/>
                <a:gd name="T29" fmla="*/ 2147483647 h 74"/>
                <a:gd name="T30" fmla="*/ 2147483647 w 82"/>
                <a:gd name="T31" fmla="*/ 0 h 74"/>
                <a:gd name="T32" fmla="*/ 2147483647 w 82"/>
                <a:gd name="T33" fmla="*/ 2147483647 h 74"/>
                <a:gd name="T34" fmla="*/ 2147483647 w 82"/>
                <a:gd name="T35" fmla="*/ 2147483647 h 74"/>
                <a:gd name="T36" fmla="*/ 2147483647 w 82"/>
                <a:gd name="T37" fmla="*/ 2147483647 h 74"/>
                <a:gd name="T38" fmla="*/ 2147483647 w 82"/>
                <a:gd name="T39" fmla="*/ 2147483647 h 74"/>
                <a:gd name="T40" fmla="*/ 2147483647 w 82"/>
                <a:gd name="T41" fmla="*/ 2147483647 h 74"/>
                <a:gd name="T42" fmla="*/ 0 w 82"/>
                <a:gd name="T43" fmla="*/ 2147483647 h 7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2"/>
                <a:gd name="T67" fmla="*/ 0 h 74"/>
                <a:gd name="T68" fmla="*/ 82 w 82"/>
                <a:gd name="T69" fmla="*/ 74 h 7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2" h="74">
                  <a:moveTo>
                    <a:pt x="0" y="56"/>
                  </a:moveTo>
                  <a:lnTo>
                    <a:pt x="0" y="73"/>
                  </a:lnTo>
                  <a:lnTo>
                    <a:pt x="18" y="65"/>
                  </a:lnTo>
                  <a:lnTo>
                    <a:pt x="9" y="65"/>
                  </a:lnTo>
                  <a:lnTo>
                    <a:pt x="9" y="56"/>
                  </a:lnTo>
                  <a:lnTo>
                    <a:pt x="25" y="56"/>
                  </a:lnTo>
                  <a:lnTo>
                    <a:pt x="50" y="65"/>
                  </a:lnTo>
                  <a:lnTo>
                    <a:pt x="58" y="50"/>
                  </a:lnTo>
                  <a:lnTo>
                    <a:pt x="65" y="50"/>
                  </a:lnTo>
                  <a:lnTo>
                    <a:pt x="81" y="41"/>
                  </a:lnTo>
                  <a:lnTo>
                    <a:pt x="75" y="41"/>
                  </a:lnTo>
                  <a:lnTo>
                    <a:pt x="65" y="31"/>
                  </a:lnTo>
                  <a:lnTo>
                    <a:pt x="75" y="25"/>
                  </a:lnTo>
                  <a:lnTo>
                    <a:pt x="65" y="31"/>
                  </a:lnTo>
                  <a:lnTo>
                    <a:pt x="50" y="25"/>
                  </a:lnTo>
                  <a:lnTo>
                    <a:pt x="25" y="0"/>
                  </a:lnTo>
                  <a:lnTo>
                    <a:pt x="25" y="9"/>
                  </a:lnTo>
                  <a:lnTo>
                    <a:pt x="25" y="16"/>
                  </a:lnTo>
                  <a:lnTo>
                    <a:pt x="18" y="50"/>
                  </a:lnTo>
                  <a:lnTo>
                    <a:pt x="9" y="41"/>
                  </a:lnTo>
                  <a:lnTo>
                    <a:pt x="9" y="50"/>
                  </a:lnTo>
                  <a:lnTo>
                    <a:pt x="0" y="56"/>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09" name="Freeform 365">
              <a:extLst>
                <a:ext uri="{FF2B5EF4-FFF2-40B4-BE49-F238E27FC236}">
                  <a16:creationId xmlns:a16="http://schemas.microsoft.com/office/drawing/2014/main" id="{7860CB34-79D8-44A4-B828-D621509084EE}"/>
                </a:ext>
              </a:extLst>
            </p:cNvPr>
            <p:cNvSpPr>
              <a:spLocks/>
            </p:cNvSpPr>
            <p:nvPr/>
          </p:nvSpPr>
          <p:spPr bwMode="auto">
            <a:xfrm>
              <a:off x="9367838" y="3276600"/>
              <a:ext cx="33337" cy="26988"/>
            </a:xfrm>
            <a:custGeom>
              <a:avLst/>
              <a:gdLst>
                <a:gd name="T0" fmla="*/ 0 w 18"/>
                <a:gd name="T1" fmla="*/ 2147483647 h 17"/>
                <a:gd name="T2" fmla="*/ 0 w 18"/>
                <a:gd name="T3" fmla="*/ 2147483647 h 17"/>
                <a:gd name="T4" fmla="*/ 2147483647 w 18"/>
                <a:gd name="T5" fmla="*/ 2147483647 h 17"/>
                <a:gd name="T6" fmla="*/ 2147483647 w 18"/>
                <a:gd name="T7" fmla="*/ 0 h 17"/>
                <a:gd name="T8" fmla="*/ 0 w 18"/>
                <a:gd name="T9" fmla="*/ 2147483647 h 17"/>
                <a:gd name="T10" fmla="*/ 0 60000 65536"/>
                <a:gd name="T11" fmla="*/ 0 60000 65536"/>
                <a:gd name="T12" fmla="*/ 0 60000 65536"/>
                <a:gd name="T13" fmla="*/ 0 60000 65536"/>
                <a:gd name="T14" fmla="*/ 0 60000 65536"/>
                <a:gd name="T15" fmla="*/ 0 w 18"/>
                <a:gd name="T16" fmla="*/ 0 h 17"/>
                <a:gd name="T17" fmla="*/ 18 w 18"/>
                <a:gd name="T18" fmla="*/ 17 h 17"/>
              </a:gdLst>
              <a:ahLst/>
              <a:cxnLst>
                <a:cxn ang="T10">
                  <a:pos x="T0" y="T1"/>
                </a:cxn>
                <a:cxn ang="T11">
                  <a:pos x="T2" y="T3"/>
                </a:cxn>
                <a:cxn ang="T12">
                  <a:pos x="T4" y="T5"/>
                </a:cxn>
                <a:cxn ang="T13">
                  <a:pos x="T6" y="T7"/>
                </a:cxn>
                <a:cxn ang="T14">
                  <a:pos x="T8" y="T9"/>
                </a:cxn>
              </a:cxnLst>
              <a:rect l="T15" t="T16" r="T17" b="T18"/>
              <a:pathLst>
                <a:path w="18" h="17">
                  <a:moveTo>
                    <a:pt x="0" y="8"/>
                  </a:moveTo>
                  <a:lnTo>
                    <a:pt x="0" y="16"/>
                  </a:lnTo>
                  <a:lnTo>
                    <a:pt x="8" y="8"/>
                  </a:lnTo>
                  <a:lnTo>
                    <a:pt x="17" y="0"/>
                  </a:lnTo>
                  <a:lnTo>
                    <a:pt x="0" y="8"/>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10" name="Freeform 366">
              <a:extLst>
                <a:ext uri="{FF2B5EF4-FFF2-40B4-BE49-F238E27FC236}">
                  <a16:creationId xmlns:a16="http://schemas.microsoft.com/office/drawing/2014/main" id="{45E9FF0F-342C-49AA-8BE9-0F1DF53F7BF8}"/>
                </a:ext>
              </a:extLst>
            </p:cNvPr>
            <p:cNvSpPr>
              <a:spLocks/>
            </p:cNvSpPr>
            <p:nvPr/>
          </p:nvSpPr>
          <p:spPr bwMode="auto">
            <a:xfrm>
              <a:off x="9367838" y="3276600"/>
              <a:ext cx="33337" cy="26988"/>
            </a:xfrm>
            <a:custGeom>
              <a:avLst/>
              <a:gdLst>
                <a:gd name="T0" fmla="*/ 0 w 18"/>
                <a:gd name="T1" fmla="*/ 2147483647 h 17"/>
                <a:gd name="T2" fmla="*/ 0 w 18"/>
                <a:gd name="T3" fmla="*/ 2147483647 h 17"/>
                <a:gd name="T4" fmla="*/ 2147483647 w 18"/>
                <a:gd name="T5" fmla="*/ 2147483647 h 17"/>
                <a:gd name="T6" fmla="*/ 2147483647 w 18"/>
                <a:gd name="T7" fmla="*/ 0 h 17"/>
                <a:gd name="T8" fmla="*/ 0 w 18"/>
                <a:gd name="T9" fmla="*/ 2147483647 h 17"/>
                <a:gd name="T10" fmla="*/ 0 60000 65536"/>
                <a:gd name="T11" fmla="*/ 0 60000 65536"/>
                <a:gd name="T12" fmla="*/ 0 60000 65536"/>
                <a:gd name="T13" fmla="*/ 0 60000 65536"/>
                <a:gd name="T14" fmla="*/ 0 60000 65536"/>
                <a:gd name="T15" fmla="*/ 0 w 18"/>
                <a:gd name="T16" fmla="*/ 0 h 17"/>
                <a:gd name="T17" fmla="*/ 18 w 18"/>
                <a:gd name="T18" fmla="*/ 17 h 17"/>
              </a:gdLst>
              <a:ahLst/>
              <a:cxnLst>
                <a:cxn ang="T10">
                  <a:pos x="T0" y="T1"/>
                </a:cxn>
                <a:cxn ang="T11">
                  <a:pos x="T2" y="T3"/>
                </a:cxn>
                <a:cxn ang="T12">
                  <a:pos x="T4" y="T5"/>
                </a:cxn>
                <a:cxn ang="T13">
                  <a:pos x="T6" y="T7"/>
                </a:cxn>
                <a:cxn ang="T14">
                  <a:pos x="T8" y="T9"/>
                </a:cxn>
              </a:cxnLst>
              <a:rect l="T15" t="T16" r="T17" b="T18"/>
              <a:pathLst>
                <a:path w="18" h="17">
                  <a:moveTo>
                    <a:pt x="0" y="8"/>
                  </a:moveTo>
                  <a:lnTo>
                    <a:pt x="0" y="16"/>
                  </a:lnTo>
                  <a:lnTo>
                    <a:pt x="8" y="8"/>
                  </a:lnTo>
                  <a:lnTo>
                    <a:pt x="17" y="0"/>
                  </a:lnTo>
                  <a:lnTo>
                    <a:pt x="0" y="8"/>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11" name="Freeform 367">
              <a:extLst>
                <a:ext uri="{FF2B5EF4-FFF2-40B4-BE49-F238E27FC236}">
                  <a16:creationId xmlns:a16="http://schemas.microsoft.com/office/drawing/2014/main" id="{D9A903CE-B510-4AD6-8489-C0C92D03F594}"/>
                </a:ext>
              </a:extLst>
            </p:cNvPr>
            <p:cNvSpPr>
              <a:spLocks/>
            </p:cNvSpPr>
            <p:nvPr/>
          </p:nvSpPr>
          <p:spPr bwMode="auto">
            <a:xfrm>
              <a:off x="9571038" y="2973388"/>
              <a:ext cx="31750" cy="28575"/>
            </a:xfrm>
            <a:custGeom>
              <a:avLst/>
              <a:gdLst>
                <a:gd name="T0" fmla="*/ 0 w 17"/>
                <a:gd name="T1" fmla="*/ 2147483647 h 17"/>
                <a:gd name="T2" fmla="*/ 2147483647 w 17"/>
                <a:gd name="T3" fmla="*/ 2147483647 h 17"/>
                <a:gd name="T4" fmla="*/ 2147483647 w 17"/>
                <a:gd name="T5" fmla="*/ 0 h 17"/>
                <a:gd name="T6" fmla="*/ 2147483647 w 17"/>
                <a:gd name="T7" fmla="*/ 0 h 17"/>
                <a:gd name="T8" fmla="*/ 0 w 17"/>
                <a:gd name="T9" fmla="*/ 2147483647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16" y="7"/>
                  </a:lnTo>
                  <a:lnTo>
                    <a:pt x="16" y="0"/>
                  </a:lnTo>
                  <a:lnTo>
                    <a:pt x="10" y="0"/>
                  </a:lnTo>
                  <a:lnTo>
                    <a:pt x="0" y="16"/>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12" name="Freeform 368">
              <a:extLst>
                <a:ext uri="{FF2B5EF4-FFF2-40B4-BE49-F238E27FC236}">
                  <a16:creationId xmlns:a16="http://schemas.microsoft.com/office/drawing/2014/main" id="{D45DAFEF-01EB-4E18-8B4C-6A2FAB6594DE}"/>
                </a:ext>
              </a:extLst>
            </p:cNvPr>
            <p:cNvSpPr>
              <a:spLocks/>
            </p:cNvSpPr>
            <p:nvPr/>
          </p:nvSpPr>
          <p:spPr bwMode="auto">
            <a:xfrm>
              <a:off x="9571038" y="2973388"/>
              <a:ext cx="31750" cy="28575"/>
            </a:xfrm>
            <a:custGeom>
              <a:avLst/>
              <a:gdLst>
                <a:gd name="T0" fmla="*/ 0 w 17"/>
                <a:gd name="T1" fmla="*/ 2147483647 h 17"/>
                <a:gd name="T2" fmla="*/ 2147483647 w 17"/>
                <a:gd name="T3" fmla="*/ 2147483647 h 17"/>
                <a:gd name="T4" fmla="*/ 2147483647 w 17"/>
                <a:gd name="T5" fmla="*/ 0 h 17"/>
                <a:gd name="T6" fmla="*/ 2147483647 w 17"/>
                <a:gd name="T7" fmla="*/ 0 h 17"/>
                <a:gd name="T8" fmla="*/ 0 w 17"/>
                <a:gd name="T9" fmla="*/ 2147483647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16" y="7"/>
                  </a:lnTo>
                  <a:lnTo>
                    <a:pt x="16" y="0"/>
                  </a:lnTo>
                  <a:lnTo>
                    <a:pt x="10" y="0"/>
                  </a:lnTo>
                  <a:lnTo>
                    <a:pt x="0" y="16"/>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13" name="Freeform 369">
              <a:extLst>
                <a:ext uri="{FF2B5EF4-FFF2-40B4-BE49-F238E27FC236}">
                  <a16:creationId xmlns:a16="http://schemas.microsoft.com/office/drawing/2014/main" id="{1CECAA94-AA74-4EB3-8B5A-76AAFD5F5AC3}"/>
                </a:ext>
              </a:extLst>
            </p:cNvPr>
            <p:cNvSpPr>
              <a:spLocks/>
            </p:cNvSpPr>
            <p:nvPr/>
          </p:nvSpPr>
          <p:spPr bwMode="auto">
            <a:xfrm>
              <a:off x="9042400" y="3157538"/>
              <a:ext cx="63500" cy="279400"/>
            </a:xfrm>
            <a:custGeom>
              <a:avLst/>
              <a:gdLst>
                <a:gd name="T0" fmla="*/ 0 w 34"/>
                <a:gd name="T1" fmla="*/ 2147483647 h 172"/>
                <a:gd name="T2" fmla="*/ 0 w 34"/>
                <a:gd name="T3" fmla="*/ 2147483647 h 172"/>
                <a:gd name="T4" fmla="*/ 2147483647 w 34"/>
                <a:gd name="T5" fmla="*/ 2147483647 h 172"/>
                <a:gd name="T6" fmla="*/ 0 w 34"/>
                <a:gd name="T7" fmla="*/ 2147483647 h 172"/>
                <a:gd name="T8" fmla="*/ 2147483647 w 34"/>
                <a:gd name="T9" fmla="*/ 2147483647 h 172"/>
                <a:gd name="T10" fmla="*/ 0 w 34"/>
                <a:gd name="T11" fmla="*/ 2147483647 h 172"/>
                <a:gd name="T12" fmla="*/ 2147483647 w 34"/>
                <a:gd name="T13" fmla="*/ 2147483647 h 172"/>
                <a:gd name="T14" fmla="*/ 2147483647 w 34"/>
                <a:gd name="T15" fmla="*/ 2147483647 h 172"/>
                <a:gd name="T16" fmla="*/ 2147483647 w 34"/>
                <a:gd name="T17" fmla="*/ 2147483647 h 172"/>
                <a:gd name="T18" fmla="*/ 2147483647 w 34"/>
                <a:gd name="T19" fmla="*/ 2147483647 h 172"/>
                <a:gd name="T20" fmla="*/ 2147483647 w 34"/>
                <a:gd name="T21" fmla="*/ 2147483647 h 172"/>
                <a:gd name="T22" fmla="*/ 2147483647 w 34"/>
                <a:gd name="T23" fmla="*/ 2147483647 h 172"/>
                <a:gd name="T24" fmla="*/ 2147483647 w 34"/>
                <a:gd name="T25" fmla="*/ 2147483647 h 172"/>
                <a:gd name="T26" fmla="*/ 2147483647 w 34"/>
                <a:gd name="T27" fmla="*/ 2147483647 h 172"/>
                <a:gd name="T28" fmla="*/ 2147483647 w 34"/>
                <a:gd name="T29" fmla="*/ 2147483647 h 172"/>
                <a:gd name="T30" fmla="*/ 2147483647 w 34"/>
                <a:gd name="T31" fmla="*/ 2147483647 h 172"/>
                <a:gd name="T32" fmla="*/ 2147483647 w 34"/>
                <a:gd name="T33" fmla="*/ 0 h 172"/>
                <a:gd name="T34" fmla="*/ 2147483647 w 34"/>
                <a:gd name="T35" fmla="*/ 0 h 172"/>
                <a:gd name="T36" fmla="*/ 2147483647 w 34"/>
                <a:gd name="T37" fmla="*/ 2147483647 h 172"/>
                <a:gd name="T38" fmla="*/ 0 w 34"/>
                <a:gd name="T39" fmla="*/ 2147483647 h 17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4"/>
                <a:gd name="T61" fmla="*/ 0 h 172"/>
                <a:gd name="T62" fmla="*/ 34 w 34"/>
                <a:gd name="T63" fmla="*/ 172 h 17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4" h="172">
                  <a:moveTo>
                    <a:pt x="0" y="18"/>
                  </a:moveTo>
                  <a:lnTo>
                    <a:pt x="0" y="59"/>
                  </a:lnTo>
                  <a:lnTo>
                    <a:pt x="8" y="65"/>
                  </a:lnTo>
                  <a:lnTo>
                    <a:pt x="0" y="115"/>
                  </a:lnTo>
                  <a:lnTo>
                    <a:pt x="8" y="131"/>
                  </a:lnTo>
                  <a:lnTo>
                    <a:pt x="0" y="155"/>
                  </a:lnTo>
                  <a:lnTo>
                    <a:pt x="8" y="171"/>
                  </a:lnTo>
                  <a:lnTo>
                    <a:pt x="8" y="155"/>
                  </a:lnTo>
                  <a:lnTo>
                    <a:pt x="25" y="162"/>
                  </a:lnTo>
                  <a:lnTo>
                    <a:pt x="25" y="155"/>
                  </a:lnTo>
                  <a:lnTo>
                    <a:pt x="8" y="131"/>
                  </a:lnTo>
                  <a:lnTo>
                    <a:pt x="16" y="107"/>
                  </a:lnTo>
                  <a:lnTo>
                    <a:pt x="25" y="107"/>
                  </a:lnTo>
                  <a:lnTo>
                    <a:pt x="33" y="107"/>
                  </a:lnTo>
                  <a:lnTo>
                    <a:pt x="16" y="50"/>
                  </a:lnTo>
                  <a:lnTo>
                    <a:pt x="16" y="10"/>
                  </a:lnTo>
                  <a:lnTo>
                    <a:pt x="16" y="0"/>
                  </a:lnTo>
                  <a:lnTo>
                    <a:pt x="8" y="0"/>
                  </a:lnTo>
                  <a:lnTo>
                    <a:pt x="8" y="10"/>
                  </a:lnTo>
                  <a:lnTo>
                    <a:pt x="0" y="18"/>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14" name="Freeform 370">
              <a:extLst>
                <a:ext uri="{FF2B5EF4-FFF2-40B4-BE49-F238E27FC236}">
                  <a16:creationId xmlns:a16="http://schemas.microsoft.com/office/drawing/2014/main" id="{7CD5CA9F-D6BF-45A5-A9CE-2670B462C863}"/>
                </a:ext>
              </a:extLst>
            </p:cNvPr>
            <p:cNvSpPr>
              <a:spLocks/>
            </p:cNvSpPr>
            <p:nvPr/>
          </p:nvSpPr>
          <p:spPr bwMode="auto">
            <a:xfrm>
              <a:off x="9942513" y="2339975"/>
              <a:ext cx="111125" cy="53975"/>
            </a:xfrm>
            <a:custGeom>
              <a:avLst/>
              <a:gdLst>
                <a:gd name="T0" fmla="*/ 2147483647 w 59"/>
                <a:gd name="T1" fmla="*/ 2147483647 h 33"/>
                <a:gd name="T2" fmla="*/ 2147483647 w 59"/>
                <a:gd name="T3" fmla="*/ 2147483647 h 33"/>
                <a:gd name="T4" fmla="*/ 2147483647 w 59"/>
                <a:gd name="T5" fmla="*/ 2147483647 h 33"/>
                <a:gd name="T6" fmla="*/ 2147483647 w 59"/>
                <a:gd name="T7" fmla="*/ 0 h 33"/>
                <a:gd name="T8" fmla="*/ 2147483647 w 59"/>
                <a:gd name="T9" fmla="*/ 0 h 33"/>
                <a:gd name="T10" fmla="*/ 0 w 59"/>
                <a:gd name="T11" fmla="*/ 2147483647 h 33"/>
                <a:gd name="T12" fmla="*/ 2147483647 w 59"/>
                <a:gd name="T13" fmla="*/ 2147483647 h 33"/>
                <a:gd name="T14" fmla="*/ 2147483647 w 59"/>
                <a:gd name="T15" fmla="*/ 2147483647 h 33"/>
                <a:gd name="T16" fmla="*/ 0 60000 65536"/>
                <a:gd name="T17" fmla="*/ 0 60000 65536"/>
                <a:gd name="T18" fmla="*/ 0 60000 65536"/>
                <a:gd name="T19" fmla="*/ 0 60000 65536"/>
                <a:gd name="T20" fmla="*/ 0 60000 65536"/>
                <a:gd name="T21" fmla="*/ 0 60000 65536"/>
                <a:gd name="T22" fmla="*/ 0 60000 65536"/>
                <a:gd name="T23" fmla="*/ 0 60000 65536"/>
                <a:gd name="T24" fmla="*/ 0 w 59"/>
                <a:gd name="T25" fmla="*/ 0 h 33"/>
                <a:gd name="T26" fmla="*/ 59 w 59"/>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9" h="33">
                  <a:moveTo>
                    <a:pt x="18" y="25"/>
                  </a:moveTo>
                  <a:lnTo>
                    <a:pt x="33" y="25"/>
                  </a:lnTo>
                  <a:lnTo>
                    <a:pt x="58" y="16"/>
                  </a:lnTo>
                  <a:lnTo>
                    <a:pt x="42" y="0"/>
                  </a:lnTo>
                  <a:lnTo>
                    <a:pt x="18" y="0"/>
                  </a:lnTo>
                  <a:lnTo>
                    <a:pt x="0" y="16"/>
                  </a:lnTo>
                  <a:lnTo>
                    <a:pt x="8" y="32"/>
                  </a:lnTo>
                  <a:lnTo>
                    <a:pt x="18" y="25"/>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15" name="Freeform 371">
              <a:extLst>
                <a:ext uri="{FF2B5EF4-FFF2-40B4-BE49-F238E27FC236}">
                  <a16:creationId xmlns:a16="http://schemas.microsoft.com/office/drawing/2014/main" id="{88FAC29C-8B38-4222-8FB3-06498E68EDA8}"/>
                </a:ext>
              </a:extLst>
            </p:cNvPr>
            <p:cNvSpPr>
              <a:spLocks/>
            </p:cNvSpPr>
            <p:nvPr/>
          </p:nvSpPr>
          <p:spPr bwMode="auto">
            <a:xfrm>
              <a:off x="9012238" y="2179638"/>
              <a:ext cx="79375" cy="57150"/>
            </a:xfrm>
            <a:custGeom>
              <a:avLst/>
              <a:gdLst>
                <a:gd name="T0" fmla="*/ 0 w 42"/>
                <a:gd name="T1" fmla="*/ 2147483647 h 35"/>
                <a:gd name="T2" fmla="*/ 2147483647 w 42"/>
                <a:gd name="T3" fmla="*/ 2147483647 h 35"/>
                <a:gd name="T4" fmla="*/ 2147483647 w 42"/>
                <a:gd name="T5" fmla="*/ 2147483647 h 35"/>
                <a:gd name="T6" fmla="*/ 2147483647 w 42"/>
                <a:gd name="T7" fmla="*/ 2147483647 h 35"/>
                <a:gd name="T8" fmla="*/ 2147483647 w 42"/>
                <a:gd name="T9" fmla="*/ 0 h 35"/>
                <a:gd name="T10" fmla="*/ 2147483647 w 42"/>
                <a:gd name="T11" fmla="*/ 0 h 35"/>
                <a:gd name="T12" fmla="*/ 0 w 42"/>
                <a:gd name="T13" fmla="*/ 2147483647 h 35"/>
                <a:gd name="T14" fmla="*/ 0 60000 65536"/>
                <a:gd name="T15" fmla="*/ 0 60000 65536"/>
                <a:gd name="T16" fmla="*/ 0 60000 65536"/>
                <a:gd name="T17" fmla="*/ 0 60000 65536"/>
                <a:gd name="T18" fmla="*/ 0 60000 65536"/>
                <a:gd name="T19" fmla="*/ 0 60000 65536"/>
                <a:gd name="T20" fmla="*/ 0 60000 65536"/>
                <a:gd name="T21" fmla="*/ 0 w 42"/>
                <a:gd name="T22" fmla="*/ 0 h 35"/>
                <a:gd name="T23" fmla="*/ 42 w 42"/>
                <a:gd name="T24" fmla="*/ 35 h 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2" h="35">
                  <a:moveTo>
                    <a:pt x="0" y="17"/>
                  </a:moveTo>
                  <a:lnTo>
                    <a:pt x="16" y="24"/>
                  </a:lnTo>
                  <a:lnTo>
                    <a:pt x="41" y="34"/>
                  </a:lnTo>
                  <a:lnTo>
                    <a:pt x="41" y="17"/>
                  </a:lnTo>
                  <a:lnTo>
                    <a:pt x="24" y="0"/>
                  </a:lnTo>
                  <a:lnTo>
                    <a:pt x="9" y="0"/>
                  </a:lnTo>
                  <a:lnTo>
                    <a:pt x="0" y="17"/>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16" name="Freeform 372">
              <a:extLst>
                <a:ext uri="{FF2B5EF4-FFF2-40B4-BE49-F238E27FC236}">
                  <a16:creationId xmlns:a16="http://schemas.microsoft.com/office/drawing/2014/main" id="{CA04F4D5-28EB-4D59-ACCD-192FCCB1D876}"/>
                </a:ext>
              </a:extLst>
            </p:cNvPr>
            <p:cNvSpPr>
              <a:spLocks/>
            </p:cNvSpPr>
            <p:nvPr/>
          </p:nvSpPr>
          <p:spPr bwMode="auto">
            <a:xfrm>
              <a:off x="9012238" y="2154238"/>
              <a:ext cx="31750" cy="28575"/>
            </a:xfrm>
            <a:custGeom>
              <a:avLst/>
              <a:gdLst>
                <a:gd name="T0" fmla="*/ 0 w 17"/>
                <a:gd name="T1" fmla="*/ 0 h 17"/>
                <a:gd name="T2" fmla="*/ 0 w 17"/>
                <a:gd name="T3" fmla="*/ 2147483647 h 17"/>
                <a:gd name="T4" fmla="*/ 2147483647 w 17"/>
                <a:gd name="T5" fmla="*/ 2147483647 h 17"/>
                <a:gd name="T6" fmla="*/ 2147483647 w 17"/>
                <a:gd name="T7" fmla="*/ 0 h 17"/>
                <a:gd name="T8" fmla="*/ 0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0"/>
                  </a:moveTo>
                  <a:lnTo>
                    <a:pt x="0" y="16"/>
                  </a:lnTo>
                  <a:lnTo>
                    <a:pt x="16" y="9"/>
                  </a:lnTo>
                  <a:lnTo>
                    <a:pt x="16" y="0"/>
                  </a:lnTo>
                  <a:lnTo>
                    <a:pt x="0"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17" name="Freeform 373">
              <a:extLst>
                <a:ext uri="{FF2B5EF4-FFF2-40B4-BE49-F238E27FC236}">
                  <a16:creationId xmlns:a16="http://schemas.microsoft.com/office/drawing/2014/main" id="{FFDAF425-76F4-4A70-88DC-A25E55B43A40}"/>
                </a:ext>
              </a:extLst>
            </p:cNvPr>
            <p:cNvSpPr>
              <a:spLocks/>
            </p:cNvSpPr>
            <p:nvPr/>
          </p:nvSpPr>
          <p:spPr bwMode="auto">
            <a:xfrm>
              <a:off x="9166225" y="2051050"/>
              <a:ext cx="112713" cy="66675"/>
            </a:xfrm>
            <a:custGeom>
              <a:avLst/>
              <a:gdLst>
                <a:gd name="T0" fmla="*/ 0 w 58"/>
                <a:gd name="T1" fmla="*/ 0 h 41"/>
                <a:gd name="T2" fmla="*/ 2147483647 w 58"/>
                <a:gd name="T3" fmla="*/ 2147483647 h 41"/>
                <a:gd name="T4" fmla="*/ 2147483647 w 58"/>
                <a:gd name="T5" fmla="*/ 2147483647 h 41"/>
                <a:gd name="T6" fmla="*/ 2147483647 w 58"/>
                <a:gd name="T7" fmla="*/ 2147483647 h 41"/>
                <a:gd name="T8" fmla="*/ 2147483647 w 58"/>
                <a:gd name="T9" fmla="*/ 2147483647 h 41"/>
                <a:gd name="T10" fmla="*/ 2147483647 w 58"/>
                <a:gd name="T11" fmla="*/ 2147483647 h 41"/>
                <a:gd name="T12" fmla="*/ 0 w 58"/>
                <a:gd name="T13" fmla="*/ 0 h 41"/>
                <a:gd name="T14" fmla="*/ 0 60000 65536"/>
                <a:gd name="T15" fmla="*/ 0 60000 65536"/>
                <a:gd name="T16" fmla="*/ 0 60000 65536"/>
                <a:gd name="T17" fmla="*/ 0 60000 65536"/>
                <a:gd name="T18" fmla="*/ 0 60000 65536"/>
                <a:gd name="T19" fmla="*/ 0 60000 65536"/>
                <a:gd name="T20" fmla="*/ 0 60000 65536"/>
                <a:gd name="T21" fmla="*/ 0 w 58"/>
                <a:gd name="T22" fmla="*/ 0 h 41"/>
                <a:gd name="T23" fmla="*/ 58 w 58"/>
                <a:gd name="T24" fmla="*/ 41 h 4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8" h="41">
                  <a:moveTo>
                    <a:pt x="0" y="0"/>
                  </a:moveTo>
                  <a:lnTo>
                    <a:pt x="9" y="23"/>
                  </a:lnTo>
                  <a:lnTo>
                    <a:pt x="32" y="40"/>
                  </a:lnTo>
                  <a:lnTo>
                    <a:pt x="50" y="40"/>
                  </a:lnTo>
                  <a:lnTo>
                    <a:pt x="57" y="16"/>
                  </a:lnTo>
                  <a:lnTo>
                    <a:pt x="9" y="6"/>
                  </a:lnTo>
                  <a:lnTo>
                    <a:pt x="0"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18" name="Freeform 374">
              <a:extLst>
                <a:ext uri="{FF2B5EF4-FFF2-40B4-BE49-F238E27FC236}">
                  <a16:creationId xmlns:a16="http://schemas.microsoft.com/office/drawing/2014/main" id="{D317F5B3-DB39-44C6-A2F8-5312EA9A5796}"/>
                </a:ext>
              </a:extLst>
            </p:cNvPr>
            <p:cNvSpPr>
              <a:spLocks/>
            </p:cNvSpPr>
            <p:nvPr/>
          </p:nvSpPr>
          <p:spPr bwMode="auto">
            <a:xfrm>
              <a:off x="8932863" y="1995488"/>
              <a:ext cx="187325" cy="122237"/>
            </a:xfrm>
            <a:custGeom>
              <a:avLst/>
              <a:gdLst>
                <a:gd name="T0" fmla="*/ 0 w 98"/>
                <a:gd name="T1" fmla="*/ 2147483647 h 75"/>
                <a:gd name="T2" fmla="*/ 2147483647 w 98"/>
                <a:gd name="T3" fmla="*/ 2147483647 h 75"/>
                <a:gd name="T4" fmla="*/ 2147483647 w 98"/>
                <a:gd name="T5" fmla="*/ 2147483647 h 75"/>
                <a:gd name="T6" fmla="*/ 2147483647 w 98"/>
                <a:gd name="T7" fmla="*/ 2147483647 h 75"/>
                <a:gd name="T8" fmla="*/ 2147483647 w 98"/>
                <a:gd name="T9" fmla="*/ 2147483647 h 75"/>
                <a:gd name="T10" fmla="*/ 2147483647 w 98"/>
                <a:gd name="T11" fmla="*/ 2147483647 h 75"/>
                <a:gd name="T12" fmla="*/ 2147483647 w 98"/>
                <a:gd name="T13" fmla="*/ 2147483647 h 75"/>
                <a:gd name="T14" fmla="*/ 2147483647 w 98"/>
                <a:gd name="T15" fmla="*/ 2147483647 h 75"/>
                <a:gd name="T16" fmla="*/ 2147483647 w 98"/>
                <a:gd name="T17" fmla="*/ 2147483647 h 75"/>
                <a:gd name="T18" fmla="*/ 2147483647 w 98"/>
                <a:gd name="T19" fmla="*/ 0 h 75"/>
                <a:gd name="T20" fmla="*/ 2147483647 w 98"/>
                <a:gd name="T21" fmla="*/ 2147483647 h 75"/>
                <a:gd name="T22" fmla="*/ 2147483647 w 98"/>
                <a:gd name="T23" fmla="*/ 0 h 75"/>
                <a:gd name="T24" fmla="*/ 0 w 98"/>
                <a:gd name="T25" fmla="*/ 2147483647 h 75"/>
                <a:gd name="T26" fmla="*/ 0 w 98"/>
                <a:gd name="T27" fmla="*/ 2147483647 h 7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8"/>
                <a:gd name="T43" fmla="*/ 0 h 75"/>
                <a:gd name="T44" fmla="*/ 98 w 98"/>
                <a:gd name="T45" fmla="*/ 75 h 7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8" h="75">
                  <a:moveTo>
                    <a:pt x="0" y="50"/>
                  </a:moveTo>
                  <a:lnTo>
                    <a:pt x="8" y="74"/>
                  </a:lnTo>
                  <a:lnTo>
                    <a:pt x="25" y="74"/>
                  </a:lnTo>
                  <a:lnTo>
                    <a:pt x="65" y="57"/>
                  </a:lnTo>
                  <a:lnTo>
                    <a:pt x="73" y="65"/>
                  </a:lnTo>
                  <a:lnTo>
                    <a:pt x="97" y="40"/>
                  </a:lnTo>
                  <a:lnTo>
                    <a:pt x="97" y="25"/>
                  </a:lnTo>
                  <a:lnTo>
                    <a:pt x="90" y="16"/>
                  </a:lnTo>
                  <a:lnTo>
                    <a:pt x="82" y="16"/>
                  </a:lnTo>
                  <a:lnTo>
                    <a:pt x="65" y="0"/>
                  </a:lnTo>
                  <a:lnTo>
                    <a:pt x="50" y="16"/>
                  </a:lnTo>
                  <a:lnTo>
                    <a:pt x="25" y="0"/>
                  </a:lnTo>
                  <a:lnTo>
                    <a:pt x="0" y="9"/>
                  </a:lnTo>
                  <a:lnTo>
                    <a:pt x="0" y="50"/>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19" name="Freeform 375">
              <a:extLst>
                <a:ext uri="{FF2B5EF4-FFF2-40B4-BE49-F238E27FC236}">
                  <a16:creationId xmlns:a16="http://schemas.microsoft.com/office/drawing/2014/main" id="{F8AE3627-1F26-4895-B4E6-9942FB97AFC2}"/>
                </a:ext>
              </a:extLst>
            </p:cNvPr>
            <p:cNvSpPr>
              <a:spLocks/>
            </p:cNvSpPr>
            <p:nvPr/>
          </p:nvSpPr>
          <p:spPr bwMode="auto">
            <a:xfrm>
              <a:off x="6832600" y="1919288"/>
              <a:ext cx="425450" cy="488950"/>
            </a:xfrm>
            <a:custGeom>
              <a:avLst/>
              <a:gdLst>
                <a:gd name="T0" fmla="*/ 0 w 221"/>
                <a:gd name="T1" fmla="*/ 2147483647 h 300"/>
                <a:gd name="T2" fmla="*/ 2147483647 w 221"/>
                <a:gd name="T3" fmla="*/ 2147483647 h 300"/>
                <a:gd name="T4" fmla="*/ 2147483647 w 221"/>
                <a:gd name="T5" fmla="*/ 2147483647 h 300"/>
                <a:gd name="T6" fmla="*/ 2147483647 w 221"/>
                <a:gd name="T7" fmla="*/ 2147483647 h 300"/>
                <a:gd name="T8" fmla="*/ 2147483647 w 221"/>
                <a:gd name="T9" fmla="*/ 2147483647 h 300"/>
                <a:gd name="T10" fmla="*/ 2147483647 w 221"/>
                <a:gd name="T11" fmla="*/ 2147483647 h 300"/>
                <a:gd name="T12" fmla="*/ 2147483647 w 221"/>
                <a:gd name="T13" fmla="*/ 2147483647 h 300"/>
                <a:gd name="T14" fmla="*/ 2147483647 w 221"/>
                <a:gd name="T15" fmla="*/ 2147483647 h 300"/>
                <a:gd name="T16" fmla="*/ 2147483647 w 221"/>
                <a:gd name="T17" fmla="*/ 2147483647 h 300"/>
                <a:gd name="T18" fmla="*/ 2147483647 w 221"/>
                <a:gd name="T19" fmla="*/ 2147483647 h 300"/>
                <a:gd name="T20" fmla="*/ 2147483647 w 221"/>
                <a:gd name="T21" fmla="*/ 2147483647 h 300"/>
                <a:gd name="T22" fmla="*/ 2147483647 w 221"/>
                <a:gd name="T23" fmla="*/ 2147483647 h 300"/>
                <a:gd name="T24" fmla="*/ 2147483647 w 221"/>
                <a:gd name="T25" fmla="*/ 0 h 300"/>
                <a:gd name="T26" fmla="*/ 2147483647 w 221"/>
                <a:gd name="T27" fmla="*/ 2147483647 h 300"/>
                <a:gd name="T28" fmla="*/ 2147483647 w 221"/>
                <a:gd name="T29" fmla="*/ 2147483647 h 300"/>
                <a:gd name="T30" fmla="*/ 2147483647 w 221"/>
                <a:gd name="T31" fmla="*/ 2147483647 h 300"/>
                <a:gd name="T32" fmla="*/ 2147483647 w 221"/>
                <a:gd name="T33" fmla="*/ 2147483647 h 300"/>
                <a:gd name="T34" fmla="*/ 2147483647 w 221"/>
                <a:gd name="T35" fmla="*/ 2147483647 h 300"/>
                <a:gd name="T36" fmla="*/ 2147483647 w 221"/>
                <a:gd name="T37" fmla="*/ 2147483647 h 300"/>
                <a:gd name="T38" fmla="*/ 2147483647 w 221"/>
                <a:gd name="T39" fmla="*/ 2147483647 h 300"/>
                <a:gd name="T40" fmla="*/ 2147483647 w 221"/>
                <a:gd name="T41" fmla="*/ 2147483647 h 300"/>
                <a:gd name="T42" fmla="*/ 2147483647 w 221"/>
                <a:gd name="T43" fmla="*/ 2147483647 h 300"/>
                <a:gd name="T44" fmla="*/ 2147483647 w 221"/>
                <a:gd name="T45" fmla="*/ 2147483647 h 300"/>
                <a:gd name="T46" fmla="*/ 2147483647 w 221"/>
                <a:gd name="T47" fmla="*/ 2147483647 h 300"/>
                <a:gd name="T48" fmla="*/ 2147483647 w 221"/>
                <a:gd name="T49" fmla="*/ 2147483647 h 300"/>
                <a:gd name="T50" fmla="*/ 2147483647 w 221"/>
                <a:gd name="T51" fmla="*/ 2147483647 h 300"/>
                <a:gd name="T52" fmla="*/ 2147483647 w 221"/>
                <a:gd name="T53" fmla="*/ 2147483647 h 300"/>
                <a:gd name="T54" fmla="*/ 0 w 221"/>
                <a:gd name="T55" fmla="*/ 2147483647 h 300"/>
                <a:gd name="T56" fmla="*/ 0 w 221"/>
                <a:gd name="T57" fmla="*/ 2147483647 h 30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21"/>
                <a:gd name="T88" fmla="*/ 0 h 300"/>
                <a:gd name="T89" fmla="*/ 221 w 221"/>
                <a:gd name="T90" fmla="*/ 300 h 30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21" h="300">
                  <a:moveTo>
                    <a:pt x="0" y="258"/>
                  </a:moveTo>
                  <a:lnTo>
                    <a:pt x="25" y="290"/>
                  </a:lnTo>
                  <a:lnTo>
                    <a:pt x="66" y="299"/>
                  </a:lnTo>
                  <a:lnTo>
                    <a:pt x="74" y="290"/>
                  </a:lnTo>
                  <a:lnTo>
                    <a:pt x="58" y="274"/>
                  </a:lnTo>
                  <a:lnTo>
                    <a:pt x="49" y="258"/>
                  </a:lnTo>
                  <a:lnTo>
                    <a:pt x="49" y="218"/>
                  </a:lnTo>
                  <a:lnTo>
                    <a:pt x="58" y="202"/>
                  </a:lnTo>
                  <a:lnTo>
                    <a:pt x="114" y="104"/>
                  </a:lnTo>
                  <a:lnTo>
                    <a:pt x="155" y="72"/>
                  </a:lnTo>
                  <a:lnTo>
                    <a:pt x="220" y="40"/>
                  </a:lnTo>
                  <a:lnTo>
                    <a:pt x="220" y="7"/>
                  </a:lnTo>
                  <a:lnTo>
                    <a:pt x="205" y="0"/>
                  </a:lnTo>
                  <a:lnTo>
                    <a:pt x="188" y="16"/>
                  </a:lnTo>
                  <a:lnTo>
                    <a:pt x="171" y="32"/>
                  </a:lnTo>
                  <a:lnTo>
                    <a:pt x="146" y="40"/>
                  </a:lnTo>
                  <a:lnTo>
                    <a:pt x="123" y="40"/>
                  </a:lnTo>
                  <a:lnTo>
                    <a:pt x="99" y="56"/>
                  </a:lnTo>
                  <a:lnTo>
                    <a:pt x="74" y="87"/>
                  </a:lnTo>
                  <a:lnTo>
                    <a:pt x="49" y="104"/>
                  </a:lnTo>
                  <a:lnTo>
                    <a:pt x="49" y="121"/>
                  </a:lnTo>
                  <a:lnTo>
                    <a:pt x="41" y="144"/>
                  </a:lnTo>
                  <a:lnTo>
                    <a:pt x="25" y="160"/>
                  </a:lnTo>
                  <a:lnTo>
                    <a:pt x="34" y="177"/>
                  </a:lnTo>
                  <a:lnTo>
                    <a:pt x="25" y="194"/>
                  </a:lnTo>
                  <a:lnTo>
                    <a:pt x="9" y="209"/>
                  </a:lnTo>
                  <a:lnTo>
                    <a:pt x="18" y="225"/>
                  </a:lnTo>
                  <a:lnTo>
                    <a:pt x="0" y="234"/>
                  </a:lnTo>
                  <a:lnTo>
                    <a:pt x="0" y="258"/>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20" name="Freeform 376">
              <a:extLst>
                <a:ext uri="{FF2B5EF4-FFF2-40B4-BE49-F238E27FC236}">
                  <a16:creationId xmlns:a16="http://schemas.microsoft.com/office/drawing/2014/main" id="{5696A055-4137-45A3-84D6-CFB696EC1F37}"/>
                </a:ext>
              </a:extLst>
            </p:cNvPr>
            <p:cNvSpPr>
              <a:spLocks/>
            </p:cNvSpPr>
            <p:nvPr/>
          </p:nvSpPr>
          <p:spPr bwMode="auto">
            <a:xfrm>
              <a:off x="6757988" y="2459038"/>
              <a:ext cx="44450" cy="55562"/>
            </a:xfrm>
            <a:custGeom>
              <a:avLst/>
              <a:gdLst>
                <a:gd name="T0" fmla="*/ 0 w 25"/>
                <a:gd name="T1" fmla="*/ 2147483647 h 34"/>
                <a:gd name="T2" fmla="*/ 2147483647 w 25"/>
                <a:gd name="T3" fmla="*/ 2147483647 h 34"/>
                <a:gd name="T4" fmla="*/ 2147483647 w 25"/>
                <a:gd name="T5" fmla="*/ 2147483647 h 34"/>
                <a:gd name="T6" fmla="*/ 2147483647 w 25"/>
                <a:gd name="T7" fmla="*/ 0 h 34"/>
                <a:gd name="T8" fmla="*/ 0 w 25"/>
                <a:gd name="T9" fmla="*/ 2147483647 h 34"/>
                <a:gd name="T10" fmla="*/ 0 w 25"/>
                <a:gd name="T11" fmla="*/ 2147483647 h 34"/>
                <a:gd name="T12" fmla="*/ 0 60000 65536"/>
                <a:gd name="T13" fmla="*/ 0 60000 65536"/>
                <a:gd name="T14" fmla="*/ 0 60000 65536"/>
                <a:gd name="T15" fmla="*/ 0 60000 65536"/>
                <a:gd name="T16" fmla="*/ 0 60000 65536"/>
                <a:gd name="T17" fmla="*/ 0 60000 65536"/>
                <a:gd name="T18" fmla="*/ 0 w 25"/>
                <a:gd name="T19" fmla="*/ 0 h 34"/>
                <a:gd name="T20" fmla="*/ 25 w 25"/>
                <a:gd name="T21" fmla="*/ 34 h 34"/>
              </a:gdLst>
              <a:ahLst/>
              <a:cxnLst>
                <a:cxn ang="T12">
                  <a:pos x="T0" y="T1"/>
                </a:cxn>
                <a:cxn ang="T13">
                  <a:pos x="T2" y="T3"/>
                </a:cxn>
                <a:cxn ang="T14">
                  <a:pos x="T4" y="T5"/>
                </a:cxn>
                <a:cxn ang="T15">
                  <a:pos x="T6" y="T7"/>
                </a:cxn>
                <a:cxn ang="T16">
                  <a:pos x="T8" y="T9"/>
                </a:cxn>
                <a:cxn ang="T17">
                  <a:pos x="T10" y="T11"/>
                </a:cxn>
              </a:cxnLst>
              <a:rect l="T18" t="T19" r="T20" b="T21"/>
              <a:pathLst>
                <a:path w="25" h="34">
                  <a:moveTo>
                    <a:pt x="0" y="33"/>
                  </a:moveTo>
                  <a:lnTo>
                    <a:pt x="17" y="24"/>
                  </a:lnTo>
                  <a:lnTo>
                    <a:pt x="24" y="15"/>
                  </a:lnTo>
                  <a:lnTo>
                    <a:pt x="9" y="0"/>
                  </a:lnTo>
                  <a:lnTo>
                    <a:pt x="0" y="15"/>
                  </a:lnTo>
                  <a:lnTo>
                    <a:pt x="0" y="33"/>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21" name="Freeform 377">
              <a:extLst>
                <a:ext uri="{FF2B5EF4-FFF2-40B4-BE49-F238E27FC236}">
                  <a16:creationId xmlns:a16="http://schemas.microsoft.com/office/drawing/2014/main" id="{B3464AA8-5377-4D27-94A8-B6342C8A3254}"/>
                </a:ext>
              </a:extLst>
            </p:cNvPr>
            <p:cNvSpPr>
              <a:spLocks/>
            </p:cNvSpPr>
            <p:nvPr/>
          </p:nvSpPr>
          <p:spPr bwMode="auto">
            <a:xfrm>
              <a:off x="5391150" y="2998788"/>
              <a:ext cx="31750" cy="42862"/>
            </a:xfrm>
            <a:custGeom>
              <a:avLst/>
              <a:gdLst>
                <a:gd name="T0" fmla="*/ 0 w 17"/>
                <a:gd name="T1" fmla="*/ 2147483647 h 26"/>
                <a:gd name="T2" fmla="*/ 2147483647 w 17"/>
                <a:gd name="T3" fmla="*/ 2147483647 h 26"/>
                <a:gd name="T4" fmla="*/ 2147483647 w 17"/>
                <a:gd name="T5" fmla="*/ 0 h 26"/>
                <a:gd name="T6" fmla="*/ 0 w 17"/>
                <a:gd name="T7" fmla="*/ 2147483647 h 26"/>
                <a:gd name="T8" fmla="*/ 0 w 17"/>
                <a:gd name="T9" fmla="*/ 2147483647 h 26"/>
                <a:gd name="T10" fmla="*/ 0 60000 65536"/>
                <a:gd name="T11" fmla="*/ 0 60000 65536"/>
                <a:gd name="T12" fmla="*/ 0 60000 65536"/>
                <a:gd name="T13" fmla="*/ 0 60000 65536"/>
                <a:gd name="T14" fmla="*/ 0 60000 65536"/>
                <a:gd name="T15" fmla="*/ 0 w 17"/>
                <a:gd name="T16" fmla="*/ 0 h 26"/>
                <a:gd name="T17" fmla="*/ 17 w 17"/>
                <a:gd name="T18" fmla="*/ 26 h 26"/>
              </a:gdLst>
              <a:ahLst/>
              <a:cxnLst>
                <a:cxn ang="T10">
                  <a:pos x="T0" y="T1"/>
                </a:cxn>
                <a:cxn ang="T11">
                  <a:pos x="T2" y="T3"/>
                </a:cxn>
                <a:cxn ang="T12">
                  <a:pos x="T4" y="T5"/>
                </a:cxn>
                <a:cxn ang="T13">
                  <a:pos x="T6" y="T7"/>
                </a:cxn>
                <a:cxn ang="T14">
                  <a:pos x="T8" y="T9"/>
                </a:cxn>
              </a:cxnLst>
              <a:rect l="T15" t="T16" r="T17" b="T18"/>
              <a:pathLst>
                <a:path w="17" h="26">
                  <a:moveTo>
                    <a:pt x="0" y="25"/>
                  </a:moveTo>
                  <a:lnTo>
                    <a:pt x="7" y="10"/>
                  </a:lnTo>
                  <a:lnTo>
                    <a:pt x="16" y="0"/>
                  </a:lnTo>
                  <a:lnTo>
                    <a:pt x="0" y="10"/>
                  </a:lnTo>
                  <a:lnTo>
                    <a:pt x="0" y="25"/>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22" name="Freeform 378">
              <a:extLst>
                <a:ext uri="{FF2B5EF4-FFF2-40B4-BE49-F238E27FC236}">
                  <a16:creationId xmlns:a16="http://schemas.microsoft.com/office/drawing/2014/main" id="{7724B476-58A5-4771-97A8-A403E3FD98FA}"/>
                </a:ext>
              </a:extLst>
            </p:cNvPr>
            <p:cNvSpPr>
              <a:spLocks/>
            </p:cNvSpPr>
            <p:nvPr/>
          </p:nvSpPr>
          <p:spPr bwMode="auto">
            <a:xfrm>
              <a:off x="5391150" y="2998788"/>
              <a:ext cx="31750" cy="42862"/>
            </a:xfrm>
            <a:custGeom>
              <a:avLst/>
              <a:gdLst>
                <a:gd name="T0" fmla="*/ 0 w 17"/>
                <a:gd name="T1" fmla="*/ 2147483647 h 26"/>
                <a:gd name="T2" fmla="*/ 2147483647 w 17"/>
                <a:gd name="T3" fmla="*/ 2147483647 h 26"/>
                <a:gd name="T4" fmla="*/ 2147483647 w 17"/>
                <a:gd name="T5" fmla="*/ 0 h 26"/>
                <a:gd name="T6" fmla="*/ 0 w 17"/>
                <a:gd name="T7" fmla="*/ 2147483647 h 26"/>
                <a:gd name="T8" fmla="*/ 0 w 17"/>
                <a:gd name="T9" fmla="*/ 2147483647 h 26"/>
                <a:gd name="T10" fmla="*/ 0 60000 65536"/>
                <a:gd name="T11" fmla="*/ 0 60000 65536"/>
                <a:gd name="T12" fmla="*/ 0 60000 65536"/>
                <a:gd name="T13" fmla="*/ 0 60000 65536"/>
                <a:gd name="T14" fmla="*/ 0 60000 65536"/>
                <a:gd name="T15" fmla="*/ 0 w 17"/>
                <a:gd name="T16" fmla="*/ 0 h 26"/>
                <a:gd name="T17" fmla="*/ 17 w 17"/>
                <a:gd name="T18" fmla="*/ 26 h 26"/>
              </a:gdLst>
              <a:ahLst/>
              <a:cxnLst>
                <a:cxn ang="T10">
                  <a:pos x="T0" y="T1"/>
                </a:cxn>
                <a:cxn ang="T11">
                  <a:pos x="T2" y="T3"/>
                </a:cxn>
                <a:cxn ang="T12">
                  <a:pos x="T4" y="T5"/>
                </a:cxn>
                <a:cxn ang="T13">
                  <a:pos x="T6" y="T7"/>
                </a:cxn>
                <a:cxn ang="T14">
                  <a:pos x="T8" y="T9"/>
                </a:cxn>
              </a:cxnLst>
              <a:rect l="T15" t="T16" r="T17" b="T18"/>
              <a:pathLst>
                <a:path w="17" h="26">
                  <a:moveTo>
                    <a:pt x="0" y="25"/>
                  </a:moveTo>
                  <a:lnTo>
                    <a:pt x="7" y="10"/>
                  </a:lnTo>
                  <a:lnTo>
                    <a:pt x="16" y="0"/>
                  </a:lnTo>
                  <a:lnTo>
                    <a:pt x="0" y="10"/>
                  </a:lnTo>
                  <a:lnTo>
                    <a:pt x="0" y="25"/>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23" name="Freeform 379">
              <a:extLst>
                <a:ext uri="{FF2B5EF4-FFF2-40B4-BE49-F238E27FC236}">
                  <a16:creationId xmlns:a16="http://schemas.microsoft.com/office/drawing/2014/main" id="{957ED471-91B6-4062-894E-734DA588EFD7}"/>
                </a:ext>
              </a:extLst>
            </p:cNvPr>
            <p:cNvSpPr>
              <a:spLocks/>
            </p:cNvSpPr>
            <p:nvPr/>
          </p:nvSpPr>
          <p:spPr bwMode="auto">
            <a:xfrm>
              <a:off x="5807075" y="3105150"/>
              <a:ext cx="33338" cy="28575"/>
            </a:xfrm>
            <a:custGeom>
              <a:avLst/>
              <a:gdLst>
                <a:gd name="T0" fmla="*/ 0 w 17"/>
                <a:gd name="T1" fmla="*/ 2147483647 h 17"/>
                <a:gd name="T2" fmla="*/ 0 w 17"/>
                <a:gd name="T3" fmla="*/ 2147483647 h 17"/>
                <a:gd name="T4" fmla="*/ 2147483647 w 17"/>
                <a:gd name="T5" fmla="*/ 2147483647 h 17"/>
                <a:gd name="T6" fmla="*/ 2147483647 w 17"/>
                <a:gd name="T7" fmla="*/ 2147483647 h 17"/>
                <a:gd name="T8" fmla="*/ 2147483647 w 17"/>
                <a:gd name="T9" fmla="*/ 0 h 17"/>
                <a:gd name="T10" fmla="*/ 0 w 17"/>
                <a:gd name="T11" fmla="*/ 2147483647 h 17"/>
                <a:gd name="T12" fmla="*/ 0 60000 65536"/>
                <a:gd name="T13" fmla="*/ 0 60000 65536"/>
                <a:gd name="T14" fmla="*/ 0 60000 65536"/>
                <a:gd name="T15" fmla="*/ 0 60000 65536"/>
                <a:gd name="T16" fmla="*/ 0 60000 65536"/>
                <a:gd name="T17" fmla="*/ 0 60000 65536"/>
                <a:gd name="T18" fmla="*/ 0 w 17"/>
                <a:gd name="T19" fmla="*/ 0 h 17"/>
                <a:gd name="T20" fmla="*/ 17 w 17"/>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17" h="17">
                  <a:moveTo>
                    <a:pt x="0" y="9"/>
                  </a:moveTo>
                  <a:lnTo>
                    <a:pt x="0" y="16"/>
                  </a:lnTo>
                  <a:lnTo>
                    <a:pt x="16" y="16"/>
                  </a:lnTo>
                  <a:lnTo>
                    <a:pt x="16" y="9"/>
                  </a:lnTo>
                  <a:lnTo>
                    <a:pt x="16" y="0"/>
                  </a:lnTo>
                  <a:lnTo>
                    <a:pt x="0" y="9"/>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24" name="Freeform 380">
              <a:extLst>
                <a:ext uri="{FF2B5EF4-FFF2-40B4-BE49-F238E27FC236}">
                  <a16:creationId xmlns:a16="http://schemas.microsoft.com/office/drawing/2014/main" id="{5ED6A2AC-D2E5-4CED-BC0C-34117CE6EAAC}"/>
                </a:ext>
              </a:extLst>
            </p:cNvPr>
            <p:cNvSpPr>
              <a:spLocks/>
            </p:cNvSpPr>
            <p:nvPr/>
          </p:nvSpPr>
          <p:spPr bwMode="auto">
            <a:xfrm>
              <a:off x="5838825" y="3090863"/>
              <a:ext cx="36513" cy="30162"/>
            </a:xfrm>
            <a:custGeom>
              <a:avLst/>
              <a:gdLst>
                <a:gd name="T0" fmla="*/ 0 w 19"/>
                <a:gd name="T1" fmla="*/ 2147483647 h 19"/>
                <a:gd name="T2" fmla="*/ 0 w 19"/>
                <a:gd name="T3" fmla="*/ 2147483647 h 19"/>
                <a:gd name="T4" fmla="*/ 2147483647 w 19"/>
                <a:gd name="T5" fmla="*/ 2147483647 h 19"/>
                <a:gd name="T6" fmla="*/ 2147483647 w 19"/>
                <a:gd name="T7" fmla="*/ 2147483647 h 19"/>
                <a:gd name="T8" fmla="*/ 2147483647 w 19"/>
                <a:gd name="T9" fmla="*/ 0 h 19"/>
                <a:gd name="T10" fmla="*/ 0 w 19"/>
                <a:gd name="T11" fmla="*/ 2147483647 h 19"/>
                <a:gd name="T12" fmla="*/ 0 60000 65536"/>
                <a:gd name="T13" fmla="*/ 0 60000 65536"/>
                <a:gd name="T14" fmla="*/ 0 60000 65536"/>
                <a:gd name="T15" fmla="*/ 0 60000 65536"/>
                <a:gd name="T16" fmla="*/ 0 60000 65536"/>
                <a:gd name="T17" fmla="*/ 0 60000 65536"/>
                <a:gd name="T18" fmla="*/ 0 w 19"/>
                <a:gd name="T19" fmla="*/ 0 h 19"/>
                <a:gd name="T20" fmla="*/ 19 w 19"/>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19" h="19">
                  <a:moveTo>
                    <a:pt x="0" y="9"/>
                  </a:moveTo>
                  <a:lnTo>
                    <a:pt x="0" y="18"/>
                  </a:lnTo>
                  <a:lnTo>
                    <a:pt x="18" y="18"/>
                  </a:lnTo>
                  <a:lnTo>
                    <a:pt x="18" y="9"/>
                  </a:lnTo>
                  <a:lnTo>
                    <a:pt x="18" y="0"/>
                  </a:lnTo>
                  <a:lnTo>
                    <a:pt x="0" y="9"/>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25" name="Freeform 381">
              <a:extLst>
                <a:ext uri="{FF2B5EF4-FFF2-40B4-BE49-F238E27FC236}">
                  <a16:creationId xmlns:a16="http://schemas.microsoft.com/office/drawing/2014/main" id="{19A94C8E-CE99-40DD-AE04-91668163F4B7}"/>
                </a:ext>
              </a:extLst>
            </p:cNvPr>
            <p:cNvSpPr>
              <a:spLocks/>
            </p:cNvSpPr>
            <p:nvPr/>
          </p:nvSpPr>
          <p:spPr bwMode="auto">
            <a:xfrm>
              <a:off x="5838825" y="3132138"/>
              <a:ext cx="36513" cy="26987"/>
            </a:xfrm>
            <a:custGeom>
              <a:avLst/>
              <a:gdLst>
                <a:gd name="T0" fmla="*/ 0 w 19"/>
                <a:gd name="T1" fmla="*/ 0 h 17"/>
                <a:gd name="T2" fmla="*/ 0 w 19"/>
                <a:gd name="T3" fmla="*/ 2147483647 h 17"/>
                <a:gd name="T4" fmla="*/ 2147483647 w 19"/>
                <a:gd name="T5" fmla="*/ 0 h 17"/>
                <a:gd name="T6" fmla="*/ 0 w 19"/>
                <a:gd name="T7" fmla="*/ 0 h 17"/>
                <a:gd name="T8" fmla="*/ 0 60000 65536"/>
                <a:gd name="T9" fmla="*/ 0 60000 65536"/>
                <a:gd name="T10" fmla="*/ 0 60000 65536"/>
                <a:gd name="T11" fmla="*/ 0 60000 65536"/>
                <a:gd name="T12" fmla="*/ 0 w 19"/>
                <a:gd name="T13" fmla="*/ 0 h 17"/>
                <a:gd name="T14" fmla="*/ 19 w 19"/>
                <a:gd name="T15" fmla="*/ 17 h 17"/>
              </a:gdLst>
              <a:ahLst/>
              <a:cxnLst>
                <a:cxn ang="T8">
                  <a:pos x="T0" y="T1"/>
                </a:cxn>
                <a:cxn ang="T9">
                  <a:pos x="T2" y="T3"/>
                </a:cxn>
                <a:cxn ang="T10">
                  <a:pos x="T4" y="T5"/>
                </a:cxn>
                <a:cxn ang="T11">
                  <a:pos x="T6" y="T7"/>
                </a:cxn>
              </a:cxnLst>
              <a:rect l="T12" t="T13" r="T14" b="T15"/>
              <a:pathLst>
                <a:path w="19" h="17">
                  <a:moveTo>
                    <a:pt x="0" y="0"/>
                  </a:moveTo>
                  <a:lnTo>
                    <a:pt x="0" y="16"/>
                  </a:lnTo>
                  <a:lnTo>
                    <a:pt x="18" y="0"/>
                  </a:lnTo>
                  <a:lnTo>
                    <a:pt x="0"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26" name="Freeform 382">
              <a:extLst>
                <a:ext uri="{FF2B5EF4-FFF2-40B4-BE49-F238E27FC236}">
                  <a16:creationId xmlns:a16="http://schemas.microsoft.com/office/drawing/2014/main" id="{31EB3C46-4C01-4DDE-B6D0-ABD91C20F484}"/>
                </a:ext>
              </a:extLst>
            </p:cNvPr>
            <p:cNvSpPr>
              <a:spLocks/>
            </p:cNvSpPr>
            <p:nvPr/>
          </p:nvSpPr>
          <p:spPr bwMode="auto">
            <a:xfrm>
              <a:off x="5405438" y="2998788"/>
              <a:ext cx="204787" cy="304800"/>
            </a:xfrm>
            <a:custGeom>
              <a:avLst/>
              <a:gdLst>
                <a:gd name="T0" fmla="*/ 2147483647 w 107"/>
                <a:gd name="T1" fmla="*/ 2147483647 h 188"/>
                <a:gd name="T2" fmla="*/ 2147483647 w 107"/>
                <a:gd name="T3" fmla="*/ 2147483647 h 188"/>
                <a:gd name="T4" fmla="*/ 2147483647 w 107"/>
                <a:gd name="T5" fmla="*/ 2147483647 h 188"/>
                <a:gd name="T6" fmla="*/ 2147483647 w 107"/>
                <a:gd name="T7" fmla="*/ 2147483647 h 188"/>
                <a:gd name="T8" fmla="*/ 2147483647 w 107"/>
                <a:gd name="T9" fmla="*/ 2147483647 h 188"/>
                <a:gd name="T10" fmla="*/ 2147483647 w 107"/>
                <a:gd name="T11" fmla="*/ 2147483647 h 188"/>
                <a:gd name="T12" fmla="*/ 2147483647 w 107"/>
                <a:gd name="T13" fmla="*/ 2147483647 h 188"/>
                <a:gd name="T14" fmla="*/ 2147483647 w 107"/>
                <a:gd name="T15" fmla="*/ 2147483647 h 188"/>
                <a:gd name="T16" fmla="*/ 2147483647 w 107"/>
                <a:gd name="T17" fmla="*/ 2147483647 h 188"/>
                <a:gd name="T18" fmla="*/ 2147483647 w 107"/>
                <a:gd name="T19" fmla="*/ 2147483647 h 188"/>
                <a:gd name="T20" fmla="*/ 2147483647 w 107"/>
                <a:gd name="T21" fmla="*/ 2147483647 h 188"/>
                <a:gd name="T22" fmla="*/ 2147483647 w 107"/>
                <a:gd name="T23" fmla="*/ 2147483647 h 188"/>
                <a:gd name="T24" fmla="*/ 2147483647 w 107"/>
                <a:gd name="T25" fmla="*/ 2147483647 h 188"/>
                <a:gd name="T26" fmla="*/ 2147483647 w 107"/>
                <a:gd name="T27" fmla="*/ 2147483647 h 188"/>
                <a:gd name="T28" fmla="*/ 2147483647 w 107"/>
                <a:gd name="T29" fmla="*/ 2147483647 h 188"/>
                <a:gd name="T30" fmla="*/ 2147483647 w 107"/>
                <a:gd name="T31" fmla="*/ 2147483647 h 188"/>
                <a:gd name="T32" fmla="*/ 2147483647 w 107"/>
                <a:gd name="T33" fmla="*/ 2147483647 h 188"/>
                <a:gd name="T34" fmla="*/ 2147483647 w 107"/>
                <a:gd name="T35" fmla="*/ 2147483647 h 188"/>
                <a:gd name="T36" fmla="*/ 2147483647 w 107"/>
                <a:gd name="T37" fmla="*/ 2147483647 h 188"/>
                <a:gd name="T38" fmla="*/ 2147483647 w 107"/>
                <a:gd name="T39" fmla="*/ 2147483647 h 188"/>
                <a:gd name="T40" fmla="*/ 2147483647 w 107"/>
                <a:gd name="T41" fmla="*/ 2147483647 h 188"/>
                <a:gd name="T42" fmla="*/ 2147483647 w 107"/>
                <a:gd name="T43" fmla="*/ 2147483647 h 188"/>
                <a:gd name="T44" fmla="*/ 2147483647 w 107"/>
                <a:gd name="T45" fmla="*/ 2147483647 h 188"/>
                <a:gd name="T46" fmla="*/ 2147483647 w 107"/>
                <a:gd name="T47" fmla="*/ 2147483647 h 188"/>
                <a:gd name="T48" fmla="*/ 2147483647 w 107"/>
                <a:gd name="T49" fmla="*/ 0 h 188"/>
                <a:gd name="T50" fmla="*/ 2147483647 w 107"/>
                <a:gd name="T51" fmla="*/ 0 h 188"/>
                <a:gd name="T52" fmla="*/ 2147483647 w 107"/>
                <a:gd name="T53" fmla="*/ 0 h 188"/>
                <a:gd name="T54" fmla="*/ 2147483647 w 107"/>
                <a:gd name="T55" fmla="*/ 2147483647 h 188"/>
                <a:gd name="T56" fmla="*/ 0 w 107"/>
                <a:gd name="T57" fmla="*/ 2147483647 h 188"/>
                <a:gd name="T58" fmla="*/ 2147483647 w 107"/>
                <a:gd name="T59" fmla="*/ 2147483647 h 188"/>
                <a:gd name="T60" fmla="*/ 2147483647 w 107"/>
                <a:gd name="T61" fmla="*/ 2147483647 h 188"/>
                <a:gd name="T62" fmla="*/ 2147483647 w 107"/>
                <a:gd name="T63" fmla="*/ 2147483647 h 188"/>
                <a:gd name="T64" fmla="*/ 2147483647 w 107"/>
                <a:gd name="T65" fmla="*/ 2147483647 h 188"/>
                <a:gd name="T66" fmla="*/ 2147483647 w 107"/>
                <a:gd name="T67" fmla="*/ 2147483647 h 188"/>
                <a:gd name="T68" fmla="*/ 2147483647 w 107"/>
                <a:gd name="T69" fmla="*/ 2147483647 h 188"/>
                <a:gd name="T70" fmla="*/ 2147483647 w 107"/>
                <a:gd name="T71" fmla="*/ 2147483647 h 188"/>
                <a:gd name="T72" fmla="*/ 2147483647 w 107"/>
                <a:gd name="T73" fmla="*/ 2147483647 h 188"/>
                <a:gd name="T74" fmla="*/ 2147483647 w 107"/>
                <a:gd name="T75" fmla="*/ 2147483647 h 188"/>
                <a:gd name="T76" fmla="*/ 2147483647 w 107"/>
                <a:gd name="T77" fmla="*/ 2147483647 h 188"/>
                <a:gd name="T78" fmla="*/ 2147483647 w 107"/>
                <a:gd name="T79" fmla="*/ 2147483647 h 188"/>
                <a:gd name="T80" fmla="*/ 2147483647 w 107"/>
                <a:gd name="T81" fmla="*/ 2147483647 h 188"/>
                <a:gd name="T82" fmla="*/ 2147483647 w 107"/>
                <a:gd name="T83" fmla="*/ 2147483647 h 188"/>
                <a:gd name="T84" fmla="*/ 2147483647 w 107"/>
                <a:gd name="T85" fmla="*/ 2147483647 h 188"/>
                <a:gd name="T86" fmla="*/ 2147483647 w 107"/>
                <a:gd name="T87" fmla="*/ 2147483647 h 188"/>
                <a:gd name="T88" fmla="*/ 2147483647 w 107"/>
                <a:gd name="T89" fmla="*/ 2147483647 h 188"/>
                <a:gd name="T90" fmla="*/ 2147483647 w 107"/>
                <a:gd name="T91" fmla="*/ 2147483647 h 188"/>
                <a:gd name="T92" fmla="*/ 2147483647 w 107"/>
                <a:gd name="T93" fmla="*/ 2147483647 h 188"/>
                <a:gd name="T94" fmla="*/ 2147483647 w 107"/>
                <a:gd name="T95" fmla="*/ 2147483647 h 188"/>
                <a:gd name="T96" fmla="*/ 2147483647 w 107"/>
                <a:gd name="T97" fmla="*/ 2147483647 h 188"/>
                <a:gd name="T98" fmla="*/ 2147483647 w 107"/>
                <a:gd name="T99" fmla="*/ 2147483647 h 188"/>
                <a:gd name="T100" fmla="*/ 2147483647 w 107"/>
                <a:gd name="T101" fmla="*/ 2147483647 h 188"/>
                <a:gd name="T102" fmla="*/ 2147483647 w 107"/>
                <a:gd name="T103" fmla="*/ 2147483647 h 188"/>
                <a:gd name="T104" fmla="*/ 2147483647 w 107"/>
                <a:gd name="T105" fmla="*/ 2147483647 h 188"/>
                <a:gd name="T106" fmla="*/ 2147483647 w 107"/>
                <a:gd name="T107" fmla="*/ 2147483647 h 188"/>
                <a:gd name="T108" fmla="*/ 2147483647 w 107"/>
                <a:gd name="T109" fmla="*/ 2147483647 h 188"/>
                <a:gd name="T110" fmla="*/ 2147483647 w 107"/>
                <a:gd name="T111" fmla="*/ 2147483647 h 188"/>
                <a:gd name="T112" fmla="*/ 2147483647 w 107"/>
                <a:gd name="T113" fmla="*/ 2147483647 h 18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7"/>
                <a:gd name="T172" fmla="*/ 0 h 188"/>
                <a:gd name="T173" fmla="*/ 107 w 107"/>
                <a:gd name="T174" fmla="*/ 188 h 18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7" h="188">
                  <a:moveTo>
                    <a:pt x="18" y="187"/>
                  </a:moveTo>
                  <a:lnTo>
                    <a:pt x="24" y="179"/>
                  </a:lnTo>
                  <a:lnTo>
                    <a:pt x="41" y="187"/>
                  </a:lnTo>
                  <a:lnTo>
                    <a:pt x="41" y="179"/>
                  </a:lnTo>
                  <a:lnTo>
                    <a:pt x="49" y="171"/>
                  </a:lnTo>
                  <a:lnTo>
                    <a:pt x="58" y="179"/>
                  </a:lnTo>
                  <a:lnTo>
                    <a:pt x="66" y="171"/>
                  </a:lnTo>
                  <a:lnTo>
                    <a:pt x="98" y="171"/>
                  </a:lnTo>
                  <a:lnTo>
                    <a:pt x="106" y="162"/>
                  </a:lnTo>
                  <a:lnTo>
                    <a:pt x="90" y="162"/>
                  </a:lnTo>
                  <a:lnTo>
                    <a:pt x="106" y="138"/>
                  </a:lnTo>
                  <a:lnTo>
                    <a:pt x="98" y="131"/>
                  </a:lnTo>
                  <a:lnTo>
                    <a:pt x="90" y="131"/>
                  </a:lnTo>
                  <a:lnTo>
                    <a:pt x="81" y="131"/>
                  </a:lnTo>
                  <a:lnTo>
                    <a:pt x="90" y="122"/>
                  </a:lnTo>
                  <a:lnTo>
                    <a:pt x="90" y="115"/>
                  </a:lnTo>
                  <a:lnTo>
                    <a:pt x="81" y="97"/>
                  </a:lnTo>
                  <a:lnTo>
                    <a:pt x="74" y="91"/>
                  </a:lnTo>
                  <a:lnTo>
                    <a:pt x="58" y="66"/>
                  </a:lnTo>
                  <a:lnTo>
                    <a:pt x="41" y="57"/>
                  </a:lnTo>
                  <a:lnTo>
                    <a:pt x="66" y="25"/>
                  </a:lnTo>
                  <a:lnTo>
                    <a:pt x="58" y="17"/>
                  </a:lnTo>
                  <a:lnTo>
                    <a:pt x="33" y="25"/>
                  </a:lnTo>
                  <a:lnTo>
                    <a:pt x="33" y="10"/>
                  </a:lnTo>
                  <a:lnTo>
                    <a:pt x="49" y="0"/>
                  </a:lnTo>
                  <a:lnTo>
                    <a:pt x="41" y="0"/>
                  </a:lnTo>
                  <a:lnTo>
                    <a:pt x="24" y="0"/>
                  </a:lnTo>
                  <a:lnTo>
                    <a:pt x="9" y="25"/>
                  </a:lnTo>
                  <a:lnTo>
                    <a:pt x="0" y="25"/>
                  </a:lnTo>
                  <a:lnTo>
                    <a:pt x="9" y="33"/>
                  </a:lnTo>
                  <a:lnTo>
                    <a:pt x="18" y="33"/>
                  </a:lnTo>
                  <a:lnTo>
                    <a:pt x="9" y="50"/>
                  </a:lnTo>
                  <a:lnTo>
                    <a:pt x="18" y="50"/>
                  </a:lnTo>
                  <a:lnTo>
                    <a:pt x="18" y="57"/>
                  </a:lnTo>
                  <a:lnTo>
                    <a:pt x="9" y="66"/>
                  </a:lnTo>
                  <a:lnTo>
                    <a:pt x="18" y="66"/>
                  </a:lnTo>
                  <a:lnTo>
                    <a:pt x="24" y="75"/>
                  </a:lnTo>
                  <a:lnTo>
                    <a:pt x="18" y="82"/>
                  </a:lnTo>
                  <a:lnTo>
                    <a:pt x="24" y="91"/>
                  </a:lnTo>
                  <a:lnTo>
                    <a:pt x="41" y="82"/>
                  </a:lnTo>
                  <a:lnTo>
                    <a:pt x="41" y="91"/>
                  </a:lnTo>
                  <a:lnTo>
                    <a:pt x="41" y="97"/>
                  </a:lnTo>
                  <a:lnTo>
                    <a:pt x="49" y="97"/>
                  </a:lnTo>
                  <a:lnTo>
                    <a:pt x="49" y="115"/>
                  </a:lnTo>
                  <a:lnTo>
                    <a:pt x="24" y="115"/>
                  </a:lnTo>
                  <a:lnTo>
                    <a:pt x="33" y="122"/>
                  </a:lnTo>
                  <a:lnTo>
                    <a:pt x="24" y="131"/>
                  </a:lnTo>
                  <a:lnTo>
                    <a:pt x="33" y="131"/>
                  </a:lnTo>
                  <a:lnTo>
                    <a:pt x="33" y="138"/>
                  </a:lnTo>
                  <a:lnTo>
                    <a:pt x="18" y="147"/>
                  </a:lnTo>
                  <a:lnTo>
                    <a:pt x="24" y="156"/>
                  </a:lnTo>
                  <a:lnTo>
                    <a:pt x="33" y="156"/>
                  </a:lnTo>
                  <a:lnTo>
                    <a:pt x="41" y="162"/>
                  </a:lnTo>
                  <a:lnTo>
                    <a:pt x="49" y="156"/>
                  </a:lnTo>
                  <a:lnTo>
                    <a:pt x="49" y="162"/>
                  </a:lnTo>
                  <a:lnTo>
                    <a:pt x="33" y="162"/>
                  </a:lnTo>
                  <a:lnTo>
                    <a:pt x="18" y="187"/>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27" name="Freeform 383">
              <a:extLst>
                <a:ext uri="{FF2B5EF4-FFF2-40B4-BE49-F238E27FC236}">
                  <a16:creationId xmlns:a16="http://schemas.microsoft.com/office/drawing/2014/main" id="{359E7631-69BF-4621-8B8F-61CDC7A6E11D}"/>
                </a:ext>
              </a:extLst>
            </p:cNvPr>
            <p:cNvSpPr>
              <a:spLocks/>
            </p:cNvSpPr>
            <p:nvPr/>
          </p:nvSpPr>
          <p:spPr bwMode="auto">
            <a:xfrm>
              <a:off x="5778500" y="3516313"/>
              <a:ext cx="30163" cy="52387"/>
            </a:xfrm>
            <a:custGeom>
              <a:avLst/>
              <a:gdLst>
                <a:gd name="T0" fmla="*/ 0 w 17"/>
                <a:gd name="T1" fmla="*/ 2147483647 h 32"/>
                <a:gd name="T2" fmla="*/ 0 w 17"/>
                <a:gd name="T3" fmla="*/ 2147483647 h 32"/>
                <a:gd name="T4" fmla="*/ 2147483647 w 17"/>
                <a:gd name="T5" fmla="*/ 2147483647 h 32"/>
                <a:gd name="T6" fmla="*/ 2147483647 w 17"/>
                <a:gd name="T7" fmla="*/ 0 h 32"/>
                <a:gd name="T8" fmla="*/ 0 w 17"/>
                <a:gd name="T9" fmla="*/ 2147483647 h 32"/>
                <a:gd name="T10" fmla="*/ 0 60000 65536"/>
                <a:gd name="T11" fmla="*/ 0 60000 65536"/>
                <a:gd name="T12" fmla="*/ 0 60000 65536"/>
                <a:gd name="T13" fmla="*/ 0 60000 65536"/>
                <a:gd name="T14" fmla="*/ 0 60000 65536"/>
                <a:gd name="T15" fmla="*/ 0 w 17"/>
                <a:gd name="T16" fmla="*/ 0 h 32"/>
                <a:gd name="T17" fmla="*/ 17 w 17"/>
                <a:gd name="T18" fmla="*/ 32 h 32"/>
              </a:gdLst>
              <a:ahLst/>
              <a:cxnLst>
                <a:cxn ang="T10">
                  <a:pos x="T0" y="T1"/>
                </a:cxn>
                <a:cxn ang="T11">
                  <a:pos x="T2" y="T3"/>
                </a:cxn>
                <a:cxn ang="T12">
                  <a:pos x="T4" y="T5"/>
                </a:cxn>
                <a:cxn ang="T13">
                  <a:pos x="T6" y="T7"/>
                </a:cxn>
                <a:cxn ang="T14">
                  <a:pos x="T8" y="T9"/>
                </a:cxn>
              </a:cxnLst>
              <a:rect l="T15" t="T16" r="T17" b="T18"/>
              <a:pathLst>
                <a:path w="17" h="32">
                  <a:moveTo>
                    <a:pt x="0" y="6"/>
                  </a:moveTo>
                  <a:lnTo>
                    <a:pt x="0" y="23"/>
                  </a:lnTo>
                  <a:lnTo>
                    <a:pt x="16" y="31"/>
                  </a:lnTo>
                  <a:lnTo>
                    <a:pt x="16" y="0"/>
                  </a:lnTo>
                  <a:lnTo>
                    <a:pt x="0" y="6"/>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28" name="Freeform 384">
              <a:extLst>
                <a:ext uri="{FF2B5EF4-FFF2-40B4-BE49-F238E27FC236}">
                  <a16:creationId xmlns:a16="http://schemas.microsoft.com/office/drawing/2014/main" id="{9186BC6C-ED1B-49BA-A949-E778D5D83A2D}"/>
                </a:ext>
              </a:extLst>
            </p:cNvPr>
            <p:cNvSpPr>
              <a:spLocks/>
            </p:cNvSpPr>
            <p:nvPr/>
          </p:nvSpPr>
          <p:spPr bwMode="auto">
            <a:xfrm>
              <a:off x="5761038" y="3567113"/>
              <a:ext cx="47625" cy="68262"/>
            </a:xfrm>
            <a:custGeom>
              <a:avLst/>
              <a:gdLst>
                <a:gd name="T0" fmla="*/ 0 w 26"/>
                <a:gd name="T1" fmla="*/ 0 h 42"/>
                <a:gd name="T2" fmla="*/ 2147483647 w 26"/>
                <a:gd name="T3" fmla="*/ 2147483647 h 42"/>
                <a:gd name="T4" fmla="*/ 2147483647 w 26"/>
                <a:gd name="T5" fmla="*/ 2147483647 h 42"/>
                <a:gd name="T6" fmla="*/ 2147483647 w 26"/>
                <a:gd name="T7" fmla="*/ 2147483647 h 42"/>
                <a:gd name="T8" fmla="*/ 2147483647 w 26"/>
                <a:gd name="T9" fmla="*/ 2147483647 h 42"/>
                <a:gd name="T10" fmla="*/ 2147483647 w 26"/>
                <a:gd name="T11" fmla="*/ 0 h 42"/>
                <a:gd name="T12" fmla="*/ 0 w 26"/>
                <a:gd name="T13" fmla="*/ 0 h 42"/>
                <a:gd name="T14" fmla="*/ 0 60000 65536"/>
                <a:gd name="T15" fmla="*/ 0 60000 65536"/>
                <a:gd name="T16" fmla="*/ 0 60000 65536"/>
                <a:gd name="T17" fmla="*/ 0 60000 65536"/>
                <a:gd name="T18" fmla="*/ 0 60000 65536"/>
                <a:gd name="T19" fmla="*/ 0 60000 65536"/>
                <a:gd name="T20" fmla="*/ 0 60000 65536"/>
                <a:gd name="T21" fmla="*/ 0 w 26"/>
                <a:gd name="T22" fmla="*/ 0 h 42"/>
                <a:gd name="T23" fmla="*/ 26 w 26"/>
                <a:gd name="T24" fmla="*/ 42 h 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42">
                  <a:moveTo>
                    <a:pt x="0" y="0"/>
                  </a:moveTo>
                  <a:lnTo>
                    <a:pt x="9" y="32"/>
                  </a:lnTo>
                  <a:lnTo>
                    <a:pt x="9" y="41"/>
                  </a:lnTo>
                  <a:lnTo>
                    <a:pt x="19" y="32"/>
                  </a:lnTo>
                  <a:lnTo>
                    <a:pt x="25" y="9"/>
                  </a:lnTo>
                  <a:lnTo>
                    <a:pt x="19" y="0"/>
                  </a:lnTo>
                  <a:lnTo>
                    <a:pt x="0"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29" name="Freeform 385">
              <a:extLst>
                <a:ext uri="{FF2B5EF4-FFF2-40B4-BE49-F238E27FC236}">
                  <a16:creationId xmlns:a16="http://schemas.microsoft.com/office/drawing/2014/main" id="{7056621E-EDFA-4C23-9865-D3E107FBF297}"/>
                </a:ext>
              </a:extLst>
            </p:cNvPr>
            <p:cNvSpPr>
              <a:spLocks/>
            </p:cNvSpPr>
            <p:nvPr/>
          </p:nvSpPr>
          <p:spPr bwMode="auto">
            <a:xfrm>
              <a:off x="5873750" y="3646488"/>
              <a:ext cx="77788" cy="42862"/>
            </a:xfrm>
            <a:custGeom>
              <a:avLst/>
              <a:gdLst>
                <a:gd name="T0" fmla="*/ 0 w 41"/>
                <a:gd name="T1" fmla="*/ 0 h 26"/>
                <a:gd name="T2" fmla="*/ 0 w 41"/>
                <a:gd name="T3" fmla="*/ 2147483647 h 26"/>
                <a:gd name="T4" fmla="*/ 2147483647 w 41"/>
                <a:gd name="T5" fmla="*/ 2147483647 h 26"/>
                <a:gd name="T6" fmla="*/ 2147483647 w 41"/>
                <a:gd name="T7" fmla="*/ 0 h 26"/>
                <a:gd name="T8" fmla="*/ 2147483647 w 41"/>
                <a:gd name="T9" fmla="*/ 0 h 26"/>
                <a:gd name="T10" fmla="*/ 2147483647 w 41"/>
                <a:gd name="T11" fmla="*/ 0 h 26"/>
                <a:gd name="T12" fmla="*/ 0 w 41"/>
                <a:gd name="T13" fmla="*/ 0 h 26"/>
                <a:gd name="T14" fmla="*/ 0 60000 65536"/>
                <a:gd name="T15" fmla="*/ 0 60000 65536"/>
                <a:gd name="T16" fmla="*/ 0 60000 65536"/>
                <a:gd name="T17" fmla="*/ 0 60000 65536"/>
                <a:gd name="T18" fmla="*/ 0 60000 65536"/>
                <a:gd name="T19" fmla="*/ 0 60000 65536"/>
                <a:gd name="T20" fmla="*/ 0 60000 65536"/>
                <a:gd name="T21" fmla="*/ 0 w 41"/>
                <a:gd name="T22" fmla="*/ 0 h 26"/>
                <a:gd name="T23" fmla="*/ 41 w 41"/>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6">
                  <a:moveTo>
                    <a:pt x="0" y="0"/>
                  </a:moveTo>
                  <a:lnTo>
                    <a:pt x="0" y="8"/>
                  </a:lnTo>
                  <a:lnTo>
                    <a:pt x="32" y="25"/>
                  </a:lnTo>
                  <a:lnTo>
                    <a:pt x="40" y="0"/>
                  </a:lnTo>
                  <a:lnTo>
                    <a:pt x="23" y="0"/>
                  </a:lnTo>
                  <a:lnTo>
                    <a:pt x="7" y="0"/>
                  </a:lnTo>
                  <a:lnTo>
                    <a:pt x="0"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30" name="Freeform 386">
              <a:extLst>
                <a:ext uri="{FF2B5EF4-FFF2-40B4-BE49-F238E27FC236}">
                  <a16:creationId xmlns:a16="http://schemas.microsoft.com/office/drawing/2014/main" id="{19550C4B-EFAC-4F5F-B8B9-851800ECBD71}"/>
                </a:ext>
              </a:extLst>
            </p:cNvPr>
            <p:cNvSpPr>
              <a:spLocks/>
            </p:cNvSpPr>
            <p:nvPr/>
          </p:nvSpPr>
          <p:spPr bwMode="auto">
            <a:xfrm>
              <a:off x="6086475" y="3646488"/>
              <a:ext cx="52388" cy="42862"/>
            </a:xfrm>
            <a:custGeom>
              <a:avLst/>
              <a:gdLst>
                <a:gd name="T0" fmla="*/ 0 w 26"/>
                <a:gd name="T1" fmla="*/ 2147483647 h 26"/>
                <a:gd name="T2" fmla="*/ 2147483647 w 26"/>
                <a:gd name="T3" fmla="*/ 2147483647 h 26"/>
                <a:gd name="T4" fmla="*/ 2147483647 w 26"/>
                <a:gd name="T5" fmla="*/ 2147483647 h 26"/>
                <a:gd name="T6" fmla="*/ 2147483647 w 26"/>
                <a:gd name="T7" fmla="*/ 2147483647 h 26"/>
                <a:gd name="T8" fmla="*/ 2147483647 w 26"/>
                <a:gd name="T9" fmla="*/ 2147483647 h 26"/>
                <a:gd name="T10" fmla="*/ 2147483647 w 26"/>
                <a:gd name="T11" fmla="*/ 2147483647 h 26"/>
                <a:gd name="T12" fmla="*/ 2147483647 w 26"/>
                <a:gd name="T13" fmla="*/ 2147483647 h 26"/>
                <a:gd name="T14" fmla="*/ 2147483647 w 26"/>
                <a:gd name="T15" fmla="*/ 2147483647 h 26"/>
                <a:gd name="T16" fmla="*/ 2147483647 w 26"/>
                <a:gd name="T17" fmla="*/ 0 h 26"/>
                <a:gd name="T18" fmla="*/ 0 w 26"/>
                <a:gd name="T19" fmla="*/ 2147483647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26"/>
                <a:gd name="T32" fmla="*/ 26 w 26"/>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26">
                  <a:moveTo>
                    <a:pt x="0" y="8"/>
                  </a:moveTo>
                  <a:lnTo>
                    <a:pt x="9" y="8"/>
                  </a:lnTo>
                  <a:lnTo>
                    <a:pt x="9" y="25"/>
                  </a:lnTo>
                  <a:lnTo>
                    <a:pt x="16" y="25"/>
                  </a:lnTo>
                  <a:lnTo>
                    <a:pt x="25" y="25"/>
                  </a:lnTo>
                  <a:lnTo>
                    <a:pt x="16" y="8"/>
                  </a:lnTo>
                  <a:lnTo>
                    <a:pt x="25" y="16"/>
                  </a:lnTo>
                  <a:lnTo>
                    <a:pt x="25" y="8"/>
                  </a:lnTo>
                  <a:lnTo>
                    <a:pt x="9" y="0"/>
                  </a:lnTo>
                  <a:lnTo>
                    <a:pt x="0" y="8"/>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31" name="Freeform 387">
              <a:extLst>
                <a:ext uri="{FF2B5EF4-FFF2-40B4-BE49-F238E27FC236}">
                  <a16:creationId xmlns:a16="http://schemas.microsoft.com/office/drawing/2014/main" id="{6C047552-33D4-4DC5-8857-704DFBCDA1A7}"/>
                </a:ext>
              </a:extLst>
            </p:cNvPr>
            <p:cNvSpPr>
              <a:spLocks/>
            </p:cNvSpPr>
            <p:nvPr/>
          </p:nvSpPr>
          <p:spPr bwMode="auto">
            <a:xfrm>
              <a:off x="6350000" y="3711575"/>
              <a:ext cx="66675" cy="30163"/>
            </a:xfrm>
            <a:custGeom>
              <a:avLst/>
              <a:gdLst>
                <a:gd name="T0" fmla="*/ 0 w 35"/>
                <a:gd name="T1" fmla="*/ 2147483647 h 18"/>
                <a:gd name="T2" fmla="*/ 2147483647 w 35"/>
                <a:gd name="T3" fmla="*/ 2147483647 h 18"/>
                <a:gd name="T4" fmla="*/ 2147483647 w 35"/>
                <a:gd name="T5" fmla="*/ 2147483647 h 18"/>
                <a:gd name="T6" fmla="*/ 2147483647 w 35"/>
                <a:gd name="T7" fmla="*/ 2147483647 h 18"/>
                <a:gd name="T8" fmla="*/ 2147483647 w 35"/>
                <a:gd name="T9" fmla="*/ 0 h 18"/>
                <a:gd name="T10" fmla="*/ 0 w 35"/>
                <a:gd name="T11" fmla="*/ 2147483647 h 18"/>
                <a:gd name="T12" fmla="*/ 0 60000 65536"/>
                <a:gd name="T13" fmla="*/ 0 60000 65536"/>
                <a:gd name="T14" fmla="*/ 0 60000 65536"/>
                <a:gd name="T15" fmla="*/ 0 60000 65536"/>
                <a:gd name="T16" fmla="*/ 0 60000 65536"/>
                <a:gd name="T17" fmla="*/ 0 60000 65536"/>
                <a:gd name="T18" fmla="*/ 0 w 35"/>
                <a:gd name="T19" fmla="*/ 0 h 18"/>
                <a:gd name="T20" fmla="*/ 35 w 35"/>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5" h="18">
                  <a:moveTo>
                    <a:pt x="0" y="8"/>
                  </a:moveTo>
                  <a:lnTo>
                    <a:pt x="10" y="17"/>
                  </a:lnTo>
                  <a:lnTo>
                    <a:pt x="18" y="17"/>
                  </a:lnTo>
                  <a:lnTo>
                    <a:pt x="25" y="8"/>
                  </a:lnTo>
                  <a:lnTo>
                    <a:pt x="34" y="0"/>
                  </a:lnTo>
                  <a:lnTo>
                    <a:pt x="0" y="8"/>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32" name="Freeform 388">
              <a:extLst>
                <a:ext uri="{FF2B5EF4-FFF2-40B4-BE49-F238E27FC236}">
                  <a16:creationId xmlns:a16="http://schemas.microsoft.com/office/drawing/2014/main" id="{3DD5B6FA-EEF4-40D6-AE0D-1511A7E07D9A}"/>
                </a:ext>
              </a:extLst>
            </p:cNvPr>
            <p:cNvSpPr>
              <a:spLocks/>
            </p:cNvSpPr>
            <p:nvPr/>
          </p:nvSpPr>
          <p:spPr bwMode="auto">
            <a:xfrm>
              <a:off x="5624513" y="3592513"/>
              <a:ext cx="31750" cy="26987"/>
            </a:xfrm>
            <a:custGeom>
              <a:avLst/>
              <a:gdLst>
                <a:gd name="T0" fmla="*/ 0 w 17"/>
                <a:gd name="T1" fmla="*/ 2147483647 h 17"/>
                <a:gd name="T2" fmla="*/ 2147483647 w 17"/>
                <a:gd name="T3" fmla="*/ 2147483647 h 17"/>
                <a:gd name="T4" fmla="*/ 2147483647 w 17"/>
                <a:gd name="T5" fmla="*/ 2147483647 h 17"/>
                <a:gd name="T6" fmla="*/ 2147483647 w 17"/>
                <a:gd name="T7" fmla="*/ 0 h 17"/>
                <a:gd name="T8" fmla="*/ 0 w 17"/>
                <a:gd name="T9" fmla="*/ 2147483647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9"/>
                  </a:moveTo>
                  <a:lnTo>
                    <a:pt x="6" y="16"/>
                  </a:lnTo>
                  <a:lnTo>
                    <a:pt x="16" y="9"/>
                  </a:lnTo>
                  <a:lnTo>
                    <a:pt x="6" y="0"/>
                  </a:lnTo>
                  <a:lnTo>
                    <a:pt x="0" y="9"/>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33" name="Freeform 389">
              <a:extLst>
                <a:ext uri="{FF2B5EF4-FFF2-40B4-BE49-F238E27FC236}">
                  <a16:creationId xmlns:a16="http://schemas.microsoft.com/office/drawing/2014/main" id="{7EAE7808-BCA4-491D-9F22-19FD5EDA8F36}"/>
                </a:ext>
              </a:extLst>
            </p:cNvPr>
            <p:cNvSpPr>
              <a:spLocks/>
            </p:cNvSpPr>
            <p:nvPr/>
          </p:nvSpPr>
          <p:spPr bwMode="auto">
            <a:xfrm>
              <a:off x="8342313" y="4727575"/>
              <a:ext cx="996950" cy="661988"/>
            </a:xfrm>
            <a:custGeom>
              <a:avLst/>
              <a:gdLst>
                <a:gd name="T0" fmla="*/ 2147483647 w 521"/>
                <a:gd name="T1" fmla="*/ 2147483647 h 406"/>
                <a:gd name="T2" fmla="*/ 2147483647 w 521"/>
                <a:gd name="T3" fmla="*/ 2147483647 h 406"/>
                <a:gd name="T4" fmla="*/ 2147483647 w 521"/>
                <a:gd name="T5" fmla="*/ 2147483647 h 406"/>
                <a:gd name="T6" fmla="*/ 2147483647 w 521"/>
                <a:gd name="T7" fmla="*/ 2147483647 h 406"/>
                <a:gd name="T8" fmla="*/ 2147483647 w 521"/>
                <a:gd name="T9" fmla="*/ 2147483647 h 406"/>
                <a:gd name="T10" fmla="*/ 2147483647 w 521"/>
                <a:gd name="T11" fmla="*/ 2147483647 h 406"/>
                <a:gd name="T12" fmla="*/ 2147483647 w 521"/>
                <a:gd name="T13" fmla="*/ 2147483647 h 406"/>
                <a:gd name="T14" fmla="*/ 2147483647 w 521"/>
                <a:gd name="T15" fmla="*/ 2147483647 h 406"/>
                <a:gd name="T16" fmla="*/ 2147483647 w 521"/>
                <a:gd name="T17" fmla="*/ 2147483647 h 406"/>
                <a:gd name="T18" fmla="*/ 2147483647 w 521"/>
                <a:gd name="T19" fmla="*/ 2147483647 h 406"/>
                <a:gd name="T20" fmla="*/ 2147483647 w 521"/>
                <a:gd name="T21" fmla="*/ 2147483647 h 406"/>
                <a:gd name="T22" fmla="*/ 2147483647 w 521"/>
                <a:gd name="T23" fmla="*/ 2147483647 h 406"/>
                <a:gd name="T24" fmla="*/ 2147483647 w 521"/>
                <a:gd name="T25" fmla="*/ 2147483647 h 406"/>
                <a:gd name="T26" fmla="*/ 2147483647 w 521"/>
                <a:gd name="T27" fmla="*/ 2147483647 h 406"/>
                <a:gd name="T28" fmla="*/ 2147483647 w 521"/>
                <a:gd name="T29" fmla="*/ 2147483647 h 406"/>
                <a:gd name="T30" fmla="*/ 2147483647 w 521"/>
                <a:gd name="T31" fmla="*/ 2147483647 h 406"/>
                <a:gd name="T32" fmla="*/ 2147483647 w 521"/>
                <a:gd name="T33" fmla="*/ 2147483647 h 406"/>
                <a:gd name="T34" fmla="*/ 2147483647 w 521"/>
                <a:gd name="T35" fmla="*/ 2147483647 h 406"/>
                <a:gd name="T36" fmla="*/ 2147483647 w 521"/>
                <a:gd name="T37" fmla="*/ 2147483647 h 406"/>
                <a:gd name="T38" fmla="*/ 2147483647 w 521"/>
                <a:gd name="T39" fmla="*/ 2147483647 h 406"/>
                <a:gd name="T40" fmla="*/ 2147483647 w 521"/>
                <a:gd name="T41" fmla="*/ 2147483647 h 406"/>
                <a:gd name="T42" fmla="*/ 2147483647 w 521"/>
                <a:gd name="T43" fmla="*/ 2147483647 h 406"/>
                <a:gd name="T44" fmla="*/ 2147483647 w 521"/>
                <a:gd name="T45" fmla="*/ 2147483647 h 406"/>
                <a:gd name="T46" fmla="*/ 2147483647 w 521"/>
                <a:gd name="T47" fmla="*/ 2147483647 h 406"/>
                <a:gd name="T48" fmla="*/ 2147483647 w 521"/>
                <a:gd name="T49" fmla="*/ 0 h 406"/>
                <a:gd name="T50" fmla="*/ 2147483647 w 521"/>
                <a:gd name="T51" fmla="*/ 2147483647 h 406"/>
                <a:gd name="T52" fmla="*/ 2147483647 w 521"/>
                <a:gd name="T53" fmla="*/ 2147483647 h 406"/>
                <a:gd name="T54" fmla="*/ 2147483647 w 521"/>
                <a:gd name="T55" fmla="*/ 2147483647 h 406"/>
                <a:gd name="T56" fmla="*/ 2147483647 w 521"/>
                <a:gd name="T57" fmla="*/ 2147483647 h 406"/>
                <a:gd name="T58" fmla="*/ 2147483647 w 521"/>
                <a:gd name="T59" fmla="*/ 2147483647 h 406"/>
                <a:gd name="T60" fmla="*/ 2147483647 w 521"/>
                <a:gd name="T61" fmla="*/ 2147483647 h 406"/>
                <a:gd name="T62" fmla="*/ 2147483647 w 521"/>
                <a:gd name="T63" fmla="*/ 2147483647 h 406"/>
                <a:gd name="T64" fmla="*/ 2147483647 w 521"/>
                <a:gd name="T65" fmla="*/ 2147483647 h 406"/>
                <a:gd name="T66" fmla="*/ 2147483647 w 521"/>
                <a:gd name="T67" fmla="*/ 2147483647 h 406"/>
                <a:gd name="T68" fmla="*/ 2147483647 w 521"/>
                <a:gd name="T69" fmla="*/ 2147483647 h 406"/>
                <a:gd name="T70" fmla="*/ 2147483647 w 521"/>
                <a:gd name="T71" fmla="*/ 2147483647 h 406"/>
                <a:gd name="T72" fmla="*/ 2147483647 w 521"/>
                <a:gd name="T73" fmla="*/ 2147483647 h 406"/>
                <a:gd name="T74" fmla="*/ 2147483647 w 521"/>
                <a:gd name="T75" fmla="*/ 2147483647 h 406"/>
                <a:gd name="T76" fmla="*/ 2147483647 w 521"/>
                <a:gd name="T77" fmla="*/ 2147483647 h 406"/>
                <a:gd name="T78" fmla="*/ 2147483647 w 521"/>
                <a:gd name="T79" fmla="*/ 2147483647 h 406"/>
                <a:gd name="T80" fmla="*/ 2147483647 w 521"/>
                <a:gd name="T81" fmla="*/ 2147483647 h 406"/>
                <a:gd name="T82" fmla="*/ 2147483647 w 521"/>
                <a:gd name="T83" fmla="*/ 2147483647 h 406"/>
                <a:gd name="T84" fmla="*/ 2147483647 w 521"/>
                <a:gd name="T85" fmla="*/ 2147483647 h 406"/>
                <a:gd name="T86" fmla="*/ 2147483647 w 521"/>
                <a:gd name="T87" fmla="*/ 2147483647 h 406"/>
                <a:gd name="T88" fmla="*/ 2147483647 w 521"/>
                <a:gd name="T89" fmla="*/ 2147483647 h 406"/>
                <a:gd name="T90" fmla="*/ 2147483647 w 521"/>
                <a:gd name="T91" fmla="*/ 2147483647 h 406"/>
                <a:gd name="T92" fmla="*/ 2147483647 w 521"/>
                <a:gd name="T93" fmla="*/ 2147483647 h 406"/>
                <a:gd name="T94" fmla="*/ 2147483647 w 521"/>
                <a:gd name="T95" fmla="*/ 2147483647 h 406"/>
                <a:gd name="T96" fmla="*/ 2147483647 w 521"/>
                <a:gd name="T97" fmla="*/ 2147483647 h 406"/>
                <a:gd name="T98" fmla="*/ 2147483647 w 521"/>
                <a:gd name="T99" fmla="*/ 2147483647 h 406"/>
                <a:gd name="T100" fmla="*/ 2147483647 w 521"/>
                <a:gd name="T101" fmla="*/ 2147483647 h 406"/>
                <a:gd name="T102" fmla="*/ 2147483647 w 521"/>
                <a:gd name="T103" fmla="*/ 2147483647 h 406"/>
                <a:gd name="T104" fmla="*/ 2147483647 w 521"/>
                <a:gd name="T105" fmla="*/ 2147483647 h 40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21"/>
                <a:gd name="T160" fmla="*/ 0 h 406"/>
                <a:gd name="T161" fmla="*/ 521 w 521"/>
                <a:gd name="T162" fmla="*/ 406 h 40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21" h="406">
                  <a:moveTo>
                    <a:pt x="23" y="324"/>
                  </a:moveTo>
                  <a:lnTo>
                    <a:pt x="48" y="342"/>
                  </a:lnTo>
                  <a:lnTo>
                    <a:pt x="64" y="342"/>
                  </a:lnTo>
                  <a:lnTo>
                    <a:pt x="89" y="317"/>
                  </a:lnTo>
                  <a:lnTo>
                    <a:pt x="129" y="317"/>
                  </a:lnTo>
                  <a:lnTo>
                    <a:pt x="138" y="308"/>
                  </a:lnTo>
                  <a:lnTo>
                    <a:pt x="169" y="293"/>
                  </a:lnTo>
                  <a:lnTo>
                    <a:pt x="234" y="283"/>
                  </a:lnTo>
                  <a:lnTo>
                    <a:pt x="268" y="299"/>
                  </a:lnTo>
                  <a:lnTo>
                    <a:pt x="268" y="308"/>
                  </a:lnTo>
                  <a:lnTo>
                    <a:pt x="276" y="308"/>
                  </a:lnTo>
                  <a:lnTo>
                    <a:pt x="293" y="342"/>
                  </a:lnTo>
                  <a:lnTo>
                    <a:pt x="316" y="299"/>
                  </a:lnTo>
                  <a:lnTo>
                    <a:pt x="316" y="317"/>
                  </a:lnTo>
                  <a:lnTo>
                    <a:pt x="308" y="342"/>
                  </a:lnTo>
                  <a:lnTo>
                    <a:pt x="316" y="342"/>
                  </a:lnTo>
                  <a:lnTo>
                    <a:pt x="316" y="324"/>
                  </a:lnTo>
                  <a:lnTo>
                    <a:pt x="325" y="342"/>
                  </a:lnTo>
                  <a:lnTo>
                    <a:pt x="316" y="348"/>
                  </a:lnTo>
                  <a:lnTo>
                    <a:pt x="333" y="348"/>
                  </a:lnTo>
                  <a:lnTo>
                    <a:pt x="340" y="365"/>
                  </a:lnTo>
                  <a:lnTo>
                    <a:pt x="340" y="373"/>
                  </a:lnTo>
                  <a:lnTo>
                    <a:pt x="349" y="382"/>
                  </a:lnTo>
                  <a:lnTo>
                    <a:pt x="365" y="389"/>
                  </a:lnTo>
                  <a:lnTo>
                    <a:pt x="381" y="389"/>
                  </a:lnTo>
                  <a:lnTo>
                    <a:pt x="390" y="398"/>
                  </a:lnTo>
                  <a:lnTo>
                    <a:pt x="405" y="382"/>
                  </a:lnTo>
                  <a:lnTo>
                    <a:pt x="405" y="389"/>
                  </a:lnTo>
                  <a:lnTo>
                    <a:pt x="415" y="389"/>
                  </a:lnTo>
                  <a:lnTo>
                    <a:pt x="415" y="398"/>
                  </a:lnTo>
                  <a:lnTo>
                    <a:pt x="430" y="405"/>
                  </a:lnTo>
                  <a:lnTo>
                    <a:pt x="446" y="382"/>
                  </a:lnTo>
                  <a:lnTo>
                    <a:pt x="470" y="382"/>
                  </a:lnTo>
                  <a:lnTo>
                    <a:pt x="480" y="348"/>
                  </a:lnTo>
                  <a:lnTo>
                    <a:pt x="511" y="276"/>
                  </a:lnTo>
                  <a:lnTo>
                    <a:pt x="520" y="243"/>
                  </a:lnTo>
                  <a:lnTo>
                    <a:pt x="511" y="203"/>
                  </a:lnTo>
                  <a:lnTo>
                    <a:pt x="495" y="180"/>
                  </a:lnTo>
                  <a:lnTo>
                    <a:pt x="487" y="171"/>
                  </a:lnTo>
                  <a:lnTo>
                    <a:pt x="480" y="156"/>
                  </a:lnTo>
                  <a:lnTo>
                    <a:pt x="470" y="146"/>
                  </a:lnTo>
                  <a:lnTo>
                    <a:pt x="470" y="156"/>
                  </a:lnTo>
                  <a:lnTo>
                    <a:pt x="455" y="131"/>
                  </a:lnTo>
                  <a:lnTo>
                    <a:pt x="430" y="106"/>
                  </a:lnTo>
                  <a:lnTo>
                    <a:pt x="421" y="81"/>
                  </a:lnTo>
                  <a:lnTo>
                    <a:pt x="415" y="74"/>
                  </a:lnTo>
                  <a:lnTo>
                    <a:pt x="415" y="57"/>
                  </a:lnTo>
                  <a:lnTo>
                    <a:pt x="405" y="49"/>
                  </a:lnTo>
                  <a:lnTo>
                    <a:pt x="390" y="49"/>
                  </a:lnTo>
                  <a:lnTo>
                    <a:pt x="381" y="0"/>
                  </a:lnTo>
                  <a:lnTo>
                    <a:pt x="373" y="0"/>
                  </a:lnTo>
                  <a:lnTo>
                    <a:pt x="365" y="17"/>
                  </a:lnTo>
                  <a:lnTo>
                    <a:pt x="365" y="57"/>
                  </a:lnTo>
                  <a:lnTo>
                    <a:pt x="358" y="90"/>
                  </a:lnTo>
                  <a:lnTo>
                    <a:pt x="340" y="90"/>
                  </a:lnTo>
                  <a:lnTo>
                    <a:pt x="308" y="66"/>
                  </a:lnTo>
                  <a:lnTo>
                    <a:pt x="300" y="66"/>
                  </a:lnTo>
                  <a:lnTo>
                    <a:pt x="300" y="57"/>
                  </a:lnTo>
                  <a:lnTo>
                    <a:pt x="284" y="57"/>
                  </a:lnTo>
                  <a:lnTo>
                    <a:pt x="293" y="34"/>
                  </a:lnTo>
                  <a:lnTo>
                    <a:pt x="300" y="34"/>
                  </a:lnTo>
                  <a:lnTo>
                    <a:pt x="308" y="17"/>
                  </a:lnTo>
                  <a:lnTo>
                    <a:pt x="300" y="17"/>
                  </a:lnTo>
                  <a:lnTo>
                    <a:pt x="293" y="25"/>
                  </a:lnTo>
                  <a:lnTo>
                    <a:pt x="293" y="17"/>
                  </a:lnTo>
                  <a:lnTo>
                    <a:pt x="284" y="17"/>
                  </a:lnTo>
                  <a:lnTo>
                    <a:pt x="244" y="9"/>
                  </a:lnTo>
                  <a:lnTo>
                    <a:pt x="253" y="17"/>
                  </a:lnTo>
                  <a:lnTo>
                    <a:pt x="244" y="17"/>
                  </a:lnTo>
                  <a:lnTo>
                    <a:pt x="228" y="17"/>
                  </a:lnTo>
                  <a:lnTo>
                    <a:pt x="219" y="25"/>
                  </a:lnTo>
                  <a:lnTo>
                    <a:pt x="219" y="34"/>
                  </a:lnTo>
                  <a:lnTo>
                    <a:pt x="212" y="34"/>
                  </a:lnTo>
                  <a:lnTo>
                    <a:pt x="212" y="49"/>
                  </a:lnTo>
                  <a:lnTo>
                    <a:pt x="212" y="57"/>
                  </a:lnTo>
                  <a:lnTo>
                    <a:pt x="194" y="49"/>
                  </a:lnTo>
                  <a:lnTo>
                    <a:pt x="194" y="57"/>
                  </a:lnTo>
                  <a:lnTo>
                    <a:pt x="194" y="49"/>
                  </a:lnTo>
                  <a:lnTo>
                    <a:pt x="187" y="41"/>
                  </a:lnTo>
                  <a:lnTo>
                    <a:pt x="179" y="41"/>
                  </a:lnTo>
                  <a:lnTo>
                    <a:pt x="163" y="49"/>
                  </a:lnTo>
                  <a:lnTo>
                    <a:pt x="154" y="49"/>
                  </a:lnTo>
                  <a:lnTo>
                    <a:pt x="147" y="74"/>
                  </a:lnTo>
                  <a:lnTo>
                    <a:pt x="138" y="74"/>
                  </a:lnTo>
                  <a:lnTo>
                    <a:pt x="129" y="74"/>
                  </a:lnTo>
                  <a:lnTo>
                    <a:pt x="138" y="81"/>
                  </a:lnTo>
                  <a:lnTo>
                    <a:pt x="129" y="90"/>
                  </a:lnTo>
                  <a:lnTo>
                    <a:pt x="129" y="74"/>
                  </a:lnTo>
                  <a:lnTo>
                    <a:pt x="114" y="90"/>
                  </a:lnTo>
                  <a:lnTo>
                    <a:pt x="122" y="97"/>
                  </a:lnTo>
                  <a:lnTo>
                    <a:pt x="97" y="114"/>
                  </a:lnTo>
                  <a:lnTo>
                    <a:pt x="41" y="131"/>
                  </a:lnTo>
                  <a:lnTo>
                    <a:pt x="17" y="156"/>
                  </a:lnTo>
                  <a:lnTo>
                    <a:pt x="8" y="146"/>
                  </a:lnTo>
                  <a:lnTo>
                    <a:pt x="8" y="156"/>
                  </a:lnTo>
                  <a:lnTo>
                    <a:pt x="8" y="171"/>
                  </a:lnTo>
                  <a:lnTo>
                    <a:pt x="0" y="171"/>
                  </a:lnTo>
                  <a:lnTo>
                    <a:pt x="17" y="211"/>
                  </a:lnTo>
                  <a:lnTo>
                    <a:pt x="8" y="196"/>
                  </a:lnTo>
                  <a:lnTo>
                    <a:pt x="8" y="211"/>
                  </a:lnTo>
                  <a:lnTo>
                    <a:pt x="0" y="203"/>
                  </a:lnTo>
                  <a:lnTo>
                    <a:pt x="23" y="251"/>
                  </a:lnTo>
                  <a:lnTo>
                    <a:pt x="32" y="283"/>
                  </a:lnTo>
                  <a:lnTo>
                    <a:pt x="32" y="308"/>
                  </a:lnTo>
                  <a:lnTo>
                    <a:pt x="23" y="317"/>
                  </a:lnTo>
                  <a:lnTo>
                    <a:pt x="23" y="324"/>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34" name="Freeform 390">
              <a:extLst>
                <a:ext uri="{FF2B5EF4-FFF2-40B4-BE49-F238E27FC236}">
                  <a16:creationId xmlns:a16="http://schemas.microsoft.com/office/drawing/2014/main" id="{9545DC3E-8E5D-4DC2-ACE8-B6FC758F2701}"/>
                </a:ext>
              </a:extLst>
            </p:cNvPr>
            <p:cNvSpPr>
              <a:spLocks/>
            </p:cNvSpPr>
            <p:nvPr/>
          </p:nvSpPr>
          <p:spPr bwMode="auto">
            <a:xfrm>
              <a:off x="8761413" y="4743450"/>
              <a:ext cx="33337" cy="26988"/>
            </a:xfrm>
            <a:custGeom>
              <a:avLst/>
              <a:gdLst>
                <a:gd name="T0" fmla="*/ 0 w 17"/>
                <a:gd name="T1" fmla="*/ 2147483647 h 17"/>
                <a:gd name="T2" fmla="*/ 2147483647 w 17"/>
                <a:gd name="T3" fmla="*/ 2147483647 h 17"/>
                <a:gd name="T4" fmla="*/ 2147483647 w 17"/>
                <a:gd name="T5" fmla="*/ 0 h 17"/>
                <a:gd name="T6" fmla="*/ 0 w 17"/>
                <a:gd name="T7" fmla="*/ 0 h 17"/>
                <a:gd name="T8" fmla="*/ 0 w 17"/>
                <a:gd name="T9" fmla="*/ 2147483647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9" y="16"/>
                  </a:lnTo>
                  <a:lnTo>
                    <a:pt x="16" y="0"/>
                  </a:lnTo>
                  <a:lnTo>
                    <a:pt x="0" y="0"/>
                  </a:lnTo>
                  <a:lnTo>
                    <a:pt x="0" y="16"/>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35" name="Freeform 391">
              <a:extLst>
                <a:ext uri="{FF2B5EF4-FFF2-40B4-BE49-F238E27FC236}">
                  <a16:creationId xmlns:a16="http://schemas.microsoft.com/office/drawing/2014/main" id="{F00DF184-1DFF-4BB8-943B-E46A1C2D7B80}"/>
                </a:ext>
              </a:extLst>
            </p:cNvPr>
            <p:cNvSpPr>
              <a:spLocks/>
            </p:cNvSpPr>
            <p:nvPr/>
          </p:nvSpPr>
          <p:spPr bwMode="auto">
            <a:xfrm>
              <a:off x="8761413" y="4743450"/>
              <a:ext cx="33337" cy="26988"/>
            </a:xfrm>
            <a:custGeom>
              <a:avLst/>
              <a:gdLst>
                <a:gd name="T0" fmla="*/ 0 w 17"/>
                <a:gd name="T1" fmla="*/ 2147483647 h 17"/>
                <a:gd name="T2" fmla="*/ 2147483647 w 17"/>
                <a:gd name="T3" fmla="*/ 2147483647 h 17"/>
                <a:gd name="T4" fmla="*/ 2147483647 w 17"/>
                <a:gd name="T5" fmla="*/ 0 h 17"/>
                <a:gd name="T6" fmla="*/ 0 w 17"/>
                <a:gd name="T7" fmla="*/ 0 h 17"/>
                <a:gd name="T8" fmla="*/ 0 w 17"/>
                <a:gd name="T9" fmla="*/ 2147483647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9" y="16"/>
                  </a:lnTo>
                  <a:lnTo>
                    <a:pt x="16" y="0"/>
                  </a:lnTo>
                  <a:lnTo>
                    <a:pt x="0" y="0"/>
                  </a:lnTo>
                  <a:lnTo>
                    <a:pt x="0" y="16"/>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36" name="Freeform 392">
              <a:extLst>
                <a:ext uri="{FF2B5EF4-FFF2-40B4-BE49-F238E27FC236}">
                  <a16:creationId xmlns:a16="http://schemas.microsoft.com/office/drawing/2014/main" id="{D9448718-9923-46AA-9C7A-03E1E29F9307}"/>
                </a:ext>
              </a:extLst>
            </p:cNvPr>
            <p:cNvSpPr>
              <a:spLocks/>
            </p:cNvSpPr>
            <p:nvPr/>
          </p:nvSpPr>
          <p:spPr bwMode="auto">
            <a:xfrm>
              <a:off x="8918575" y="5294313"/>
              <a:ext cx="30163" cy="26987"/>
            </a:xfrm>
            <a:custGeom>
              <a:avLst/>
              <a:gdLst>
                <a:gd name="T0" fmla="*/ 0 w 17"/>
                <a:gd name="T1" fmla="*/ 0 h 17"/>
                <a:gd name="T2" fmla="*/ 2147483647 w 17"/>
                <a:gd name="T3" fmla="*/ 2147483647 h 17"/>
                <a:gd name="T4" fmla="*/ 2147483647 w 17"/>
                <a:gd name="T5" fmla="*/ 0 h 17"/>
                <a:gd name="T6" fmla="*/ 2147483647 w 17"/>
                <a:gd name="T7" fmla="*/ 0 h 17"/>
                <a:gd name="T8" fmla="*/ 0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0"/>
                  </a:moveTo>
                  <a:lnTo>
                    <a:pt x="16" y="16"/>
                  </a:lnTo>
                  <a:lnTo>
                    <a:pt x="16" y="0"/>
                  </a:lnTo>
                  <a:lnTo>
                    <a:pt x="8" y="0"/>
                  </a:lnTo>
                  <a:lnTo>
                    <a:pt x="0"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37" name="Freeform 393">
              <a:extLst>
                <a:ext uri="{FF2B5EF4-FFF2-40B4-BE49-F238E27FC236}">
                  <a16:creationId xmlns:a16="http://schemas.microsoft.com/office/drawing/2014/main" id="{AEF38F1C-F11B-44DC-BA67-AB9CB266F5C6}"/>
                </a:ext>
              </a:extLst>
            </p:cNvPr>
            <p:cNvSpPr>
              <a:spLocks/>
            </p:cNvSpPr>
            <p:nvPr/>
          </p:nvSpPr>
          <p:spPr bwMode="auto">
            <a:xfrm>
              <a:off x="8918575" y="5294313"/>
              <a:ext cx="30163" cy="26987"/>
            </a:xfrm>
            <a:custGeom>
              <a:avLst/>
              <a:gdLst>
                <a:gd name="T0" fmla="*/ 0 w 17"/>
                <a:gd name="T1" fmla="*/ 0 h 17"/>
                <a:gd name="T2" fmla="*/ 2147483647 w 17"/>
                <a:gd name="T3" fmla="*/ 2147483647 h 17"/>
                <a:gd name="T4" fmla="*/ 2147483647 w 17"/>
                <a:gd name="T5" fmla="*/ 0 h 17"/>
                <a:gd name="T6" fmla="*/ 2147483647 w 17"/>
                <a:gd name="T7" fmla="*/ 0 h 17"/>
                <a:gd name="T8" fmla="*/ 0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0"/>
                  </a:moveTo>
                  <a:lnTo>
                    <a:pt x="16" y="16"/>
                  </a:lnTo>
                  <a:lnTo>
                    <a:pt x="16" y="0"/>
                  </a:lnTo>
                  <a:lnTo>
                    <a:pt x="8" y="0"/>
                  </a:lnTo>
                  <a:lnTo>
                    <a:pt x="0" y="0"/>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38" name="Freeform 394">
              <a:extLst>
                <a:ext uri="{FF2B5EF4-FFF2-40B4-BE49-F238E27FC236}">
                  <a16:creationId xmlns:a16="http://schemas.microsoft.com/office/drawing/2014/main" id="{6914AF63-A695-47F2-9CBF-337805F0CAD8}"/>
                </a:ext>
              </a:extLst>
            </p:cNvPr>
            <p:cNvSpPr>
              <a:spLocks/>
            </p:cNvSpPr>
            <p:nvPr/>
          </p:nvSpPr>
          <p:spPr bwMode="auto">
            <a:xfrm>
              <a:off x="9118600" y="5427663"/>
              <a:ext cx="96838" cy="82550"/>
            </a:xfrm>
            <a:custGeom>
              <a:avLst/>
              <a:gdLst>
                <a:gd name="T0" fmla="*/ 0 w 51"/>
                <a:gd name="T1" fmla="*/ 0 h 50"/>
                <a:gd name="T2" fmla="*/ 2147483647 w 51"/>
                <a:gd name="T3" fmla="*/ 2147483647 h 50"/>
                <a:gd name="T4" fmla="*/ 2147483647 w 51"/>
                <a:gd name="T5" fmla="*/ 2147483647 h 50"/>
                <a:gd name="T6" fmla="*/ 2147483647 w 51"/>
                <a:gd name="T7" fmla="*/ 2147483647 h 50"/>
                <a:gd name="T8" fmla="*/ 2147483647 w 51"/>
                <a:gd name="T9" fmla="*/ 2147483647 h 50"/>
                <a:gd name="T10" fmla="*/ 2147483647 w 51"/>
                <a:gd name="T11" fmla="*/ 0 h 50"/>
                <a:gd name="T12" fmla="*/ 2147483647 w 51"/>
                <a:gd name="T13" fmla="*/ 0 h 50"/>
                <a:gd name="T14" fmla="*/ 2147483647 w 51"/>
                <a:gd name="T15" fmla="*/ 2147483647 h 50"/>
                <a:gd name="T16" fmla="*/ 0 w 51"/>
                <a:gd name="T17" fmla="*/ 0 h 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1"/>
                <a:gd name="T28" fmla="*/ 0 h 50"/>
                <a:gd name="T29" fmla="*/ 51 w 51"/>
                <a:gd name="T30" fmla="*/ 50 h 5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1" h="50">
                  <a:moveTo>
                    <a:pt x="0" y="0"/>
                  </a:moveTo>
                  <a:lnTo>
                    <a:pt x="10" y="40"/>
                  </a:lnTo>
                  <a:lnTo>
                    <a:pt x="25" y="49"/>
                  </a:lnTo>
                  <a:lnTo>
                    <a:pt x="34" y="33"/>
                  </a:lnTo>
                  <a:lnTo>
                    <a:pt x="41" y="40"/>
                  </a:lnTo>
                  <a:lnTo>
                    <a:pt x="50" y="0"/>
                  </a:lnTo>
                  <a:lnTo>
                    <a:pt x="41" y="0"/>
                  </a:lnTo>
                  <a:lnTo>
                    <a:pt x="16" y="8"/>
                  </a:lnTo>
                  <a:lnTo>
                    <a:pt x="0"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39" name="Freeform 395">
              <a:extLst>
                <a:ext uri="{FF2B5EF4-FFF2-40B4-BE49-F238E27FC236}">
                  <a16:creationId xmlns:a16="http://schemas.microsoft.com/office/drawing/2014/main" id="{2A1DE2F0-EAFD-4FFB-B7B9-3B711E2DAA2B}"/>
                </a:ext>
              </a:extLst>
            </p:cNvPr>
            <p:cNvSpPr>
              <a:spLocks/>
            </p:cNvSpPr>
            <p:nvPr/>
          </p:nvSpPr>
          <p:spPr bwMode="auto">
            <a:xfrm>
              <a:off x="7907338" y="4386263"/>
              <a:ext cx="265112" cy="236537"/>
            </a:xfrm>
            <a:custGeom>
              <a:avLst/>
              <a:gdLst>
                <a:gd name="T0" fmla="*/ 0 w 140"/>
                <a:gd name="T1" fmla="*/ 0 h 145"/>
                <a:gd name="T2" fmla="*/ 0 w 140"/>
                <a:gd name="T3" fmla="*/ 2147483647 h 145"/>
                <a:gd name="T4" fmla="*/ 2147483647 w 140"/>
                <a:gd name="T5" fmla="*/ 2147483647 h 145"/>
                <a:gd name="T6" fmla="*/ 2147483647 w 140"/>
                <a:gd name="T7" fmla="*/ 2147483647 h 145"/>
                <a:gd name="T8" fmla="*/ 2147483647 w 140"/>
                <a:gd name="T9" fmla="*/ 2147483647 h 145"/>
                <a:gd name="T10" fmla="*/ 2147483647 w 140"/>
                <a:gd name="T11" fmla="*/ 2147483647 h 145"/>
                <a:gd name="T12" fmla="*/ 2147483647 w 140"/>
                <a:gd name="T13" fmla="*/ 2147483647 h 145"/>
                <a:gd name="T14" fmla="*/ 2147483647 w 140"/>
                <a:gd name="T15" fmla="*/ 2147483647 h 145"/>
                <a:gd name="T16" fmla="*/ 2147483647 w 140"/>
                <a:gd name="T17" fmla="*/ 2147483647 h 145"/>
                <a:gd name="T18" fmla="*/ 2147483647 w 140"/>
                <a:gd name="T19" fmla="*/ 2147483647 h 145"/>
                <a:gd name="T20" fmla="*/ 2147483647 w 140"/>
                <a:gd name="T21" fmla="*/ 2147483647 h 145"/>
                <a:gd name="T22" fmla="*/ 2147483647 w 140"/>
                <a:gd name="T23" fmla="*/ 2147483647 h 145"/>
                <a:gd name="T24" fmla="*/ 2147483647 w 140"/>
                <a:gd name="T25" fmla="*/ 2147483647 h 145"/>
                <a:gd name="T26" fmla="*/ 2147483647 w 140"/>
                <a:gd name="T27" fmla="*/ 2147483647 h 145"/>
                <a:gd name="T28" fmla="*/ 2147483647 w 140"/>
                <a:gd name="T29" fmla="*/ 2147483647 h 145"/>
                <a:gd name="T30" fmla="*/ 2147483647 w 140"/>
                <a:gd name="T31" fmla="*/ 2147483647 h 145"/>
                <a:gd name="T32" fmla="*/ 2147483647 w 140"/>
                <a:gd name="T33" fmla="*/ 2147483647 h 145"/>
                <a:gd name="T34" fmla="*/ 2147483647 w 140"/>
                <a:gd name="T35" fmla="*/ 2147483647 h 145"/>
                <a:gd name="T36" fmla="*/ 2147483647 w 140"/>
                <a:gd name="T37" fmla="*/ 2147483647 h 145"/>
                <a:gd name="T38" fmla="*/ 2147483647 w 140"/>
                <a:gd name="T39" fmla="*/ 2147483647 h 145"/>
                <a:gd name="T40" fmla="*/ 2147483647 w 140"/>
                <a:gd name="T41" fmla="*/ 2147483647 h 145"/>
                <a:gd name="T42" fmla="*/ 0 w 140"/>
                <a:gd name="T43" fmla="*/ 0 h 14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40"/>
                <a:gd name="T67" fmla="*/ 0 h 145"/>
                <a:gd name="T68" fmla="*/ 140 w 140"/>
                <a:gd name="T69" fmla="*/ 145 h 14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40" h="145">
                  <a:moveTo>
                    <a:pt x="0" y="0"/>
                  </a:moveTo>
                  <a:lnTo>
                    <a:pt x="0" y="7"/>
                  </a:lnTo>
                  <a:lnTo>
                    <a:pt x="18" y="23"/>
                  </a:lnTo>
                  <a:lnTo>
                    <a:pt x="33" y="41"/>
                  </a:lnTo>
                  <a:lnTo>
                    <a:pt x="42" y="47"/>
                  </a:lnTo>
                  <a:lnTo>
                    <a:pt x="49" y="64"/>
                  </a:lnTo>
                  <a:lnTo>
                    <a:pt x="65" y="81"/>
                  </a:lnTo>
                  <a:lnTo>
                    <a:pt x="83" y="113"/>
                  </a:lnTo>
                  <a:lnTo>
                    <a:pt x="114" y="144"/>
                  </a:lnTo>
                  <a:lnTo>
                    <a:pt x="130" y="144"/>
                  </a:lnTo>
                  <a:lnTo>
                    <a:pt x="139" y="113"/>
                  </a:lnTo>
                  <a:lnTo>
                    <a:pt x="130" y="97"/>
                  </a:lnTo>
                  <a:lnTo>
                    <a:pt x="123" y="97"/>
                  </a:lnTo>
                  <a:lnTo>
                    <a:pt x="114" y="81"/>
                  </a:lnTo>
                  <a:lnTo>
                    <a:pt x="108" y="81"/>
                  </a:lnTo>
                  <a:lnTo>
                    <a:pt x="108" y="72"/>
                  </a:lnTo>
                  <a:lnTo>
                    <a:pt x="98" y="64"/>
                  </a:lnTo>
                  <a:lnTo>
                    <a:pt x="98" y="56"/>
                  </a:lnTo>
                  <a:lnTo>
                    <a:pt x="74" y="41"/>
                  </a:lnTo>
                  <a:lnTo>
                    <a:pt x="65" y="41"/>
                  </a:lnTo>
                  <a:lnTo>
                    <a:pt x="24" y="7"/>
                  </a:lnTo>
                  <a:lnTo>
                    <a:pt x="0" y="0"/>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40" name="Freeform 396">
              <a:extLst>
                <a:ext uri="{FF2B5EF4-FFF2-40B4-BE49-F238E27FC236}">
                  <a16:creationId xmlns:a16="http://schemas.microsoft.com/office/drawing/2014/main" id="{A30C4D94-084C-483B-BADE-05D0DCC5B129}"/>
                </a:ext>
              </a:extLst>
            </p:cNvPr>
            <p:cNvSpPr>
              <a:spLocks/>
            </p:cNvSpPr>
            <p:nvPr/>
          </p:nvSpPr>
          <p:spPr bwMode="auto">
            <a:xfrm>
              <a:off x="8154988" y="4621213"/>
              <a:ext cx="222250" cy="57150"/>
            </a:xfrm>
            <a:custGeom>
              <a:avLst/>
              <a:gdLst>
                <a:gd name="T0" fmla="*/ 0 w 116"/>
                <a:gd name="T1" fmla="*/ 2147483647 h 35"/>
                <a:gd name="T2" fmla="*/ 2147483647 w 116"/>
                <a:gd name="T3" fmla="*/ 2147483647 h 35"/>
                <a:gd name="T4" fmla="*/ 2147483647 w 116"/>
                <a:gd name="T5" fmla="*/ 2147483647 h 35"/>
                <a:gd name="T6" fmla="*/ 2147483647 w 116"/>
                <a:gd name="T7" fmla="*/ 2147483647 h 35"/>
                <a:gd name="T8" fmla="*/ 2147483647 w 116"/>
                <a:gd name="T9" fmla="*/ 2147483647 h 35"/>
                <a:gd name="T10" fmla="*/ 2147483647 w 116"/>
                <a:gd name="T11" fmla="*/ 2147483647 h 35"/>
                <a:gd name="T12" fmla="*/ 2147483647 w 116"/>
                <a:gd name="T13" fmla="*/ 2147483647 h 35"/>
                <a:gd name="T14" fmla="*/ 2147483647 w 116"/>
                <a:gd name="T15" fmla="*/ 2147483647 h 35"/>
                <a:gd name="T16" fmla="*/ 2147483647 w 116"/>
                <a:gd name="T17" fmla="*/ 2147483647 h 35"/>
                <a:gd name="T18" fmla="*/ 2147483647 w 116"/>
                <a:gd name="T19" fmla="*/ 0 h 35"/>
                <a:gd name="T20" fmla="*/ 2147483647 w 116"/>
                <a:gd name="T21" fmla="*/ 0 h 35"/>
                <a:gd name="T22" fmla="*/ 0 w 116"/>
                <a:gd name="T23" fmla="*/ 2147483647 h 3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6"/>
                <a:gd name="T37" fmla="*/ 0 h 35"/>
                <a:gd name="T38" fmla="*/ 116 w 116"/>
                <a:gd name="T39" fmla="*/ 35 h 3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6" h="35">
                  <a:moveTo>
                    <a:pt x="0" y="9"/>
                  </a:moveTo>
                  <a:lnTo>
                    <a:pt x="33" y="25"/>
                  </a:lnTo>
                  <a:lnTo>
                    <a:pt x="115" y="34"/>
                  </a:lnTo>
                  <a:lnTo>
                    <a:pt x="115" y="25"/>
                  </a:lnTo>
                  <a:lnTo>
                    <a:pt x="98" y="25"/>
                  </a:lnTo>
                  <a:lnTo>
                    <a:pt x="90" y="17"/>
                  </a:lnTo>
                  <a:lnTo>
                    <a:pt x="65" y="9"/>
                  </a:lnTo>
                  <a:lnTo>
                    <a:pt x="65" y="17"/>
                  </a:lnTo>
                  <a:lnTo>
                    <a:pt x="50" y="9"/>
                  </a:lnTo>
                  <a:lnTo>
                    <a:pt x="25" y="0"/>
                  </a:lnTo>
                  <a:lnTo>
                    <a:pt x="9" y="0"/>
                  </a:lnTo>
                  <a:lnTo>
                    <a:pt x="0" y="9"/>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41" name="Freeform 397">
              <a:extLst>
                <a:ext uri="{FF2B5EF4-FFF2-40B4-BE49-F238E27FC236}">
                  <a16:creationId xmlns:a16="http://schemas.microsoft.com/office/drawing/2014/main" id="{EF6E26D5-E684-4E03-AB38-B40B7F771D71}"/>
                </a:ext>
              </a:extLst>
            </p:cNvPr>
            <p:cNvSpPr>
              <a:spLocks/>
            </p:cNvSpPr>
            <p:nvPr/>
          </p:nvSpPr>
          <p:spPr bwMode="auto">
            <a:xfrm>
              <a:off x="8375650" y="4676775"/>
              <a:ext cx="33338" cy="1588"/>
            </a:xfrm>
            <a:custGeom>
              <a:avLst/>
              <a:gdLst>
                <a:gd name="T0" fmla="*/ 0 w 17"/>
                <a:gd name="T1" fmla="*/ 0 h 1"/>
                <a:gd name="T2" fmla="*/ 2147483647 w 17"/>
                <a:gd name="T3" fmla="*/ 0 h 1"/>
                <a:gd name="T4" fmla="*/ 2147483647 w 17"/>
                <a:gd name="T5" fmla="*/ 0 h 1"/>
                <a:gd name="T6" fmla="*/ 0 w 17"/>
                <a:gd name="T7" fmla="*/ 0 h 1"/>
                <a:gd name="T8" fmla="*/ 0 60000 65536"/>
                <a:gd name="T9" fmla="*/ 0 60000 65536"/>
                <a:gd name="T10" fmla="*/ 0 60000 65536"/>
                <a:gd name="T11" fmla="*/ 0 60000 65536"/>
                <a:gd name="T12" fmla="*/ 0 w 17"/>
                <a:gd name="T13" fmla="*/ 0 h 1"/>
                <a:gd name="T14" fmla="*/ 17 w 17"/>
                <a:gd name="T15" fmla="*/ 1 h 1"/>
              </a:gdLst>
              <a:ahLst/>
              <a:cxnLst>
                <a:cxn ang="T8">
                  <a:pos x="T0" y="T1"/>
                </a:cxn>
                <a:cxn ang="T9">
                  <a:pos x="T2" y="T3"/>
                </a:cxn>
                <a:cxn ang="T10">
                  <a:pos x="T4" y="T5"/>
                </a:cxn>
                <a:cxn ang="T11">
                  <a:pos x="T6" y="T7"/>
                </a:cxn>
              </a:cxnLst>
              <a:rect l="T12" t="T13" r="T14" b="T15"/>
              <a:pathLst>
                <a:path w="17" h="1">
                  <a:moveTo>
                    <a:pt x="0" y="0"/>
                  </a:moveTo>
                  <a:lnTo>
                    <a:pt x="6" y="0"/>
                  </a:lnTo>
                  <a:lnTo>
                    <a:pt x="16" y="0"/>
                  </a:lnTo>
                  <a:lnTo>
                    <a:pt x="0"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42" name="Freeform 398">
              <a:extLst>
                <a:ext uri="{FF2B5EF4-FFF2-40B4-BE49-F238E27FC236}">
                  <a16:creationId xmlns:a16="http://schemas.microsoft.com/office/drawing/2014/main" id="{A4E913F0-4351-4F8A-9470-99C0FA13162F}"/>
                </a:ext>
              </a:extLst>
            </p:cNvPr>
            <p:cNvSpPr>
              <a:spLocks/>
            </p:cNvSpPr>
            <p:nvPr/>
          </p:nvSpPr>
          <p:spPr bwMode="auto">
            <a:xfrm>
              <a:off x="8421688" y="4676775"/>
              <a:ext cx="187325" cy="26988"/>
            </a:xfrm>
            <a:custGeom>
              <a:avLst/>
              <a:gdLst>
                <a:gd name="T0" fmla="*/ 0 w 98"/>
                <a:gd name="T1" fmla="*/ 2147483647 h 17"/>
                <a:gd name="T2" fmla="*/ 2147483647 w 98"/>
                <a:gd name="T3" fmla="*/ 2147483647 h 17"/>
                <a:gd name="T4" fmla="*/ 2147483647 w 98"/>
                <a:gd name="T5" fmla="*/ 0 h 17"/>
                <a:gd name="T6" fmla="*/ 2147483647 w 98"/>
                <a:gd name="T7" fmla="*/ 2147483647 h 17"/>
                <a:gd name="T8" fmla="*/ 2147483647 w 98"/>
                <a:gd name="T9" fmla="*/ 0 h 17"/>
                <a:gd name="T10" fmla="*/ 2147483647 w 98"/>
                <a:gd name="T11" fmla="*/ 0 h 17"/>
                <a:gd name="T12" fmla="*/ 2147483647 w 98"/>
                <a:gd name="T13" fmla="*/ 0 h 17"/>
                <a:gd name="T14" fmla="*/ 2147483647 w 98"/>
                <a:gd name="T15" fmla="*/ 0 h 17"/>
                <a:gd name="T16" fmla="*/ 2147483647 w 98"/>
                <a:gd name="T17" fmla="*/ 0 h 17"/>
                <a:gd name="T18" fmla="*/ 2147483647 w 98"/>
                <a:gd name="T19" fmla="*/ 0 h 17"/>
                <a:gd name="T20" fmla="*/ 0 w 98"/>
                <a:gd name="T21" fmla="*/ 0 h 17"/>
                <a:gd name="T22" fmla="*/ 0 w 98"/>
                <a:gd name="T23" fmla="*/ 2147483647 h 1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8"/>
                <a:gd name="T37" fmla="*/ 0 h 17"/>
                <a:gd name="T38" fmla="*/ 98 w 98"/>
                <a:gd name="T39" fmla="*/ 17 h 1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8" h="17">
                  <a:moveTo>
                    <a:pt x="0" y="16"/>
                  </a:moveTo>
                  <a:lnTo>
                    <a:pt x="7" y="16"/>
                  </a:lnTo>
                  <a:lnTo>
                    <a:pt x="41" y="0"/>
                  </a:lnTo>
                  <a:lnTo>
                    <a:pt x="73" y="16"/>
                  </a:lnTo>
                  <a:lnTo>
                    <a:pt x="97" y="0"/>
                  </a:lnTo>
                  <a:lnTo>
                    <a:pt x="81" y="0"/>
                  </a:lnTo>
                  <a:lnTo>
                    <a:pt x="56" y="0"/>
                  </a:lnTo>
                  <a:lnTo>
                    <a:pt x="41" y="0"/>
                  </a:lnTo>
                  <a:lnTo>
                    <a:pt x="16" y="0"/>
                  </a:lnTo>
                  <a:lnTo>
                    <a:pt x="23" y="0"/>
                  </a:lnTo>
                  <a:lnTo>
                    <a:pt x="0" y="0"/>
                  </a:lnTo>
                  <a:lnTo>
                    <a:pt x="0" y="16"/>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43" name="Freeform 399">
              <a:extLst>
                <a:ext uri="{FF2B5EF4-FFF2-40B4-BE49-F238E27FC236}">
                  <a16:creationId xmlns:a16="http://schemas.microsoft.com/office/drawing/2014/main" id="{0BAFAF83-B8C0-402F-A8FC-6C3AAB82450C}"/>
                </a:ext>
              </a:extLst>
            </p:cNvPr>
            <p:cNvSpPr>
              <a:spLocks/>
            </p:cNvSpPr>
            <p:nvPr/>
          </p:nvSpPr>
          <p:spPr bwMode="auto">
            <a:xfrm>
              <a:off x="8480425" y="4702175"/>
              <a:ext cx="50800" cy="28575"/>
            </a:xfrm>
            <a:custGeom>
              <a:avLst/>
              <a:gdLst>
                <a:gd name="T0" fmla="*/ 0 w 26"/>
                <a:gd name="T1" fmla="*/ 0 h 17"/>
                <a:gd name="T2" fmla="*/ 2147483647 w 26"/>
                <a:gd name="T3" fmla="*/ 2147483647 h 17"/>
                <a:gd name="T4" fmla="*/ 2147483647 w 26"/>
                <a:gd name="T5" fmla="*/ 2147483647 h 17"/>
                <a:gd name="T6" fmla="*/ 2147483647 w 26"/>
                <a:gd name="T7" fmla="*/ 0 h 17"/>
                <a:gd name="T8" fmla="*/ 0 w 26"/>
                <a:gd name="T9" fmla="*/ 0 h 17"/>
                <a:gd name="T10" fmla="*/ 0 60000 65536"/>
                <a:gd name="T11" fmla="*/ 0 60000 65536"/>
                <a:gd name="T12" fmla="*/ 0 60000 65536"/>
                <a:gd name="T13" fmla="*/ 0 60000 65536"/>
                <a:gd name="T14" fmla="*/ 0 60000 65536"/>
                <a:gd name="T15" fmla="*/ 0 w 26"/>
                <a:gd name="T16" fmla="*/ 0 h 17"/>
                <a:gd name="T17" fmla="*/ 26 w 26"/>
                <a:gd name="T18" fmla="*/ 17 h 17"/>
              </a:gdLst>
              <a:ahLst/>
              <a:cxnLst>
                <a:cxn ang="T10">
                  <a:pos x="T0" y="T1"/>
                </a:cxn>
                <a:cxn ang="T11">
                  <a:pos x="T2" y="T3"/>
                </a:cxn>
                <a:cxn ang="T12">
                  <a:pos x="T4" y="T5"/>
                </a:cxn>
                <a:cxn ang="T13">
                  <a:pos x="T6" y="T7"/>
                </a:cxn>
                <a:cxn ang="T14">
                  <a:pos x="T8" y="T9"/>
                </a:cxn>
              </a:cxnLst>
              <a:rect l="T15" t="T16" r="T17" b="T18"/>
              <a:pathLst>
                <a:path w="26" h="17">
                  <a:moveTo>
                    <a:pt x="0" y="0"/>
                  </a:moveTo>
                  <a:lnTo>
                    <a:pt x="17" y="16"/>
                  </a:lnTo>
                  <a:lnTo>
                    <a:pt x="25" y="16"/>
                  </a:lnTo>
                  <a:lnTo>
                    <a:pt x="17" y="0"/>
                  </a:lnTo>
                  <a:lnTo>
                    <a:pt x="0"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44" name="Freeform 400">
              <a:extLst>
                <a:ext uri="{FF2B5EF4-FFF2-40B4-BE49-F238E27FC236}">
                  <a16:creationId xmlns:a16="http://schemas.microsoft.com/office/drawing/2014/main" id="{C5EB29E5-44B3-4341-ADFD-B0843362EF7E}"/>
                </a:ext>
              </a:extLst>
            </p:cNvPr>
            <p:cNvSpPr>
              <a:spLocks/>
            </p:cNvSpPr>
            <p:nvPr/>
          </p:nvSpPr>
          <p:spPr bwMode="auto">
            <a:xfrm>
              <a:off x="8589963" y="4676775"/>
              <a:ext cx="96837" cy="42863"/>
            </a:xfrm>
            <a:custGeom>
              <a:avLst/>
              <a:gdLst>
                <a:gd name="T0" fmla="*/ 0 w 51"/>
                <a:gd name="T1" fmla="*/ 2147483647 h 26"/>
                <a:gd name="T2" fmla="*/ 2147483647 w 51"/>
                <a:gd name="T3" fmla="*/ 2147483647 h 26"/>
                <a:gd name="T4" fmla="*/ 2147483647 w 51"/>
                <a:gd name="T5" fmla="*/ 0 h 26"/>
                <a:gd name="T6" fmla="*/ 2147483647 w 51"/>
                <a:gd name="T7" fmla="*/ 0 h 26"/>
                <a:gd name="T8" fmla="*/ 2147483647 w 51"/>
                <a:gd name="T9" fmla="*/ 2147483647 h 26"/>
                <a:gd name="T10" fmla="*/ 0 w 51"/>
                <a:gd name="T11" fmla="*/ 2147483647 h 26"/>
                <a:gd name="T12" fmla="*/ 0 60000 65536"/>
                <a:gd name="T13" fmla="*/ 0 60000 65536"/>
                <a:gd name="T14" fmla="*/ 0 60000 65536"/>
                <a:gd name="T15" fmla="*/ 0 60000 65536"/>
                <a:gd name="T16" fmla="*/ 0 60000 65536"/>
                <a:gd name="T17" fmla="*/ 0 60000 65536"/>
                <a:gd name="T18" fmla="*/ 0 w 51"/>
                <a:gd name="T19" fmla="*/ 0 h 26"/>
                <a:gd name="T20" fmla="*/ 51 w 51"/>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51" h="26">
                  <a:moveTo>
                    <a:pt x="0" y="25"/>
                  </a:moveTo>
                  <a:lnTo>
                    <a:pt x="18" y="25"/>
                  </a:lnTo>
                  <a:lnTo>
                    <a:pt x="50" y="0"/>
                  </a:lnTo>
                  <a:lnTo>
                    <a:pt x="25" y="0"/>
                  </a:lnTo>
                  <a:lnTo>
                    <a:pt x="9" y="16"/>
                  </a:lnTo>
                  <a:lnTo>
                    <a:pt x="0" y="25"/>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45" name="Freeform 401">
              <a:extLst>
                <a:ext uri="{FF2B5EF4-FFF2-40B4-BE49-F238E27FC236}">
                  <a16:creationId xmlns:a16="http://schemas.microsoft.com/office/drawing/2014/main" id="{9E1018EF-C6DF-4484-9ABA-BC5532604422}"/>
                </a:ext>
              </a:extLst>
            </p:cNvPr>
            <p:cNvSpPr>
              <a:spLocks/>
            </p:cNvSpPr>
            <p:nvPr/>
          </p:nvSpPr>
          <p:spPr bwMode="auto">
            <a:xfrm>
              <a:off x="8856663" y="4610100"/>
              <a:ext cx="31750" cy="41275"/>
            </a:xfrm>
            <a:custGeom>
              <a:avLst/>
              <a:gdLst>
                <a:gd name="T0" fmla="*/ 0 w 17"/>
                <a:gd name="T1" fmla="*/ 2147483647 h 25"/>
                <a:gd name="T2" fmla="*/ 2147483647 w 17"/>
                <a:gd name="T3" fmla="*/ 2147483647 h 25"/>
                <a:gd name="T4" fmla="*/ 2147483647 w 17"/>
                <a:gd name="T5" fmla="*/ 0 h 25"/>
                <a:gd name="T6" fmla="*/ 0 w 17"/>
                <a:gd name="T7" fmla="*/ 2147483647 h 25"/>
                <a:gd name="T8" fmla="*/ 0 60000 65536"/>
                <a:gd name="T9" fmla="*/ 0 60000 65536"/>
                <a:gd name="T10" fmla="*/ 0 60000 65536"/>
                <a:gd name="T11" fmla="*/ 0 60000 65536"/>
                <a:gd name="T12" fmla="*/ 0 w 17"/>
                <a:gd name="T13" fmla="*/ 0 h 25"/>
                <a:gd name="T14" fmla="*/ 17 w 17"/>
                <a:gd name="T15" fmla="*/ 25 h 25"/>
              </a:gdLst>
              <a:ahLst/>
              <a:cxnLst>
                <a:cxn ang="T8">
                  <a:pos x="T0" y="T1"/>
                </a:cxn>
                <a:cxn ang="T9">
                  <a:pos x="T2" y="T3"/>
                </a:cxn>
                <a:cxn ang="T10">
                  <a:pos x="T4" y="T5"/>
                </a:cxn>
                <a:cxn ang="T11">
                  <a:pos x="T6" y="T7"/>
                </a:cxn>
              </a:cxnLst>
              <a:rect l="T12" t="T13" r="T14" b="T15"/>
              <a:pathLst>
                <a:path w="17" h="25">
                  <a:moveTo>
                    <a:pt x="0" y="24"/>
                  </a:moveTo>
                  <a:lnTo>
                    <a:pt x="16" y="7"/>
                  </a:lnTo>
                  <a:lnTo>
                    <a:pt x="16" y="0"/>
                  </a:lnTo>
                  <a:lnTo>
                    <a:pt x="0" y="24"/>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46" name="Freeform 402">
              <a:extLst>
                <a:ext uri="{FF2B5EF4-FFF2-40B4-BE49-F238E27FC236}">
                  <a16:creationId xmlns:a16="http://schemas.microsoft.com/office/drawing/2014/main" id="{E28CF8F6-FBEC-4521-8AC8-0F7B5041A848}"/>
                </a:ext>
              </a:extLst>
            </p:cNvPr>
            <p:cNvSpPr>
              <a:spLocks/>
            </p:cNvSpPr>
            <p:nvPr/>
          </p:nvSpPr>
          <p:spPr bwMode="auto">
            <a:xfrm>
              <a:off x="8154988" y="4530725"/>
              <a:ext cx="36512" cy="41275"/>
            </a:xfrm>
            <a:custGeom>
              <a:avLst/>
              <a:gdLst>
                <a:gd name="T0" fmla="*/ 0 w 19"/>
                <a:gd name="T1" fmla="*/ 2147483647 h 26"/>
                <a:gd name="T2" fmla="*/ 2147483647 w 19"/>
                <a:gd name="T3" fmla="*/ 2147483647 h 26"/>
                <a:gd name="T4" fmla="*/ 2147483647 w 19"/>
                <a:gd name="T5" fmla="*/ 2147483647 h 26"/>
                <a:gd name="T6" fmla="*/ 2147483647 w 19"/>
                <a:gd name="T7" fmla="*/ 2147483647 h 26"/>
                <a:gd name="T8" fmla="*/ 2147483647 w 19"/>
                <a:gd name="T9" fmla="*/ 0 h 26"/>
                <a:gd name="T10" fmla="*/ 0 w 19"/>
                <a:gd name="T11" fmla="*/ 2147483647 h 26"/>
                <a:gd name="T12" fmla="*/ 0 60000 65536"/>
                <a:gd name="T13" fmla="*/ 0 60000 65536"/>
                <a:gd name="T14" fmla="*/ 0 60000 65536"/>
                <a:gd name="T15" fmla="*/ 0 60000 65536"/>
                <a:gd name="T16" fmla="*/ 0 60000 65536"/>
                <a:gd name="T17" fmla="*/ 0 60000 65536"/>
                <a:gd name="T18" fmla="*/ 0 w 19"/>
                <a:gd name="T19" fmla="*/ 0 h 26"/>
                <a:gd name="T20" fmla="*/ 19 w 19"/>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19" h="26">
                  <a:moveTo>
                    <a:pt x="0" y="9"/>
                  </a:moveTo>
                  <a:lnTo>
                    <a:pt x="9" y="16"/>
                  </a:lnTo>
                  <a:lnTo>
                    <a:pt x="18" y="25"/>
                  </a:lnTo>
                  <a:lnTo>
                    <a:pt x="18" y="16"/>
                  </a:lnTo>
                  <a:lnTo>
                    <a:pt x="9" y="0"/>
                  </a:lnTo>
                  <a:lnTo>
                    <a:pt x="0" y="9"/>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47" name="Freeform 403">
              <a:extLst>
                <a:ext uri="{FF2B5EF4-FFF2-40B4-BE49-F238E27FC236}">
                  <a16:creationId xmlns:a16="http://schemas.microsoft.com/office/drawing/2014/main" id="{610B2476-2652-4FF0-BF9E-8F326E46C4F1}"/>
                </a:ext>
              </a:extLst>
            </p:cNvPr>
            <p:cNvSpPr>
              <a:spLocks/>
            </p:cNvSpPr>
            <p:nvPr/>
          </p:nvSpPr>
          <p:spPr bwMode="auto">
            <a:xfrm>
              <a:off x="8154988" y="4530725"/>
              <a:ext cx="36512" cy="41275"/>
            </a:xfrm>
            <a:custGeom>
              <a:avLst/>
              <a:gdLst>
                <a:gd name="T0" fmla="*/ 0 w 19"/>
                <a:gd name="T1" fmla="*/ 2147483647 h 26"/>
                <a:gd name="T2" fmla="*/ 2147483647 w 19"/>
                <a:gd name="T3" fmla="*/ 2147483647 h 26"/>
                <a:gd name="T4" fmla="*/ 2147483647 w 19"/>
                <a:gd name="T5" fmla="*/ 2147483647 h 26"/>
                <a:gd name="T6" fmla="*/ 2147483647 w 19"/>
                <a:gd name="T7" fmla="*/ 2147483647 h 26"/>
                <a:gd name="T8" fmla="*/ 2147483647 w 19"/>
                <a:gd name="T9" fmla="*/ 0 h 26"/>
                <a:gd name="T10" fmla="*/ 0 w 19"/>
                <a:gd name="T11" fmla="*/ 2147483647 h 26"/>
                <a:gd name="T12" fmla="*/ 0 60000 65536"/>
                <a:gd name="T13" fmla="*/ 0 60000 65536"/>
                <a:gd name="T14" fmla="*/ 0 60000 65536"/>
                <a:gd name="T15" fmla="*/ 0 60000 65536"/>
                <a:gd name="T16" fmla="*/ 0 60000 65536"/>
                <a:gd name="T17" fmla="*/ 0 60000 65536"/>
                <a:gd name="T18" fmla="*/ 0 w 19"/>
                <a:gd name="T19" fmla="*/ 0 h 26"/>
                <a:gd name="T20" fmla="*/ 19 w 19"/>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19" h="26">
                  <a:moveTo>
                    <a:pt x="0" y="9"/>
                  </a:moveTo>
                  <a:lnTo>
                    <a:pt x="9" y="16"/>
                  </a:lnTo>
                  <a:lnTo>
                    <a:pt x="18" y="25"/>
                  </a:lnTo>
                  <a:lnTo>
                    <a:pt x="18" y="16"/>
                  </a:lnTo>
                  <a:lnTo>
                    <a:pt x="9" y="0"/>
                  </a:lnTo>
                  <a:lnTo>
                    <a:pt x="0" y="9"/>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48" name="Freeform 404">
              <a:extLst>
                <a:ext uri="{FF2B5EF4-FFF2-40B4-BE49-F238E27FC236}">
                  <a16:creationId xmlns:a16="http://schemas.microsoft.com/office/drawing/2014/main" id="{F2536C83-A51C-4167-B844-2EB5C42D870B}"/>
                </a:ext>
              </a:extLst>
            </p:cNvPr>
            <p:cNvSpPr>
              <a:spLocks/>
            </p:cNvSpPr>
            <p:nvPr/>
          </p:nvSpPr>
          <p:spPr bwMode="auto">
            <a:xfrm>
              <a:off x="8202613" y="4556125"/>
              <a:ext cx="31750" cy="28575"/>
            </a:xfrm>
            <a:custGeom>
              <a:avLst/>
              <a:gdLst>
                <a:gd name="T0" fmla="*/ 0 w 17"/>
                <a:gd name="T1" fmla="*/ 2147483647 h 17"/>
                <a:gd name="T2" fmla="*/ 2147483647 w 17"/>
                <a:gd name="T3" fmla="*/ 2147483647 h 17"/>
                <a:gd name="T4" fmla="*/ 2147483647 w 17"/>
                <a:gd name="T5" fmla="*/ 0 h 17"/>
                <a:gd name="T6" fmla="*/ 0 w 17"/>
                <a:gd name="T7" fmla="*/ 0 h 17"/>
                <a:gd name="T8" fmla="*/ 0 w 17"/>
                <a:gd name="T9" fmla="*/ 2147483647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16" y="16"/>
                  </a:lnTo>
                  <a:lnTo>
                    <a:pt x="16" y="0"/>
                  </a:lnTo>
                  <a:lnTo>
                    <a:pt x="0" y="0"/>
                  </a:lnTo>
                  <a:lnTo>
                    <a:pt x="0" y="16"/>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49" name="Freeform 405">
              <a:extLst>
                <a:ext uri="{FF2B5EF4-FFF2-40B4-BE49-F238E27FC236}">
                  <a16:creationId xmlns:a16="http://schemas.microsoft.com/office/drawing/2014/main" id="{E4060CB1-1D0F-417D-95D8-3EDD29CC00DA}"/>
                </a:ext>
              </a:extLst>
            </p:cNvPr>
            <p:cNvSpPr>
              <a:spLocks/>
            </p:cNvSpPr>
            <p:nvPr/>
          </p:nvSpPr>
          <p:spPr bwMode="auto">
            <a:xfrm>
              <a:off x="8480425" y="4462463"/>
              <a:ext cx="160338" cy="160337"/>
            </a:xfrm>
            <a:custGeom>
              <a:avLst/>
              <a:gdLst>
                <a:gd name="T0" fmla="*/ 0 w 83"/>
                <a:gd name="T1" fmla="*/ 2147483647 h 98"/>
                <a:gd name="T2" fmla="*/ 0 w 83"/>
                <a:gd name="T3" fmla="*/ 2147483647 h 98"/>
                <a:gd name="T4" fmla="*/ 2147483647 w 83"/>
                <a:gd name="T5" fmla="*/ 2147483647 h 98"/>
                <a:gd name="T6" fmla="*/ 2147483647 w 83"/>
                <a:gd name="T7" fmla="*/ 2147483647 h 98"/>
                <a:gd name="T8" fmla="*/ 2147483647 w 83"/>
                <a:gd name="T9" fmla="*/ 2147483647 h 98"/>
                <a:gd name="T10" fmla="*/ 2147483647 w 83"/>
                <a:gd name="T11" fmla="*/ 2147483647 h 98"/>
                <a:gd name="T12" fmla="*/ 2147483647 w 83"/>
                <a:gd name="T13" fmla="*/ 2147483647 h 98"/>
                <a:gd name="T14" fmla="*/ 2147483647 w 83"/>
                <a:gd name="T15" fmla="*/ 2147483647 h 98"/>
                <a:gd name="T16" fmla="*/ 2147483647 w 83"/>
                <a:gd name="T17" fmla="*/ 2147483647 h 98"/>
                <a:gd name="T18" fmla="*/ 2147483647 w 83"/>
                <a:gd name="T19" fmla="*/ 2147483647 h 98"/>
                <a:gd name="T20" fmla="*/ 2147483647 w 83"/>
                <a:gd name="T21" fmla="*/ 2147483647 h 98"/>
                <a:gd name="T22" fmla="*/ 2147483647 w 83"/>
                <a:gd name="T23" fmla="*/ 2147483647 h 98"/>
                <a:gd name="T24" fmla="*/ 2147483647 w 83"/>
                <a:gd name="T25" fmla="*/ 2147483647 h 98"/>
                <a:gd name="T26" fmla="*/ 2147483647 w 83"/>
                <a:gd name="T27" fmla="*/ 2147483647 h 98"/>
                <a:gd name="T28" fmla="*/ 2147483647 w 83"/>
                <a:gd name="T29" fmla="*/ 2147483647 h 98"/>
                <a:gd name="T30" fmla="*/ 2147483647 w 83"/>
                <a:gd name="T31" fmla="*/ 2147483647 h 98"/>
                <a:gd name="T32" fmla="*/ 2147483647 w 83"/>
                <a:gd name="T33" fmla="*/ 2147483647 h 98"/>
                <a:gd name="T34" fmla="*/ 2147483647 w 83"/>
                <a:gd name="T35" fmla="*/ 2147483647 h 98"/>
                <a:gd name="T36" fmla="*/ 2147483647 w 83"/>
                <a:gd name="T37" fmla="*/ 2147483647 h 98"/>
                <a:gd name="T38" fmla="*/ 2147483647 w 83"/>
                <a:gd name="T39" fmla="*/ 2147483647 h 98"/>
                <a:gd name="T40" fmla="*/ 2147483647 w 83"/>
                <a:gd name="T41" fmla="*/ 2147483647 h 98"/>
                <a:gd name="T42" fmla="*/ 2147483647 w 83"/>
                <a:gd name="T43" fmla="*/ 2147483647 h 98"/>
                <a:gd name="T44" fmla="*/ 2147483647 w 83"/>
                <a:gd name="T45" fmla="*/ 2147483647 h 98"/>
                <a:gd name="T46" fmla="*/ 2147483647 w 83"/>
                <a:gd name="T47" fmla="*/ 2147483647 h 98"/>
                <a:gd name="T48" fmla="*/ 2147483647 w 83"/>
                <a:gd name="T49" fmla="*/ 2147483647 h 98"/>
                <a:gd name="T50" fmla="*/ 2147483647 w 83"/>
                <a:gd name="T51" fmla="*/ 2147483647 h 98"/>
                <a:gd name="T52" fmla="*/ 2147483647 w 83"/>
                <a:gd name="T53" fmla="*/ 0 h 98"/>
                <a:gd name="T54" fmla="*/ 2147483647 w 83"/>
                <a:gd name="T55" fmla="*/ 2147483647 h 98"/>
                <a:gd name="T56" fmla="*/ 2147483647 w 83"/>
                <a:gd name="T57" fmla="*/ 2147483647 h 98"/>
                <a:gd name="T58" fmla="*/ 2147483647 w 83"/>
                <a:gd name="T59" fmla="*/ 2147483647 h 98"/>
                <a:gd name="T60" fmla="*/ 2147483647 w 83"/>
                <a:gd name="T61" fmla="*/ 2147483647 h 98"/>
                <a:gd name="T62" fmla="*/ 2147483647 w 83"/>
                <a:gd name="T63" fmla="*/ 2147483647 h 98"/>
                <a:gd name="T64" fmla="*/ 2147483647 w 83"/>
                <a:gd name="T65" fmla="*/ 2147483647 h 98"/>
                <a:gd name="T66" fmla="*/ 0 w 83"/>
                <a:gd name="T67" fmla="*/ 2147483647 h 9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83"/>
                <a:gd name="T103" fmla="*/ 0 h 98"/>
                <a:gd name="T104" fmla="*/ 83 w 83"/>
                <a:gd name="T105" fmla="*/ 98 h 9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83" h="98">
                  <a:moveTo>
                    <a:pt x="0" y="57"/>
                  </a:moveTo>
                  <a:lnTo>
                    <a:pt x="0" y="66"/>
                  </a:lnTo>
                  <a:lnTo>
                    <a:pt x="10" y="66"/>
                  </a:lnTo>
                  <a:lnTo>
                    <a:pt x="10" y="74"/>
                  </a:lnTo>
                  <a:lnTo>
                    <a:pt x="10" y="97"/>
                  </a:lnTo>
                  <a:lnTo>
                    <a:pt x="17" y="90"/>
                  </a:lnTo>
                  <a:lnTo>
                    <a:pt x="17" y="66"/>
                  </a:lnTo>
                  <a:lnTo>
                    <a:pt x="25" y="57"/>
                  </a:lnTo>
                  <a:lnTo>
                    <a:pt x="34" y="57"/>
                  </a:lnTo>
                  <a:lnTo>
                    <a:pt x="25" y="66"/>
                  </a:lnTo>
                  <a:lnTo>
                    <a:pt x="34" y="74"/>
                  </a:lnTo>
                  <a:lnTo>
                    <a:pt x="34" y="82"/>
                  </a:lnTo>
                  <a:lnTo>
                    <a:pt x="50" y="82"/>
                  </a:lnTo>
                  <a:lnTo>
                    <a:pt x="50" y="97"/>
                  </a:lnTo>
                  <a:lnTo>
                    <a:pt x="57" y="90"/>
                  </a:lnTo>
                  <a:lnTo>
                    <a:pt x="57" y="82"/>
                  </a:lnTo>
                  <a:lnTo>
                    <a:pt x="42" y="66"/>
                  </a:lnTo>
                  <a:lnTo>
                    <a:pt x="50" y="66"/>
                  </a:lnTo>
                  <a:lnTo>
                    <a:pt x="34" y="50"/>
                  </a:lnTo>
                  <a:lnTo>
                    <a:pt x="50" y="34"/>
                  </a:lnTo>
                  <a:lnTo>
                    <a:pt x="57" y="34"/>
                  </a:lnTo>
                  <a:lnTo>
                    <a:pt x="25" y="41"/>
                  </a:lnTo>
                  <a:lnTo>
                    <a:pt x="17" y="34"/>
                  </a:lnTo>
                  <a:lnTo>
                    <a:pt x="17" y="25"/>
                  </a:lnTo>
                  <a:lnTo>
                    <a:pt x="25" y="17"/>
                  </a:lnTo>
                  <a:lnTo>
                    <a:pt x="75" y="17"/>
                  </a:lnTo>
                  <a:lnTo>
                    <a:pt x="82" y="0"/>
                  </a:lnTo>
                  <a:lnTo>
                    <a:pt x="66" y="9"/>
                  </a:lnTo>
                  <a:lnTo>
                    <a:pt x="50" y="17"/>
                  </a:lnTo>
                  <a:lnTo>
                    <a:pt x="25" y="9"/>
                  </a:lnTo>
                  <a:lnTo>
                    <a:pt x="25" y="17"/>
                  </a:lnTo>
                  <a:lnTo>
                    <a:pt x="17" y="17"/>
                  </a:lnTo>
                  <a:lnTo>
                    <a:pt x="17" y="34"/>
                  </a:lnTo>
                  <a:lnTo>
                    <a:pt x="0" y="57"/>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50" name="Freeform 406">
              <a:extLst>
                <a:ext uri="{FF2B5EF4-FFF2-40B4-BE49-F238E27FC236}">
                  <a16:creationId xmlns:a16="http://schemas.microsoft.com/office/drawing/2014/main" id="{8C082D67-46A9-404B-BF1B-516F663925B5}"/>
                </a:ext>
              </a:extLst>
            </p:cNvPr>
            <p:cNvSpPr>
              <a:spLocks/>
            </p:cNvSpPr>
            <p:nvPr/>
          </p:nvSpPr>
          <p:spPr bwMode="auto">
            <a:xfrm>
              <a:off x="8683625" y="4452938"/>
              <a:ext cx="34925" cy="66675"/>
            </a:xfrm>
            <a:custGeom>
              <a:avLst/>
              <a:gdLst>
                <a:gd name="T0" fmla="*/ 0 w 17"/>
                <a:gd name="T1" fmla="*/ 2147483647 h 41"/>
                <a:gd name="T2" fmla="*/ 2147483647 w 17"/>
                <a:gd name="T3" fmla="*/ 2147483647 h 41"/>
                <a:gd name="T4" fmla="*/ 2147483647 w 17"/>
                <a:gd name="T5" fmla="*/ 2147483647 h 41"/>
                <a:gd name="T6" fmla="*/ 2147483647 w 17"/>
                <a:gd name="T7" fmla="*/ 2147483647 h 41"/>
                <a:gd name="T8" fmla="*/ 2147483647 w 17"/>
                <a:gd name="T9" fmla="*/ 2147483647 h 41"/>
                <a:gd name="T10" fmla="*/ 2147483647 w 17"/>
                <a:gd name="T11" fmla="*/ 2147483647 h 41"/>
                <a:gd name="T12" fmla="*/ 2147483647 w 17"/>
                <a:gd name="T13" fmla="*/ 2147483647 h 41"/>
                <a:gd name="T14" fmla="*/ 2147483647 w 17"/>
                <a:gd name="T15" fmla="*/ 2147483647 h 41"/>
                <a:gd name="T16" fmla="*/ 2147483647 w 17"/>
                <a:gd name="T17" fmla="*/ 2147483647 h 41"/>
                <a:gd name="T18" fmla="*/ 2147483647 w 17"/>
                <a:gd name="T19" fmla="*/ 0 h 41"/>
                <a:gd name="T20" fmla="*/ 0 w 17"/>
                <a:gd name="T21" fmla="*/ 2147483647 h 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
                <a:gd name="T34" fmla="*/ 0 h 41"/>
                <a:gd name="T35" fmla="*/ 17 w 17"/>
                <a:gd name="T36" fmla="*/ 41 h 4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 h="41">
                  <a:moveTo>
                    <a:pt x="0" y="15"/>
                  </a:moveTo>
                  <a:lnTo>
                    <a:pt x="8" y="31"/>
                  </a:lnTo>
                  <a:lnTo>
                    <a:pt x="16" y="40"/>
                  </a:lnTo>
                  <a:lnTo>
                    <a:pt x="8" y="31"/>
                  </a:lnTo>
                  <a:lnTo>
                    <a:pt x="8" y="23"/>
                  </a:lnTo>
                  <a:lnTo>
                    <a:pt x="16" y="23"/>
                  </a:lnTo>
                  <a:lnTo>
                    <a:pt x="16" y="15"/>
                  </a:lnTo>
                  <a:lnTo>
                    <a:pt x="16" y="6"/>
                  </a:lnTo>
                  <a:lnTo>
                    <a:pt x="16" y="15"/>
                  </a:lnTo>
                  <a:lnTo>
                    <a:pt x="8" y="0"/>
                  </a:lnTo>
                  <a:lnTo>
                    <a:pt x="0" y="15"/>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51" name="Freeform 407">
              <a:extLst>
                <a:ext uri="{FF2B5EF4-FFF2-40B4-BE49-F238E27FC236}">
                  <a16:creationId xmlns:a16="http://schemas.microsoft.com/office/drawing/2014/main" id="{B9DB81F9-F76A-4DC8-B2EB-00A94C29699B}"/>
                </a:ext>
              </a:extLst>
            </p:cNvPr>
            <p:cNvSpPr>
              <a:spLocks/>
            </p:cNvSpPr>
            <p:nvPr/>
          </p:nvSpPr>
          <p:spPr bwMode="auto">
            <a:xfrm>
              <a:off x="8655050" y="4570413"/>
              <a:ext cx="31750" cy="26987"/>
            </a:xfrm>
            <a:custGeom>
              <a:avLst/>
              <a:gdLst>
                <a:gd name="T0" fmla="*/ 0 w 17"/>
                <a:gd name="T1" fmla="*/ 0 h 17"/>
                <a:gd name="T2" fmla="*/ 2147483647 w 17"/>
                <a:gd name="T3" fmla="*/ 2147483647 h 17"/>
                <a:gd name="T4" fmla="*/ 2147483647 w 17"/>
                <a:gd name="T5" fmla="*/ 0 h 17"/>
                <a:gd name="T6" fmla="*/ 0 w 17"/>
                <a:gd name="T7" fmla="*/ 0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0" y="0"/>
                  </a:moveTo>
                  <a:lnTo>
                    <a:pt x="16" y="16"/>
                  </a:lnTo>
                  <a:lnTo>
                    <a:pt x="16" y="0"/>
                  </a:lnTo>
                  <a:lnTo>
                    <a:pt x="0"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52" name="Freeform 408">
              <a:extLst>
                <a:ext uri="{FF2B5EF4-FFF2-40B4-BE49-F238E27FC236}">
                  <a16:creationId xmlns:a16="http://schemas.microsoft.com/office/drawing/2014/main" id="{A7996D05-FA21-4977-B71E-B2D5B48C9D8E}"/>
                </a:ext>
              </a:extLst>
            </p:cNvPr>
            <p:cNvSpPr>
              <a:spLocks/>
            </p:cNvSpPr>
            <p:nvPr/>
          </p:nvSpPr>
          <p:spPr bwMode="auto">
            <a:xfrm>
              <a:off x="8701088" y="4556125"/>
              <a:ext cx="80962" cy="28575"/>
            </a:xfrm>
            <a:custGeom>
              <a:avLst/>
              <a:gdLst>
                <a:gd name="T0" fmla="*/ 0 w 42"/>
                <a:gd name="T1" fmla="*/ 2147483647 h 18"/>
                <a:gd name="T2" fmla="*/ 2147483647 w 42"/>
                <a:gd name="T3" fmla="*/ 2147483647 h 18"/>
                <a:gd name="T4" fmla="*/ 2147483647 w 42"/>
                <a:gd name="T5" fmla="*/ 2147483647 h 18"/>
                <a:gd name="T6" fmla="*/ 2147483647 w 42"/>
                <a:gd name="T7" fmla="*/ 0 h 18"/>
                <a:gd name="T8" fmla="*/ 2147483647 w 42"/>
                <a:gd name="T9" fmla="*/ 0 h 18"/>
                <a:gd name="T10" fmla="*/ 0 w 42"/>
                <a:gd name="T11" fmla="*/ 2147483647 h 18"/>
                <a:gd name="T12" fmla="*/ 0 60000 65536"/>
                <a:gd name="T13" fmla="*/ 0 60000 65536"/>
                <a:gd name="T14" fmla="*/ 0 60000 65536"/>
                <a:gd name="T15" fmla="*/ 0 60000 65536"/>
                <a:gd name="T16" fmla="*/ 0 60000 65536"/>
                <a:gd name="T17" fmla="*/ 0 60000 65536"/>
                <a:gd name="T18" fmla="*/ 0 w 42"/>
                <a:gd name="T19" fmla="*/ 0 h 18"/>
                <a:gd name="T20" fmla="*/ 42 w 42"/>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42" h="18">
                  <a:moveTo>
                    <a:pt x="0" y="9"/>
                  </a:moveTo>
                  <a:lnTo>
                    <a:pt x="41" y="17"/>
                  </a:lnTo>
                  <a:lnTo>
                    <a:pt x="32" y="9"/>
                  </a:lnTo>
                  <a:lnTo>
                    <a:pt x="25" y="0"/>
                  </a:lnTo>
                  <a:lnTo>
                    <a:pt x="7" y="0"/>
                  </a:lnTo>
                  <a:lnTo>
                    <a:pt x="0" y="9"/>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53" name="Freeform 409">
              <a:extLst>
                <a:ext uri="{FF2B5EF4-FFF2-40B4-BE49-F238E27FC236}">
                  <a16:creationId xmlns:a16="http://schemas.microsoft.com/office/drawing/2014/main" id="{4BFDA279-C500-4EE7-A14C-9F9D9178AC0B}"/>
                </a:ext>
              </a:extLst>
            </p:cNvPr>
            <p:cNvSpPr>
              <a:spLocks/>
            </p:cNvSpPr>
            <p:nvPr/>
          </p:nvSpPr>
          <p:spPr bwMode="auto">
            <a:xfrm>
              <a:off x="8513763" y="4110038"/>
              <a:ext cx="95250" cy="119062"/>
            </a:xfrm>
            <a:custGeom>
              <a:avLst/>
              <a:gdLst>
                <a:gd name="T0" fmla="*/ 0 w 50"/>
                <a:gd name="T1" fmla="*/ 2147483647 h 73"/>
                <a:gd name="T2" fmla="*/ 0 w 50"/>
                <a:gd name="T3" fmla="*/ 2147483647 h 73"/>
                <a:gd name="T4" fmla="*/ 2147483647 w 50"/>
                <a:gd name="T5" fmla="*/ 2147483647 h 73"/>
                <a:gd name="T6" fmla="*/ 2147483647 w 50"/>
                <a:gd name="T7" fmla="*/ 2147483647 h 73"/>
                <a:gd name="T8" fmla="*/ 2147483647 w 50"/>
                <a:gd name="T9" fmla="*/ 2147483647 h 73"/>
                <a:gd name="T10" fmla="*/ 2147483647 w 50"/>
                <a:gd name="T11" fmla="*/ 2147483647 h 73"/>
                <a:gd name="T12" fmla="*/ 2147483647 w 50"/>
                <a:gd name="T13" fmla="*/ 2147483647 h 73"/>
                <a:gd name="T14" fmla="*/ 2147483647 w 50"/>
                <a:gd name="T15" fmla="*/ 2147483647 h 73"/>
                <a:gd name="T16" fmla="*/ 2147483647 w 50"/>
                <a:gd name="T17" fmla="*/ 2147483647 h 73"/>
                <a:gd name="T18" fmla="*/ 2147483647 w 50"/>
                <a:gd name="T19" fmla="*/ 2147483647 h 73"/>
                <a:gd name="T20" fmla="*/ 2147483647 w 50"/>
                <a:gd name="T21" fmla="*/ 2147483647 h 73"/>
                <a:gd name="T22" fmla="*/ 2147483647 w 50"/>
                <a:gd name="T23" fmla="*/ 2147483647 h 73"/>
                <a:gd name="T24" fmla="*/ 2147483647 w 50"/>
                <a:gd name="T25" fmla="*/ 2147483647 h 73"/>
                <a:gd name="T26" fmla="*/ 2147483647 w 50"/>
                <a:gd name="T27" fmla="*/ 2147483647 h 73"/>
                <a:gd name="T28" fmla="*/ 2147483647 w 50"/>
                <a:gd name="T29" fmla="*/ 2147483647 h 73"/>
                <a:gd name="T30" fmla="*/ 2147483647 w 50"/>
                <a:gd name="T31" fmla="*/ 2147483647 h 73"/>
                <a:gd name="T32" fmla="*/ 2147483647 w 50"/>
                <a:gd name="T33" fmla="*/ 2147483647 h 73"/>
                <a:gd name="T34" fmla="*/ 2147483647 w 50"/>
                <a:gd name="T35" fmla="*/ 0 h 73"/>
                <a:gd name="T36" fmla="*/ 2147483647 w 50"/>
                <a:gd name="T37" fmla="*/ 2147483647 h 73"/>
                <a:gd name="T38" fmla="*/ 2147483647 w 50"/>
                <a:gd name="T39" fmla="*/ 0 h 73"/>
                <a:gd name="T40" fmla="*/ 0 w 50"/>
                <a:gd name="T41" fmla="*/ 2147483647 h 7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0"/>
                <a:gd name="T64" fmla="*/ 0 h 73"/>
                <a:gd name="T65" fmla="*/ 50 w 50"/>
                <a:gd name="T66" fmla="*/ 73 h 7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0" h="73">
                  <a:moveTo>
                    <a:pt x="0" y="31"/>
                  </a:moveTo>
                  <a:lnTo>
                    <a:pt x="0" y="47"/>
                  </a:lnTo>
                  <a:lnTo>
                    <a:pt x="8" y="55"/>
                  </a:lnTo>
                  <a:lnTo>
                    <a:pt x="8" y="65"/>
                  </a:lnTo>
                  <a:lnTo>
                    <a:pt x="17" y="65"/>
                  </a:lnTo>
                  <a:lnTo>
                    <a:pt x="25" y="65"/>
                  </a:lnTo>
                  <a:lnTo>
                    <a:pt x="33" y="72"/>
                  </a:lnTo>
                  <a:lnTo>
                    <a:pt x="33" y="65"/>
                  </a:lnTo>
                  <a:lnTo>
                    <a:pt x="40" y="72"/>
                  </a:lnTo>
                  <a:lnTo>
                    <a:pt x="49" y="72"/>
                  </a:lnTo>
                  <a:lnTo>
                    <a:pt x="40" y="65"/>
                  </a:lnTo>
                  <a:lnTo>
                    <a:pt x="49" y="65"/>
                  </a:lnTo>
                  <a:lnTo>
                    <a:pt x="33" y="55"/>
                  </a:lnTo>
                  <a:lnTo>
                    <a:pt x="25" y="65"/>
                  </a:lnTo>
                  <a:lnTo>
                    <a:pt x="17" y="47"/>
                  </a:lnTo>
                  <a:lnTo>
                    <a:pt x="33" y="24"/>
                  </a:lnTo>
                  <a:lnTo>
                    <a:pt x="25" y="15"/>
                  </a:lnTo>
                  <a:lnTo>
                    <a:pt x="33" y="0"/>
                  </a:lnTo>
                  <a:lnTo>
                    <a:pt x="25" y="7"/>
                  </a:lnTo>
                  <a:lnTo>
                    <a:pt x="8" y="0"/>
                  </a:lnTo>
                  <a:lnTo>
                    <a:pt x="0" y="31"/>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54" name="Freeform 410">
              <a:extLst>
                <a:ext uri="{FF2B5EF4-FFF2-40B4-BE49-F238E27FC236}">
                  <a16:creationId xmlns:a16="http://schemas.microsoft.com/office/drawing/2014/main" id="{AE059878-BF0A-4282-B7B6-5272C9B504CD}"/>
                </a:ext>
              </a:extLst>
            </p:cNvPr>
            <p:cNvSpPr>
              <a:spLocks/>
            </p:cNvSpPr>
            <p:nvPr/>
          </p:nvSpPr>
          <p:spPr bwMode="auto">
            <a:xfrm>
              <a:off x="8434388" y="4267200"/>
              <a:ext cx="68262" cy="68263"/>
            </a:xfrm>
            <a:custGeom>
              <a:avLst/>
              <a:gdLst>
                <a:gd name="T0" fmla="*/ 0 w 35"/>
                <a:gd name="T1" fmla="*/ 2147483647 h 41"/>
                <a:gd name="T2" fmla="*/ 2147483647 w 35"/>
                <a:gd name="T3" fmla="*/ 2147483647 h 41"/>
                <a:gd name="T4" fmla="*/ 2147483647 w 35"/>
                <a:gd name="T5" fmla="*/ 0 h 41"/>
                <a:gd name="T6" fmla="*/ 0 w 35"/>
                <a:gd name="T7" fmla="*/ 2147483647 h 41"/>
                <a:gd name="T8" fmla="*/ 0 60000 65536"/>
                <a:gd name="T9" fmla="*/ 0 60000 65536"/>
                <a:gd name="T10" fmla="*/ 0 60000 65536"/>
                <a:gd name="T11" fmla="*/ 0 60000 65536"/>
                <a:gd name="T12" fmla="*/ 0 w 35"/>
                <a:gd name="T13" fmla="*/ 0 h 41"/>
                <a:gd name="T14" fmla="*/ 35 w 35"/>
                <a:gd name="T15" fmla="*/ 41 h 41"/>
              </a:gdLst>
              <a:ahLst/>
              <a:cxnLst>
                <a:cxn ang="T8">
                  <a:pos x="T0" y="T1"/>
                </a:cxn>
                <a:cxn ang="T9">
                  <a:pos x="T2" y="T3"/>
                </a:cxn>
                <a:cxn ang="T10">
                  <a:pos x="T4" y="T5"/>
                </a:cxn>
                <a:cxn ang="T11">
                  <a:pos x="T6" y="T7"/>
                </a:cxn>
              </a:cxnLst>
              <a:rect l="T12" t="T13" r="T14" b="T15"/>
              <a:pathLst>
                <a:path w="35" h="41">
                  <a:moveTo>
                    <a:pt x="0" y="40"/>
                  </a:moveTo>
                  <a:lnTo>
                    <a:pt x="34" y="8"/>
                  </a:lnTo>
                  <a:lnTo>
                    <a:pt x="34" y="0"/>
                  </a:lnTo>
                  <a:lnTo>
                    <a:pt x="0" y="4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55" name="Freeform 411">
              <a:extLst>
                <a:ext uri="{FF2B5EF4-FFF2-40B4-BE49-F238E27FC236}">
                  <a16:creationId xmlns:a16="http://schemas.microsoft.com/office/drawing/2014/main" id="{E41422CC-F9A3-4F12-80D8-8478F0C1C502}"/>
                </a:ext>
              </a:extLst>
            </p:cNvPr>
            <p:cNvSpPr>
              <a:spLocks/>
            </p:cNvSpPr>
            <p:nvPr/>
          </p:nvSpPr>
          <p:spPr bwMode="auto">
            <a:xfrm>
              <a:off x="8513763" y="4227513"/>
              <a:ext cx="31750" cy="26987"/>
            </a:xfrm>
            <a:custGeom>
              <a:avLst/>
              <a:gdLst>
                <a:gd name="T0" fmla="*/ 0 w 18"/>
                <a:gd name="T1" fmla="*/ 0 h 17"/>
                <a:gd name="T2" fmla="*/ 2147483647 w 18"/>
                <a:gd name="T3" fmla="*/ 2147483647 h 17"/>
                <a:gd name="T4" fmla="*/ 2147483647 w 18"/>
                <a:gd name="T5" fmla="*/ 2147483647 h 17"/>
                <a:gd name="T6" fmla="*/ 2147483647 w 18"/>
                <a:gd name="T7" fmla="*/ 0 h 17"/>
                <a:gd name="T8" fmla="*/ 0 w 18"/>
                <a:gd name="T9" fmla="*/ 0 h 17"/>
                <a:gd name="T10" fmla="*/ 0 60000 65536"/>
                <a:gd name="T11" fmla="*/ 0 60000 65536"/>
                <a:gd name="T12" fmla="*/ 0 60000 65536"/>
                <a:gd name="T13" fmla="*/ 0 60000 65536"/>
                <a:gd name="T14" fmla="*/ 0 60000 65536"/>
                <a:gd name="T15" fmla="*/ 0 w 18"/>
                <a:gd name="T16" fmla="*/ 0 h 17"/>
                <a:gd name="T17" fmla="*/ 18 w 18"/>
                <a:gd name="T18" fmla="*/ 17 h 17"/>
              </a:gdLst>
              <a:ahLst/>
              <a:cxnLst>
                <a:cxn ang="T10">
                  <a:pos x="T0" y="T1"/>
                </a:cxn>
                <a:cxn ang="T11">
                  <a:pos x="T2" y="T3"/>
                </a:cxn>
                <a:cxn ang="T12">
                  <a:pos x="T4" y="T5"/>
                </a:cxn>
                <a:cxn ang="T13">
                  <a:pos x="T6" y="T7"/>
                </a:cxn>
                <a:cxn ang="T14">
                  <a:pos x="T8" y="T9"/>
                </a:cxn>
              </a:cxnLst>
              <a:rect l="T15" t="T16" r="T17" b="T18"/>
              <a:pathLst>
                <a:path w="18" h="17">
                  <a:moveTo>
                    <a:pt x="0" y="0"/>
                  </a:moveTo>
                  <a:lnTo>
                    <a:pt x="17" y="16"/>
                  </a:lnTo>
                  <a:lnTo>
                    <a:pt x="17" y="8"/>
                  </a:lnTo>
                  <a:lnTo>
                    <a:pt x="17" y="0"/>
                  </a:lnTo>
                  <a:lnTo>
                    <a:pt x="0"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56" name="Freeform 412">
              <a:extLst>
                <a:ext uri="{FF2B5EF4-FFF2-40B4-BE49-F238E27FC236}">
                  <a16:creationId xmlns:a16="http://schemas.microsoft.com/office/drawing/2014/main" id="{5E6306FC-4993-4B00-8476-8CC2B2A85FBA}"/>
                </a:ext>
              </a:extLst>
            </p:cNvPr>
            <p:cNvSpPr>
              <a:spLocks/>
            </p:cNvSpPr>
            <p:nvPr/>
          </p:nvSpPr>
          <p:spPr bwMode="auto">
            <a:xfrm>
              <a:off x="8624888" y="4238625"/>
              <a:ext cx="31750" cy="55563"/>
            </a:xfrm>
            <a:custGeom>
              <a:avLst/>
              <a:gdLst>
                <a:gd name="T0" fmla="*/ 0 w 17"/>
                <a:gd name="T1" fmla="*/ 0 h 33"/>
                <a:gd name="T2" fmla="*/ 2147483647 w 17"/>
                <a:gd name="T3" fmla="*/ 2147483647 h 33"/>
                <a:gd name="T4" fmla="*/ 0 w 17"/>
                <a:gd name="T5" fmla="*/ 2147483647 h 33"/>
                <a:gd name="T6" fmla="*/ 0 w 17"/>
                <a:gd name="T7" fmla="*/ 2147483647 h 33"/>
                <a:gd name="T8" fmla="*/ 0 w 17"/>
                <a:gd name="T9" fmla="*/ 2147483647 h 33"/>
                <a:gd name="T10" fmla="*/ 2147483647 w 17"/>
                <a:gd name="T11" fmla="*/ 2147483647 h 33"/>
                <a:gd name="T12" fmla="*/ 2147483647 w 17"/>
                <a:gd name="T13" fmla="*/ 2147483647 h 33"/>
                <a:gd name="T14" fmla="*/ 2147483647 w 17"/>
                <a:gd name="T15" fmla="*/ 2147483647 h 33"/>
                <a:gd name="T16" fmla="*/ 2147483647 w 17"/>
                <a:gd name="T17" fmla="*/ 2147483647 h 33"/>
                <a:gd name="T18" fmla="*/ 2147483647 w 17"/>
                <a:gd name="T19" fmla="*/ 0 h 33"/>
                <a:gd name="T20" fmla="*/ 0 w 17"/>
                <a:gd name="T21" fmla="*/ 0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
                <a:gd name="T34" fmla="*/ 0 h 33"/>
                <a:gd name="T35" fmla="*/ 17 w 17"/>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 h="33">
                  <a:moveTo>
                    <a:pt x="0" y="0"/>
                  </a:moveTo>
                  <a:lnTo>
                    <a:pt x="7" y="7"/>
                  </a:lnTo>
                  <a:lnTo>
                    <a:pt x="0" y="17"/>
                  </a:lnTo>
                  <a:lnTo>
                    <a:pt x="0" y="25"/>
                  </a:lnTo>
                  <a:lnTo>
                    <a:pt x="0" y="32"/>
                  </a:lnTo>
                  <a:lnTo>
                    <a:pt x="7" y="32"/>
                  </a:lnTo>
                  <a:lnTo>
                    <a:pt x="7" y="17"/>
                  </a:lnTo>
                  <a:lnTo>
                    <a:pt x="16" y="17"/>
                  </a:lnTo>
                  <a:lnTo>
                    <a:pt x="7" y="7"/>
                  </a:lnTo>
                  <a:lnTo>
                    <a:pt x="7" y="0"/>
                  </a:lnTo>
                  <a:lnTo>
                    <a:pt x="0"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57" name="Freeform 413">
              <a:extLst>
                <a:ext uri="{FF2B5EF4-FFF2-40B4-BE49-F238E27FC236}">
                  <a16:creationId xmlns:a16="http://schemas.microsoft.com/office/drawing/2014/main" id="{C64CD0B3-30D7-4C1E-8D9D-BA7C1CF12AF7}"/>
                </a:ext>
              </a:extLst>
            </p:cNvPr>
            <p:cNvSpPr>
              <a:spLocks/>
            </p:cNvSpPr>
            <p:nvPr/>
          </p:nvSpPr>
          <p:spPr bwMode="auto">
            <a:xfrm>
              <a:off x="8561388" y="4251325"/>
              <a:ext cx="65087" cy="68263"/>
            </a:xfrm>
            <a:custGeom>
              <a:avLst/>
              <a:gdLst>
                <a:gd name="T0" fmla="*/ 0 w 34"/>
                <a:gd name="T1" fmla="*/ 2147483647 h 42"/>
                <a:gd name="T2" fmla="*/ 2147483647 w 34"/>
                <a:gd name="T3" fmla="*/ 2147483647 h 42"/>
                <a:gd name="T4" fmla="*/ 2147483647 w 34"/>
                <a:gd name="T5" fmla="*/ 2147483647 h 42"/>
                <a:gd name="T6" fmla="*/ 2147483647 w 34"/>
                <a:gd name="T7" fmla="*/ 2147483647 h 42"/>
                <a:gd name="T8" fmla="*/ 2147483647 w 34"/>
                <a:gd name="T9" fmla="*/ 2147483647 h 42"/>
                <a:gd name="T10" fmla="*/ 2147483647 w 34"/>
                <a:gd name="T11" fmla="*/ 2147483647 h 42"/>
                <a:gd name="T12" fmla="*/ 2147483647 w 34"/>
                <a:gd name="T13" fmla="*/ 2147483647 h 42"/>
                <a:gd name="T14" fmla="*/ 2147483647 w 34"/>
                <a:gd name="T15" fmla="*/ 2147483647 h 42"/>
                <a:gd name="T16" fmla="*/ 2147483647 w 34"/>
                <a:gd name="T17" fmla="*/ 2147483647 h 42"/>
                <a:gd name="T18" fmla="*/ 2147483647 w 34"/>
                <a:gd name="T19" fmla="*/ 2147483647 h 42"/>
                <a:gd name="T20" fmla="*/ 2147483647 w 34"/>
                <a:gd name="T21" fmla="*/ 2147483647 h 42"/>
                <a:gd name="T22" fmla="*/ 2147483647 w 34"/>
                <a:gd name="T23" fmla="*/ 2147483647 h 42"/>
                <a:gd name="T24" fmla="*/ 2147483647 w 34"/>
                <a:gd name="T25" fmla="*/ 0 h 42"/>
                <a:gd name="T26" fmla="*/ 0 w 34"/>
                <a:gd name="T27" fmla="*/ 0 h 42"/>
                <a:gd name="T28" fmla="*/ 0 w 34"/>
                <a:gd name="T29" fmla="*/ 2147483647 h 4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4"/>
                <a:gd name="T46" fmla="*/ 0 h 42"/>
                <a:gd name="T47" fmla="*/ 34 w 34"/>
                <a:gd name="T48" fmla="*/ 42 h 4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4" h="42">
                  <a:moveTo>
                    <a:pt x="0" y="18"/>
                  </a:moveTo>
                  <a:lnTo>
                    <a:pt x="8" y="18"/>
                  </a:lnTo>
                  <a:lnTo>
                    <a:pt x="8" y="25"/>
                  </a:lnTo>
                  <a:lnTo>
                    <a:pt x="15" y="41"/>
                  </a:lnTo>
                  <a:lnTo>
                    <a:pt x="15" y="34"/>
                  </a:lnTo>
                  <a:lnTo>
                    <a:pt x="15" y="25"/>
                  </a:lnTo>
                  <a:lnTo>
                    <a:pt x="33" y="34"/>
                  </a:lnTo>
                  <a:lnTo>
                    <a:pt x="33" y="25"/>
                  </a:lnTo>
                  <a:lnTo>
                    <a:pt x="24" y="25"/>
                  </a:lnTo>
                  <a:lnTo>
                    <a:pt x="24" y="10"/>
                  </a:lnTo>
                  <a:lnTo>
                    <a:pt x="15" y="18"/>
                  </a:lnTo>
                  <a:lnTo>
                    <a:pt x="15" y="10"/>
                  </a:lnTo>
                  <a:lnTo>
                    <a:pt x="8" y="0"/>
                  </a:lnTo>
                  <a:lnTo>
                    <a:pt x="0" y="0"/>
                  </a:lnTo>
                  <a:lnTo>
                    <a:pt x="0" y="18"/>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58" name="Freeform 414">
              <a:extLst>
                <a:ext uri="{FF2B5EF4-FFF2-40B4-BE49-F238E27FC236}">
                  <a16:creationId xmlns:a16="http://schemas.microsoft.com/office/drawing/2014/main" id="{FF8DD460-BEB4-466D-9D3A-99E39FE92D6A}"/>
                </a:ext>
              </a:extLst>
            </p:cNvPr>
            <p:cNvSpPr>
              <a:spLocks/>
            </p:cNvSpPr>
            <p:nvPr/>
          </p:nvSpPr>
          <p:spPr bwMode="auto">
            <a:xfrm>
              <a:off x="8561388" y="4292600"/>
              <a:ext cx="107950" cy="95250"/>
            </a:xfrm>
            <a:custGeom>
              <a:avLst/>
              <a:gdLst>
                <a:gd name="T0" fmla="*/ 0 w 56"/>
                <a:gd name="T1" fmla="*/ 2147483647 h 59"/>
                <a:gd name="T2" fmla="*/ 2147483647 w 56"/>
                <a:gd name="T3" fmla="*/ 2147483647 h 59"/>
                <a:gd name="T4" fmla="*/ 2147483647 w 56"/>
                <a:gd name="T5" fmla="*/ 2147483647 h 59"/>
                <a:gd name="T6" fmla="*/ 2147483647 w 56"/>
                <a:gd name="T7" fmla="*/ 2147483647 h 59"/>
                <a:gd name="T8" fmla="*/ 2147483647 w 56"/>
                <a:gd name="T9" fmla="*/ 2147483647 h 59"/>
                <a:gd name="T10" fmla="*/ 2147483647 w 56"/>
                <a:gd name="T11" fmla="*/ 2147483647 h 59"/>
                <a:gd name="T12" fmla="*/ 2147483647 w 56"/>
                <a:gd name="T13" fmla="*/ 2147483647 h 59"/>
                <a:gd name="T14" fmla="*/ 2147483647 w 56"/>
                <a:gd name="T15" fmla="*/ 2147483647 h 59"/>
                <a:gd name="T16" fmla="*/ 2147483647 w 56"/>
                <a:gd name="T17" fmla="*/ 2147483647 h 59"/>
                <a:gd name="T18" fmla="*/ 2147483647 w 56"/>
                <a:gd name="T19" fmla="*/ 2147483647 h 59"/>
                <a:gd name="T20" fmla="*/ 2147483647 w 56"/>
                <a:gd name="T21" fmla="*/ 2147483647 h 59"/>
                <a:gd name="T22" fmla="*/ 2147483647 w 56"/>
                <a:gd name="T23" fmla="*/ 2147483647 h 59"/>
                <a:gd name="T24" fmla="*/ 2147483647 w 56"/>
                <a:gd name="T25" fmla="*/ 2147483647 h 59"/>
                <a:gd name="T26" fmla="*/ 2147483647 w 56"/>
                <a:gd name="T27" fmla="*/ 0 h 59"/>
                <a:gd name="T28" fmla="*/ 2147483647 w 56"/>
                <a:gd name="T29" fmla="*/ 2147483647 h 59"/>
                <a:gd name="T30" fmla="*/ 2147483647 w 56"/>
                <a:gd name="T31" fmla="*/ 2147483647 h 59"/>
                <a:gd name="T32" fmla="*/ 2147483647 w 56"/>
                <a:gd name="T33" fmla="*/ 2147483647 h 59"/>
                <a:gd name="T34" fmla="*/ 2147483647 w 56"/>
                <a:gd name="T35" fmla="*/ 2147483647 h 59"/>
                <a:gd name="T36" fmla="*/ 0 w 56"/>
                <a:gd name="T37" fmla="*/ 2147483647 h 59"/>
                <a:gd name="T38" fmla="*/ 0 w 56"/>
                <a:gd name="T39" fmla="*/ 2147483647 h 5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6"/>
                <a:gd name="T61" fmla="*/ 0 h 59"/>
                <a:gd name="T62" fmla="*/ 56 w 56"/>
                <a:gd name="T63" fmla="*/ 59 h 5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6" h="59">
                  <a:moveTo>
                    <a:pt x="0" y="40"/>
                  </a:moveTo>
                  <a:lnTo>
                    <a:pt x="8" y="34"/>
                  </a:lnTo>
                  <a:lnTo>
                    <a:pt x="15" y="34"/>
                  </a:lnTo>
                  <a:lnTo>
                    <a:pt x="24" y="34"/>
                  </a:lnTo>
                  <a:lnTo>
                    <a:pt x="33" y="34"/>
                  </a:lnTo>
                  <a:lnTo>
                    <a:pt x="24" y="49"/>
                  </a:lnTo>
                  <a:lnTo>
                    <a:pt x="40" y="58"/>
                  </a:lnTo>
                  <a:lnTo>
                    <a:pt x="49" y="49"/>
                  </a:lnTo>
                  <a:lnTo>
                    <a:pt x="40" y="40"/>
                  </a:lnTo>
                  <a:lnTo>
                    <a:pt x="49" y="34"/>
                  </a:lnTo>
                  <a:lnTo>
                    <a:pt x="55" y="49"/>
                  </a:lnTo>
                  <a:lnTo>
                    <a:pt x="55" y="34"/>
                  </a:lnTo>
                  <a:lnTo>
                    <a:pt x="55" y="16"/>
                  </a:lnTo>
                  <a:lnTo>
                    <a:pt x="40" y="0"/>
                  </a:lnTo>
                  <a:lnTo>
                    <a:pt x="40" y="16"/>
                  </a:lnTo>
                  <a:lnTo>
                    <a:pt x="33" y="16"/>
                  </a:lnTo>
                  <a:lnTo>
                    <a:pt x="24" y="25"/>
                  </a:lnTo>
                  <a:lnTo>
                    <a:pt x="15" y="16"/>
                  </a:lnTo>
                  <a:lnTo>
                    <a:pt x="0" y="34"/>
                  </a:lnTo>
                  <a:lnTo>
                    <a:pt x="0" y="4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59" name="Freeform 415">
              <a:extLst>
                <a:ext uri="{FF2B5EF4-FFF2-40B4-BE49-F238E27FC236}">
                  <a16:creationId xmlns:a16="http://schemas.microsoft.com/office/drawing/2014/main" id="{B433C1D3-D11D-480A-AA35-82E8B7497FF3}"/>
                </a:ext>
              </a:extLst>
            </p:cNvPr>
            <p:cNvSpPr>
              <a:spLocks/>
            </p:cNvSpPr>
            <p:nvPr/>
          </p:nvSpPr>
          <p:spPr bwMode="auto">
            <a:xfrm>
              <a:off x="9197975" y="4584700"/>
              <a:ext cx="107950" cy="52388"/>
            </a:xfrm>
            <a:custGeom>
              <a:avLst/>
              <a:gdLst>
                <a:gd name="T0" fmla="*/ 0 w 57"/>
                <a:gd name="T1" fmla="*/ 2147483647 h 33"/>
                <a:gd name="T2" fmla="*/ 2147483647 w 57"/>
                <a:gd name="T3" fmla="*/ 2147483647 h 33"/>
                <a:gd name="T4" fmla="*/ 2147483647 w 57"/>
                <a:gd name="T5" fmla="*/ 2147483647 h 33"/>
                <a:gd name="T6" fmla="*/ 2147483647 w 57"/>
                <a:gd name="T7" fmla="*/ 2147483647 h 33"/>
                <a:gd name="T8" fmla="*/ 2147483647 w 57"/>
                <a:gd name="T9" fmla="*/ 2147483647 h 33"/>
                <a:gd name="T10" fmla="*/ 2147483647 w 57"/>
                <a:gd name="T11" fmla="*/ 0 h 33"/>
                <a:gd name="T12" fmla="*/ 2147483647 w 57"/>
                <a:gd name="T13" fmla="*/ 0 h 33"/>
                <a:gd name="T14" fmla="*/ 2147483647 w 57"/>
                <a:gd name="T15" fmla="*/ 2147483647 h 33"/>
                <a:gd name="T16" fmla="*/ 2147483647 w 57"/>
                <a:gd name="T17" fmla="*/ 2147483647 h 33"/>
                <a:gd name="T18" fmla="*/ 2147483647 w 57"/>
                <a:gd name="T19" fmla="*/ 2147483647 h 33"/>
                <a:gd name="T20" fmla="*/ 0 w 57"/>
                <a:gd name="T21" fmla="*/ 2147483647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7"/>
                <a:gd name="T34" fmla="*/ 0 h 33"/>
                <a:gd name="T35" fmla="*/ 57 w 57"/>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7" h="33">
                  <a:moveTo>
                    <a:pt x="0" y="16"/>
                  </a:moveTo>
                  <a:lnTo>
                    <a:pt x="16" y="32"/>
                  </a:lnTo>
                  <a:lnTo>
                    <a:pt x="34" y="32"/>
                  </a:lnTo>
                  <a:lnTo>
                    <a:pt x="49" y="23"/>
                  </a:lnTo>
                  <a:lnTo>
                    <a:pt x="56" y="8"/>
                  </a:lnTo>
                  <a:lnTo>
                    <a:pt x="56" y="0"/>
                  </a:lnTo>
                  <a:lnTo>
                    <a:pt x="49" y="0"/>
                  </a:lnTo>
                  <a:lnTo>
                    <a:pt x="49" y="16"/>
                  </a:lnTo>
                  <a:lnTo>
                    <a:pt x="41" y="16"/>
                  </a:lnTo>
                  <a:lnTo>
                    <a:pt x="34" y="16"/>
                  </a:lnTo>
                  <a:lnTo>
                    <a:pt x="0" y="16"/>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60" name="Freeform 416">
              <a:extLst>
                <a:ext uri="{FF2B5EF4-FFF2-40B4-BE49-F238E27FC236}">
                  <a16:creationId xmlns:a16="http://schemas.microsoft.com/office/drawing/2014/main" id="{8CD8CC34-0937-4922-A4C3-C24F9499200B}"/>
                </a:ext>
              </a:extLst>
            </p:cNvPr>
            <p:cNvSpPr>
              <a:spLocks/>
            </p:cNvSpPr>
            <p:nvPr/>
          </p:nvSpPr>
          <p:spPr bwMode="auto">
            <a:xfrm>
              <a:off x="9277350" y="4570413"/>
              <a:ext cx="44450" cy="26987"/>
            </a:xfrm>
            <a:custGeom>
              <a:avLst/>
              <a:gdLst>
                <a:gd name="T0" fmla="*/ 0 w 25"/>
                <a:gd name="T1" fmla="*/ 0 h 17"/>
                <a:gd name="T2" fmla="*/ 2147483647 w 25"/>
                <a:gd name="T3" fmla="*/ 2147483647 h 17"/>
                <a:gd name="T4" fmla="*/ 2147483647 w 25"/>
                <a:gd name="T5" fmla="*/ 2147483647 h 17"/>
                <a:gd name="T6" fmla="*/ 2147483647 w 25"/>
                <a:gd name="T7" fmla="*/ 2147483647 h 17"/>
                <a:gd name="T8" fmla="*/ 0 w 25"/>
                <a:gd name="T9" fmla="*/ 0 h 17"/>
                <a:gd name="T10" fmla="*/ 0 60000 65536"/>
                <a:gd name="T11" fmla="*/ 0 60000 65536"/>
                <a:gd name="T12" fmla="*/ 0 60000 65536"/>
                <a:gd name="T13" fmla="*/ 0 60000 65536"/>
                <a:gd name="T14" fmla="*/ 0 60000 65536"/>
                <a:gd name="T15" fmla="*/ 0 w 25"/>
                <a:gd name="T16" fmla="*/ 0 h 17"/>
                <a:gd name="T17" fmla="*/ 25 w 25"/>
                <a:gd name="T18" fmla="*/ 17 h 17"/>
              </a:gdLst>
              <a:ahLst/>
              <a:cxnLst>
                <a:cxn ang="T10">
                  <a:pos x="T0" y="T1"/>
                </a:cxn>
                <a:cxn ang="T11">
                  <a:pos x="T2" y="T3"/>
                </a:cxn>
                <a:cxn ang="T12">
                  <a:pos x="T4" y="T5"/>
                </a:cxn>
                <a:cxn ang="T13">
                  <a:pos x="T6" y="T7"/>
                </a:cxn>
                <a:cxn ang="T14">
                  <a:pos x="T8" y="T9"/>
                </a:cxn>
              </a:cxnLst>
              <a:rect l="T15" t="T16" r="T17" b="T18"/>
              <a:pathLst>
                <a:path w="25" h="17">
                  <a:moveTo>
                    <a:pt x="0" y="0"/>
                  </a:moveTo>
                  <a:lnTo>
                    <a:pt x="15" y="8"/>
                  </a:lnTo>
                  <a:lnTo>
                    <a:pt x="24" y="16"/>
                  </a:lnTo>
                  <a:lnTo>
                    <a:pt x="24" y="8"/>
                  </a:lnTo>
                  <a:lnTo>
                    <a:pt x="0"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61" name="Freeform 417">
              <a:extLst>
                <a:ext uri="{FF2B5EF4-FFF2-40B4-BE49-F238E27FC236}">
                  <a16:creationId xmlns:a16="http://schemas.microsoft.com/office/drawing/2014/main" id="{6E5C3766-85AA-415C-9C5E-3CEB363E91AC}"/>
                </a:ext>
              </a:extLst>
            </p:cNvPr>
            <p:cNvSpPr>
              <a:spLocks/>
            </p:cNvSpPr>
            <p:nvPr/>
          </p:nvSpPr>
          <p:spPr bwMode="auto">
            <a:xfrm>
              <a:off x="9367838" y="4610100"/>
              <a:ext cx="33337" cy="41275"/>
            </a:xfrm>
            <a:custGeom>
              <a:avLst/>
              <a:gdLst>
                <a:gd name="T0" fmla="*/ 0 w 18"/>
                <a:gd name="T1" fmla="*/ 0 h 25"/>
                <a:gd name="T2" fmla="*/ 2147483647 w 18"/>
                <a:gd name="T3" fmla="*/ 2147483647 h 25"/>
                <a:gd name="T4" fmla="*/ 2147483647 w 18"/>
                <a:gd name="T5" fmla="*/ 2147483647 h 25"/>
                <a:gd name="T6" fmla="*/ 0 w 18"/>
                <a:gd name="T7" fmla="*/ 0 h 25"/>
                <a:gd name="T8" fmla="*/ 0 60000 65536"/>
                <a:gd name="T9" fmla="*/ 0 60000 65536"/>
                <a:gd name="T10" fmla="*/ 0 60000 65536"/>
                <a:gd name="T11" fmla="*/ 0 60000 65536"/>
                <a:gd name="T12" fmla="*/ 0 w 18"/>
                <a:gd name="T13" fmla="*/ 0 h 25"/>
                <a:gd name="T14" fmla="*/ 18 w 18"/>
                <a:gd name="T15" fmla="*/ 25 h 25"/>
              </a:gdLst>
              <a:ahLst/>
              <a:cxnLst>
                <a:cxn ang="T8">
                  <a:pos x="T0" y="T1"/>
                </a:cxn>
                <a:cxn ang="T9">
                  <a:pos x="T2" y="T3"/>
                </a:cxn>
                <a:cxn ang="T10">
                  <a:pos x="T4" y="T5"/>
                </a:cxn>
                <a:cxn ang="T11">
                  <a:pos x="T6" y="T7"/>
                </a:cxn>
              </a:cxnLst>
              <a:rect l="T12" t="T13" r="T14" b="T15"/>
              <a:pathLst>
                <a:path w="18" h="25">
                  <a:moveTo>
                    <a:pt x="0" y="0"/>
                  </a:moveTo>
                  <a:lnTo>
                    <a:pt x="8" y="24"/>
                  </a:lnTo>
                  <a:lnTo>
                    <a:pt x="17" y="16"/>
                  </a:lnTo>
                  <a:lnTo>
                    <a:pt x="0"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62" name="Freeform 418">
              <a:extLst>
                <a:ext uri="{FF2B5EF4-FFF2-40B4-BE49-F238E27FC236}">
                  <a16:creationId xmlns:a16="http://schemas.microsoft.com/office/drawing/2014/main" id="{878BE945-E7C4-4672-8237-9D3B8DAD7707}"/>
                </a:ext>
              </a:extLst>
            </p:cNvPr>
            <p:cNvSpPr>
              <a:spLocks/>
            </p:cNvSpPr>
            <p:nvPr/>
          </p:nvSpPr>
          <p:spPr bwMode="auto">
            <a:xfrm>
              <a:off x="9475788" y="4686300"/>
              <a:ext cx="33337" cy="26988"/>
            </a:xfrm>
            <a:custGeom>
              <a:avLst/>
              <a:gdLst>
                <a:gd name="T0" fmla="*/ 0 w 17"/>
                <a:gd name="T1" fmla="*/ 0 h 17"/>
                <a:gd name="T2" fmla="*/ 0 w 17"/>
                <a:gd name="T3" fmla="*/ 2147483647 h 17"/>
                <a:gd name="T4" fmla="*/ 2147483647 w 17"/>
                <a:gd name="T5" fmla="*/ 2147483647 h 17"/>
                <a:gd name="T6" fmla="*/ 0 w 17"/>
                <a:gd name="T7" fmla="*/ 0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0" y="0"/>
                  </a:moveTo>
                  <a:lnTo>
                    <a:pt x="0" y="16"/>
                  </a:lnTo>
                  <a:lnTo>
                    <a:pt x="16" y="16"/>
                  </a:lnTo>
                  <a:lnTo>
                    <a:pt x="0"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63" name="Freeform 419">
              <a:extLst>
                <a:ext uri="{FF2B5EF4-FFF2-40B4-BE49-F238E27FC236}">
                  <a16:creationId xmlns:a16="http://schemas.microsoft.com/office/drawing/2014/main" id="{1F4D6A0E-35E5-4578-85E9-C10619F5889A}"/>
                </a:ext>
              </a:extLst>
            </p:cNvPr>
            <p:cNvSpPr>
              <a:spLocks/>
            </p:cNvSpPr>
            <p:nvPr/>
          </p:nvSpPr>
          <p:spPr bwMode="auto">
            <a:xfrm>
              <a:off x="6229350" y="5111750"/>
              <a:ext cx="61913" cy="53975"/>
            </a:xfrm>
            <a:custGeom>
              <a:avLst/>
              <a:gdLst>
                <a:gd name="T0" fmla="*/ 2147483647 w 33"/>
                <a:gd name="T1" fmla="*/ 2147483647 h 33"/>
                <a:gd name="T2" fmla="*/ 2147483647 w 33"/>
                <a:gd name="T3" fmla="*/ 2147483647 h 33"/>
                <a:gd name="T4" fmla="*/ 2147483647 w 33"/>
                <a:gd name="T5" fmla="*/ 2147483647 h 33"/>
                <a:gd name="T6" fmla="*/ 0 w 33"/>
                <a:gd name="T7" fmla="*/ 2147483647 h 33"/>
                <a:gd name="T8" fmla="*/ 2147483647 w 33"/>
                <a:gd name="T9" fmla="*/ 0 h 33"/>
                <a:gd name="T10" fmla="*/ 2147483647 w 33"/>
                <a:gd name="T11" fmla="*/ 2147483647 h 33"/>
                <a:gd name="T12" fmla="*/ 2147483647 w 33"/>
                <a:gd name="T13" fmla="*/ 2147483647 h 33"/>
                <a:gd name="T14" fmla="*/ 0 60000 65536"/>
                <a:gd name="T15" fmla="*/ 0 60000 65536"/>
                <a:gd name="T16" fmla="*/ 0 60000 65536"/>
                <a:gd name="T17" fmla="*/ 0 60000 65536"/>
                <a:gd name="T18" fmla="*/ 0 60000 65536"/>
                <a:gd name="T19" fmla="*/ 0 60000 65536"/>
                <a:gd name="T20" fmla="*/ 0 60000 65536"/>
                <a:gd name="T21" fmla="*/ 0 w 33"/>
                <a:gd name="T22" fmla="*/ 0 h 33"/>
                <a:gd name="T23" fmla="*/ 33 w 33"/>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33">
                  <a:moveTo>
                    <a:pt x="32" y="15"/>
                  </a:moveTo>
                  <a:lnTo>
                    <a:pt x="23" y="25"/>
                  </a:lnTo>
                  <a:lnTo>
                    <a:pt x="8" y="32"/>
                  </a:lnTo>
                  <a:lnTo>
                    <a:pt x="0" y="25"/>
                  </a:lnTo>
                  <a:lnTo>
                    <a:pt x="16" y="0"/>
                  </a:lnTo>
                  <a:lnTo>
                    <a:pt x="23" y="7"/>
                  </a:lnTo>
                  <a:lnTo>
                    <a:pt x="32" y="15"/>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64" name="Line 420">
              <a:extLst>
                <a:ext uri="{FF2B5EF4-FFF2-40B4-BE49-F238E27FC236}">
                  <a16:creationId xmlns:a16="http://schemas.microsoft.com/office/drawing/2014/main" id="{8711E4A0-D9AF-4CE9-9E45-2FF90DF57A06}"/>
                </a:ext>
              </a:extLst>
            </p:cNvPr>
            <p:cNvSpPr>
              <a:spLocks noChangeShapeType="1"/>
            </p:cNvSpPr>
            <p:nvPr/>
          </p:nvSpPr>
          <p:spPr bwMode="auto">
            <a:xfrm>
              <a:off x="8358188" y="4027488"/>
              <a:ext cx="17462" cy="0"/>
            </a:xfrm>
            <a:prstGeom prst="line">
              <a:avLst/>
            </a:prstGeom>
            <a:grpFill/>
            <a:ln w="1270">
              <a:solidFill>
                <a:schemeClr val="accent5">
                  <a:lumMod val="20000"/>
                  <a:lumOff val="80000"/>
                </a:schemeClr>
              </a:solidFill>
              <a:prstDash val="solid"/>
              <a:round/>
              <a:headEnd type="none" w="sm" len="sm"/>
              <a:tailEnd type="none" w="sm" len="sm"/>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a:ea typeface="+mn-ea"/>
                <a:cs typeface="+mn-cs"/>
              </a:endParaRPr>
            </a:p>
          </p:txBody>
        </p:sp>
        <p:sp>
          <p:nvSpPr>
            <p:cNvPr id="365" name="Freeform 421">
              <a:extLst>
                <a:ext uri="{FF2B5EF4-FFF2-40B4-BE49-F238E27FC236}">
                  <a16:creationId xmlns:a16="http://schemas.microsoft.com/office/drawing/2014/main" id="{6F273824-4582-4335-9312-5E6EA9EDBE7B}"/>
                </a:ext>
              </a:extLst>
            </p:cNvPr>
            <p:cNvSpPr>
              <a:spLocks/>
            </p:cNvSpPr>
            <p:nvPr/>
          </p:nvSpPr>
          <p:spPr bwMode="auto">
            <a:xfrm>
              <a:off x="6042025" y="3525838"/>
              <a:ext cx="47625" cy="82550"/>
            </a:xfrm>
            <a:custGeom>
              <a:avLst/>
              <a:gdLst>
                <a:gd name="T0" fmla="*/ 0 w 25"/>
                <a:gd name="T1" fmla="*/ 0 h 51"/>
                <a:gd name="T2" fmla="*/ 2147483647 w 25"/>
                <a:gd name="T3" fmla="*/ 0 h 51"/>
                <a:gd name="T4" fmla="*/ 2147483647 w 25"/>
                <a:gd name="T5" fmla="*/ 2147483647 h 51"/>
                <a:gd name="T6" fmla="*/ 2147483647 w 25"/>
                <a:gd name="T7" fmla="*/ 2147483647 h 51"/>
                <a:gd name="T8" fmla="*/ 2147483647 w 25"/>
                <a:gd name="T9" fmla="*/ 2147483647 h 51"/>
                <a:gd name="T10" fmla="*/ 2147483647 w 25"/>
                <a:gd name="T11" fmla="*/ 2147483647 h 51"/>
                <a:gd name="T12" fmla="*/ 2147483647 w 25"/>
                <a:gd name="T13" fmla="*/ 2147483647 h 51"/>
                <a:gd name="T14" fmla="*/ 0 w 25"/>
                <a:gd name="T15" fmla="*/ 2147483647 h 51"/>
                <a:gd name="T16" fmla="*/ 0 w 25"/>
                <a:gd name="T17" fmla="*/ 2147483647 h 51"/>
                <a:gd name="T18" fmla="*/ 0 w 25"/>
                <a:gd name="T19" fmla="*/ 0 h 5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5"/>
                <a:gd name="T31" fmla="*/ 0 h 51"/>
                <a:gd name="T32" fmla="*/ 25 w 25"/>
                <a:gd name="T33" fmla="*/ 51 h 5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5" h="51">
                  <a:moveTo>
                    <a:pt x="0" y="0"/>
                  </a:moveTo>
                  <a:lnTo>
                    <a:pt x="9" y="0"/>
                  </a:lnTo>
                  <a:lnTo>
                    <a:pt x="15" y="9"/>
                  </a:lnTo>
                  <a:lnTo>
                    <a:pt x="15" y="17"/>
                  </a:lnTo>
                  <a:lnTo>
                    <a:pt x="24" y="25"/>
                  </a:lnTo>
                  <a:lnTo>
                    <a:pt x="24" y="34"/>
                  </a:lnTo>
                  <a:lnTo>
                    <a:pt x="9" y="50"/>
                  </a:lnTo>
                  <a:lnTo>
                    <a:pt x="0" y="41"/>
                  </a:lnTo>
                  <a:lnTo>
                    <a:pt x="0" y="9"/>
                  </a:lnTo>
                  <a:lnTo>
                    <a:pt x="0"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66" name="Freeform 422">
              <a:extLst>
                <a:ext uri="{FF2B5EF4-FFF2-40B4-BE49-F238E27FC236}">
                  <a16:creationId xmlns:a16="http://schemas.microsoft.com/office/drawing/2014/main" id="{446A5AE6-A379-47FD-8D42-89DCF3C7F3DB}"/>
                </a:ext>
              </a:extLst>
            </p:cNvPr>
            <p:cNvSpPr>
              <a:spLocks/>
            </p:cNvSpPr>
            <p:nvPr/>
          </p:nvSpPr>
          <p:spPr bwMode="auto">
            <a:xfrm>
              <a:off x="6119813" y="3476625"/>
              <a:ext cx="157162" cy="92075"/>
            </a:xfrm>
            <a:custGeom>
              <a:avLst/>
              <a:gdLst>
                <a:gd name="T0" fmla="*/ 2147483647 w 82"/>
                <a:gd name="T1" fmla="*/ 2147483647 h 57"/>
                <a:gd name="T2" fmla="*/ 2147483647 w 82"/>
                <a:gd name="T3" fmla="*/ 2147483647 h 57"/>
                <a:gd name="T4" fmla="*/ 2147483647 w 82"/>
                <a:gd name="T5" fmla="*/ 2147483647 h 57"/>
                <a:gd name="T6" fmla="*/ 2147483647 w 82"/>
                <a:gd name="T7" fmla="*/ 2147483647 h 57"/>
                <a:gd name="T8" fmla="*/ 2147483647 w 82"/>
                <a:gd name="T9" fmla="*/ 2147483647 h 57"/>
                <a:gd name="T10" fmla="*/ 2147483647 w 82"/>
                <a:gd name="T11" fmla="*/ 2147483647 h 57"/>
                <a:gd name="T12" fmla="*/ 2147483647 w 82"/>
                <a:gd name="T13" fmla="*/ 2147483647 h 57"/>
                <a:gd name="T14" fmla="*/ 2147483647 w 82"/>
                <a:gd name="T15" fmla="*/ 2147483647 h 57"/>
                <a:gd name="T16" fmla="*/ 2147483647 w 82"/>
                <a:gd name="T17" fmla="*/ 2147483647 h 57"/>
                <a:gd name="T18" fmla="*/ 2147483647 w 82"/>
                <a:gd name="T19" fmla="*/ 2147483647 h 57"/>
                <a:gd name="T20" fmla="*/ 2147483647 w 82"/>
                <a:gd name="T21" fmla="*/ 2147483647 h 57"/>
                <a:gd name="T22" fmla="*/ 0 w 82"/>
                <a:gd name="T23" fmla="*/ 2147483647 h 57"/>
                <a:gd name="T24" fmla="*/ 2147483647 w 82"/>
                <a:gd name="T25" fmla="*/ 2147483647 h 57"/>
                <a:gd name="T26" fmla="*/ 0 w 82"/>
                <a:gd name="T27" fmla="*/ 2147483647 h 57"/>
                <a:gd name="T28" fmla="*/ 0 w 82"/>
                <a:gd name="T29" fmla="*/ 0 h 57"/>
                <a:gd name="T30" fmla="*/ 2147483647 w 82"/>
                <a:gd name="T31" fmla="*/ 2147483647 h 57"/>
                <a:gd name="T32" fmla="*/ 2147483647 w 82"/>
                <a:gd name="T33" fmla="*/ 2147483647 h 57"/>
                <a:gd name="T34" fmla="*/ 2147483647 w 82"/>
                <a:gd name="T35" fmla="*/ 2147483647 h 57"/>
                <a:gd name="T36" fmla="*/ 2147483647 w 82"/>
                <a:gd name="T37" fmla="*/ 0 h 57"/>
                <a:gd name="T38" fmla="*/ 2147483647 w 82"/>
                <a:gd name="T39" fmla="*/ 2147483647 h 5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2"/>
                <a:gd name="T61" fmla="*/ 0 h 57"/>
                <a:gd name="T62" fmla="*/ 82 w 82"/>
                <a:gd name="T63" fmla="*/ 57 h 5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2" h="57">
                  <a:moveTo>
                    <a:pt x="81" y="6"/>
                  </a:moveTo>
                  <a:lnTo>
                    <a:pt x="81" y="16"/>
                  </a:lnTo>
                  <a:lnTo>
                    <a:pt x="74" y="16"/>
                  </a:lnTo>
                  <a:lnTo>
                    <a:pt x="66" y="31"/>
                  </a:lnTo>
                  <a:lnTo>
                    <a:pt x="74" y="40"/>
                  </a:lnTo>
                  <a:lnTo>
                    <a:pt x="58" y="40"/>
                  </a:lnTo>
                  <a:lnTo>
                    <a:pt x="49" y="48"/>
                  </a:lnTo>
                  <a:lnTo>
                    <a:pt x="41" y="56"/>
                  </a:lnTo>
                  <a:lnTo>
                    <a:pt x="24" y="48"/>
                  </a:lnTo>
                  <a:lnTo>
                    <a:pt x="9" y="48"/>
                  </a:lnTo>
                  <a:lnTo>
                    <a:pt x="9" y="40"/>
                  </a:lnTo>
                  <a:lnTo>
                    <a:pt x="0" y="31"/>
                  </a:lnTo>
                  <a:lnTo>
                    <a:pt x="9" y="25"/>
                  </a:lnTo>
                  <a:lnTo>
                    <a:pt x="0" y="6"/>
                  </a:lnTo>
                  <a:lnTo>
                    <a:pt x="0" y="0"/>
                  </a:lnTo>
                  <a:lnTo>
                    <a:pt x="9" y="6"/>
                  </a:lnTo>
                  <a:lnTo>
                    <a:pt x="16" y="6"/>
                  </a:lnTo>
                  <a:lnTo>
                    <a:pt x="41" y="16"/>
                  </a:lnTo>
                  <a:lnTo>
                    <a:pt x="58" y="0"/>
                  </a:lnTo>
                  <a:lnTo>
                    <a:pt x="81" y="6"/>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67" name="Freeform 423">
              <a:extLst>
                <a:ext uri="{FF2B5EF4-FFF2-40B4-BE49-F238E27FC236}">
                  <a16:creationId xmlns:a16="http://schemas.microsoft.com/office/drawing/2014/main" id="{B722D8F4-AC2D-4D5B-8235-263B3EC8E55B}"/>
                </a:ext>
              </a:extLst>
            </p:cNvPr>
            <p:cNvSpPr>
              <a:spLocks/>
            </p:cNvSpPr>
            <p:nvPr/>
          </p:nvSpPr>
          <p:spPr bwMode="auto">
            <a:xfrm>
              <a:off x="5964238" y="3343275"/>
              <a:ext cx="157162" cy="93663"/>
            </a:xfrm>
            <a:custGeom>
              <a:avLst/>
              <a:gdLst>
                <a:gd name="T0" fmla="*/ 2147483647 w 82"/>
                <a:gd name="T1" fmla="*/ 2147483647 h 57"/>
                <a:gd name="T2" fmla="*/ 2147483647 w 82"/>
                <a:gd name="T3" fmla="*/ 2147483647 h 57"/>
                <a:gd name="T4" fmla="*/ 2147483647 w 82"/>
                <a:gd name="T5" fmla="*/ 2147483647 h 57"/>
                <a:gd name="T6" fmla="*/ 2147483647 w 82"/>
                <a:gd name="T7" fmla="*/ 2147483647 h 57"/>
                <a:gd name="T8" fmla="*/ 2147483647 w 82"/>
                <a:gd name="T9" fmla="*/ 2147483647 h 57"/>
                <a:gd name="T10" fmla="*/ 2147483647 w 82"/>
                <a:gd name="T11" fmla="*/ 2147483647 h 57"/>
                <a:gd name="T12" fmla="*/ 2147483647 w 82"/>
                <a:gd name="T13" fmla="*/ 0 h 57"/>
                <a:gd name="T14" fmla="*/ 2147483647 w 82"/>
                <a:gd name="T15" fmla="*/ 2147483647 h 57"/>
                <a:gd name="T16" fmla="*/ 2147483647 w 82"/>
                <a:gd name="T17" fmla="*/ 2147483647 h 57"/>
                <a:gd name="T18" fmla="*/ 0 w 82"/>
                <a:gd name="T19" fmla="*/ 2147483647 h 57"/>
                <a:gd name="T20" fmla="*/ 0 w 82"/>
                <a:gd name="T21" fmla="*/ 2147483647 h 57"/>
                <a:gd name="T22" fmla="*/ 2147483647 w 82"/>
                <a:gd name="T23" fmla="*/ 2147483647 h 57"/>
                <a:gd name="T24" fmla="*/ 2147483647 w 82"/>
                <a:gd name="T25" fmla="*/ 2147483647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2"/>
                <a:gd name="T40" fmla="*/ 0 h 57"/>
                <a:gd name="T41" fmla="*/ 82 w 82"/>
                <a:gd name="T42" fmla="*/ 57 h 5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2" h="57">
                  <a:moveTo>
                    <a:pt x="33" y="56"/>
                  </a:moveTo>
                  <a:lnTo>
                    <a:pt x="50" y="47"/>
                  </a:lnTo>
                  <a:lnTo>
                    <a:pt x="65" y="47"/>
                  </a:lnTo>
                  <a:lnTo>
                    <a:pt x="74" y="16"/>
                  </a:lnTo>
                  <a:lnTo>
                    <a:pt x="81" y="16"/>
                  </a:lnTo>
                  <a:lnTo>
                    <a:pt x="74" y="7"/>
                  </a:lnTo>
                  <a:lnTo>
                    <a:pt x="56" y="0"/>
                  </a:lnTo>
                  <a:lnTo>
                    <a:pt x="25" y="16"/>
                  </a:lnTo>
                  <a:lnTo>
                    <a:pt x="10" y="16"/>
                  </a:lnTo>
                  <a:lnTo>
                    <a:pt x="0" y="32"/>
                  </a:lnTo>
                  <a:lnTo>
                    <a:pt x="0" y="40"/>
                  </a:lnTo>
                  <a:lnTo>
                    <a:pt x="25" y="56"/>
                  </a:lnTo>
                  <a:lnTo>
                    <a:pt x="33" y="56"/>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68" name="Freeform 424">
              <a:extLst>
                <a:ext uri="{FF2B5EF4-FFF2-40B4-BE49-F238E27FC236}">
                  <a16:creationId xmlns:a16="http://schemas.microsoft.com/office/drawing/2014/main" id="{81E3B85F-D8ED-4563-BE03-68BF415A0B7F}"/>
                </a:ext>
              </a:extLst>
            </p:cNvPr>
            <p:cNvSpPr>
              <a:spLocks/>
            </p:cNvSpPr>
            <p:nvPr/>
          </p:nvSpPr>
          <p:spPr bwMode="auto">
            <a:xfrm>
              <a:off x="5902325" y="3395663"/>
              <a:ext cx="63500" cy="41275"/>
            </a:xfrm>
            <a:custGeom>
              <a:avLst/>
              <a:gdLst>
                <a:gd name="T0" fmla="*/ 2147483647 w 33"/>
                <a:gd name="T1" fmla="*/ 2147483647 h 25"/>
                <a:gd name="T2" fmla="*/ 2147483647 w 33"/>
                <a:gd name="T3" fmla="*/ 2147483647 h 25"/>
                <a:gd name="T4" fmla="*/ 2147483647 w 33"/>
                <a:gd name="T5" fmla="*/ 2147483647 h 25"/>
                <a:gd name="T6" fmla="*/ 2147483647 w 33"/>
                <a:gd name="T7" fmla="*/ 2147483647 h 25"/>
                <a:gd name="T8" fmla="*/ 0 w 33"/>
                <a:gd name="T9" fmla="*/ 2147483647 h 25"/>
                <a:gd name="T10" fmla="*/ 0 w 33"/>
                <a:gd name="T11" fmla="*/ 2147483647 h 25"/>
                <a:gd name="T12" fmla="*/ 0 w 33"/>
                <a:gd name="T13" fmla="*/ 2147483647 h 25"/>
                <a:gd name="T14" fmla="*/ 2147483647 w 33"/>
                <a:gd name="T15" fmla="*/ 0 h 25"/>
                <a:gd name="T16" fmla="*/ 2147483647 w 33"/>
                <a:gd name="T17" fmla="*/ 21474836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32" y="8"/>
                  </a:moveTo>
                  <a:lnTo>
                    <a:pt x="25" y="8"/>
                  </a:lnTo>
                  <a:lnTo>
                    <a:pt x="17" y="24"/>
                  </a:lnTo>
                  <a:lnTo>
                    <a:pt x="8" y="24"/>
                  </a:lnTo>
                  <a:lnTo>
                    <a:pt x="0" y="24"/>
                  </a:lnTo>
                  <a:lnTo>
                    <a:pt x="0" y="15"/>
                  </a:lnTo>
                  <a:lnTo>
                    <a:pt x="0" y="8"/>
                  </a:lnTo>
                  <a:lnTo>
                    <a:pt x="32" y="0"/>
                  </a:lnTo>
                  <a:lnTo>
                    <a:pt x="32" y="8"/>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69" name="Freeform 425">
              <a:extLst>
                <a:ext uri="{FF2B5EF4-FFF2-40B4-BE49-F238E27FC236}">
                  <a16:creationId xmlns:a16="http://schemas.microsoft.com/office/drawing/2014/main" id="{89A1AD2E-D862-4DFD-ADA8-03734825C693}"/>
                </a:ext>
              </a:extLst>
            </p:cNvPr>
            <p:cNvSpPr>
              <a:spLocks/>
            </p:cNvSpPr>
            <p:nvPr/>
          </p:nvSpPr>
          <p:spPr bwMode="auto">
            <a:xfrm>
              <a:off x="5902325" y="3408363"/>
              <a:ext cx="141288" cy="119062"/>
            </a:xfrm>
            <a:custGeom>
              <a:avLst/>
              <a:gdLst>
                <a:gd name="T0" fmla="*/ 2147483647 w 74"/>
                <a:gd name="T1" fmla="*/ 0 h 73"/>
                <a:gd name="T2" fmla="*/ 2147483647 w 74"/>
                <a:gd name="T3" fmla="*/ 2147483647 h 73"/>
                <a:gd name="T4" fmla="*/ 2147483647 w 74"/>
                <a:gd name="T5" fmla="*/ 2147483647 h 73"/>
                <a:gd name="T6" fmla="*/ 2147483647 w 74"/>
                <a:gd name="T7" fmla="*/ 2147483647 h 73"/>
                <a:gd name="T8" fmla="*/ 2147483647 w 74"/>
                <a:gd name="T9" fmla="*/ 2147483647 h 73"/>
                <a:gd name="T10" fmla="*/ 2147483647 w 74"/>
                <a:gd name="T11" fmla="*/ 2147483647 h 73"/>
                <a:gd name="T12" fmla="*/ 2147483647 w 74"/>
                <a:gd name="T13" fmla="*/ 2147483647 h 73"/>
                <a:gd name="T14" fmla="*/ 2147483647 w 74"/>
                <a:gd name="T15" fmla="*/ 2147483647 h 73"/>
                <a:gd name="T16" fmla="*/ 2147483647 w 74"/>
                <a:gd name="T17" fmla="*/ 2147483647 h 73"/>
                <a:gd name="T18" fmla="*/ 2147483647 w 74"/>
                <a:gd name="T19" fmla="*/ 2147483647 h 73"/>
                <a:gd name="T20" fmla="*/ 2147483647 w 74"/>
                <a:gd name="T21" fmla="*/ 2147483647 h 73"/>
                <a:gd name="T22" fmla="*/ 2147483647 w 74"/>
                <a:gd name="T23" fmla="*/ 2147483647 h 73"/>
                <a:gd name="T24" fmla="*/ 2147483647 w 74"/>
                <a:gd name="T25" fmla="*/ 2147483647 h 73"/>
                <a:gd name="T26" fmla="*/ 2147483647 w 74"/>
                <a:gd name="T27" fmla="*/ 2147483647 h 73"/>
                <a:gd name="T28" fmla="*/ 2147483647 w 74"/>
                <a:gd name="T29" fmla="*/ 2147483647 h 73"/>
                <a:gd name="T30" fmla="*/ 2147483647 w 74"/>
                <a:gd name="T31" fmla="*/ 2147483647 h 73"/>
                <a:gd name="T32" fmla="*/ 2147483647 w 74"/>
                <a:gd name="T33" fmla="*/ 2147483647 h 73"/>
                <a:gd name="T34" fmla="*/ 2147483647 w 74"/>
                <a:gd name="T35" fmla="*/ 2147483647 h 73"/>
                <a:gd name="T36" fmla="*/ 2147483647 w 74"/>
                <a:gd name="T37" fmla="*/ 2147483647 h 73"/>
                <a:gd name="T38" fmla="*/ 2147483647 w 74"/>
                <a:gd name="T39" fmla="*/ 2147483647 h 73"/>
                <a:gd name="T40" fmla="*/ 0 w 74"/>
                <a:gd name="T41" fmla="*/ 2147483647 h 73"/>
                <a:gd name="T42" fmla="*/ 0 w 74"/>
                <a:gd name="T43" fmla="*/ 2147483647 h 73"/>
                <a:gd name="T44" fmla="*/ 2147483647 w 74"/>
                <a:gd name="T45" fmla="*/ 2147483647 h 73"/>
                <a:gd name="T46" fmla="*/ 2147483647 w 74"/>
                <a:gd name="T47" fmla="*/ 0 h 73"/>
                <a:gd name="T48" fmla="*/ 2147483647 w 74"/>
                <a:gd name="T49" fmla="*/ 0 h 7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4"/>
                <a:gd name="T76" fmla="*/ 0 h 73"/>
                <a:gd name="T77" fmla="*/ 74 w 74"/>
                <a:gd name="T78" fmla="*/ 73 h 7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4" h="73">
                  <a:moveTo>
                    <a:pt x="32" y="0"/>
                  </a:moveTo>
                  <a:lnTo>
                    <a:pt x="57" y="16"/>
                  </a:lnTo>
                  <a:lnTo>
                    <a:pt x="65" y="16"/>
                  </a:lnTo>
                  <a:lnTo>
                    <a:pt x="73" y="25"/>
                  </a:lnTo>
                  <a:lnTo>
                    <a:pt x="73" y="32"/>
                  </a:lnTo>
                  <a:lnTo>
                    <a:pt x="65" y="32"/>
                  </a:lnTo>
                  <a:lnTo>
                    <a:pt x="65" y="25"/>
                  </a:lnTo>
                  <a:lnTo>
                    <a:pt x="42" y="16"/>
                  </a:lnTo>
                  <a:lnTo>
                    <a:pt x="32" y="25"/>
                  </a:lnTo>
                  <a:lnTo>
                    <a:pt x="32" y="16"/>
                  </a:lnTo>
                  <a:lnTo>
                    <a:pt x="25" y="25"/>
                  </a:lnTo>
                  <a:lnTo>
                    <a:pt x="32" y="32"/>
                  </a:lnTo>
                  <a:lnTo>
                    <a:pt x="48" y="57"/>
                  </a:lnTo>
                  <a:lnTo>
                    <a:pt x="57" y="66"/>
                  </a:lnTo>
                  <a:lnTo>
                    <a:pt x="57" y="72"/>
                  </a:lnTo>
                  <a:lnTo>
                    <a:pt x="42" y="57"/>
                  </a:lnTo>
                  <a:lnTo>
                    <a:pt x="32" y="57"/>
                  </a:lnTo>
                  <a:lnTo>
                    <a:pt x="17" y="41"/>
                  </a:lnTo>
                  <a:lnTo>
                    <a:pt x="17" y="25"/>
                  </a:lnTo>
                  <a:lnTo>
                    <a:pt x="8" y="25"/>
                  </a:lnTo>
                  <a:lnTo>
                    <a:pt x="0" y="32"/>
                  </a:lnTo>
                  <a:lnTo>
                    <a:pt x="0" y="16"/>
                  </a:lnTo>
                  <a:lnTo>
                    <a:pt x="17" y="16"/>
                  </a:lnTo>
                  <a:lnTo>
                    <a:pt x="25" y="0"/>
                  </a:lnTo>
                  <a:lnTo>
                    <a:pt x="32"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70" name="Freeform 426">
              <a:extLst>
                <a:ext uri="{FF2B5EF4-FFF2-40B4-BE49-F238E27FC236}">
                  <a16:creationId xmlns:a16="http://schemas.microsoft.com/office/drawing/2014/main" id="{C6F2A2E0-3F2B-4384-A751-D5E2B0269708}"/>
                </a:ext>
              </a:extLst>
            </p:cNvPr>
            <p:cNvSpPr>
              <a:spLocks/>
            </p:cNvSpPr>
            <p:nvPr/>
          </p:nvSpPr>
          <p:spPr bwMode="auto">
            <a:xfrm>
              <a:off x="6011863" y="3502025"/>
              <a:ext cx="49212" cy="41275"/>
            </a:xfrm>
            <a:custGeom>
              <a:avLst/>
              <a:gdLst>
                <a:gd name="T0" fmla="*/ 0 w 26"/>
                <a:gd name="T1" fmla="*/ 2147483647 h 25"/>
                <a:gd name="T2" fmla="*/ 2147483647 w 26"/>
                <a:gd name="T3" fmla="*/ 2147483647 h 25"/>
                <a:gd name="T4" fmla="*/ 2147483647 w 26"/>
                <a:gd name="T5" fmla="*/ 2147483647 h 25"/>
                <a:gd name="T6" fmla="*/ 2147483647 w 26"/>
                <a:gd name="T7" fmla="*/ 2147483647 h 25"/>
                <a:gd name="T8" fmla="*/ 2147483647 w 26"/>
                <a:gd name="T9" fmla="*/ 2147483647 h 25"/>
                <a:gd name="T10" fmla="*/ 2147483647 w 26"/>
                <a:gd name="T11" fmla="*/ 0 h 25"/>
                <a:gd name="T12" fmla="*/ 2147483647 w 26"/>
                <a:gd name="T13" fmla="*/ 0 h 25"/>
                <a:gd name="T14" fmla="*/ 0 w 26"/>
                <a:gd name="T15" fmla="*/ 2147483647 h 25"/>
                <a:gd name="T16" fmla="*/ 0 w 26"/>
                <a:gd name="T17" fmla="*/ 21474836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
                <a:gd name="T28" fmla="*/ 0 h 25"/>
                <a:gd name="T29" fmla="*/ 26 w 26"/>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 h="25">
                  <a:moveTo>
                    <a:pt x="0" y="15"/>
                  </a:moveTo>
                  <a:lnTo>
                    <a:pt x="16" y="24"/>
                  </a:lnTo>
                  <a:lnTo>
                    <a:pt x="16" y="15"/>
                  </a:lnTo>
                  <a:lnTo>
                    <a:pt x="25" y="15"/>
                  </a:lnTo>
                  <a:lnTo>
                    <a:pt x="25" y="9"/>
                  </a:lnTo>
                  <a:lnTo>
                    <a:pt x="16" y="0"/>
                  </a:lnTo>
                  <a:lnTo>
                    <a:pt x="8" y="0"/>
                  </a:lnTo>
                  <a:lnTo>
                    <a:pt x="0" y="9"/>
                  </a:lnTo>
                  <a:lnTo>
                    <a:pt x="0" y="15"/>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71" name="Freeform 427">
              <a:extLst>
                <a:ext uri="{FF2B5EF4-FFF2-40B4-BE49-F238E27FC236}">
                  <a16:creationId xmlns:a16="http://schemas.microsoft.com/office/drawing/2014/main" id="{5E0C5767-2296-4286-935E-C7E0EF2E7900}"/>
                </a:ext>
              </a:extLst>
            </p:cNvPr>
            <p:cNvSpPr>
              <a:spLocks/>
            </p:cNvSpPr>
            <p:nvPr/>
          </p:nvSpPr>
          <p:spPr bwMode="auto">
            <a:xfrm>
              <a:off x="6026150" y="3419475"/>
              <a:ext cx="112713" cy="123825"/>
            </a:xfrm>
            <a:custGeom>
              <a:avLst/>
              <a:gdLst>
                <a:gd name="T0" fmla="*/ 2147483647 w 58"/>
                <a:gd name="T1" fmla="*/ 2147483647 h 75"/>
                <a:gd name="T2" fmla="*/ 2147483647 w 58"/>
                <a:gd name="T3" fmla="*/ 2147483647 h 75"/>
                <a:gd name="T4" fmla="*/ 0 w 58"/>
                <a:gd name="T5" fmla="*/ 2147483647 h 75"/>
                <a:gd name="T6" fmla="*/ 2147483647 w 58"/>
                <a:gd name="T7" fmla="*/ 0 h 75"/>
                <a:gd name="T8" fmla="*/ 2147483647 w 58"/>
                <a:gd name="T9" fmla="*/ 2147483647 h 75"/>
                <a:gd name="T10" fmla="*/ 2147483647 w 58"/>
                <a:gd name="T11" fmla="*/ 2147483647 h 75"/>
                <a:gd name="T12" fmla="*/ 2147483647 w 58"/>
                <a:gd name="T13" fmla="*/ 2147483647 h 75"/>
                <a:gd name="T14" fmla="*/ 2147483647 w 58"/>
                <a:gd name="T15" fmla="*/ 2147483647 h 75"/>
                <a:gd name="T16" fmla="*/ 2147483647 w 58"/>
                <a:gd name="T17" fmla="*/ 2147483647 h 75"/>
                <a:gd name="T18" fmla="*/ 2147483647 w 58"/>
                <a:gd name="T19" fmla="*/ 2147483647 h 75"/>
                <a:gd name="T20" fmla="*/ 2147483647 w 58"/>
                <a:gd name="T21" fmla="*/ 2147483647 h 75"/>
                <a:gd name="T22" fmla="*/ 2147483647 w 58"/>
                <a:gd name="T23" fmla="*/ 2147483647 h 75"/>
                <a:gd name="T24" fmla="*/ 2147483647 w 58"/>
                <a:gd name="T25" fmla="*/ 2147483647 h 75"/>
                <a:gd name="T26" fmla="*/ 2147483647 w 58"/>
                <a:gd name="T27" fmla="*/ 2147483647 h 75"/>
                <a:gd name="T28" fmla="*/ 2147483647 w 58"/>
                <a:gd name="T29" fmla="*/ 2147483647 h 75"/>
                <a:gd name="T30" fmla="*/ 2147483647 w 58"/>
                <a:gd name="T31" fmla="*/ 2147483647 h 7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8"/>
                <a:gd name="T49" fmla="*/ 0 h 75"/>
                <a:gd name="T50" fmla="*/ 58 w 58"/>
                <a:gd name="T51" fmla="*/ 75 h 7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8" h="75">
                  <a:moveTo>
                    <a:pt x="8" y="25"/>
                  </a:moveTo>
                  <a:lnTo>
                    <a:pt x="8" y="18"/>
                  </a:lnTo>
                  <a:lnTo>
                    <a:pt x="0" y="9"/>
                  </a:lnTo>
                  <a:lnTo>
                    <a:pt x="17" y="0"/>
                  </a:lnTo>
                  <a:lnTo>
                    <a:pt x="32" y="25"/>
                  </a:lnTo>
                  <a:lnTo>
                    <a:pt x="48" y="25"/>
                  </a:lnTo>
                  <a:lnTo>
                    <a:pt x="48" y="34"/>
                  </a:lnTo>
                  <a:lnTo>
                    <a:pt x="48" y="40"/>
                  </a:lnTo>
                  <a:lnTo>
                    <a:pt x="57" y="59"/>
                  </a:lnTo>
                  <a:lnTo>
                    <a:pt x="48" y="65"/>
                  </a:lnTo>
                  <a:lnTo>
                    <a:pt x="32" y="65"/>
                  </a:lnTo>
                  <a:lnTo>
                    <a:pt x="23" y="74"/>
                  </a:lnTo>
                  <a:lnTo>
                    <a:pt x="17" y="65"/>
                  </a:lnTo>
                  <a:lnTo>
                    <a:pt x="17" y="59"/>
                  </a:lnTo>
                  <a:lnTo>
                    <a:pt x="8" y="50"/>
                  </a:lnTo>
                  <a:lnTo>
                    <a:pt x="8" y="25"/>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72" name="Freeform 428">
              <a:extLst>
                <a:ext uri="{FF2B5EF4-FFF2-40B4-BE49-F238E27FC236}">
                  <a16:creationId xmlns:a16="http://schemas.microsoft.com/office/drawing/2014/main" id="{369484C2-61B6-4C4C-AE55-A9E5039B31AD}"/>
                </a:ext>
              </a:extLst>
            </p:cNvPr>
            <p:cNvSpPr>
              <a:spLocks/>
            </p:cNvSpPr>
            <p:nvPr/>
          </p:nvSpPr>
          <p:spPr bwMode="auto">
            <a:xfrm>
              <a:off x="6070600" y="3525838"/>
              <a:ext cx="68263" cy="42862"/>
            </a:xfrm>
            <a:custGeom>
              <a:avLst/>
              <a:gdLst>
                <a:gd name="T0" fmla="*/ 2147483647 w 35"/>
                <a:gd name="T1" fmla="*/ 2147483647 h 26"/>
                <a:gd name="T2" fmla="*/ 0 w 35"/>
                <a:gd name="T3" fmla="*/ 2147483647 h 26"/>
                <a:gd name="T4" fmla="*/ 0 w 35"/>
                <a:gd name="T5" fmla="*/ 2147483647 h 26"/>
                <a:gd name="T6" fmla="*/ 2147483647 w 35"/>
                <a:gd name="T7" fmla="*/ 0 h 26"/>
                <a:gd name="T8" fmla="*/ 2147483647 w 35"/>
                <a:gd name="T9" fmla="*/ 0 h 26"/>
                <a:gd name="T10" fmla="*/ 2147483647 w 35"/>
                <a:gd name="T11" fmla="*/ 2147483647 h 26"/>
                <a:gd name="T12" fmla="*/ 2147483647 w 35"/>
                <a:gd name="T13" fmla="*/ 2147483647 h 26"/>
                <a:gd name="T14" fmla="*/ 2147483647 w 35"/>
                <a:gd name="T15" fmla="*/ 2147483647 h 26"/>
                <a:gd name="T16" fmla="*/ 0 60000 65536"/>
                <a:gd name="T17" fmla="*/ 0 60000 65536"/>
                <a:gd name="T18" fmla="*/ 0 60000 65536"/>
                <a:gd name="T19" fmla="*/ 0 60000 65536"/>
                <a:gd name="T20" fmla="*/ 0 60000 65536"/>
                <a:gd name="T21" fmla="*/ 0 60000 65536"/>
                <a:gd name="T22" fmla="*/ 0 60000 65536"/>
                <a:gd name="T23" fmla="*/ 0 60000 65536"/>
                <a:gd name="T24" fmla="*/ 0 w 35"/>
                <a:gd name="T25" fmla="*/ 0 h 26"/>
                <a:gd name="T26" fmla="*/ 35 w 35"/>
                <a:gd name="T27" fmla="*/ 26 h 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 h="26">
                  <a:moveTo>
                    <a:pt x="9" y="25"/>
                  </a:moveTo>
                  <a:lnTo>
                    <a:pt x="0" y="17"/>
                  </a:lnTo>
                  <a:lnTo>
                    <a:pt x="0" y="9"/>
                  </a:lnTo>
                  <a:lnTo>
                    <a:pt x="9" y="0"/>
                  </a:lnTo>
                  <a:lnTo>
                    <a:pt x="25" y="0"/>
                  </a:lnTo>
                  <a:lnTo>
                    <a:pt x="34" y="9"/>
                  </a:lnTo>
                  <a:lnTo>
                    <a:pt x="34" y="17"/>
                  </a:lnTo>
                  <a:lnTo>
                    <a:pt x="9" y="25"/>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73" name="Freeform 429">
              <a:extLst>
                <a:ext uri="{FF2B5EF4-FFF2-40B4-BE49-F238E27FC236}">
                  <a16:creationId xmlns:a16="http://schemas.microsoft.com/office/drawing/2014/main" id="{05CF96C5-C572-491F-9077-46D6AC010DFB}"/>
                </a:ext>
              </a:extLst>
            </p:cNvPr>
            <p:cNvSpPr>
              <a:spLocks/>
            </p:cNvSpPr>
            <p:nvPr/>
          </p:nvSpPr>
          <p:spPr bwMode="auto">
            <a:xfrm>
              <a:off x="5948363" y="3435350"/>
              <a:ext cx="95250" cy="82550"/>
            </a:xfrm>
            <a:custGeom>
              <a:avLst/>
              <a:gdLst>
                <a:gd name="T0" fmla="*/ 2147483647 w 49"/>
                <a:gd name="T1" fmla="*/ 2147483647 h 51"/>
                <a:gd name="T2" fmla="*/ 2147483647 w 49"/>
                <a:gd name="T3" fmla="*/ 2147483647 h 51"/>
                <a:gd name="T4" fmla="*/ 2147483647 w 49"/>
                <a:gd name="T5" fmla="*/ 2147483647 h 51"/>
                <a:gd name="T6" fmla="*/ 2147483647 w 49"/>
                <a:gd name="T7" fmla="*/ 2147483647 h 51"/>
                <a:gd name="T8" fmla="*/ 2147483647 w 49"/>
                <a:gd name="T9" fmla="*/ 2147483647 h 51"/>
                <a:gd name="T10" fmla="*/ 2147483647 w 49"/>
                <a:gd name="T11" fmla="*/ 2147483647 h 51"/>
                <a:gd name="T12" fmla="*/ 2147483647 w 49"/>
                <a:gd name="T13" fmla="*/ 2147483647 h 51"/>
                <a:gd name="T14" fmla="*/ 2147483647 w 49"/>
                <a:gd name="T15" fmla="*/ 2147483647 h 51"/>
                <a:gd name="T16" fmla="*/ 2147483647 w 49"/>
                <a:gd name="T17" fmla="*/ 0 h 51"/>
                <a:gd name="T18" fmla="*/ 2147483647 w 49"/>
                <a:gd name="T19" fmla="*/ 2147483647 h 51"/>
                <a:gd name="T20" fmla="*/ 2147483647 w 49"/>
                <a:gd name="T21" fmla="*/ 0 h 51"/>
                <a:gd name="T22" fmla="*/ 0 w 49"/>
                <a:gd name="T23" fmla="*/ 2147483647 h 51"/>
                <a:gd name="T24" fmla="*/ 2147483647 w 49"/>
                <a:gd name="T25" fmla="*/ 2147483647 h 5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9"/>
                <a:gd name="T40" fmla="*/ 0 h 51"/>
                <a:gd name="T41" fmla="*/ 49 w 49"/>
                <a:gd name="T42" fmla="*/ 51 h 5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9" h="51">
                  <a:moveTo>
                    <a:pt x="7" y="16"/>
                  </a:moveTo>
                  <a:lnTo>
                    <a:pt x="23" y="41"/>
                  </a:lnTo>
                  <a:lnTo>
                    <a:pt x="32" y="50"/>
                  </a:lnTo>
                  <a:lnTo>
                    <a:pt x="40" y="41"/>
                  </a:lnTo>
                  <a:lnTo>
                    <a:pt x="48" y="41"/>
                  </a:lnTo>
                  <a:lnTo>
                    <a:pt x="48" y="16"/>
                  </a:lnTo>
                  <a:lnTo>
                    <a:pt x="40" y="16"/>
                  </a:lnTo>
                  <a:lnTo>
                    <a:pt x="40" y="9"/>
                  </a:lnTo>
                  <a:lnTo>
                    <a:pt x="17" y="0"/>
                  </a:lnTo>
                  <a:lnTo>
                    <a:pt x="7" y="9"/>
                  </a:lnTo>
                  <a:lnTo>
                    <a:pt x="7" y="0"/>
                  </a:lnTo>
                  <a:lnTo>
                    <a:pt x="0" y="9"/>
                  </a:lnTo>
                  <a:lnTo>
                    <a:pt x="7" y="16"/>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74" name="Freeform 430">
              <a:extLst>
                <a:ext uri="{FF2B5EF4-FFF2-40B4-BE49-F238E27FC236}">
                  <a16:creationId xmlns:a16="http://schemas.microsoft.com/office/drawing/2014/main" id="{FCB04A5F-E228-40C4-8465-2FCB7CA50812}"/>
                </a:ext>
              </a:extLst>
            </p:cNvPr>
            <p:cNvSpPr>
              <a:spLocks/>
            </p:cNvSpPr>
            <p:nvPr/>
          </p:nvSpPr>
          <p:spPr bwMode="auto">
            <a:xfrm>
              <a:off x="5856288" y="3262313"/>
              <a:ext cx="173037" cy="82550"/>
            </a:xfrm>
            <a:custGeom>
              <a:avLst/>
              <a:gdLst>
                <a:gd name="T0" fmla="*/ 2147483647 w 90"/>
                <a:gd name="T1" fmla="*/ 2147483647 h 51"/>
                <a:gd name="T2" fmla="*/ 2147483647 w 90"/>
                <a:gd name="T3" fmla="*/ 2147483647 h 51"/>
                <a:gd name="T4" fmla="*/ 2147483647 w 90"/>
                <a:gd name="T5" fmla="*/ 2147483647 h 51"/>
                <a:gd name="T6" fmla="*/ 2147483647 w 90"/>
                <a:gd name="T7" fmla="*/ 2147483647 h 51"/>
                <a:gd name="T8" fmla="*/ 2147483647 w 90"/>
                <a:gd name="T9" fmla="*/ 0 h 51"/>
                <a:gd name="T10" fmla="*/ 2147483647 w 90"/>
                <a:gd name="T11" fmla="*/ 0 h 51"/>
                <a:gd name="T12" fmla="*/ 2147483647 w 90"/>
                <a:gd name="T13" fmla="*/ 2147483647 h 51"/>
                <a:gd name="T14" fmla="*/ 0 w 90"/>
                <a:gd name="T15" fmla="*/ 2147483647 h 51"/>
                <a:gd name="T16" fmla="*/ 2147483647 w 90"/>
                <a:gd name="T17" fmla="*/ 2147483647 h 51"/>
                <a:gd name="T18" fmla="*/ 2147483647 w 90"/>
                <a:gd name="T19" fmla="*/ 2147483647 h 51"/>
                <a:gd name="T20" fmla="*/ 2147483647 w 90"/>
                <a:gd name="T21" fmla="*/ 2147483647 h 51"/>
                <a:gd name="T22" fmla="*/ 2147483647 w 90"/>
                <a:gd name="T23" fmla="*/ 2147483647 h 51"/>
                <a:gd name="T24" fmla="*/ 2147483647 w 90"/>
                <a:gd name="T25" fmla="*/ 2147483647 h 51"/>
                <a:gd name="T26" fmla="*/ 2147483647 w 90"/>
                <a:gd name="T27" fmla="*/ 2147483647 h 5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0"/>
                <a:gd name="T43" fmla="*/ 0 h 51"/>
                <a:gd name="T44" fmla="*/ 90 w 90"/>
                <a:gd name="T45" fmla="*/ 51 h 5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0" h="51">
                  <a:moveTo>
                    <a:pt x="89" y="34"/>
                  </a:moveTo>
                  <a:lnTo>
                    <a:pt x="72" y="17"/>
                  </a:lnTo>
                  <a:lnTo>
                    <a:pt x="66" y="17"/>
                  </a:lnTo>
                  <a:lnTo>
                    <a:pt x="49" y="9"/>
                  </a:lnTo>
                  <a:lnTo>
                    <a:pt x="41" y="0"/>
                  </a:lnTo>
                  <a:lnTo>
                    <a:pt x="32" y="0"/>
                  </a:lnTo>
                  <a:lnTo>
                    <a:pt x="16" y="9"/>
                  </a:lnTo>
                  <a:lnTo>
                    <a:pt x="0" y="17"/>
                  </a:lnTo>
                  <a:lnTo>
                    <a:pt x="9" y="34"/>
                  </a:lnTo>
                  <a:lnTo>
                    <a:pt x="24" y="50"/>
                  </a:lnTo>
                  <a:lnTo>
                    <a:pt x="41" y="50"/>
                  </a:lnTo>
                  <a:lnTo>
                    <a:pt x="41" y="42"/>
                  </a:lnTo>
                  <a:lnTo>
                    <a:pt x="66" y="50"/>
                  </a:lnTo>
                  <a:lnTo>
                    <a:pt x="89" y="34"/>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75" name="Freeform 431">
              <a:extLst>
                <a:ext uri="{FF2B5EF4-FFF2-40B4-BE49-F238E27FC236}">
                  <a16:creationId xmlns:a16="http://schemas.microsoft.com/office/drawing/2014/main" id="{475A17D5-30FC-49F1-B739-CA576C8FF5D5}"/>
                </a:ext>
              </a:extLst>
            </p:cNvPr>
            <p:cNvSpPr>
              <a:spLocks/>
            </p:cNvSpPr>
            <p:nvPr/>
          </p:nvSpPr>
          <p:spPr bwMode="auto">
            <a:xfrm>
              <a:off x="5902325" y="4002088"/>
              <a:ext cx="249238" cy="344487"/>
            </a:xfrm>
            <a:custGeom>
              <a:avLst/>
              <a:gdLst>
                <a:gd name="T0" fmla="*/ 2147483647 w 130"/>
                <a:gd name="T1" fmla="*/ 2147483647 h 212"/>
                <a:gd name="T2" fmla="*/ 2147483647 w 130"/>
                <a:gd name="T3" fmla="*/ 2147483647 h 212"/>
                <a:gd name="T4" fmla="*/ 2147483647 w 130"/>
                <a:gd name="T5" fmla="*/ 2147483647 h 212"/>
                <a:gd name="T6" fmla="*/ 2147483647 w 130"/>
                <a:gd name="T7" fmla="*/ 2147483647 h 212"/>
                <a:gd name="T8" fmla="*/ 0 w 130"/>
                <a:gd name="T9" fmla="*/ 2147483647 h 212"/>
                <a:gd name="T10" fmla="*/ 0 w 130"/>
                <a:gd name="T11" fmla="*/ 2147483647 h 212"/>
                <a:gd name="T12" fmla="*/ 2147483647 w 130"/>
                <a:gd name="T13" fmla="*/ 2147483647 h 212"/>
                <a:gd name="T14" fmla="*/ 2147483647 w 130"/>
                <a:gd name="T15" fmla="*/ 2147483647 h 212"/>
                <a:gd name="T16" fmla="*/ 2147483647 w 130"/>
                <a:gd name="T17" fmla="*/ 2147483647 h 212"/>
                <a:gd name="T18" fmla="*/ 2147483647 w 130"/>
                <a:gd name="T19" fmla="*/ 2147483647 h 212"/>
                <a:gd name="T20" fmla="*/ 2147483647 w 130"/>
                <a:gd name="T21" fmla="*/ 2147483647 h 212"/>
                <a:gd name="T22" fmla="*/ 2147483647 w 130"/>
                <a:gd name="T23" fmla="*/ 2147483647 h 212"/>
                <a:gd name="T24" fmla="*/ 2147483647 w 130"/>
                <a:gd name="T25" fmla="*/ 2147483647 h 212"/>
                <a:gd name="T26" fmla="*/ 2147483647 w 130"/>
                <a:gd name="T27" fmla="*/ 2147483647 h 212"/>
                <a:gd name="T28" fmla="*/ 2147483647 w 130"/>
                <a:gd name="T29" fmla="*/ 2147483647 h 212"/>
                <a:gd name="T30" fmla="*/ 2147483647 w 130"/>
                <a:gd name="T31" fmla="*/ 2147483647 h 212"/>
                <a:gd name="T32" fmla="*/ 2147483647 w 130"/>
                <a:gd name="T33" fmla="*/ 2147483647 h 212"/>
                <a:gd name="T34" fmla="*/ 2147483647 w 130"/>
                <a:gd name="T35" fmla="*/ 2147483647 h 212"/>
                <a:gd name="T36" fmla="*/ 2147483647 w 130"/>
                <a:gd name="T37" fmla="*/ 2147483647 h 212"/>
                <a:gd name="T38" fmla="*/ 2147483647 w 130"/>
                <a:gd name="T39" fmla="*/ 2147483647 h 212"/>
                <a:gd name="T40" fmla="*/ 2147483647 w 130"/>
                <a:gd name="T41" fmla="*/ 2147483647 h 212"/>
                <a:gd name="T42" fmla="*/ 2147483647 w 130"/>
                <a:gd name="T43" fmla="*/ 2147483647 h 212"/>
                <a:gd name="T44" fmla="*/ 2147483647 w 130"/>
                <a:gd name="T45" fmla="*/ 2147483647 h 212"/>
                <a:gd name="T46" fmla="*/ 2147483647 w 130"/>
                <a:gd name="T47" fmla="*/ 2147483647 h 212"/>
                <a:gd name="T48" fmla="*/ 2147483647 w 130"/>
                <a:gd name="T49" fmla="*/ 2147483647 h 212"/>
                <a:gd name="T50" fmla="*/ 2147483647 w 130"/>
                <a:gd name="T51" fmla="*/ 0 h 212"/>
                <a:gd name="T52" fmla="*/ 2147483647 w 130"/>
                <a:gd name="T53" fmla="*/ 2147483647 h 21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30"/>
                <a:gd name="T82" fmla="*/ 0 h 212"/>
                <a:gd name="T83" fmla="*/ 130 w 130"/>
                <a:gd name="T84" fmla="*/ 212 h 21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30" h="212">
                  <a:moveTo>
                    <a:pt x="17" y="8"/>
                  </a:moveTo>
                  <a:lnTo>
                    <a:pt x="17" y="24"/>
                  </a:lnTo>
                  <a:lnTo>
                    <a:pt x="32" y="40"/>
                  </a:lnTo>
                  <a:lnTo>
                    <a:pt x="25" y="89"/>
                  </a:lnTo>
                  <a:lnTo>
                    <a:pt x="0" y="120"/>
                  </a:lnTo>
                  <a:lnTo>
                    <a:pt x="0" y="130"/>
                  </a:lnTo>
                  <a:lnTo>
                    <a:pt x="8" y="137"/>
                  </a:lnTo>
                  <a:lnTo>
                    <a:pt x="8" y="145"/>
                  </a:lnTo>
                  <a:lnTo>
                    <a:pt x="25" y="177"/>
                  </a:lnTo>
                  <a:lnTo>
                    <a:pt x="8" y="177"/>
                  </a:lnTo>
                  <a:lnTo>
                    <a:pt x="8" y="186"/>
                  </a:lnTo>
                  <a:lnTo>
                    <a:pt x="17" y="193"/>
                  </a:lnTo>
                  <a:lnTo>
                    <a:pt x="25" y="211"/>
                  </a:lnTo>
                  <a:lnTo>
                    <a:pt x="65" y="202"/>
                  </a:lnTo>
                  <a:lnTo>
                    <a:pt x="73" y="193"/>
                  </a:lnTo>
                  <a:lnTo>
                    <a:pt x="65" y="193"/>
                  </a:lnTo>
                  <a:lnTo>
                    <a:pt x="88" y="186"/>
                  </a:lnTo>
                  <a:lnTo>
                    <a:pt x="106" y="170"/>
                  </a:lnTo>
                  <a:lnTo>
                    <a:pt x="113" y="162"/>
                  </a:lnTo>
                  <a:lnTo>
                    <a:pt x="122" y="162"/>
                  </a:lnTo>
                  <a:lnTo>
                    <a:pt x="106" y="137"/>
                  </a:lnTo>
                  <a:lnTo>
                    <a:pt x="122" y="105"/>
                  </a:lnTo>
                  <a:lnTo>
                    <a:pt x="129" y="105"/>
                  </a:lnTo>
                  <a:lnTo>
                    <a:pt x="129" y="96"/>
                  </a:lnTo>
                  <a:lnTo>
                    <a:pt x="129" y="55"/>
                  </a:lnTo>
                  <a:lnTo>
                    <a:pt x="32" y="0"/>
                  </a:lnTo>
                  <a:lnTo>
                    <a:pt x="17" y="8"/>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76" name="Freeform 432">
              <a:extLst>
                <a:ext uri="{FF2B5EF4-FFF2-40B4-BE49-F238E27FC236}">
                  <a16:creationId xmlns:a16="http://schemas.microsoft.com/office/drawing/2014/main" id="{69AA341F-D272-45AE-AA60-8CA1B0A565CF}"/>
                </a:ext>
              </a:extLst>
            </p:cNvPr>
            <p:cNvSpPr>
              <a:spLocks/>
            </p:cNvSpPr>
            <p:nvPr/>
          </p:nvSpPr>
          <p:spPr bwMode="auto">
            <a:xfrm>
              <a:off x="5435600" y="4181475"/>
              <a:ext cx="188913" cy="122238"/>
            </a:xfrm>
            <a:custGeom>
              <a:avLst/>
              <a:gdLst>
                <a:gd name="T0" fmla="*/ 0 w 98"/>
                <a:gd name="T1" fmla="*/ 2147483647 h 75"/>
                <a:gd name="T2" fmla="*/ 2147483647 w 98"/>
                <a:gd name="T3" fmla="*/ 2147483647 h 75"/>
                <a:gd name="T4" fmla="*/ 2147483647 w 98"/>
                <a:gd name="T5" fmla="*/ 2147483647 h 75"/>
                <a:gd name="T6" fmla="*/ 2147483647 w 98"/>
                <a:gd name="T7" fmla="*/ 2147483647 h 75"/>
                <a:gd name="T8" fmla="*/ 2147483647 w 98"/>
                <a:gd name="T9" fmla="*/ 0 h 75"/>
                <a:gd name="T10" fmla="*/ 2147483647 w 98"/>
                <a:gd name="T11" fmla="*/ 0 h 75"/>
                <a:gd name="T12" fmla="*/ 2147483647 w 98"/>
                <a:gd name="T13" fmla="*/ 2147483647 h 75"/>
                <a:gd name="T14" fmla="*/ 2147483647 w 98"/>
                <a:gd name="T15" fmla="*/ 2147483647 h 75"/>
                <a:gd name="T16" fmla="*/ 2147483647 w 98"/>
                <a:gd name="T17" fmla="*/ 2147483647 h 75"/>
                <a:gd name="T18" fmla="*/ 2147483647 w 98"/>
                <a:gd name="T19" fmla="*/ 2147483647 h 75"/>
                <a:gd name="T20" fmla="*/ 2147483647 w 98"/>
                <a:gd name="T21" fmla="*/ 2147483647 h 75"/>
                <a:gd name="T22" fmla="*/ 2147483647 w 98"/>
                <a:gd name="T23" fmla="*/ 2147483647 h 75"/>
                <a:gd name="T24" fmla="*/ 2147483647 w 98"/>
                <a:gd name="T25" fmla="*/ 2147483647 h 75"/>
                <a:gd name="T26" fmla="*/ 2147483647 w 98"/>
                <a:gd name="T27" fmla="*/ 2147483647 h 75"/>
                <a:gd name="T28" fmla="*/ 2147483647 w 98"/>
                <a:gd name="T29" fmla="*/ 2147483647 h 75"/>
                <a:gd name="T30" fmla="*/ 2147483647 w 98"/>
                <a:gd name="T31" fmla="*/ 2147483647 h 75"/>
                <a:gd name="T32" fmla="*/ 2147483647 w 98"/>
                <a:gd name="T33" fmla="*/ 2147483647 h 75"/>
                <a:gd name="T34" fmla="*/ 0 w 98"/>
                <a:gd name="T35" fmla="*/ 2147483647 h 7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8"/>
                <a:gd name="T55" fmla="*/ 0 h 75"/>
                <a:gd name="T56" fmla="*/ 98 w 98"/>
                <a:gd name="T57" fmla="*/ 75 h 7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8" h="75">
                  <a:moveTo>
                    <a:pt x="0" y="58"/>
                  </a:moveTo>
                  <a:lnTo>
                    <a:pt x="6" y="50"/>
                  </a:lnTo>
                  <a:lnTo>
                    <a:pt x="23" y="25"/>
                  </a:lnTo>
                  <a:lnTo>
                    <a:pt x="40" y="18"/>
                  </a:lnTo>
                  <a:lnTo>
                    <a:pt x="56" y="0"/>
                  </a:lnTo>
                  <a:lnTo>
                    <a:pt x="72" y="0"/>
                  </a:lnTo>
                  <a:lnTo>
                    <a:pt x="72" y="18"/>
                  </a:lnTo>
                  <a:lnTo>
                    <a:pt x="88" y="33"/>
                  </a:lnTo>
                  <a:lnTo>
                    <a:pt x="97" y="33"/>
                  </a:lnTo>
                  <a:lnTo>
                    <a:pt x="97" y="40"/>
                  </a:lnTo>
                  <a:lnTo>
                    <a:pt x="80" y="50"/>
                  </a:lnTo>
                  <a:lnTo>
                    <a:pt x="63" y="50"/>
                  </a:lnTo>
                  <a:lnTo>
                    <a:pt x="31" y="50"/>
                  </a:lnTo>
                  <a:lnTo>
                    <a:pt x="31" y="58"/>
                  </a:lnTo>
                  <a:lnTo>
                    <a:pt x="31" y="74"/>
                  </a:lnTo>
                  <a:lnTo>
                    <a:pt x="23" y="65"/>
                  </a:lnTo>
                  <a:lnTo>
                    <a:pt x="6" y="65"/>
                  </a:lnTo>
                  <a:lnTo>
                    <a:pt x="0" y="58"/>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77" name="Freeform 433">
              <a:extLst>
                <a:ext uri="{FF2B5EF4-FFF2-40B4-BE49-F238E27FC236}">
                  <a16:creationId xmlns:a16="http://schemas.microsoft.com/office/drawing/2014/main" id="{DC6418B9-929D-43A1-A2C0-5811EA584489}"/>
                </a:ext>
              </a:extLst>
            </p:cNvPr>
            <p:cNvSpPr>
              <a:spLocks/>
            </p:cNvSpPr>
            <p:nvPr/>
          </p:nvSpPr>
          <p:spPr bwMode="auto">
            <a:xfrm>
              <a:off x="5589588" y="4233863"/>
              <a:ext cx="63500" cy="134937"/>
            </a:xfrm>
            <a:custGeom>
              <a:avLst/>
              <a:gdLst>
                <a:gd name="T0" fmla="*/ 2147483647 w 33"/>
                <a:gd name="T1" fmla="*/ 2147483647 h 82"/>
                <a:gd name="T2" fmla="*/ 0 w 33"/>
                <a:gd name="T3" fmla="*/ 2147483647 h 82"/>
                <a:gd name="T4" fmla="*/ 0 w 33"/>
                <a:gd name="T5" fmla="*/ 2147483647 h 82"/>
                <a:gd name="T6" fmla="*/ 2147483647 w 33"/>
                <a:gd name="T7" fmla="*/ 2147483647 h 82"/>
                <a:gd name="T8" fmla="*/ 2147483647 w 33"/>
                <a:gd name="T9" fmla="*/ 2147483647 h 82"/>
                <a:gd name="T10" fmla="*/ 2147483647 w 33"/>
                <a:gd name="T11" fmla="*/ 2147483647 h 82"/>
                <a:gd name="T12" fmla="*/ 2147483647 w 33"/>
                <a:gd name="T13" fmla="*/ 2147483647 h 82"/>
                <a:gd name="T14" fmla="*/ 2147483647 w 33"/>
                <a:gd name="T15" fmla="*/ 2147483647 h 82"/>
                <a:gd name="T16" fmla="*/ 2147483647 w 33"/>
                <a:gd name="T17" fmla="*/ 2147483647 h 82"/>
                <a:gd name="T18" fmla="*/ 2147483647 w 33"/>
                <a:gd name="T19" fmla="*/ 2147483647 h 82"/>
                <a:gd name="T20" fmla="*/ 2147483647 w 33"/>
                <a:gd name="T21" fmla="*/ 0 h 82"/>
                <a:gd name="T22" fmla="*/ 2147483647 w 33"/>
                <a:gd name="T23" fmla="*/ 0 h 82"/>
                <a:gd name="T24" fmla="*/ 2147483647 w 33"/>
                <a:gd name="T25" fmla="*/ 2147483647 h 8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82"/>
                <a:gd name="T41" fmla="*/ 33 w 33"/>
                <a:gd name="T42" fmla="*/ 82 h 8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82">
                  <a:moveTo>
                    <a:pt x="17" y="7"/>
                  </a:moveTo>
                  <a:lnTo>
                    <a:pt x="0" y="17"/>
                  </a:lnTo>
                  <a:lnTo>
                    <a:pt x="0" y="25"/>
                  </a:lnTo>
                  <a:lnTo>
                    <a:pt x="8" y="32"/>
                  </a:lnTo>
                  <a:lnTo>
                    <a:pt x="8" y="48"/>
                  </a:lnTo>
                  <a:lnTo>
                    <a:pt x="8" y="81"/>
                  </a:lnTo>
                  <a:lnTo>
                    <a:pt x="23" y="81"/>
                  </a:lnTo>
                  <a:lnTo>
                    <a:pt x="23" y="57"/>
                  </a:lnTo>
                  <a:lnTo>
                    <a:pt x="32" y="25"/>
                  </a:lnTo>
                  <a:lnTo>
                    <a:pt x="32" y="7"/>
                  </a:lnTo>
                  <a:lnTo>
                    <a:pt x="23" y="0"/>
                  </a:lnTo>
                  <a:lnTo>
                    <a:pt x="17" y="0"/>
                  </a:lnTo>
                  <a:lnTo>
                    <a:pt x="17" y="7"/>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78" name="Freeform 434">
              <a:extLst>
                <a:ext uri="{FF2B5EF4-FFF2-40B4-BE49-F238E27FC236}">
                  <a16:creationId xmlns:a16="http://schemas.microsoft.com/office/drawing/2014/main" id="{95E52ED4-D485-40BB-A2BF-034E9EC11D14}"/>
                </a:ext>
              </a:extLst>
            </p:cNvPr>
            <p:cNvSpPr>
              <a:spLocks/>
            </p:cNvSpPr>
            <p:nvPr/>
          </p:nvSpPr>
          <p:spPr bwMode="auto">
            <a:xfrm>
              <a:off x="6207125" y="3343275"/>
              <a:ext cx="104775" cy="101600"/>
            </a:xfrm>
            <a:custGeom>
              <a:avLst/>
              <a:gdLst>
                <a:gd name="T0" fmla="*/ 2147483647 w 53"/>
                <a:gd name="T1" fmla="*/ 2147483647 h 60"/>
                <a:gd name="T2" fmla="*/ 2147483647 w 53"/>
                <a:gd name="T3" fmla="*/ 2147483647 h 60"/>
                <a:gd name="T4" fmla="*/ 2147483647 w 53"/>
                <a:gd name="T5" fmla="*/ 2147483647 h 60"/>
                <a:gd name="T6" fmla="*/ 2147483647 w 53"/>
                <a:gd name="T7" fmla="*/ 2147483647 h 60"/>
                <a:gd name="T8" fmla="*/ 2147483647 w 53"/>
                <a:gd name="T9" fmla="*/ 0 h 60"/>
                <a:gd name="T10" fmla="*/ 0 w 53"/>
                <a:gd name="T11" fmla="*/ 2147483647 h 60"/>
                <a:gd name="T12" fmla="*/ 2147483647 w 53"/>
                <a:gd name="T13" fmla="*/ 2147483647 h 60"/>
                <a:gd name="T14" fmla="*/ 2147483647 w 53"/>
                <a:gd name="T15" fmla="*/ 2147483647 h 60"/>
                <a:gd name="T16" fmla="*/ 2147483647 w 53"/>
                <a:gd name="T17" fmla="*/ 2147483647 h 60"/>
                <a:gd name="T18" fmla="*/ 2147483647 w 53"/>
                <a:gd name="T19" fmla="*/ 2147483647 h 6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3"/>
                <a:gd name="T31" fmla="*/ 0 h 60"/>
                <a:gd name="T32" fmla="*/ 53 w 53"/>
                <a:gd name="T33" fmla="*/ 60 h 6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3" h="60">
                  <a:moveTo>
                    <a:pt x="36" y="41"/>
                  </a:moveTo>
                  <a:lnTo>
                    <a:pt x="53" y="39"/>
                  </a:lnTo>
                  <a:lnTo>
                    <a:pt x="44" y="18"/>
                  </a:lnTo>
                  <a:lnTo>
                    <a:pt x="45" y="5"/>
                  </a:lnTo>
                  <a:lnTo>
                    <a:pt x="18" y="0"/>
                  </a:lnTo>
                  <a:lnTo>
                    <a:pt x="0" y="9"/>
                  </a:lnTo>
                  <a:lnTo>
                    <a:pt x="12" y="11"/>
                  </a:lnTo>
                  <a:lnTo>
                    <a:pt x="26" y="36"/>
                  </a:lnTo>
                  <a:lnTo>
                    <a:pt x="27" y="60"/>
                  </a:lnTo>
                  <a:lnTo>
                    <a:pt x="36" y="41"/>
                  </a:lnTo>
                  <a:close/>
                </a:path>
              </a:pathLst>
            </a:custGeom>
            <a:grpFill/>
            <a:ln w="1270">
              <a:solidFill>
                <a:schemeClr val="accent5">
                  <a:lumMod val="20000"/>
                  <a:lumOff val="80000"/>
                </a:schemeClr>
              </a:solidFill>
              <a:prstDash val="solid"/>
              <a:round/>
              <a:headEnd/>
              <a:tailEnd/>
            </a:ln>
          </p:spPr>
          <p:txBody>
            <a:bodyPr wrap="none" anchor="ct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33" name="TextBox 2">
            <a:extLst>
              <a:ext uri="{FF2B5EF4-FFF2-40B4-BE49-F238E27FC236}">
                <a16:creationId xmlns:a16="http://schemas.microsoft.com/office/drawing/2014/main" id="{493053D4-364D-4A3B-8DB8-241E292A3827}"/>
              </a:ext>
            </a:extLst>
          </p:cNvPr>
          <p:cNvSpPr txBox="1"/>
          <p:nvPr/>
        </p:nvSpPr>
        <p:spPr>
          <a:xfrm>
            <a:off x="220563" y="252572"/>
            <a:ext cx="6490440" cy="371897"/>
          </a:xfrm>
          <a:prstGeom prst="rect">
            <a:avLst/>
          </a:prstGeom>
        </p:spPr>
        <p:txBody>
          <a:bodyPr wrap="square" lIns="0" tIns="0" rIns="0" bIns="0" rtlCol="0" anchor="t">
            <a:spAutoFit/>
          </a:bodyPr>
          <a:lstStyle/>
          <a:p>
            <a:pPr marL="0" marR="0" lvl="0" indent="0" algn="l" defTabSz="914400" rtl="0" eaLnBrk="1" fontAlgn="auto" latinLnBrk="0" hangingPunct="1">
              <a:lnSpc>
                <a:spcPts val="2946"/>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MACROECONOMIC INDICATORS </a:t>
            </a:r>
            <a:r>
              <a:rPr kumimoji="0" lang="ru-RU" sz="30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 </a:t>
            </a:r>
            <a:endParaRPr kumimoji="0" lang="ru-RU" sz="3000" b="1" i="1"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endParaRPr>
          </a:p>
        </p:txBody>
      </p:sp>
      <p:sp>
        <p:nvSpPr>
          <p:cNvPr id="16" name="TextBox 15">
            <a:extLst>
              <a:ext uri="{FF2B5EF4-FFF2-40B4-BE49-F238E27FC236}">
                <a16:creationId xmlns:a16="http://schemas.microsoft.com/office/drawing/2014/main" id="{D278F5D5-B212-4778-8556-4FB018150033}"/>
              </a:ext>
            </a:extLst>
          </p:cNvPr>
          <p:cNvSpPr txBox="1"/>
          <p:nvPr/>
        </p:nvSpPr>
        <p:spPr>
          <a:xfrm>
            <a:off x="749070" y="746217"/>
            <a:ext cx="233213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GDP, USD billion</a:t>
            </a:r>
            <a:endParaRPr kumimoji="0" lang="ru-RU"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7" name="Прямоугольник: скругленные углы 3">
            <a:extLst>
              <a:ext uri="{FF2B5EF4-FFF2-40B4-BE49-F238E27FC236}">
                <a16:creationId xmlns:a16="http://schemas.microsoft.com/office/drawing/2014/main" id="{12DE4BDE-CC26-4292-BC4B-2EC1CAF7788A}"/>
              </a:ext>
            </a:extLst>
          </p:cNvPr>
          <p:cNvSpPr/>
          <p:nvPr/>
        </p:nvSpPr>
        <p:spPr>
          <a:xfrm>
            <a:off x="250220" y="683378"/>
            <a:ext cx="2828929" cy="420501"/>
          </a:xfrm>
          <a:prstGeom prst="roundRect">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cxnSp>
        <p:nvCxnSpPr>
          <p:cNvPr id="18" name="Прямая соединительная линия 17">
            <a:extLst>
              <a:ext uri="{FF2B5EF4-FFF2-40B4-BE49-F238E27FC236}">
                <a16:creationId xmlns:a16="http://schemas.microsoft.com/office/drawing/2014/main" id="{9C4A9833-EB7C-44D2-8AB7-5E8717DA3E3C}"/>
              </a:ext>
            </a:extLst>
          </p:cNvPr>
          <p:cNvCxnSpPr>
            <a:cxnSpLocks/>
          </p:cNvCxnSpPr>
          <p:nvPr/>
        </p:nvCxnSpPr>
        <p:spPr>
          <a:xfrm>
            <a:off x="462765" y="3659373"/>
            <a:ext cx="4968000" cy="0"/>
          </a:xfrm>
          <a:prstGeom prst="line">
            <a:avLst/>
          </a:prstGeom>
          <a:ln w="19050"/>
        </p:spPr>
        <p:style>
          <a:lnRef idx="1">
            <a:schemeClr val="accent4"/>
          </a:lnRef>
          <a:fillRef idx="0">
            <a:schemeClr val="accent4"/>
          </a:fillRef>
          <a:effectRef idx="0">
            <a:schemeClr val="accent4"/>
          </a:effectRef>
          <a:fontRef idx="minor">
            <a:schemeClr val="tx1"/>
          </a:fontRef>
        </p:style>
      </p:cxnSp>
      <p:sp>
        <p:nvSpPr>
          <p:cNvPr id="19" name="TextBox 18">
            <a:extLst>
              <a:ext uri="{FF2B5EF4-FFF2-40B4-BE49-F238E27FC236}">
                <a16:creationId xmlns:a16="http://schemas.microsoft.com/office/drawing/2014/main" id="{C2C583D0-37A3-4920-B397-F1980C5F33F5}"/>
              </a:ext>
            </a:extLst>
          </p:cNvPr>
          <p:cNvSpPr txBox="1"/>
          <p:nvPr/>
        </p:nvSpPr>
        <p:spPr>
          <a:xfrm>
            <a:off x="816182" y="3855796"/>
            <a:ext cx="233213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FDI, USD billion</a:t>
            </a:r>
            <a:endParaRPr kumimoji="0" lang="ru-RU"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20" name="Прямоугольник: скругленные углы 3">
            <a:extLst>
              <a:ext uri="{FF2B5EF4-FFF2-40B4-BE49-F238E27FC236}">
                <a16:creationId xmlns:a16="http://schemas.microsoft.com/office/drawing/2014/main" id="{A06E4AA6-9DAA-4A56-BE5C-36E6685B5152}"/>
              </a:ext>
            </a:extLst>
          </p:cNvPr>
          <p:cNvSpPr/>
          <p:nvPr/>
        </p:nvSpPr>
        <p:spPr>
          <a:xfrm>
            <a:off x="250220" y="3792957"/>
            <a:ext cx="2828927" cy="420501"/>
          </a:xfrm>
          <a:prstGeom prst="roundRect">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cxnSp>
        <p:nvCxnSpPr>
          <p:cNvPr id="22" name="Прямая соединительная линия 21">
            <a:extLst>
              <a:ext uri="{FF2B5EF4-FFF2-40B4-BE49-F238E27FC236}">
                <a16:creationId xmlns:a16="http://schemas.microsoft.com/office/drawing/2014/main" id="{C1F866CC-650D-4AE6-97A5-7E69E5BC4F69}"/>
              </a:ext>
            </a:extLst>
          </p:cNvPr>
          <p:cNvCxnSpPr>
            <a:cxnSpLocks/>
          </p:cNvCxnSpPr>
          <p:nvPr/>
        </p:nvCxnSpPr>
        <p:spPr>
          <a:xfrm>
            <a:off x="6046806" y="1478525"/>
            <a:ext cx="0" cy="4896000"/>
          </a:xfrm>
          <a:prstGeom prst="line">
            <a:avLst/>
          </a:prstGeom>
          <a:ln w="19050"/>
        </p:spPr>
        <p:style>
          <a:lnRef idx="1">
            <a:schemeClr val="accent4"/>
          </a:lnRef>
          <a:fillRef idx="0">
            <a:schemeClr val="accent4"/>
          </a:fillRef>
          <a:effectRef idx="0">
            <a:schemeClr val="accent4"/>
          </a:effectRef>
          <a:fontRef idx="minor">
            <a:schemeClr val="tx1"/>
          </a:fontRef>
        </p:style>
      </p:cxnSp>
      <p:pic>
        <p:nvPicPr>
          <p:cNvPr id="3" name="Рисунок 2">
            <a:extLst>
              <a:ext uri="{FF2B5EF4-FFF2-40B4-BE49-F238E27FC236}">
                <a16:creationId xmlns:a16="http://schemas.microsoft.com/office/drawing/2014/main" id="{C3D68096-2844-4532-82E9-D6E00DED4D6C}"/>
              </a:ext>
            </a:extLst>
          </p:cNvPr>
          <p:cNvPicPr>
            <a:picLocks noChangeAspect="1"/>
          </p:cNvPicPr>
          <p:nvPr/>
        </p:nvPicPr>
        <p:blipFill>
          <a:blip r:embed="rId4">
            <a:duotone>
              <a:schemeClr val="accent1">
                <a:shade val="45000"/>
                <a:satMod val="135000"/>
              </a:schemeClr>
              <a:prstClr val="white"/>
            </a:duotone>
          </a:blip>
          <a:stretch>
            <a:fillRect/>
          </a:stretch>
        </p:blipFill>
        <p:spPr>
          <a:xfrm>
            <a:off x="6347480" y="718343"/>
            <a:ext cx="363523" cy="363523"/>
          </a:xfrm>
          <a:prstGeom prst="rect">
            <a:avLst/>
          </a:prstGeom>
        </p:spPr>
      </p:pic>
      <p:pic>
        <p:nvPicPr>
          <p:cNvPr id="5" name="Рисунок 4">
            <a:extLst>
              <a:ext uri="{FF2B5EF4-FFF2-40B4-BE49-F238E27FC236}">
                <a16:creationId xmlns:a16="http://schemas.microsoft.com/office/drawing/2014/main" id="{9A60FA5F-634A-499D-8FC6-C8E95C395CF6}"/>
              </a:ext>
            </a:extLst>
          </p:cNvPr>
          <p:cNvPicPr>
            <a:picLocks noChangeAspect="1"/>
          </p:cNvPicPr>
          <p:nvPr/>
        </p:nvPicPr>
        <p:blipFill>
          <a:blip r:embed="rId5">
            <a:duotone>
              <a:schemeClr val="accent1">
                <a:shade val="45000"/>
                <a:satMod val="135000"/>
              </a:schemeClr>
              <a:prstClr val="white"/>
            </a:duotone>
          </a:blip>
          <a:stretch>
            <a:fillRect/>
          </a:stretch>
        </p:blipFill>
        <p:spPr>
          <a:xfrm>
            <a:off x="347397" y="764331"/>
            <a:ext cx="271244" cy="271244"/>
          </a:xfrm>
          <a:prstGeom prst="rect">
            <a:avLst/>
          </a:prstGeom>
        </p:spPr>
      </p:pic>
      <p:pic>
        <p:nvPicPr>
          <p:cNvPr id="7" name="Рисунок 6">
            <a:extLst>
              <a:ext uri="{FF2B5EF4-FFF2-40B4-BE49-F238E27FC236}">
                <a16:creationId xmlns:a16="http://schemas.microsoft.com/office/drawing/2014/main" id="{8EA65DE8-C8C9-4DE0-B6B2-311D321FBD8F}"/>
              </a:ext>
            </a:extLst>
          </p:cNvPr>
          <p:cNvPicPr>
            <a:picLocks noChangeAspect="1"/>
          </p:cNvPicPr>
          <p:nvPr/>
        </p:nvPicPr>
        <p:blipFill>
          <a:blip r:embed="rId6">
            <a:duotone>
              <a:schemeClr val="accent1">
                <a:shade val="45000"/>
                <a:satMod val="135000"/>
              </a:schemeClr>
              <a:prstClr val="white"/>
            </a:duotone>
          </a:blip>
          <a:stretch>
            <a:fillRect/>
          </a:stretch>
        </p:blipFill>
        <p:spPr>
          <a:xfrm>
            <a:off x="327490" y="3855795"/>
            <a:ext cx="307777" cy="307777"/>
          </a:xfrm>
          <a:prstGeom prst="rect">
            <a:avLst/>
          </a:prstGeom>
        </p:spPr>
      </p:pic>
      <p:sp>
        <p:nvSpPr>
          <p:cNvPr id="23" name="TextBox 22">
            <a:extLst>
              <a:ext uri="{FF2B5EF4-FFF2-40B4-BE49-F238E27FC236}">
                <a16:creationId xmlns:a16="http://schemas.microsoft.com/office/drawing/2014/main" id="{4F864FF4-E16E-4C2F-B985-72AAE48E884A}"/>
              </a:ext>
            </a:extLst>
          </p:cNvPr>
          <p:cNvSpPr txBox="1"/>
          <p:nvPr/>
        </p:nvSpPr>
        <p:spPr>
          <a:xfrm>
            <a:off x="6778666" y="751751"/>
            <a:ext cx="305806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opulation, million people</a:t>
            </a:r>
            <a:r>
              <a:rPr kumimoji="0" lang="ru-RU"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r>
              <a:rPr kumimoji="0" lang="ru-RU" sz="120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2024)</a:t>
            </a:r>
          </a:p>
        </p:txBody>
      </p:sp>
      <p:sp>
        <p:nvSpPr>
          <p:cNvPr id="24" name="Прямоугольник: скругленные углы 3">
            <a:extLst>
              <a:ext uri="{FF2B5EF4-FFF2-40B4-BE49-F238E27FC236}">
                <a16:creationId xmlns:a16="http://schemas.microsoft.com/office/drawing/2014/main" id="{EB94A95A-FDDF-4DC7-A4F0-7C600D361565}"/>
              </a:ext>
            </a:extLst>
          </p:cNvPr>
          <p:cNvSpPr/>
          <p:nvPr/>
        </p:nvSpPr>
        <p:spPr>
          <a:xfrm>
            <a:off x="6279816" y="688912"/>
            <a:ext cx="3814200" cy="420501"/>
          </a:xfrm>
          <a:prstGeom prst="roundRect">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28" name="TextBox 27">
            <a:extLst>
              <a:ext uri="{FF2B5EF4-FFF2-40B4-BE49-F238E27FC236}">
                <a16:creationId xmlns:a16="http://schemas.microsoft.com/office/drawing/2014/main" id="{964D1C9F-A668-451B-A3AB-CFF2C007BFC9}"/>
              </a:ext>
            </a:extLst>
          </p:cNvPr>
          <p:cNvSpPr txBox="1"/>
          <p:nvPr/>
        </p:nvSpPr>
        <p:spPr>
          <a:xfrm>
            <a:off x="8990768" y="3807407"/>
            <a:ext cx="1020801"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2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101</a:t>
            </a:r>
          </a:p>
        </p:txBody>
      </p:sp>
      <p:sp>
        <p:nvSpPr>
          <p:cNvPr id="30" name="TextBox 29">
            <a:extLst>
              <a:ext uri="{FF2B5EF4-FFF2-40B4-BE49-F238E27FC236}">
                <a16:creationId xmlns:a16="http://schemas.microsoft.com/office/drawing/2014/main" id="{0CB4AD5E-F619-4055-8E09-F6CAB901A3B4}"/>
              </a:ext>
            </a:extLst>
          </p:cNvPr>
          <p:cNvSpPr txBox="1"/>
          <p:nvPr/>
        </p:nvSpPr>
        <p:spPr>
          <a:xfrm>
            <a:off x="8990768" y="4649725"/>
            <a:ext cx="1020801"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2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113</a:t>
            </a:r>
          </a:p>
        </p:txBody>
      </p:sp>
      <p:sp>
        <p:nvSpPr>
          <p:cNvPr id="32" name="TextBox 31">
            <a:extLst>
              <a:ext uri="{FF2B5EF4-FFF2-40B4-BE49-F238E27FC236}">
                <a16:creationId xmlns:a16="http://schemas.microsoft.com/office/drawing/2014/main" id="{B39DD2D8-9A52-416C-A02D-710FC0EE1523}"/>
              </a:ext>
            </a:extLst>
          </p:cNvPr>
          <p:cNvSpPr txBox="1"/>
          <p:nvPr/>
        </p:nvSpPr>
        <p:spPr>
          <a:xfrm>
            <a:off x="7142557" y="4692581"/>
            <a:ext cx="119776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HILIPPINES</a:t>
            </a:r>
            <a:r>
              <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p>
        </p:txBody>
      </p:sp>
      <p:sp>
        <p:nvSpPr>
          <p:cNvPr id="36" name="TextBox 35">
            <a:extLst>
              <a:ext uri="{FF2B5EF4-FFF2-40B4-BE49-F238E27FC236}">
                <a16:creationId xmlns:a16="http://schemas.microsoft.com/office/drawing/2014/main" id="{64FF152B-06BD-4D9F-B355-79FB34E29702}"/>
              </a:ext>
            </a:extLst>
          </p:cNvPr>
          <p:cNvSpPr txBox="1"/>
          <p:nvPr/>
        </p:nvSpPr>
        <p:spPr>
          <a:xfrm>
            <a:off x="7153301" y="3885391"/>
            <a:ext cx="170483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VIETNAM</a:t>
            </a: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41" name="TextBox 40">
            <a:extLst>
              <a:ext uri="{FF2B5EF4-FFF2-40B4-BE49-F238E27FC236}">
                <a16:creationId xmlns:a16="http://schemas.microsoft.com/office/drawing/2014/main" id="{EE99850F-732D-4645-A764-F6629F576F0C}"/>
              </a:ext>
            </a:extLst>
          </p:cNvPr>
          <p:cNvSpPr txBox="1"/>
          <p:nvPr/>
        </p:nvSpPr>
        <p:spPr>
          <a:xfrm>
            <a:off x="7155633" y="3045299"/>
            <a:ext cx="138720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HAILAND</a:t>
            </a:r>
            <a:r>
              <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p>
        </p:txBody>
      </p:sp>
      <p:sp>
        <p:nvSpPr>
          <p:cNvPr id="42" name="TextBox 41">
            <a:extLst>
              <a:ext uri="{FF2B5EF4-FFF2-40B4-BE49-F238E27FC236}">
                <a16:creationId xmlns:a16="http://schemas.microsoft.com/office/drawing/2014/main" id="{5524ED32-0855-4395-B7CB-245028BE6776}"/>
              </a:ext>
            </a:extLst>
          </p:cNvPr>
          <p:cNvSpPr txBox="1"/>
          <p:nvPr/>
        </p:nvSpPr>
        <p:spPr>
          <a:xfrm>
            <a:off x="8990768" y="2998645"/>
            <a:ext cx="1020801"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2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66</a:t>
            </a:r>
          </a:p>
        </p:txBody>
      </p:sp>
      <p:sp>
        <p:nvSpPr>
          <p:cNvPr id="47" name="TextBox 46">
            <a:extLst>
              <a:ext uri="{FF2B5EF4-FFF2-40B4-BE49-F238E27FC236}">
                <a16:creationId xmlns:a16="http://schemas.microsoft.com/office/drawing/2014/main" id="{B486FB9D-20F7-424E-8187-FACA0B0FF571}"/>
              </a:ext>
            </a:extLst>
          </p:cNvPr>
          <p:cNvSpPr txBox="1"/>
          <p:nvPr/>
        </p:nvSpPr>
        <p:spPr>
          <a:xfrm>
            <a:off x="7159349" y="1558138"/>
            <a:ext cx="169777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INDONESIA</a:t>
            </a:r>
            <a:r>
              <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p>
        </p:txBody>
      </p:sp>
      <p:sp>
        <p:nvSpPr>
          <p:cNvPr id="48" name="TextBox 47">
            <a:extLst>
              <a:ext uri="{FF2B5EF4-FFF2-40B4-BE49-F238E27FC236}">
                <a16:creationId xmlns:a16="http://schemas.microsoft.com/office/drawing/2014/main" id="{0B0ED77B-E957-4108-A3DE-427D179C6A32}"/>
              </a:ext>
            </a:extLst>
          </p:cNvPr>
          <p:cNvSpPr txBox="1"/>
          <p:nvPr/>
        </p:nvSpPr>
        <p:spPr>
          <a:xfrm>
            <a:off x="8990768" y="1431455"/>
            <a:ext cx="1020801"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2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282</a:t>
            </a:r>
          </a:p>
        </p:txBody>
      </p:sp>
      <p:sp>
        <p:nvSpPr>
          <p:cNvPr id="50" name="TextBox 49">
            <a:extLst>
              <a:ext uri="{FF2B5EF4-FFF2-40B4-BE49-F238E27FC236}">
                <a16:creationId xmlns:a16="http://schemas.microsoft.com/office/drawing/2014/main" id="{F607C7C0-7D0E-4CF3-B95D-16D63C95E828}"/>
              </a:ext>
            </a:extLst>
          </p:cNvPr>
          <p:cNvSpPr txBox="1"/>
          <p:nvPr/>
        </p:nvSpPr>
        <p:spPr>
          <a:xfrm>
            <a:off x="10686176" y="637552"/>
            <a:ext cx="143915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GDP             per capita</a:t>
            </a:r>
            <a:endParaRPr kumimoji="0" lang="ru-RU"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51" name="Прямоугольник: скругленные углы 3">
            <a:extLst>
              <a:ext uri="{FF2B5EF4-FFF2-40B4-BE49-F238E27FC236}">
                <a16:creationId xmlns:a16="http://schemas.microsoft.com/office/drawing/2014/main" id="{6CD68F32-905F-4869-822A-B6DDD7D22680}"/>
              </a:ext>
            </a:extLst>
          </p:cNvPr>
          <p:cNvSpPr/>
          <p:nvPr/>
        </p:nvSpPr>
        <p:spPr>
          <a:xfrm>
            <a:off x="10287000" y="680752"/>
            <a:ext cx="1838325" cy="420501"/>
          </a:xfrm>
          <a:prstGeom prst="roundRect">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pic>
        <p:nvPicPr>
          <p:cNvPr id="59" name="Рисунок 58">
            <a:extLst>
              <a:ext uri="{FF2B5EF4-FFF2-40B4-BE49-F238E27FC236}">
                <a16:creationId xmlns:a16="http://schemas.microsoft.com/office/drawing/2014/main" id="{3993D36A-5E59-411E-BD57-AE1F3DE14CF6}"/>
              </a:ext>
            </a:extLst>
          </p:cNvPr>
          <p:cNvPicPr>
            <a:picLocks noChangeAspect="1"/>
          </p:cNvPicPr>
          <p:nvPr/>
        </p:nvPicPr>
        <p:blipFill>
          <a:blip r:embed="rId7">
            <a:duotone>
              <a:schemeClr val="accent1">
                <a:shade val="45000"/>
                <a:satMod val="135000"/>
              </a:schemeClr>
              <a:prstClr val="white"/>
            </a:duotone>
          </a:blip>
          <a:stretch>
            <a:fillRect/>
          </a:stretch>
        </p:blipFill>
        <p:spPr>
          <a:xfrm>
            <a:off x="10354013" y="732423"/>
            <a:ext cx="321571" cy="321571"/>
          </a:xfrm>
          <a:prstGeom prst="rect">
            <a:avLst/>
          </a:prstGeom>
        </p:spPr>
      </p:pic>
      <p:sp>
        <p:nvSpPr>
          <p:cNvPr id="60" name="TextBox 59">
            <a:extLst>
              <a:ext uri="{FF2B5EF4-FFF2-40B4-BE49-F238E27FC236}">
                <a16:creationId xmlns:a16="http://schemas.microsoft.com/office/drawing/2014/main" id="{B92B50BD-1C55-482F-8A06-DADF9CFC3EB5}"/>
              </a:ext>
            </a:extLst>
          </p:cNvPr>
          <p:cNvSpPr txBox="1"/>
          <p:nvPr/>
        </p:nvSpPr>
        <p:spPr>
          <a:xfrm>
            <a:off x="10234003" y="3796408"/>
            <a:ext cx="1754262"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a:t>
            </a:r>
            <a:r>
              <a:rPr kumimoji="0" lang="ru-RU" sz="2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4 017</a:t>
            </a:r>
          </a:p>
        </p:txBody>
      </p:sp>
      <p:sp>
        <p:nvSpPr>
          <p:cNvPr id="61" name="TextBox 60">
            <a:extLst>
              <a:ext uri="{FF2B5EF4-FFF2-40B4-BE49-F238E27FC236}">
                <a16:creationId xmlns:a16="http://schemas.microsoft.com/office/drawing/2014/main" id="{77EB1354-67E2-48AC-B652-4177DF306EF9}"/>
              </a:ext>
            </a:extLst>
          </p:cNvPr>
          <p:cNvSpPr txBox="1"/>
          <p:nvPr/>
        </p:nvSpPr>
        <p:spPr>
          <a:xfrm>
            <a:off x="10387788" y="4637262"/>
            <a:ext cx="1600477"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a:t>
            </a:r>
            <a:r>
              <a:rPr kumimoji="0" lang="ru-RU" sz="2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3 925</a:t>
            </a:r>
          </a:p>
        </p:txBody>
      </p:sp>
      <p:sp>
        <p:nvSpPr>
          <p:cNvPr id="62" name="TextBox 61">
            <a:extLst>
              <a:ext uri="{FF2B5EF4-FFF2-40B4-BE49-F238E27FC236}">
                <a16:creationId xmlns:a16="http://schemas.microsoft.com/office/drawing/2014/main" id="{09C95F30-92E1-4377-9A01-26B79A4E5710}"/>
              </a:ext>
            </a:extLst>
          </p:cNvPr>
          <p:cNvSpPr txBox="1"/>
          <p:nvPr/>
        </p:nvSpPr>
        <p:spPr>
          <a:xfrm>
            <a:off x="10360033" y="3008577"/>
            <a:ext cx="1628232"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a:t>
            </a:r>
            <a:r>
              <a:rPr kumimoji="0" lang="ru-RU" sz="2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6 573</a:t>
            </a:r>
          </a:p>
        </p:txBody>
      </p:sp>
      <p:sp>
        <p:nvSpPr>
          <p:cNvPr id="63" name="TextBox 62">
            <a:extLst>
              <a:ext uri="{FF2B5EF4-FFF2-40B4-BE49-F238E27FC236}">
                <a16:creationId xmlns:a16="http://schemas.microsoft.com/office/drawing/2014/main" id="{D235034D-0BFB-42ED-96DD-1FBEF8F5438D}"/>
              </a:ext>
            </a:extLst>
          </p:cNvPr>
          <p:cNvSpPr txBox="1"/>
          <p:nvPr/>
        </p:nvSpPr>
        <p:spPr>
          <a:xfrm>
            <a:off x="10387787" y="1432432"/>
            <a:ext cx="1600478"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a:t>
            </a:r>
            <a:r>
              <a:rPr kumimoji="0" lang="ru-RU" sz="2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4 367</a:t>
            </a:r>
          </a:p>
        </p:txBody>
      </p:sp>
      <p:cxnSp>
        <p:nvCxnSpPr>
          <p:cNvPr id="64" name="Прямая соединительная линия 63">
            <a:extLst>
              <a:ext uri="{FF2B5EF4-FFF2-40B4-BE49-F238E27FC236}">
                <a16:creationId xmlns:a16="http://schemas.microsoft.com/office/drawing/2014/main" id="{C05ACD2C-E82D-4FE1-BBCC-C2FD3538D938}"/>
              </a:ext>
            </a:extLst>
          </p:cNvPr>
          <p:cNvCxnSpPr>
            <a:cxnSpLocks/>
          </p:cNvCxnSpPr>
          <p:nvPr/>
        </p:nvCxnSpPr>
        <p:spPr>
          <a:xfrm>
            <a:off x="10205645" y="1702464"/>
            <a:ext cx="0" cy="4212000"/>
          </a:xfrm>
          <a:prstGeom prst="line">
            <a:avLst/>
          </a:prstGeom>
          <a:ln w="19050"/>
        </p:spPr>
        <p:style>
          <a:lnRef idx="1">
            <a:schemeClr val="accent4"/>
          </a:lnRef>
          <a:fillRef idx="0">
            <a:schemeClr val="accent4"/>
          </a:fillRef>
          <a:effectRef idx="0">
            <a:schemeClr val="accent4"/>
          </a:effectRef>
          <a:fontRef idx="minor">
            <a:schemeClr val="tx1"/>
          </a:fontRef>
        </p:style>
      </p:cxnSp>
      <p:sp>
        <p:nvSpPr>
          <p:cNvPr id="386" name="TextBox 385">
            <a:extLst>
              <a:ext uri="{FF2B5EF4-FFF2-40B4-BE49-F238E27FC236}">
                <a16:creationId xmlns:a16="http://schemas.microsoft.com/office/drawing/2014/main" id="{49AC6C56-3057-4052-913A-F65C9C912730}"/>
              </a:ext>
            </a:extLst>
          </p:cNvPr>
          <p:cNvSpPr txBox="1"/>
          <p:nvPr/>
        </p:nvSpPr>
        <p:spPr>
          <a:xfrm>
            <a:off x="7158530" y="2314285"/>
            <a:ext cx="133060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SINGAPORE</a:t>
            </a:r>
            <a:r>
              <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p>
        </p:txBody>
      </p:sp>
      <p:sp>
        <p:nvSpPr>
          <p:cNvPr id="387" name="TextBox 386">
            <a:extLst>
              <a:ext uri="{FF2B5EF4-FFF2-40B4-BE49-F238E27FC236}">
                <a16:creationId xmlns:a16="http://schemas.microsoft.com/office/drawing/2014/main" id="{6C8C0F01-D24F-4AC2-BCDA-9B7AA64B76F0}"/>
              </a:ext>
            </a:extLst>
          </p:cNvPr>
          <p:cNvSpPr txBox="1"/>
          <p:nvPr/>
        </p:nvSpPr>
        <p:spPr>
          <a:xfrm>
            <a:off x="8990768" y="2248606"/>
            <a:ext cx="1020801"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2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6</a:t>
            </a:r>
          </a:p>
        </p:txBody>
      </p:sp>
      <p:sp>
        <p:nvSpPr>
          <p:cNvPr id="388" name="TextBox 387">
            <a:extLst>
              <a:ext uri="{FF2B5EF4-FFF2-40B4-BE49-F238E27FC236}">
                <a16:creationId xmlns:a16="http://schemas.microsoft.com/office/drawing/2014/main" id="{AD2D48D7-DFE3-470D-BA05-2D69EC836A8A}"/>
              </a:ext>
            </a:extLst>
          </p:cNvPr>
          <p:cNvSpPr txBox="1"/>
          <p:nvPr/>
        </p:nvSpPr>
        <p:spPr>
          <a:xfrm>
            <a:off x="10387787" y="2221323"/>
            <a:ext cx="1600478"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a:t>
            </a:r>
            <a:r>
              <a:rPr kumimoji="0" lang="ru-RU" sz="2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67 706</a:t>
            </a:r>
          </a:p>
        </p:txBody>
      </p:sp>
      <p:sp>
        <p:nvSpPr>
          <p:cNvPr id="391" name="TextBox 390">
            <a:extLst>
              <a:ext uri="{FF2B5EF4-FFF2-40B4-BE49-F238E27FC236}">
                <a16:creationId xmlns:a16="http://schemas.microsoft.com/office/drawing/2014/main" id="{75769D9F-4D25-4251-8F29-07C9495E6A94}"/>
              </a:ext>
            </a:extLst>
          </p:cNvPr>
          <p:cNvSpPr txBox="1"/>
          <p:nvPr/>
        </p:nvSpPr>
        <p:spPr>
          <a:xfrm>
            <a:off x="7155633" y="5556942"/>
            <a:ext cx="111761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MALAYSIA</a:t>
            </a:r>
            <a:r>
              <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p>
        </p:txBody>
      </p:sp>
      <p:sp>
        <p:nvSpPr>
          <p:cNvPr id="392" name="TextBox 391">
            <a:extLst>
              <a:ext uri="{FF2B5EF4-FFF2-40B4-BE49-F238E27FC236}">
                <a16:creationId xmlns:a16="http://schemas.microsoft.com/office/drawing/2014/main" id="{D648F9EC-E3E0-4498-BBFE-F0D0435E387C}"/>
              </a:ext>
            </a:extLst>
          </p:cNvPr>
          <p:cNvSpPr txBox="1"/>
          <p:nvPr/>
        </p:nvSpPr>
        <p:spPr>
          <a:xfrm>
            <a:off x="8990768" y="5500434"/>
            <a:ext cx="1020801"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2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34</a:t>
            </a:r>
          </a:p>
        </p:txBody>
      </p:sp>
      <p:sp>
        <p:nvSpPr>
          <p:cNvPr id="393" name="TextBox 392">
            <a:extLst>
              <a:ext uri="{FF2B5EF4-FFF2-40B4-BE49-F238E27FC236}">
                <a16:creationId xmlns:a16="http://schemas.microsoft.com/office/drawing/2014/main" id="{8CFBFEAD-BDAD-4DD5-B1BE-D15F9DD8E4FA}"/>
              </a:ext>
            </a:extLst>
          </p:cNvPr>
          <p:cNvSpPr txBox="1"/>
          <p:nvPr/>
        </p:nvSpPr>
        <p:spPr>
          <a:xfrm>
            <a:off x="10387787" y="5517212"/>
            <a:ext cx="1600478"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a:t>
            </a:r>
            <a:r>
              <a:rPr kumimoji="0" lang="ru-RU" sz="2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11 868</a:t>
            </a:r>
          </a:p>
        </p:txBody>
      </p:sp>
      <p:sp>
        <p:nvSpPr>
          <p:cNvPr id="4" name="TextBox 3">
            <a:extLst>
              <a:ext uri="{FF2B5EF4-FFF2-40B4-BE49-F238E27FC236}">
                <a16:creationId xmlns:a16="http://schemas.microsoft.com/office/drawing/2014/main" id="{0B674143-76B5-BE9A-F8D4-3ADC92844A6F}"/>
              </a:ext>
            </a:extLst>
          </p:cNvPr>
          <p:cNvSpPr txBox="1"/>
          <p:nvPr/>
        </p:nvSpPr>
        <p:spPr>
          <a:xfrm>
            <a:off x="14911" y="6658990"/>
            <a:ext cx="11781756"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mn-cs"/>
              </a:rPr>
              <a:t>Source</a:t>
            </a:r>
            <a:r>
              <a:rPr kumimoji="0" lang="ru-RU"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mn-cs"/>
              </a:rPr>
              <a:t>: </a:t>
            </a:r>
            <a:r>
              <a:rPr kumimoji="0" lang="en-US"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mn-cs"/>
              </a:rPr>
              <a:t>traidingeconomics.com</a:t>
            </a:r>
            <a:r>
              <a:rPr kumimoji="0" lang="ru-RU"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mn-cs"/>
              </a:rPr>
              <a:t>,</a:t>
            </a:r>
            <a:r>
              <a:rPr kumimoji="0" lang="en-US"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mn-cs"/>
              </a:rPr>
              <a:t> unctadstat.org</a:t>
            </a:r>
            <a:endParaRPr kumimoji="0" lang="ru-RU"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mn-cs"/>
            </a:endParaRPr>
          </a:p>
        </p:txBody>
      </p:sp>
      <p:sp>
        <p:nvSpPr>
          <p:cNvPr id="26" name="Прямоугольник 25"/>
          <p:cNvSpPr/>
          <p:nvPr/>
        </p:nvSpPr>
        <p:spPr>
          <a:xfrm>
            <a:off x="6172733" y="4487018"/>
            <a:ext cx="238367" cy="5729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graphicFrame>
        <p:nvGraphicFramePr>
          <p:cNvPr id="34" name="Диаграмма 33"/>
          <p:cNvGraphicFramePr/>
          <p:nvPr/>
        </p:nvGraphicFramePr>
        <p:xfrm>
          <a:off x="-3598" y="1126830"/>
          <a:ext cx="6012565" cy="2567775"/>
        </p:xfrm>
        <a:graphic>
          <a:graphicData uri="http://schemas.openxmlformats.org/drawingml/2006/chart">
            <c:chart xmlns:c="http://schemas.openxmlformats.org/drawingml/2006/chart" xmlns:r="http://schemas.openxmlformats.org/officeDocument/2006/relationships" r:id="rId8"/>
          </a:graphicData>
        </a:graphic>
      </p:graphicFrame>
      <p:cxnSp>
        <p:nvCxnSpPr>
          <p:cNvPr id="379" name="Прямая соединительная линия 378">
            <a:extLst>
              <a:ext uri="{FF2B5EF4-FFF2-40B4-BE49-F238E27FC236}">
                <a16:creationId xmlns:a16="http://schemas.microsoft.com/office/drawing/2014/main" id="{53342ADD-1593-4C28-B9B7-F719E229460D}"/>
              </a:ext>
            </a:extLst>
          </p:cNvPr>
          <p:cNvCxnSpPr>
            <a:cxnSpLocks/>
          </p:cNvCxnSpPr>
          <p:nvPr/>
        </p:nvCxnSpPr>
        <p:spPr>
          <a:xfrm>
            <a:off x="1103515" y="1550191"/>
            <a:ext cx="0" cy="1620000"/>
          </a:xfrm>
          <a:prstGeom prst="line">
            <a:avLst/>
          </a:prstGeom>
          <a:ln w="6350">
            <a:prstDash val="dashDot"/>
          </a:ln>
        </p:spPr>
        <p:style>
          <a:lnRef idx="1">
            <a:schemeClr val="accent4"/>
          </a:lnRef>
          <a:fillRef idx="0">
            <a:schemeClr val="accent4"/>
          </a:fillRef>
          <a:effectRef idx="0">
            <a:schemeClr val="accent4"/>
          </a:effectRef>
          <a:fontRef idx="minor">
            <a:schemeClr val="tx1"/>
          </a:fontRef>
        </p:style>
      </p:cxnSp>
      <p:cxnSp>
        <p:nvCxnSpPr>
          <p:cNvPr id="382" name="Прямая соединительная линия 381">
            <a:extLst>
              <a:ext uri="{FF2B5EF4-FFF2-40B4-BE49-F238E27FC236}">
                <a16:creationId xmlns:a16="http://schemas.microsoft.com/office/drawing/2014/main" id="{9493A7DD-4F99-4763-B718-63875FD14648}"/>
              </a:ext>
            </a:extLst>
          </p:cNvPr>
          <p:cNvCxnSpPr>
            <a:cxnSpLocks/>
          </p:cNvCxnSpPr>
          <p:nvPr/>
        </p:nvCxnSpPr>
        <p:spPr>
          <a:xfrm>
            <a:off x="2069685" y="1550191"/>
            <a:ext cx="0" cy="1620000"/>
          </a:xfrm>
          <a:prstGeom prst="line">
            <a:avLst/>
          </a:prstGeom>
          <a:ln w="6350">
            <a:prstDash val="dashDot"/>
          </a:ln>
        </p:spPr>
        <p:style>
          <a:lnRef idx="1">
            <a:schemeClr val="accent4"/>
          </a:lnRef>
          <a:fillRef idx="0">
            <a:schemeClr val="accent4"/>
          </a:fillRef>
          <a:effectRef idx="0">
            <a:schemeClr val="accent4"/>
          </a:effectRef>
          <a:fontRef idx="minor">
            <a:schemeClr val="tx1"/>
          </a:fontRef>
        </p:style>
      </p:cxnSp>
      <p:cxnSp>
        <p:nvCxnSpPr>
          <p:cNvPr id="383" name="Прямая соединительная линия 382">
            <a:extLst>
              <a:ext uri="{FF2B5EF4-FFF2-40B4-BE49-F238E27FC236}">
                <a16:creationId xmlns:a16="http://schemas.microsoft.com/office/drawing/2014/main" id="{C71E38A7-8020-486D-BAA2-5EACC7956E2E}"/>
              </a:ext>
            </a:extLst>
          </p:cNvPr>
          <p:cNvCxnSpPr>
            <a:cxnSpLocks/>
          </p:cNvCxnSpPr>
          <p:nvPr/>
        </p:nvCxnSpPr>
        <p:spPr>
          <a:xfrm>
            <a:off x="3016842" y="1550191"/>
            <a:ext cx="0" cy="1620000"/>
          </a:xfrm>
          <a:prstGeom prst="line">
            <a:avLst/>
          </a:prstGeom>
          <a:ln w="6350">
            <a:prstDash val="dashDot"/>
          </a:ln>
        </p:spPr>
        <p:style>
          <a:lnRef idx="1">
            <a:schemeClr val="accent4"/>
          </a:lnRef>
          <a:fillRef idx="0">
            <a:schemeClr val="accent4"/>
          </a:fillRef>
          <a:effectRef idx="0">
            <a:schemeClr val="accent4"/>
          </a:effectRef>
          <a:fontRef idx="minor">
            <a:schemeClr val="tx1"/>
          </a:fontRef>
        </p:style>
      </p:cxnSp>
      <p:cxnSp>
        <p:nvCxnSpPr>
          <p:cNvPr id="384" name="Прямая соединительная линия 383">
            <a:extLst>
              <a:ext uri="{FF2B5EF4-FFF2-40B4-BE49-F238E27FC236}">
                <a16:creationId xmlns:a16="http://schemas.microsoft.com/office/drawing/2014/main" id="{F18B5890-6A8A-47B8-9A0D-3D9C706B1BC6}"/>
              </a:ext>
            </a:extLst>
          </p:cNvPr>
          <p:cNvCxnSpPr>
            <a:cxnSpLocks/>
          </p:cNvCxnSpPr>
          <p:nvPr/>
        </p:nvCxnSpPr>
        <p:spPr>
          <a:xfrm>
            <a:off x="3972516" y="1544649"/>
            <a:ext cx="0" cy="1620000"/>
          </a:xfrm>
          <a:prstGeom prst="line">
            <a:avLst/>
          </a:prstGeom>
          <a:ln w="6350">
            <a:prstDash val="dashDot"/>
          </a:ln>
        </p:spPr>
        <p:style>
          <a:lnRef idx="1">
            <a:schemeClr val="accent4"/>
          </a:lnRef>
          <a:fillRef idx="0">
            <a:schemeClr val="accent4"/>
          </a:fillRef>
          <a:effectRef idx="0">
            <a:schemeClr val="accent4"/>
          </a:effectRef>
          <a:fontRef idx="minor">
            <a:schemeClr val="tx1"/>
          </a:fontRef>
        </p:style>
      </p:cxnSp>
      <p:cxnSp>
        <p:nvCxnSpPr>
          <p:cNvPr id="389" name="Прямая соединительная линия 388">
            <a:extLst>
              <a:ext uri="{FF2B5EF4-FFF2-40B4-BE49-F238E27FC236}">
                <a16:creationId xmlns:a16="http://schemas.microsoft.com/office/drawing/2014/main" id="{F18B5890-6A8A-47B8-9A0D-3D9C706B1BC6}"/>
              </a:ext>
            </a:extLst>
          </p:cNvPr>
          <p:cNvCxnSpPr>
            <a:cxnSpLocks/>
          </p:cNvCxnSpPr>
          <p:nvPr/>
        </p:nvCxnSpPr>
        <p:spPr>
          <a:xfrm>
            <a:off x="4932501" y="1544649"/>
            <a:ext cx="0" cy="1620000"/>
          </a:xfrm>
          <a:prstGeom prst="line">
            <a:avLst/>
          </a:prstGeom>
          <a:ln w="6350">
            <a:prstDash val="dashDot"/>
          </a:ln>
        </p:spPr>
        <p:style>
          <a:lnRef idx="1">
            <a:schemeClr val="accent4"/>
          </a:lnRef>
          <a:fillRef idx="0">
            <a:schemeClr val="accent4"/>
          </a:fillRef>
          <a:effectRef idx="0">
            <a:schemeClr val="accent4"/>
          </a:effectRef>
          <a:fontRef idx="minor">
            <a:schemeClr val="tx1"/>
          </a:fontRef>
        </p:style>
      </p:cxnSp>
      <p:cxnSp>
        <p:nvCxnSpPr>
          <p:cNvPr id="385" name="Прямая соединительная линия 384">
            <a:extLst>
              <a:ext uri="{FF2B5EF4-FFF2-40B4-BE49-F238E27FC236}">
                <a16:creationId xmlns:a16="http://schemas.microsoft.com/office/drawing/2014/main" id="{53342ADD-1593-4C28-B9B7-F719E229460D}"/>
              </a:ext>
            </a:extLst>
          </p:cNvPr>
          <p:cNvCxnSpPr>
            <a:cxnSpLocks/>
          </p:cNvCxnSpPr>
          <p:nvPr/>
        </p:nvCxnSpPr>
        <p:spPr>
          <a:xfrm>
            <a:off x="1084401" y="4619363"/>
            <a:ext cx="0" cy="1620000"/>
          </a:xfrm>
          <a:prstGeom prst="line">
            <a:avLst/>
          </a:prstGeom>
          <a:ln w="6350">
            <a:prstDash val="dashDot"/>
          </a:ln>
        </p:spPr>
        <p:style>
          <a:lnRef idx="1">
            <a:schemeClr val="accent4"/>
          </a:lnRef>
          <a:fillRef idx="0">
            <a:schemeClr val="accent4"/>
          </a:fillRef>
          <a:effectRef idx="0">
            <a:schemeClr val="accent4"/>
          </a:effectRef>
          <a:fontRef idx="minor">
            <a:schemeClr val="tx1"/>
          </a:fontRef>
        </p:style>
      </p:cxnSp>
      <p:cxnSp>
        <p:nvCxnSpPr>
          <p:cNvPr id="390" name="Прямая соединительная линия 389">
            <a:extLst>
              <a:ext uri="{FF2B5EF4-FFF2-40B4-BE49-F238E27FC236}">
                <a16:creationId xmlns:a16="http://schemas.microsoft.com/office/drawing/2014/main" id="{9493A7DD-4F99-4763-B718-63875FD14648}"/>
              </a:ext>
            </a:extLst>
          </p:cNvPr>
          <p:cNvCxnSpPr>
            <a:cxnSpLocks/>
          </p:cNvCxnSpPr>
          <p:nvPr/>
        </p:nvCxnSpPr>
        <p:spPr>
          <a:xfrm>
            <a:off x="2042258" y="4619363"/>
            <a:ext cx="0" cy="1620000"/>
          </a:xfrm>
          <a:prstGeom prst="line">
            <a:avLst/>
          </a:prstGeom>
          <a:ln w="6350">
            <a:prstDash val="dashDot"/>
          </a:ln>
        </p:spPr>
        <p:style>
          <a:lnRef idx="1">
            <a:schemeClr val="accent4"/>
          </a:lnRef>
          <a:fillRef idx="0">
            <a:schemeClr val="accent4"/>
          </a:fillRef>
          <a:effectRef idx="0">
            <a:schemeClr val="accent4"/>
          </a:effectRef>
          <a:fontRef idx="minor">
            <a:schemeClr val="tx1"/>
          </a:fontRef>
        </p:style>
      </p:cxnSp>
      <p:cxnSp>
        <p:nvCxnSpPr>
          <p:cNvPr id="394" name="Прямая соединительная линия 393">
            <a:extLst>
              <a:ext uri="{FF2B5EF4-FFF2-40B4-BE49-F238E27FC236}">
                <a16:creationId xmlns:a16="http://schemas.microsoft.com/office/drawing/2014/main" id="{C71E38A7-8020-486D-BAA2-5EACC7956E2E}"/>
              </a:ext>
            </a:extLst>
          </p:cNvPr>
          <p:cNvCxnSpPr>
            <a:cxnSpLocks/>
          </p:cNvCxnSpPr>
          <p:nvPr/>
        </p:nvCxnSpPr>
        <p:spPr>
          <a:xfrm>
            <a:off x="2981102" y="4619363"/>
            <a:ext cx="0" cy="1620000"/>
          </a:xfrm>
          <a:prstGeom prst="line">
            <a:avLst/>
          </a:prstGeom>
          <a:ln w="6350">
            <a:prstDash val="dashDot"/>
          </a:ln>
        </p:spPr>
        <p:style>
          <a:lnRef idx="1">
            <a:schemeClr val="accent4"/>
          </a:lnRef>
          <a:fillRef idx="0">
            <a:schemeClr val="accent4"/>
          </a:fillRef>
          <a:effectRef idx="0">
            <a:schemeClr val="accent4"/>
          </a:effectRef>
          <a:fontRef idx="minor">
            <a:schemeClr val="tx1"/>
          </a:fontRef>
        </p:style>
      </p:cxnSp>
      <p:cxnSp>
        <p:nvCxnSpPr>
          <p:cNvPr id="395" name="Прямая соединительная линия 394">
            <a:extLst>
              <a:ext uri="{FF2B5EF4-FFF2-40B4-BE49-F238E27FC236}">
                <a16:creationId xmlns:a16="http://schemas.microsoft.com/office/drawing/2014/main" id="{F18B5890-6A8A-47B8-9A0D-3D9C706B1BC6}"/>
              </a:ext>
            </a:extLst>
          </p:cNvPr>
          <p:cNvCxnSpPr>
            <a:cxnSpLocks/>
          </p:cNvCxnSpPr>
          <p:nvPr/>
        </p:nvCxnSpPr>
        <p:spPr>
          <a:xfrm>
            <a:off x="3936776" y="4613821"/>
            <a:ext cx="0" cy="1620000"/>
          </a:xfrm>
          <a:prstGeom prst="line">
            <a:avLst/>
          </a:prstGeom>
          <a:ln w="6350">
            <a:prstDash val="dashDot"/>
          </a:ln>
        </p:spPr>
        <p:style>
          <a:lnRef idx="1">
            <a:schemeClr val="accent4"/>
          </a:lnRef>
          <a:fillRef idx="0">
            <a:schemeClr val="accent4"/>
          </a:fillRef>
          <a:effectRef idx="0">
            <a:schemeClr val="accent4"/>
          </a:effectRef>
          <a:fontRef idx="minor">
            <a:schemeClr val="tx1"/>
          </a:fontRef>
        </p:style>
      </p:cxnSp>
      <p:cxnSp>
        <p:nvCxnSpPr>
          <p:cNvPr id="396" name="Прямая соединительная линия 395">
            <a:extLst>
              <a:ext uri="{FF2B5EF4-FFF2-40B4-BE49-F238E27FC236}">
                <a16:creationId xmlns:a16="http://schemas.microsoft.com/office/drawing/2014/main" id="{F18B5890-6A8A-47B8-9A0D-3D9C706B1BC6}"/>
              </a:ext>
            </a:extLst>
          </p:cNvPr>
          <p:cNvCxnSpPr>
            <a:cxnSpLocks/>
          </p:cNvCxnSpPr>
          <p:nvPr/>
        </p:nvCxnSpPr>
        <p:spPr>
          <a:xfrm>
            <a:off x="4905074" y="4613821"/>
            <a:ext cx="0" cy="1620000"/>
          </a:xfrm>
          <a:prstGeom prst="line">
            <a:avLst/>
          </a:prstGeom>
          <a:ln w="6350">
            <a:prstDash val="dashDot"/>
          </a:ln>
        </p:spPr>
        <p:style>
          <a:lnRef idx="1">
            <a:schemeClr val="accent4"/>
          </a:lnRef>
          <a:fillRef idx="0">
            <a:schemeClr val="accent4"/>
          </a:fillRef>
          <a:effectRef idx="0">
            <a:schemeClr val="accent4"/>
          </a:effectRef>
          <a:fontRef idx="minor">
            <a:schemeClr val="tx1"/>
          </a:fontRef>
        </p:style>
      </p:cxnSp>
      <p:pic>
        <p:nvPicPr>
          <p:cNvPr id="2" name="Рисунок 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149552" y="1447997"/>
            <a:ext cx="931134" cy="542591"/>
          </a:xfrm>
          <a:prstGeom prst="rect">
            <a:avLst/>
          </a:prstGeom>
        </p:spPr>
      </p:pic>
      <p:pic>
        <p:nvPicPr>
          <p:cNvPr id="6" name="Рисунок 5"/>
          <p:cNvPicPr>
            <a:picLocks noChangeAspect="1"/>
          </p:cNvPicPr>
          <p:nvPr/>
        </p:nvPicPr>
        <p:blipFill rotWithShape="1">
          <a:blip r:embed="rId10" cstate="print">
            <a:extLst>
              <a:ext uri="{28A0092B-C50C-407E-A947-70E740481C1C}">
                <a14:useLocalDpi xmlns:a14="http://schemas.microsoft.com/office/drawing/2010/main" val="0"/>
              </a:ext>
            </a:extLst>
          </a:blip>
          <a:srcRect t="28364" b="28728"/>
          <a:stretch/>
        </p:blipFill>
        <p:spPr>
          <a:xfrm>
            <a:off x="6228849" y="2237904"/>
            <a:ext cx="809328" cy="463034"/>
          </a:xfrm>
          <a:prstGeom prst="rect">
            <a:avLst/>
          </a:prstGeom>
        </p:spPr>
      </p:pic>
      <p:pic>
        <p:nvPicPr>
          <p:cNvPr id="10" name="Рисунок 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456562" y="2853848"/>
            <a:ext cx="392675" cy="719115"/>
          </a:xfrm>
          <a:prstGeom prst="rect">
            <a:avLst/>
          </a:prstGeom>
        </p:spPr>
      </p:pic>
      <p:pic>
        <p:nvPicPr>
          <p:cNvPr id="13" name="Рисунок 12"/>
          <p:cNvPicPr>
            <a:picLocks noChangeAspect="1"/>
          </p:cNvPicPr>
          <p:nvPr/>
        </p:nvPicPr>
        <p:blipFill>
          <a:blip r:embed="rId12"/>
          <a:stretch>
            <a:fillRect/>
          </a:stretch>
        </p:blipFill>
        <p:spPr>
          <a:xfrm>
            <a:off x="6450281" y="3671276"/>
            <a:ext cx="366490" cy="742797"/>
          </a:xfrm>
          <a:prstGeom prst="rect">
            <a:avLst/>
          </a:prstGeom>
        </p:spPr>
      </p:pic>
      <p:pic>
        <p:nvPicPr>
          <p:cNvPr id="14" name="Рисунок 13"/>
          <p:cNvPicPr>
            <a:picLocks noChangeAspect="1"/>
          </p:cNvPicPr>
          <p:nvPr/>
        </p:nvPicPr>
        <p:blipFill rotWithShape="1">
          <a:blip r:embed="rId13" cstate="print">
            <a:extLst>
              <a:ext uri="{28A0092B-C50C-407E-A947-70E740481C1C}">
                <a14:useLocalDpi xmlns:a14="http://schemas.microsoft.com/office/drawing/2010/main" val="0"/>
              </a:ext>
            </a:extLst>
          </a:blip>
          <a:srcRect l="23558" r="23339" b="13614"/>
          <a:stretch/>
        </p:blipFill>
        <p:spPr>
          <a:xfrm>
            <a:off x="6350717" y="4452739"/>
            <a:ext cx="522376" cy="849775"/>
          </a:xfrm>
          <a:prstGeom prst="rect">
            <a:avLst/>
          </a:prstGeom>
        </p:spPr>
      </p:pic>
      <p:sp>
        <p:nvSpPr>
          <p:cNvPr id="21" name="Прямоугольник 20"/>
          <p:cNvSpPr/>
          <p:nvPr/>
        </p:nvSpPr>
        <p:spPr>
          <a:xfrm>
            <a:off x="6760624" y="4487018"/>
            <a:ext cx="112469" cy="17990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80" name="Прямоугольник 379"/>
          <p:cNvSpPr/>
          <p:nvPr/>
        </p:nvSpPr>
        <p:spPr>
          <a:xfrm>
            <a:off x="6335355" y="4494304"/>
            <a:ext cx="167539" cy="7285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pic>
        <p:nvPicPr>
          <p:cNvPr id="29" name="Рисунок 28"/>
          <p:cNvPicPr>
            <a:picLocks noChangeAspect="1"/>
          </p:cNvPicPr>
          <p:nvPr/>
        </p:nvPicPr>
        <p:blipFill rotWithShape="1">
          <a:blip r:embed="rId14" cstate="print">
            <a:extLst>
              <a:ext uri="{28A0092B-C50C-407E-A947-70E740481C1C}">
                <a14:useLocalDpi xmlns:a14="http://schemas.microsoft.com/office/drawing/2010/main" val="0"/>
              </a:ext>
            </a:extLst>
          </a:blip>
          <a:srcRect l="3557" t="13524" r="3794" b="14929"/>
          <a:stretch/>
        </p:blipFill>
        <p:spPr>
          <a:xfrm>
            <a:off x="6163434" y="5562526"/>
            <a:ext cx="972893" cy="329555"/>
          </a:xfrm>
          <a:prstGeom prst="rect">
            <a:avLst/>
          </a:prstGeom>
        </p:spPr>
      </p:pic>
    </p:spTree>
    <p:extLst>
      <p:ext uri="{BB962C8B-B14F-4D97-AF65-F5344CB8AC3E}">
        <p14:creationId xmlns:p14="http://schemas.microsoft.com/office/powerpoint/2010/main" val="59817192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Box 2">
            <a:extLst>
              <a:ext uri="{FF2B5EF4-FFF2-40B4-BE49-F238E27FC236}">
                <a16:creationId xmlns:a16="http://schemas.microsoft.com/office/drawing/2014/main" id="{493053D4-364D-4A3B-8DB8-241E292A3827}"/>
              </a:ext>
            </a:extLst>
          </p:cNvPr>
          <p:cNvSpPr txBox="1"/>
          <p:nvPr/>
        </p:nvSpPr>
        <p:spPr>
          <a:xfrm>
            <a:off x="220563" y="252572"/>
            <a:ext cx="11781756" cy="371897"/>
          </a:xfrm>
          <a:prstGeom prst="rect">
            <a:avLst/>
          </a:prstGeom>
        </p:spPr>
        <p:txBody>
          <a:bodyPr wrap="square" lIns="0" tIns="0" rIns="0" bIns="0" rtlCol="0" anchor="t">
            <a:spAutoFit/>
          </a:bodyPr>
          <a:lstStyle/>
          <a:p>
            <a:pPr marL="0" marR="0" lvl="0" indent="0" algn="l" defTabSz="914400" rtl="0" eaLnBrk="1" fontAlgn="auto" latinLnBrk="0" hangingPunct="1">
              <a:lnSpc>
                <a:spcPts val="2946"/>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GROSS INFLOW OF FDI INTO THE REPUBLIC OF KAZAKHSTAN</a:t>
            </a:r>
            <a:endParaRPr kumimoji="0" lang="ru-RU" sz="30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endParaRPr>
          </a:p>
        </p:txBody>
      </p:sp>
      <p:sp>
        <p:nvSpPr>
          <p:cNvPr id="384" name="TextBox 383">
            <a:extLst>
              <a:ext uri="{FF2B5EF4-FFF2-40B4-BE49-F238E27FC236}">
                <a16:creationId xmlns:a16="http://schemas.microsoft.com/office/drawing/2014/main" id="{EF177EFB-8572-473B-B61E-C1DEE801FA17}"/>
              </a:ext>
            </a:extLst>
          </p:cNvPr>
          <p:cNvSpPr txBox="1"/>
          <p:nvPr/>
        </p:nvSpPr>
        <p:spPr>
          <a:xfrm>
            <a:off x="6485480" y="4156376"/>
            <a:ext cx="1216355"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28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3,4</a:t>
            </a:r>
          </a:p>
        </p:txBody>
      </p:sp>
      <p:sp>
        <p:nvSpPr>
          <p:cNvPr id="388" name="TextBox 387">
            <a:extLst>
              <a:ext uri="{FF2B5EF4-FFF2-40B4-BE49-F238E27FC236}">
                <a16:creationId xmlns:a16="http://schemas.microsoft.com/office/drawing/2014/main" id="{DEBF2E49-884A-48CE-886A-E01099EC81DA}"/>
              </a:ext>
            </a:extLst>
          </p:cNvPr>
          <p:cNvSpPr txBox="1"/>
          <p:nvPr/>
        </p:nvSpPr>
        <p:spPr>
          <a:xfrm>
            <a:off x="7418393" y="1571470"/>
            <a:ext cx="2922683"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otal FDI, </a:t>
            </a:r>
            <a:r>
              <a:rPr kumimoji="0" lang="ru-RU"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2005-2024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USD million</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389" name="Прямоугольник: скругленные углы 3">
            <a:extLst>
              <a:ext uri="{FF2B5EF4-FFF2-40B4-BE49-F238E27FC236}">
                <a16:creationId xmlns:a16="http://schemas.microsoft.com/office/drawing/2014/main" id="{9ACC3AE1-5617-4B1B-8CD5-66C5AA0DF023}"/>
              </a:ext>
            </a:extLst>
          </p:cNvPr>
          <p:cNvSpPr/>
          <p:nvPr/>
        </p:nvSpPr>
        <p:spPr>
          <a:xfrm>
            <a:off x="6994235" y="1537620"/>
            <a:ext cx="3279095" cy="529278"/>
          </a:xfrm>
          <a:prstGeom prst="roundRect">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pic>
        <p:nvPicPr>
          <p:cNvPr id="390" name="Рисунок 389">
            <a:extLst>
              <a:ext uri="{FF2B5EF4-FFF2-40B4-BE49-F238E27FC236}">
                <a16:creationId xmlns:a16="http://schemas.microsoft.com/office/drawing/2014/main" id="{5C703F45-720C-407E-96C8-84EAD96D3488}"/>
              </a:ext>
            </a:extLst>
          </p:cNvPr>
          <p:cNvPicPr>
            <a:picLocks noChangeAspect="1"/>
          </p:cNvPicPr>
          <p:nvPr/>
        </p:nvPicPr>
        <p:blipFill>
          <a:blip r:embed="rId3">
            <a:duotone>
              <a:schemeClr val="accent1">
                <a:shade val="45000"/>
                <a:satMod val="135000"/>
              </a:schemeClr>
              <a:prstClr val="white"/>
            </a:duotone>
          </a:blip>
          <a:stretch>
            <a:fillRect/>
          </a:stretch>
        </p:blipFill>
        <p:spPr>
          <a:xfrm>
            <a:off x="7070295" y="1659200"/>
            <a:ext cx="307777" cy="307777"/>
          </a:xfrm>
          <a:prstGeom prst="rect">
            <a:avLst/>
          </a:prstGeom>
        </p:spPr>
      </p:pic>
      <p:cxnSp>
        <p:nvCxnSpPr>
          <p:cNvPr id="395" name="Прямая соединительная линия 394">
            <a:extLst>
              <a:ext uri="{FF2B5EF4-FFF2-40B4-BE49-F238E27FC236}">
                <a16:creationId xmlns:a16="http://schemas.microsoft.com/office/drawing/2014/main" id="{3BD270A2-A467-4149-A6A7-C6088D842707}"/>
              </a:ext>
            </a:extLst>
          </p:cNvPr>
          <p:cNvCxnSpPr>
            <a:cxnSpLocks/>
          </p:cNvCxnSpPr>
          <p:nvPr/>
        </p:nvCxnSpPr>
        <p:spPr>
          <a:xfrm rot="5400000">
            <a:off x="9078502" y="2570317"/>
            <a:ext cx="0" cy="4464000"/>
          </a:xfrm>
          <a:prstGeom prst="line">
            <a:avLst/>
          </a:prstGeom>
          <a:ln w="6350">
            <a:prstDash val="dashDot"/>
          </a:ln>
        </p:spPr>
        <p:style>
          <a:lnRef idx="1">
            <a:schemeClr val="accent4"/>
          </a:lnRef>
          <a:fillRef idx="0">
            <a:schemeClr val="accent4"/>
          </a:fillRef>
          <a:effectRef idx="0">
            <a:schemeClr val="accent4"/>
          </a:effectRef>
          <a:fontRef idx="minor">
            <a:schemeClr val="tx1"/>
          </a:fontRef>
        </p:style>
      </p:cxnSp>
      <p:sp>
        <p:nvSpPr>
          <p:cNvPr id="398" name="Скругленный прямоугольник 28">
            <a:extLst>
              <a:ext uri="{FF2B5EF4-FFF2-40B4-BE49-F238E27FC236}">
                <a16:creationId xmlns:a16="http://schemas.microsoft.com/office/drawing/2014/main" id="{58CAF1C9-96F1-4369-9BAC-3807471E4FF9}"/>
              </a:ext>
            </a:extLst>
          </p:cNvPr>
          <p:cNvSpPr/>
          <p:nvPr/>
        </p:nvSpPr>
        <p:spPr>
          <a:xfrm>
            <a:off x="213734" y="5724421"/>
            <a:ext cx="11788585" cy="876451"/>
          </a:xfrm>
          <a:prstGeom prst="roundRect">
            <a:avLst>
              <a:gd name="adj" fmla="val 8373"/>
            </a:avLst>
          </a:prstGeom>
          <a:noFill/>
          <a:ln w="6350" cap="flat" cmpd="sng" algn="ctr">
            <a:solidFill>
              <a:schemeClr val="bg1">
                <a:lumMod val="75000"/>
              </a:schemeClr>
            </a:solidFill>
            <a:prstDash val="dash"/>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600" b="1" i="0" u="none" strike="noStrike" kern="0" cap="none" spc="0" normalizeH="0" baseline="0" noProof="0">
              <a:ln>
                <a:noFill/>
              </a:ln>
              <a:solidFill>
                <a:prstClr val="white"/>
              </a:solidFill>
              <a:effectLst/>
              <a:uLnTx/>
              <a:uFillTx/>
              <a:latin typeface="Bahnschrift" panose="020B0502040204020203" pitchFamily="34" charset="0"/>
              <a:ea typeface="+mn-ea"/>
              <a:cs typeface="+mn-cs"/>
            </a:endParaRPr>
          </a:p>
        </p:txBody>
      </p:sp>
      <p:sp>
        <p:nvSpPr>
          <p:cNvPr id="2" name="TextBox 1">
            <a:extLst>
              <a:ext uri="{FF2B5EF4-FFF2-40B4-BE49-F238E27FC236}">
                <a16:creationId xmlns:a16="http://schemas.microsoft.com/office/drawing/2014/main" id="{23EC11FF-BE60-43F2-B7A3-A310B6B19997}"/>
              </a:ext>
            </a:extLst>
          </p:cNvPr>
          <p:cNvSpPr txBox="1"/>
          <p:nvPr/>
        </p:nvSpPr>
        <p:spPr>
          <a:xfrm>
            <a:off x="334282" y="5797250"/>
            <a:ext cx="11547488"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Despite established diplomatic and trade relations, the total investments from Southeast Asian countries account for only 4.1% of Kazakhstan's overall FDI inflows. This may be attributed to both geographical distance and the lack of robust investment mechanisms and well-developed joint projects between Kazakhstan and most ASEAN member states.</a:t>
            </a: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27" name="TextBox 26">
            <a:extLst>
              <a:ext uri="{FF2B5EF4-FFF2-40B4-BE49-F238E27FC236}">
                <a16:creationId xmlns:a16="http://schemas.microsoft.com/office/drawing/2014/main" id="{93EA4BB4-4F1B-4641-981B-D4F23E1DCF3E}"/>
              </a:ext>
            </a:extLst>
          </p:cNvPr>
          <p:cNvSpPr txBox="1"/>
          <p:nvPr/>
        </p:nvSpPr>
        <p:spPr>
          <a:xfrm>
            <a:off x="6475216" y="3365972"/>
            <a:ext cx="1216355"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28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46,6</a:t>
            </a:r>
          </a:p>
        </p:txBody>
      </p:sp>
      <p:sp>
        <p:nvSpPr>
          <p:cNvPr id="28" name="TextBox 27">
            <a:extLst>
              <a:ext uri="{FF2B5EF4-FFF2-40B4-BE49-F238E27FC236}">
                <a16:creationId xmlns:a16="http://schemas.microsoft.com/office/drawing/2014/main" id="{40A95720-061B-4CCC-B060-2FE0144B39EC}"/>
              </a:ext>
            </a:extLst>
          </p:cNvPr>
          <p:cNvSpPr txBox="1"/>
          <p:nvPr/>
        </p:nvSpPr>
        <p:spPr>
          <a:xfrm>
            <a:off x="6234246" y="2575568"/>
            <a:ext cx="1448437"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28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2 289,7</a:t>
            </a:r>
          </a:p>
        </p:txBody>
      </p:sp>
      <p:cxnSp>
        <p:nvCxnSpPr>
          <p:cNvPr id="29" name="Прямая соединительная линия 28">
            <a:extLst>
              <a:ext uri="{FF2B5EF4-FFF2-40B4-BE49-F238E27FC236}">
                <a16:creationId xmlns:a16="http://schemas.microsoft.com/office/drawing/2014/main" id="{0C5D7C81-554C-4B3C-BBB0-E6007562787B}"/>
              </a:ext>
            </a:extLst>
          </p:cNvPr>
          <p:cNvCxnSpPr>
            <a:cxnSpLocks/>
          </p:cNvCxnSpPr>
          <p:nvPr/>
        </p:nvCxnSpPr>
        <p:spPr>
          <a:xfrm rot="5400000">
            <a:off x="9078502" y="1843387"/>
            <a:ext cx="0" cy="4464000"/>
          </a:xfrm>
          <a:prstGeom prst="line">
            <a:avLst/>
          </a:prstGeom>
          <a:ln w="6350">
            <a:prstDash val="dashDot"/>
          </a:ln>
        </p:spPr>
        <p:style>
          <a:lnRef idx="1">
            <a:schemeClr val="accent4"/>
          </a:lnRef>
          <a:fillRef idx="0">
            <a:schemeClr val="accent4"/>
          </a:fillRef>
          <a:effectRef idx="0">
            <a:schemeClr val="accent4"/>
          </a:effectRef>
          <a:fontRef idx="minor">
            <a:schemeClr val="tx1"/>
          </a:fontRef>
        </p:style>
      </p:cxnSp>
      <p:cxnSp>
        <p:nvCxnSpPr>
          <p:cNvPr id="30" name="Прямая соединительная линия 29">
            <a:extLst>
              <a:ext uri="{FF2B5EF4-FFF2-40B4-BE49-F238E27FC236}">
                <a16:creationId xmlns:a16="http://schemas.microsoft.com/office/drawing/2014/main" id="{66C3B479-23C6-4166-90EB-345C708F6229}"/>
              </a:ext>
            </a:extLst>
          </p:cNvPr>
          <p:cNvCxnSpPr>
            <a:cxnSpLocks/>
          </p:cNvCxnSpPr>
          <p:nvPr/>
        </p:nvCxnSpPr>
        <p:spPr>
          <a:xfrm rot="5400000">
            <a:off x="9078502" y="970117"/>
            <a:ext cx="0" cy="4464000"/>
          </a:xfrm>
          <a:prstGeom prst="line">
            <a:avLst/>
          </a:prstGeom>
          <a:ln w="6350">
            <a:prstDash val="dashDot"/>
          </a:ln>
        </p:spPr>
        <p:style>
          <a:lnRef idx="1">
            <a:schemeClr val="accent4"/>
          </a:lnRef>
          <a:fillRef idx="0">
            <a:schemeClr val="accent4"/>
          </a:fillRef>
          <a:effectRef idx="0">
            <a:schemeClr val="accent4"/>
          </a:effectRef>
          <a:fontRef idx="minor">
            <a:schemeClr val="tx1"/>
          </a:fontRef>
        </p:style>
      </p:cxnSp>
      <p:sp>
        <p:nvSpPr>
          <p:cNvPr id="4" name="TextBox 3">
            <a:extLst>
              <a:ext uri="{FF2B5EF4-FFF2-40B4-BE49-F238E27FC236}">
                <a16:creationId xmlns:a16="http://schemas.microsoft.com/office/drawing/2014/main" id="{F5B02302-502D-07E7-FF6C-34AA42E3CED5}"/>
              </a:ext>
            </a:extLst>
          </p:cNvPr>
          <p:cNvSpPr txBox="1"/>
          <p:nvPr/>
        </p:nvSpPr>
        <p:spPr>
          <a:xfrm>
            <a:off x="14911" y="6658990"/>
            <a:ext cx="11781756"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mn-cs"/>
              </a:rPr>
              <a:t>Source: National Bank of the Republic of Kazakhstan</a:t>
            </a:r>
            <a:endParaRPr kumimoji="0" lang="ru-RU"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mn-cs"/>
            </a:endParaRPr>
          </a:p>
        </p:txBody>
      </p:sp>
      <p:graphicFrame>
        <p:nvGraphicFramePr>
          <p:cNvPr id="34" name="Диаграмма 33"/>
          <p:cNvGraphicFramePr/>
          <p:nvPr/>
        </p:nvGraphicFramePr>
        <p:xfrm>
          <a:off x="8026826" y="2400601"/>
          <a:ext cx="4112920" cy="71779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5" name="Диаграмма 34"/>
          <p:cNvGraphicFramePr/>
          <p:nvPr/>
        </p:nvGraphicFramePr>
        <p:xfrm>
          <a:off x="152658" y="800712"/>
          <a:ext cx="5416596" cy="4751514"/>
        </p:xfrm>
        <a:graphic>
          <a:graphicData uri="http://schemas.openxmlformats.org/drawingml/2006/chart">
            <c:chart xmlns:c="http://schemas.openxmlformats.org/drawingml/2006/chart" xmlns:r="http://schemas.openxmlformats.org/officeDocument/2006/relationships" r:id="rId5"/>
          </a:graphicData>
        </a:graphic>
      </p:graphicFrame>
      <p:pic>
        <p:nvPicPr>
          <p:cNvPr id="3" name="Рисунок 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656388" y="2672710"/>
            <a:ext cx="493288" cy="329116"/>
          </a:xfrm>
          <a:prstGeom prst="rect">
            <a:avLst/>
          </a:prstGeom>
          <a:ln>
            <a:solidFill>
              <a:schemeClr val="tx1"/>
            </a:solidFill>
          </a:ln>
        </p:spPr>
      </p:pic>
      <p:pic>
        <p:nvPicPr>
          <p:cNvPr id="5" name="Рисунок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663507" y="3520837"/>
            <a:ext cx="486169" cy="243085"/>
          </a:xfrm>
          <a:prstGeom prst="rect">
            <a:avLst/>
          </a:prstGeom>
        </p:spPr>
      </p:pic>
      <p:pic>
        <p:nvPicPr>
          <p:cNvPr id="6" name="Рисунок 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73056" y="4296630"/>
            <a:ext cx="500312" cy="281425"/>
          </a:xfrm>
          <a:prstGeom prst="rect">
            <a:avLst/>
          </a:prstGeom>
        </p:spPr>
      </p:pic>
      <p:graphicFrame>
        <p:nvGraphicFramePr>
          <p:cNvPr id="39" name="Диаграмма 38"/>
          <p:cNvGraphicFramePr/>
          <p:nvPr/>
        </p:nvGraphicFramePr>
        <p:xfrm>
          <a:off x="8019698" y="3295191"/>
          <a:ext cx="4112920" cy="71779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40" name="Диаграмма 39"/>
          <p:cNvGraphicFramePr/>
          <p:nvPr/>
        </p:nvGraphicFramePr>
        <p:xfrm>
          <a:off x="8026826" y="4093473"/>
          <a:ext cx="4112920" cy="717797"/>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237007365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Box 2">
            <a:extLst>
              <a:ext uri="{FF2B5EF4-FFF2-40B4-BE49-F238E27FC236}">
                <a16:creationId xmlns:a16="http://schemas.microsoft.com/office/drawing/2014/main" id="{493053D4-364D-4A3B-8DB8-241E292A3827}"/>
              </a:ext>
            </a:extLst>
          </p:cNvPr>
          <p:cNvSpPr txBox="1"/>
          <p:nvPr/>
        </p:nvSpPr>
        <p:spPr>
          <a:xfrm>
            <a:off x="220563" y="252572"/>
            <a:ext cx="11287356" cy="371897"/>
          </a:xfrm>
          <a:prstGeom prst="rect">
            <a:avLst/>
          </a:prstGeom>
        </p:spPr>
        <p:txBody>
          <a:bodyPr wrap="square" lIns="0" tIns="0" rIns="0" bIns="0" rtlCol="0" anchor="t">
            <a:spAutoFit/>
          </a:bodyPr>
          <a:lstStyle/>
          <a:p>
            <a:pPr marL="0" marR="0" lvl="0" indent="0" algn="l" defTabSz="914400" rtl="0" eaLnBrk="1" fontAlgn="auto" latinLnBrk="0" hangingPunct="1">
              <a:lnSpc>
                <a:spcPts val="2946"/>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FDI INFLOW INTO SOUTHEAST ASIAN COUNTRIES </a:t>
            </a:r>
            <a:r>
              <a:rPr kumimoji="0" lang="ru-RU" sz="30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2020-2024)</a:t>
            </a:r>
          </a:p>
        </p:txBody>
      </p:sp>
      <p:cxnSp>
        <p:nvCxnSpPr>
          <p:cNvPr id="397" name="Прямая соединительная линия 396">
            <a:extLst>
              <a:ext uri="{FF2B5EF4-FFF2-40B4-BE49-F238E27FC236}">
                <a16:creationId xmlns:a16="http://schemas.microsoft.com/office/drawing/2014/main" id="{A65B7FF6-088D-4623-ABAC-83E943FAEFE7}"/>
              </a:ext>
            </a:extLst>
          </p:cNvPr>
          <p:cNvCxnSpPr>
            <a:cxnSpLocks/>
          </p:cNvCxnSpPr>
          <p:nvPr/>
        </p:nvCxnSpPr>
        <p:spPr>
          <a:xfrm flipH="1">
            <a:off x="4223657" y="1444261"/>
            <a:ext cx="9526" cy="5008790"/>
          </a:xfrm>
          <a:prstGeom prst="line">
            <a:avLst/>
          </a:prstGeom>
          <a:ln w="6350">
            <a:prstDash val="dashDot"/>
          </a:ln>
        </p:spPr>
        <p:style>
          <a:lnRef idx="1">
            <a:schemeClr val="accent4"/>
          </a:lnRef>
          <a:fillRef idx="0">
            <a:schemeClr val="accent4"/>
          </a:fillRef>
          <a:effectRef idx="0">
            <a:schemeClr val="accent4"/>
          </a:effectRef>
          <a:fontRef idx="minor">
            <a:schemeClr val="tx1"/>
          </a:fontRef>
        </p:style>
      </p:cxnSp>
      <p:sp>
        <p:nvSpPr>
          <p:cNvPr id="4" name="TextBox 3">
            <a:extLst>
              <a:ext uri="{FF2B5EF4-FFF2-40B4-BE49-F238E27FC236}">
                <a16:creationId xmlns:a16="http://schemas.microsoft.com/office/drawing/2014/main" id="{F5B02302-502D-07E7-FF6C-34AA42E3CED5}"/>
              </a:ext>
            </a:extLst>
          </p:cNvPr>
          <p:cNvSpPr txBox="1"/>
          <p:nvPr/>
        </p:nvSpPr>
        <p:spPr>
          <a:xfrm>
            <a:off x="14911" y="6658990"/>
            <a:ext cx="11781756"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mn-cs"/>
              </a:rPr>
              <a:t>Source</a:t>
            </a:r>
            <a:r>
              <a:rPr kumimoji="0" lang="ru-RU"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mn-cs"/>
              </a:rPr>
              <a:t>: </a:t>
            </a:r>
            <a:r>
              <a:rPr kumimoji="0" lang="en-US"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mn-cs"/>
              </a:rPr>
              <a:t>unctadstat.org</a:t>
            </a:r>
            <a:endParaRPr kumimoji="0" lang="ru-RU"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mn-cs"/>
            </a:endParaRPr>
          </a:p>
        </p:txBody>
      </p:sp>
      <p:cxnSp>
        <p:nvCxnSpPr>
          <p:cNvPr id="8" name="Прямая соединительная линия 7">
            <a:extLst>
              <a:ext uri="{FF2B5EF4-FFF2-40B4-BE49-F238E27FC236}">
                <a16:creationId xmlns:a16="http://schemas.microsoft.com/office/drawing/2014/main" id="{433FD698-1FF2-7B16-8B48-99778D74ACEF}"/>
              </a:ext>
            </a:extLst>
          </p:cNvPr>
          <p:cNvCxnSpPr>
            <a:cxnSpLocks/>
          </p:cNvCxnSpPr>
          <p:nvPr/>
        </p:nvCxnSpPr>
        <p:spPr>
          <a:xfrm flipH="1">
            <a:off x="8264434" y="1444261"/>
            <a:ext cx="4179" cy="5008790"/>
          </a:xfrm>
          <a:prstGeom prst="line">
            <a:avLst/>
          </a:prstGeom>
          <a:ln w="6350">
            <a:prstDash val="dashDot"/>
          </a:ln>
        </p:spPr>
        <p:style>
          <a:lnRef idx="1">
            <a:schemeClr val="accent4"/>
          </a:lnRef>
          <a:fillRef idx="0">
            <a:schemeClr val="accent4"/>
          </a:fillRef>
          <a:effectRef idx="0">
            <a:schemeClr val="accent4"/>
          </a:effectRef>
          <a:fontRef idx="minor">
            <a:schemeClr val="tx1"/>
          </a:fontRef>
        </p:style>
      </p:cxnSp>
      <p:sp>
        <p:nvSpPr>
          <p:cNvPr id="37" name="TextBox 36">
            <a:extLst>
              <a:ext uri="{FF2B5EF4-FFF2-40B4-BE49-F238E27FC236}">
                <a16:creationId xmlns:a16="http://schemas.microsoft.com/office/drawing/2014/main" id="{40A95720-061B-4CCC-B060-2FE0144B39EC}"/>
              </a:ext>
            </a:extLst>
          </p:cNvPr>
          <p:cNvSpPr txBox="1"/>
          <p:nvPr/>
        </p:nvSpPr>
        <p:spPr>
          <a:xfrm>
            <a:off x="1948639" y="860607"/>
            <a:ext cx="1623504"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a:t>
            </a:r>
            <a:r>
              <a:rPr kumimoji="0" lang="ru-RU"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623 </a:t>
            </a:r>
            <a:r>
              <a:rPr kumimoji="0" lang="en-US"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billion</a:t>
            </a:r>
            <a:endParaRPr kumimoji="0" lang="ru-RU"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endParaRPr>
          </a:p>
        </p:txBody>
      </p:sp>
      <p:sp>
        <p:nvSpPr>
          <p:cNvPr id="39" name="TextBox 38">
            <a:extLst>
              <a:ext uri="{FF2B5EF4-FFF2-40B4-BE49-F238E27FC236}">
                <a16:creationId xmlns:a16="http://schemas.microsoft.com/office/drawing/2014/main" id="{9A250A8E-8F14-DA47-AE43-653C5CDFBC71}"/>
              </a:ext>
            </a:extLst>
          </p:cNvPr>
          <p:cNvSpPr txBox="1"/>
          <p:nvPr/>
        </p:nvSpPr>
        <p:spPr>
          <a:xfrm>
            <a:off x="6120323" y="851104"/>
            <a:ext cx="1623504"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a:t>
            </a:r>
            <a:r>
              <a:rPr kumimoji="0" lang="ru-RU"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111 </a:t>
            </a:r>
            <a:r>
              <a:rPr kumimoji="0" lang="en-US"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billion</a:t>
            </a:r>
            <a:endParaRPr kumimoji="0" lang="ru-RU"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endParaRPr>
          </a:p>
        </p:txBody>
      </p:sp>
      <p:sp>
        <p:nvSpPr>
          <p:cNvPr id="26" name="TextBox 25">
            <a:extLst>
              <a:ext uri="{FF2B5EF4-FFF2-40B4-BE49-F238E27FC236}">
                <a16:creationId xmlns:a16="http://schemas.microsoft.com/office/drawing/2014/main" id="{B1B07D91-46CD-4E05-9A0F-FB88A880A725}"/>
              </a:ext>
            </a:extLst>
          </p:cNvPr>
          <p:cNvSpPr txBox="1"/>
          <p:nvPr/>
        </p:nvSpPr>
        <p:spPr>
          <a:xfrm>
            <a:off x="871629" y="862766"/>
            <a:ext cx="1253869"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SINGAPORE</a:t>
            </a:r>
            <a:r>
              <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p>
        </p:txBody>
      </p:sp>
      <p:sp>
        <p:nvSpPr>
          <p:cNvPr id="27" name="Прямоугольник: скругленные углы 3">
            <a:extLst>
              <a:ext uri="{FF2B5EF4-FFF2-40B4-BE49-F238E27FC236}">
                <a16:creationId xmlns:a16="http://schemas.microsoft.com/office/drawing/2014/main" id="{024CE45A-3E0C-431B-9701-DE5EF36779D8}"/>
              </a:ext>
            </a:extLst>
          </p:cNvPr>
          <p:cNvSpPr/>
          <p:nvPr/>
        </p:nvSpPr>
        <p:spPr>
          <a:xfrm>
            <a:off x="220562" y="800314"/>
            <a:ext cx="3938721" cy="420501"/>
          </a:xfrm>
          <a:prstGeom prst="roundRect">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6" name="TextBox 5">
            <a:extLst>
              <a:ext uri="{FF2B5EF4-FFF2-40B4-BE49-F238E27FC236}">
                <a16:creationId xmlns:a16="http://schemas.microsoft.com/office/drawing/2014/main" id="{F2962671-75B0-AC37-7E3A-F298147F9E3F}"/>
              </a:ext>
            </a:extLst>
          </p:cNvPr>
          <p:cNvSpPr txBox="1"/>
          <p:nvPr/>
        </p:nvSpPr>
        <p:spPr>
          <a:xfrm>
            <a:off x="4960786" y="860607"/>
            <a:ext cx="118814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INDONESIA</a:t>
            </a:r>
            <a:r>
              <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p>
        </p:txBody>
      </p:sp>
      <p:sp>
        <p:nvSpPr>
          <p:cNvPr id="7" name="Прямоугольник: скругленные углы 3">
            <a:extLst>
              <a:ext uri="{FF2B5EF4-FFF2-40B4-BE49-F238E27FC236}">
                <a16:creationId xmlns:a16="http://schemas.microsoft.com/office/drawing/2014/main" id="{BC016192-0E40-F193-3BE3-C327069641F6}"/>
              </a:ext>
            </a:extLst>
          </p:cNvPr>
          <p:cNvSpPr/>
          <p:nvPr/>
        </p:nvSpPr>
        <p:spPr>
          <a:xfrm>
            <a:off x="4322348" y="800314"/>
            <a:ext cx="3832479" cy="420501"/>
          </a:xfrm>
          <a:prstGeom prst="roundRect">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14" name="TextBox 13">
            <a:extLst>
              <a:ext uri="{FF2B5EF4-FFF2-40B4-BE49-F238E27FC236}">
                <a16:creationId xmlns:a16="http://schemas.microsoft.com/office/drawing/2014/main" id="{445F0CF1-586E-5F61-9DE3-B4B4B97C1639}"/>
              </a:ext>
            </a:extLst>
          </p:cNvPr>
          <p:cNvSpPr txBox="1"/>
          <p:nvPr/>
        </p:nvSpPr>
        <p:spPr>
          <a:xfrm>
            <a:off x="9942488" y="846173"/>
            <a:ext cx="1623504"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a:t>
            </a:r>
            <a:r>
              <a:rPr kumimoji="0" lang="ru-RU"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88 </a:t>
            </a:r>
            <a:r>
              <a:rPr kumimoji="0" lang="en-US"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billion</a:t>
            </a:r>
            <a:endParaRPr kumimoji="0" lang="ru-RU"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endParaRPr>
          </a:p>
        </p:txBody>
      </p:sp>
      <p:sp>
        <p:nvSpPr>
          <p:cNvPr id="15" name="TextBox 14">
            <a:extLst>
              <a:ext uri="{FF2B5EF4-FFF2-40B4-BE49-F238E27FC236}">
                <a16:creationId xmlns:a16="http://schemas.microsoft.com/office/drawing/2014/main" id="{A0DD5F5D-7E3A-B64A-B90F-CA2C73EC188B}"/>
              </a:ext>
            </a:extLst>
          </p:cNvPr>
          <p:cNvSpPr txBox="1"/>
          <p:nvPr/>
        </p:nvSpPr>
        <p:spPr>
          <a:xfrm>
            <a:off x="9015633" y="862136"/>
            <a:ext cx="100540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VIETNAM</a:t>
            </a:r>
            <a:r>
              <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p>
        </p:txBody>
      </p:sp>
      <p:sp>
        <p:nvSpPr>
          <p:cNvPr id="20" name="Прямоугольник: скругленные углы 3">
            <a:extLst>
              <a:ext uri="{FF2B5EF4-FFF2-40B4-BE49-F238E27FC236}">
                <a16:creationId xmlns:a16="http://schemas.microsoft.com/office/drawing/2014/main" id="{2F54C69C-462C-14DC-1249-F3DDEE2A1F87}"/>
              </a:ext>
            </a:extLst>
          </p:cNvPr>
          <p:cNvSpPr/>
          <p:nvPr/>
        </p:nvSpPr>
        <p:spPr>
          <a:xfrm>
            <a:off x="8396771" y="800314"/>
            <a:ext cx="3574667" cy="420501"/>
          </a:xfrm>
          <a:prstGeom prst="roundRect">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22" name="TextBox 21">
            <a:extLst>
              <a:ext uri="{FF2B5EF4-FFF2-40B4-BE49-F238E27FC236}">
                <a16:creationId xmlns:a16="http://schemas.microsoft.com/office/drawing/2014/main" id="{904F40CE-9692-B8BD-379A-4A3D92EA3556}"/>
              </a:ext>
            </a:extLst>
          </p:cNvPr>
          <p:cNvSpPr txBox="1"/>
          <p:nvPr/>
        </p:nvSpPr>
        <p:spPr>
          <a:xfrm>
            <a:off x="1882415" y="4023348"/>
            <a:ext cx="1623504"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a:t>
            </a:r>
            <a:r>
              <a:rPr kumimoji="0" lang="ru-RU"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52 </a:t>
            </a:r>
            <a:r>
              <a:rPr kumimoji="0" lang="en-US"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billion</a:t>
            </a:r>
            <a:endParaRPr kumimoji="0" lang="ru-RU"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endParaRPr>
          </a:p>
        </p:txBody>
      </p:sp>
      <p:sp>
        <p:nvSpPr>
          <p:cNvPr id="23" name="TextBox 22">
            <a:extLst>
              <a:ext uri="{FF2B5EF4-FFF2-40B4-BE49-F238E27FC236}">
                <a16:creationId xmlns:a16="http://schemas.microsoft.com/office/drawing/2014/main" id="{40BFB72E-698E-ECF0-B77D-EE28A7E393C6}"/>
              </a:ext>
            </a:extLst>
          </p:cNvPr>
          <p:cNvSpPr txBox="1"/>
          <p:nvPr/>
        </p:nvSpPr>
        <p:spPr>
          <a:xfrm>
            <a:off x="814678" y="4037313"/>
            <a:ext cx="111761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MALAYSIA</a:t>
            </a:r>
            <a:r>
              <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p>
        </p:txBody>
      </p:sp>
      <p:sp>
        <p:nvSpPr>
          <p:cNvPr id="24" name="Прямоугольник: скругленные углы 3">
            <a:extLst>
              <a:ext uri="{FF2B5EF4-FFF2-40B4-BE49-F238E27FC236}">
                <a16:creationId xmlns:a16="http://schemas.microsoft.com/office/drawing/2014/main" id="{60998E8A-569B-B0A5-71EE-A0C426D0B6D1}"/>
              </a:ext>
            </a:extLst>
          </p:cNvPr>
          <p:cNvSpPr/>
          <p:nvPr/>
        </p:nvSpPr>
        <p:spPr>
          <a:xfrm>
            <a:off x="220562" y="3960896"/>
            <a:ext cx="3905370" cy="420501"/>
          </a:xfrm>
          <a:prstGeom prst="roundRect">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25" name="TextBox 24">
            <a:extLst>
              <a:ext uri="{FF2B5EF4-FFF2-40B4-BE49-F238E27FC236}">
                <a16:creationId xmlns:a16="http://schemas.microsoft.com/office/drawing/2014/main" id="{EC998426-BEBF-EC90-6CCC-80B3FDC734C1}"/>
              </a:ext>
            </a:extLst>
          </p:cNvPr>
          <p:cNvSpPr txBox="1"/>
          <p:nvPr/>
        </p:nvSpPr>
        <p:spPr>
          <a:xfrm>
            <a:off x="5983747" y="4015606"/>
            <a:ext cx="1623504"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a:t>
            </a:r>
            <a:r>
              <a:rPr kumimoji="0" lang="ru-RU"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39 </a:t>
            </a:r>
            <a:r>
              <a:rPr kumimoji="0" lang="en-US"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billion</a:t>
            </a:r>
            <a:endParaRPr kumimoji="0" lang="ru-RU"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endParaRPr>
          </a:p>
        </p:txBody>
      </p:sp>
      <p:sp>
        <p:nvSpPr>
          <p:cNvPr id="29" name="TextBox 28">
            <a:extLst>
              <a:ext uri="{FF2B5EF4-FFF2-40B4-BE49-F238E27FC236}">
                <a16:creationId xmlns:a16="http://schemas.microsoft.com/office/drawing/2014/main" id="{91FEB12C-C7A7-D610-460E-2B07FDEEDC47}"/>
              </a:ext>
            </a:extLst>
          </p:cNvPr>
          <p:cNvSpPr txBox="1"/>
          <p:nvPr/>
        </p:nvSpPr>
        <p:spPr>
          <a:xfrm>
            <a:off x="4991756" y="4023348"/>
            <a:ext cx="109036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HAILAND</a:t>
            </a:r>
            <a:r>
              <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p>
        </p:txBody>
      </p:sp>
      <p:sp>
        <p:nvSpPr>
          <p:cNvPr id="30" name="Прямоугольник: скругленные углы 3">
            <a:extLst>
              <a:ext uri="{FF2B5EF4-FFF2-40B4-BE49-F238E27FC236}">
                <a16:creationId xmlns:a16="http://schemas.microsoft.com/office/drawing/2014/main" id="{B5E4679B-5988-27D5-C698-F5BF26467D6A}"/>
              </a:ext>
            </a:extLst>
          </p:cNvPr>
          <p:cNvSpPr/>
          <p:nvPr/>
        </p:nvSpPr>
        <p:spPr>
          <a:xfrm>
            <a:off x="4340434" y="3960896"/>
            <a:ext cx="3814393" cy="420501"/>
          </a:xfrm>
          <a:prstGeom prst="roundRect">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31" name="TextBox 30">
            <a:extLst>
              <a:ext uri="{FF2B5EF4-FFF2-40B4-BE49-F238E27FC236}">
                <a16:creationId xmlns:a16="http://schemas.microsoft.com/office/drawing/2014/main" id="{E548D223-D453-5498-1647-62EF2E1D3941}"/>
              </a:ext>
            </a:extLst>
          </p:cNvPr>
          <p:cNvSpPr txBox="1"/>
          <p:nvPr/>
        </p:nvSpPr>
        <p:spPr>
          <a:xfrm>
            <a:off x="9884414" y="4015606"/>
            <a:ext cx="1623504"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a:t>
            </a:r>
            <a:r>
              <a:rPr kumimoji="0" lang="ru-RU"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35 </a:t>
            </a:r>
            <a:r>
              <a:rPr kumimoji="0" lang="en-US"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billion</a:t>
            </a:r>
            <a:endParaRPr kumimoji="0" lang="ru-RU"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endParaRPr>
          </a:p>
        </p:txBody>
      </p:sp>
      <p:sp>
        <p:nvSpPr>
          <p:cNvPr id="32" name="TextBox 31">
            <a:extLst>
              <a:ext uri="{FF2B5EF4-FFF2-40B4-BE49-F238E27FC236}">
                <a16:creationId xmlns:a16="http://schemas.microsoft.com/office/drawing/2014/main" id="{E67E5FF1-B5FB-5346-C6C2-7D01B407F878}"/>
              </a:ext>
            </a:extLst>
          </p:cNvPr>
          <p:cNvSpPr txBox="1"/>
          <p:nvPr/>
        </p:nvSpPr>
        <p:spPr>
          <a:xfrm>
            <a:off x="8981368" y="4030781"/>
            <a:ext cx="119776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HILIPPINES</a:t>
            </a:r>
            <a:r>
              <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p>
        </p:txBody>
      </p:sp>
      <p:sp>
        <p:nvSpPr>
          <p:cNvPr id="36" name="Прямоугольник: скругленные углы 3">
            <a:extLst>
              <a:ext uri="{FF2B5EF4-FFF2-40B4-BE49-F238E27FC236}">
                <a16:creationId xmlns:a16="http://schemas.microsoft.com/office/drawing/2014/main" id="{FFF1918F-555F-D3E2-1A27-304E25D56DA3}"/>
              </a:ext>
            </a:extLst>
          </p:cNvPr>
          <p:cNvSpPr/>
          <p:nvPr/>
        </p:nvSpPr>
        <p:spPr>
          <a:xfrm>
            <a:off x="8364566" y="3960896"/>
            <a:ext cx="3570776" cy="420501"/>
          </a:xfrm>
          <a:prstGeom prst="roundRect">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graphicFrame>
        <p:nvGraphicFramePr>
          <p:cNvPr id="16" name="Диаграмма 15">
            <a:extLst>
              <a:ext uri="{FF2B5EF4-FFF2-40B4-BE49-F238E27FC236}">
                <a16:creationId xmlns:a16="http://schemas.microsoft.com/office/drawing/2014/main" id="{5F57B91F-F5C2-449D-AEEE-3CC309EC9F01}"/>
              </a:ext>
            </a:extLst>
          </p:cNvPr>
          <p:cNvGraphicFramePr>
            <a:graphicFrameLocks/>
          </p:cNvGraphicFramePr>
          <p:nvPr/>
        </p:nvGraphicFramePr>
        <p:xfrm>
          <a:off x="128771" y="1354621"/>
          <a:ext cx="4025082" cy="238610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1" name="Диаграмма 20">
            <a:extLst>
              <a:ext uri="{FF2B5EF4-FFF2-40B4-BE49-F238E27FC236}">
                <a16:creationId xmlns:a16="http://schemas.microsoft.com/office/drawing/2014/main" id="{2C0D8833-AD30-4895-96B7-AF5BC066EA4A}"/>
              </a:ext>
            </a:extLst>
          </p:cNvPr>
          <p:cNvGraphicFramePr>
            <a:graphicFrameLocks/>
          </p:cNvGraphicFramePr>
          <p:nvPr/>
        </p:nvGraphicFramePr>
        <p:xfrm>
          <a:off x="4341091" y="1293091"/>
          <a:ext cx="3842327" cy="244763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4" name="Диаграмма 33">
            <a:extLst>
              <a:ext uri="{FF2B5EF4-FFF2-40B4-BE49-F238E27FC236}">
                <a16:creationId xmlns:a16="http://schemas.microsoft.com/office/drawing/2014/main" id="{CF2B3A9B-5DC5-449E-8AA0-880D8B557EDF}"/>
              </a:ext>
            </a:extLst>
          </p:cNvPr>
          <p:cNvGraphicFramePr>
            <a:graphicFrameLocks/>
          </p:cNvGraphicFramePr>
          <p:nvPr/>
        </p:nvGraphicFramePr>
        <p:xfrm>
          <a:off x="8358909" y="1335087"/>
          <a:ext cx="3666835" cy="240564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0" name="Диаграмма 39">
            <a:extLst>
              <a:ext uri="{FF2B5EF4-FFF2-40B4-BE49-F238E27FC236}">
                <a16:creationId xmlns:a16="http://schemas.microsoft.com/office/drawing/2014/main" id="{D384E182-EEDA-869A-76CD-F4F27FA7B0A3}"/>
              </a:ext>
            </a:extLst>
          </p:cNvPr>
          <p:cNvGraphicFramePr>
            <a:graphicFrameLocks/>
          </p:cNvGraphicFramePr>
          <p:nvPr/>
        </p:nvGraphicFramePr>
        <p:xfrm>
          <a:off x="138545" y="4556197"/>
          <a:ext cx="3957205" cy="213092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1" name="Диаграмма 40">
            <a:extLst>
              <a:ext uri="{FF2B5EF4-FFF2-40B4-BE49-F238E27FC236}">
                <a16:creationId xmlns:a16="http://schemas.microsoft.com/office/drawing/2014/main" id="{C82B5AF9-96A4-4DB0-8171-EB7BB12FC89A}"/>
              </a:ext>
            </a:extLst>
          </p:cNvPr>
          <p:cNvGraphicFramePr>
            <a:graphicFrameLocks/>
          </p:cNvGraphicFramePr>
          <p:nvPr/>
        </p:nvGraphicFramePr>
        <p:xfrm>
          <a:off x="4343400" y="4557712"/>
          <a:ext cx="3781425" cy="2205038"/>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2" name="Диаграмма 41">
            <a:extLst>
              <a:ext uri="{FF2B5EF4-FFF2-40B4-BE49-F238E27FC236}">
                <a16:creationId xmlns:a16="http://schemas.microsoft.com/office/drawing/2014/main" id="{9C084B1A-1020-4D3C-8D9C-0E136D62A076}"/>
              </a:ext>
            </a:extLst>
          </p:cNvPr>
          <p:cNvGraphicFramePr>
            <a:graphicFrameLocks/>
          </p:cNvGraphicFramePr>
          <p:nvPr/>
        </p:nvGraphicFramePr>
        <p:xfrm>
          <a:off x="8391525" y="4705349"/>
          <a:ext cx="3648075" cy="2047876"/>
        </p:xfrm>
        <a:graphic>
          <a:graphicData uri="http://schemas.openxmlformats.org/drawingml/2006/chart">
            <c:chart xmlns:c="http://schemas.openxmlformats.org/drawingml/2006/chart" xmlns:r="http://schemas.openxmlformats.org/officeDocument/2006/relationships" r:id="rId8"/>
          </a:graphicData>
        </a:graphic>
      </p:graphicFrame>
      <p:pic>
        <p:nvPicPr>
          <p:cNvPr id="38" name="Рисунок 3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96403" y="845532"/>
            <a:ext cx="493288" cy="329116"/>
          </a:xfrm>
          <a:prstGeom prst="rect">
            <a:avLst/>
          </a:prstGeom>
          <a:ln>
            <a:solidFill>
              <a:schemeClr val="bg2">
                <a:lumMod val="90000"/>
              </a:schemeClr>
            </a:solidFill>
          </a:ln>
        </p:spPr>
      </p:pic>
      <p:pic>
        <p:nvPicPr>
          <p:cNvPr id="3" name="Рисунок 2"/>
          <p:cNvPicPr>
            <a:picLocks noChangeAspect="1"/>
          </p:cNvPicPr>
          <p:nvPr/>
        </p:nvPicPr>
        <p:blipFill>
          <a:blip r:embed="rId10"/>
          <a:stretch>
            <a:fillRect/>
          </a:stretch>
        </p:blipFill>
        <p:spPr>
          <a:xfrm>
            <a:off x="4389841" y="843937"/>
            <a:ext cx="497153" cy="328105"/>
          </a:xfrm>
          <a:prstGeom prst="rect">
            <a:avLst/>
          </a:prstGeom>
          <a:ln>
            <a:solidFill>
              <a:schemeClr val="bg2">
                <a:lumMod val="90000"/>
              </a:schemeClr>
            </a:solidFill>
          </a:ln>
        </p:spPr>
      </p:pic>
      <p:pic>
        <p:nvPicPr>
          <p:cNvPr id="5" name="Рисунок 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464087" y="852646"/>
            <a:ext cx="485699" cy="324447"/>
          </a:xfrm>
          <a:prstGeom prst="rect">
            <a:avLst/>
          </a:prstGeom>
        </p:spPr>
      </p:pic>
      <p:pic>
        <p:nvPicPr>
          <p:cNvPr id="43" name="Рисунок 42"/>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94813" y="4068849"/>
            <a:ext cx="486169" cy="243085"/>
          </a:xfrm>
          <a:prstGeom prst="rect">
            <a:avLst/>
          </a:prstGeom>
        </p:spPr>
      </p:pic>
      <p:pic>
        <p:nvPicPr>
          <p:cNvPr id="44" name="Рисунок 43"/>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418270" y="4044131"/>
            <a:ext cx="500312" cy="281425"/>
          </a:xfrm>
          <a:prstGeom prst="rect">
            <a:avLst/>
          </a:prstGeom>
        </p:spPr>
      </p:pic>
      <p:pic>
        <p:nvPicPr>
          <p:cNvPr id="9" name="Рисунок 8"/>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437960" y="4067167"/>
            <a:ext cx="470014" cy="235007"/>
          </a:xfrm>
          <a:prstGeom prst="rect">
            <a:avLst/>
          </a:prstGeom>
        </p:spPr>
      </p:pic>
    </p:spTree>
    <p:extLst>
      <p:ext uri="{BB962C8B-B14F-4D97-AF65-F5344CB8AC3E}">
        <p14:creationId xmlns:p14="http://schemas.microsoft.com/office/powerpoint/2010/main" val="39916973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Box 2">
            <a:extLst>
              <a:ext uri="{FF2B5EF4-FFF2-40B4-BE49-F238E27FC236}">
                <a16:creationId xmlns:a16="http://schemas.microsoft.com/office/drawing/2014/main" id="{493053D4-364D-4A3B-8DB8-241E292A3827}"/>
              </a:ext>
            </a:extLst>
          </p:cNvPr>
          <p:cNvSpPr txBox="1"/>
          <p:nvPr/>
        </p:nvSpPr>
        <p:spPr>
          <a:xfrm>
            <a:off x="220563" y="252572"/>
            <a:ext cx="11781756" cy="371897"/>
          </a:xfrm>
          <a:prstGeom prst="rect">
            <a:avLst/>
          </a:prstGeom>
        </p:spPr>
        <p:txBody>
          <a:bodyPr wrap="square" lIns="0" tIns="0" rIns="0" bIns="0" rtlCol="0" anchor="t">
            <a:spAutoFit/>
          </a:bodyPr>
          <a:lstStyle/>
          <a:p>
            <a:pPr marL="0" marR="0" lvl="0" indent="0" algn="l" defTabSz="914400" rtl="0" eaLnBrk="1" fontAlgn="auto" latinLnBrk="0" hangingPunct="1">
              <a:lnSpc>
                <a:spcPts val="2946"/>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WHO INVESTS ABROAD THE MOST</a:t>
            </a:r>
            <a:r>
              <a:rPr kumimoji="0" lang="ru-RU" sz="30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 (2020-2024)</a:t>
            </a:r>
          </a:p>
        </p:txBody>
      </p:sp>
      <p:cxnSp>
        <p:nvCxnSpPr>
          <p:cNvPr id="397" name="Прямая соединительная линия 396">
            <a:extLst>
              <a:ext uri="{FF2B5EF4-FFF2-40B4-BE49-F238E27FC236}">
                <a16:creationId xmlns:a16="http://schemas.microsoft.com/office/drawing/2014/main" id="{A65B7FF6-088D-4623-ABAC-83E943FAEFE7}"/>
              </a:ext>
            </a:extLst>
          </p:cNvPr>
          <p:cNvCxnSpPr>
            <a:cxnSpLocks/>
          </p:cNvCxnSpPr>
          <p:nvPr/>
        </p:nvCxnSpPr>
        <p:spPr>
          <a:xfrm flipH="1">
            <a:off x="4223657" y="1444261"/>
            <a:ext cx="9526" cy="5008790"/>
          </a:xfrm>
          <a:prstGeom prst="line">
            <a:avLst/>
          </a:prstGeom>
          <a:ln w="6350">
            <a:prstDash val="dashDot"/>
          </a:ln>
        </p:spPr>
        <p:style>
          <a:lnRef idx="1">
            <a:schemeClr val="accent4"/>
          </a:lnRef>
          <a:fillRef idx="0">
            <a:schemeClr val="accent4"/>
          </a:fillRef>
          <a:effectRef idx="0">
            <a:schemeClr val="accent4"/>
          </a:effectRef>
          <a:fontRef idx="minor">
            <a:schemeClr val="tx1"/>
          </a:fontRef>
        </p:style>
      </p:cxnSp>
      <p:sp>
        <p:nvSpPr>
          <p:cNvPr id="4" name="TextBox 3">
            <a:extLst>
              <a:ext uri="{FF2B5EF4-FFF2-40B4-BE49-F238E27FC236}">
                <a16:creationId xmlns:a16="http://schemas.microsoft.com/office/drawing/2014/main" id="{F5B02302-502D-07E7-FF6C-34AA42E3CED5}"/>
              </a:ext>
            </a:extLst>
          </p:cNvPr>
          <p:cNvSpPr txBox="1"/>
          <p:nvPr/>
        </p:nvSpPr>
        <p:spPr>
          <a:xfrm>
            <a:off x="14911" y="6658990"/>
            <a:ext cx="11781756"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mn-cs"/>
              </a:rPr>
              <a:t>Source</a:t>
            </a:r>
            <a:r>
              <a:rPr kumimoji="0" lang="ru-RU"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mn-cs"/>
              </a:rPr>
              <a:t>: </a:t>
            </a:r>
            <a:r>
              <a:rPr kumimoji="0" lang="en-US"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mn-cs"/>
              </a:rPr>
              <a:t>unctadstat.org</a:t>
            </a:r>
            <a:endParaRPr kumimoji="0" lang="ru-RU"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mn-cs"/>
            </a:endParaRPr>
          </a:p>
        </p:txBody>
      </p:sp>
      <p:cxnSp>
        <p:nvCxnSpPr>
          <p:cNvPr id="8" name="Прямая соединительная линия 7">
            <a:extLst>
              <a:ext uri="{FF2B5EF4-FFF2-40B4-BE49-F238E27FC236}">
                <a16:creationId xmlns:a16="http://schemas.microsoft.com/office/drawing/2014/main" id="{433FD698-1FF2-7B16-8B48-99778D74ACEF}"/>
              </a:ext>
            </a:extLst>
          </p:cNvPr>
          <p:cNvCxnSpPr>
            <a:cxnSpLocks/>
          </p:cNvCxnSpPr>
          <p:nvPr/>
        </p:nvCxnSpPr>
        <p:spPr>
          <a:xfrm flipH="1">
            <a:off x="8264434" y="1444261"/>
            <a:ext cx="4179" cy="5008790"/>
          </a:xfrm>
          <a:prstGeom prst="line">
            <a:avLst/>
          </a:prstGeom>
          <a:ln w="6350">
            <a:prstDash val="dashDot"/>
          </a:ln>
        </p:spPr>
        <p:style>
          <a:lnRef idx="1">
            <a:schemeClr val="accent4"/>
          </a:lnRef>
          <a:fillRef idx="0">
            <a:schemeClr val="accent4"/>
          </a:fillRef>
          <a:effectRef idx="0">
            <a:schemeClr val="accent4"/>
          </a:effectRef>
          <a:fontRef idx="minor">
            <a:schemeClr val="tx1"/>
          </a:fontRef>
        </p:style>
      </p:cxnSp>
      <p:sp>
        <p:nvSpPr>
          <p:cNvPr id="37" name="TextBox 36">
            <a:extLst>
              <a:ext uri="{FF2B5EF4-FFF2-40B4-BE49-F238E27FC236}">
                <a16:creationId xmlns:a16="http://schemas.microsoft.com/office/drawing/2014/main" id="{40A95720-061B-4CCC-B060-2FE0144B39EC}"/>
              </a:ext>
            </a:extLst>
          </p:cNvPr>
          <p:cNvSpPr txBox="1"/>
          <p:nvPr/>
        </p:nvSpPr>
        <p:spPr>
          <a:xfrm>
            <a:off x="1948639" y="860607"/>
            <a:ext cx="1623504"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a:t>
            </a:r>
            <a:r>
              <a:rPr kumimoji="0" lang="ru-RU"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272 </a:t>
            </a:r>
            <a:r>
              <a:rPr kumimoji="0" lang="en-US"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billion</a:t>
            </a:r>
            <a:endParaRPr kumimoji="0" lang="ru-RU"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endParaRPr>
          </a:p>
        </p:txBody>
      </p:sp>
      <p:sp>
        <p:nvSpPr>
          <p:cNvPr id="39" name="TextBox 38">
            <a:extLst>
              <a:ext uri="{FF2B5EF4-FFF2-40B4-BE49-F238E27FC236}">
                <a16:creationId xmlns:a16="http://schemas.microsoft.com/office/drawing/2014/main" id="{9A250A8E-8F14-DA47-AE43-653C5CDFBC71}"/>
              </a:ext>
            </a:extLst>
          </p:cNvPr>
          <p:cNvSpPr txBox="1"/>
          <p:nvPr/>
        </p:nvSpPr>
        <p:spPr>
          <a:xfrm>
            <a:off x="6041942" y="851104"/>
            <a:ext cx="1623504"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a:t>
            </a:r>
            <a:r>
              <a:rPr kumimoji="0" lang="ru-RU"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32 </a:t>
            </a:r>
            <a:r>
              <a:rPr kumimoji="0" lang="en-US"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billion</a:t>
            </a:r>
            <a:endParaRPr kumimoji="0" lang="ru-RU"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endParaRPr>
          </a:p>
        </p:txBody>
      </p:sp>
      <p:sp>
        <p:nvSpPr>
          <p:cNvPr id="26" name="TextBox 25">
            <a:extLst>
              <a:ext uri="{FF2B5EF4-FFF2-40B4-BE49-F238E27FC236}">
                <a16:creationId xmlns:a16="http://schemas.microsoft.com/office/drawing/2014/main" id="{B1B07D91-46CD-4E05-9A0F-FB88A880A725}"/>
              </a:ext>
            </a:extLst>
          </p:cNvPr>
          <p:cNvSpPr txBox="1"/>
          <p:nvPr/>
        </p:nvSpPr>
        <p:spPr>
          <a:xfrm>
            <a:off x="871629" y="862766"/>
            <a:ext cx="1253869"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SINGAPORE</a:t>
            </a:r>
            <a:r>
              <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p>
        </p:txBody>
      </p:sp>
      <p:sp>
        <p:nvSpPr>
          <p:cNvPr id="27" name="Прямоугольник: скругленные углы 3">
            <a:extLst>
              <a:ext uri="{FF2B5EF4-FFF2-40B4-BE49-F238E27FC236}">
                <a16:creationId xmlns:a16="http://schemas.microsoft.com/office/drawing/2014/main" id="{024CE45A-3E0C-431B-9701-DE5EF36779D8}"/>
              </a:ext>
            </a:extLst>
          </p:cNvPr>
          <p:cNvSpPr/>
          <p:nvPr/>
        </p:nvSpPr>
        <p:spPr>
          <a:xfrm>
            <a:off x="220562" y="800314"/>
            <a:ext cx="3938721" cy="420501"/>
          </a:xfrm>
          <a:prstGeom prst="roundRect">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6" name="TextBox 5">
            <a:extLst>
              <a:ext uri="{FF2B5EF4-FFF2-40B4-BE49-F238E27FC236}">
                <a16:creationId xmlns:a16="http://schemas.microsoft.com/office/drawing/2014/main" id="{F2962671-75B0-AC37-7E3A-F298147F9E3F}"/>
              </a:ext>
            </a:extLst>
          </p:cNvPr>
          <p:cNvSpPr txBox="1"/>
          <p:nvPr/>
        </p:nvSpPr>
        <p:spPr>
          <a:xfrm>
            <a:off x="4960786" y="860607"/>
            <a:ext cx="118814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INDONESIA</a:t>
            </a:r>
            <a:r>
              <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p>
        </p:txBody>
      </p:sp>
      <p:sp>
        <p:nvSpPr>
          <p:cNvPr id="7" name="Прямоугольник: скругленные углы 3">
            <a:extLst>
              <a:ext uri="{FF2B5EF4-FFF2-40B4-BE49-F238E27FC236}">
                <a16:creationId xmlns:a16="http://schemas.microsoft.com/office/drawing/2014/main" id="{BC016192-0E40-F193-3BE3-C327069641F6}"/>
              </a:ext>
            </a:extLst>
          </p:cNvPr>
          <p:cNvSpPr/>
          <p:nvPr/>
        </p:nvSpPr>
        <p:spPr>
          <a:xfrm>
            <a:off x="4322348" y="800314"/>
            <a:ext cx="3832479" cy="420501"/>
          </a:xfrm>
          <a:prstGeom prst="roundRect">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20" name="Прямоугольник: скругленные углы 3">
            <a:extLst>
              <a:ext uri="{FF2B5EF4-FFF2-40B4-BE49-F238E27FC236}">
                <a16:creationId xmlns:a16="http://schemas.microsoft.com/office/drawing/2014/main" id="{2F54C69C-462C-14DC-1249-F3DDEE2A1F87}"/>
              </a:ext>
            </a:extLst>
          </p:cNvPr>
          <p:cNvSpPr/>
          <p:nvPr/>
        </p:nvSpPr>
        <p:spPr>
          <a:xfrm>
            <a:off x="8396771" y="800314"/>
            <a:ext cx="3574667" cy="420501"/>
          </a:xfrm>
          <a:prstGeom prst="roundRect">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22" name="TextBox 21">
            <a:extLst>
              <a:ext uri="{FF2B5EF4-FFF2-40B4-BE49-F238E27FC236}">
                <a16:creationId xmlns:a16="http://schemas.microsoft.com/office/drawing/2014/main" id="{904F40CE-9692-B8BD-379A-4A3D92EA3556}"/>
              </a:ext>
            </a:extLst>
          </p:cNvPr>
          <p:cNvSpPr txBox="1"/>
          <p:nvPr/>
        </p:nvSpPr>
        <p:spPr>
          <a:xfrm>
            <a:off x="1882415" y="4023348"/>
            <a:ext cx="1623504"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a:t>
            </a:r>
            <a:r>
              <a:rPr kumimoji="0" lang="ru-RU"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35 </a:t>
            </a:r>
            <a:r>
              <a:rPr kumimoji="0" lang="en-US"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billion</a:t>
            </a:r>
            <a:endParaRPr kumimoji="0" lang="ru-RU"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endParaRPr>
          </a:p>
        </p:txBody>
      </p:sp>
      <p:sp>
        <p:nvSpPr>
          <p:cNvPr id="23" name="TextBox 22">
            <a:extLst>
              <a:ext uri="{FF2B5EF4-FFF2-40B4-BE49-F238E27FC236}">
                <a16:creationId xmlns:a16="http://schemas.microsoft.com/office/drawing/2014/main" id="{40BFB72E-698E-ECF0-B77D-EE28A7E393C6}"/>
              </a:ext>
            </a:extLst>
          </p:cNvPr>
          <p:cNvSpPr txBox="1"/>
          <p:nvPr/>
        </p:nvSpPr>
        <p:spPr>
          <a:xfrm>
            <a:off x="814678" y="4037313"/>
            <a:ext cx="111761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MALAYSIA</a:t>
            </a:r>
            <a:r>
              <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p>
        </p:txBody>
      </p:sp>
      <p:sp>
        <p:nvSpPr>
          <p:cNvPr id="24" name="Прямоугольник: скругленные углы 3">
            <a:extLst>
              <a:ext uri="{FF2B5EF4-FFF2-40B4-BE49-F238E27FC236}">
                <a16:creationId xmlns:a16="http://schemas.microsoft.com/office/drawing/2014/main" id="{60998E8A-569B-B0A5-71EE-A0C426D0B6D1}"/>
              </a:ext>
            </a:extLst>
          </p:cNvPr>
          <p:cNvSpPr/>
          <p:nvPr/>
        </p:nvSpPr>
        <p:spPr>
          <a:xfrm>
            <a:off x="220562" y="3960896"/>
            <a:ext cx="3905370" cy="420501"/>
          </a:xfrm>
          <a:prstGeom prst="roundRect">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25" name="TextBox 24">
            <a:extLst>
              <a:ext uri="{FF2B5EF4-FFF2-40B4-BE49-F238E27FC236}">
                <a16:creationId xmlns:a16="http://schemas.microsoft.com/office/drawing/2014/main" id="{EC998426-BEBF-EC90-6CCC-80B3FDC734C1}"/>
              </a:ext>
            </a:extLst>
          </p:cNvPr>
          <p:cNvSpPr txBox="1"/>
          <p:nvPr/>
        </p:nvSpPr>
        <p:spPr>
          <a:xfrm>
            <a:off x="9960292" y="4019308"/>
            <a:ext cx="1623504"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a:t>
            </a:r>
            <a:r>
              <a:rPr kumimoji="0" lang="ru-RU"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0,6 </a:t>
            </a:r>
            <a:r>
              <a:rPr kumimoji="0" lang="en-US"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billion</a:t>
            </a:r>
            <a:endParaRPr kumimoji="0" lang="ru-RU"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endParaRPr>
          </a:p>
        </p:txBody>
      </p:sp>
      <p:sp>
        <p:nvSpPr>
          <p:cNvPr id="29" name="TextBox 28">
            <a:extLst>
              <a:ext uri="{FF2B5EF4-FFF2-40B4-BE49-F238E27FC236}">
                <a16:creationId xmlns:a16="http://schemas.microsoft.com/office/drawing/2014/main" id="{91FEB12C-C7A7-D610-460E-2B07FDEEDC47}"/>
              </a:ext>
            </a:extLst>
          </p:cNvPr>
          <p:cNvSpPr txBox="1"/>
          <p:nvPr/>
        </p:nvSpPr>
        <p:spPr>
          <a:xfrm>
            <a:off x="9029264" y="4027050"/>
            <a:ext cx="124264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CAMBODIA</a:t>
            </a:r>
            <a:r>
              <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p>
        </p:txBody>
      </p:sp>
      <p:sp>
        <p:nvSpPr>
          <p:cNvPr id="30" name="Прямоугольник: скругленные углы 3">
            <a:extLst>
              <a:ext uri="{FF2B5EF4-FFF2-40B4-BE49-F238E27FC236}">
                <a16:creationId xmlns:a16="http://schemas.microsoft.com/office/drawing/2014/main" id="{B5E4679B-5988-27D5-C698-F5BF26467D6A}"/>
              </a:ext>
            </a:extLst>
          </p:cNvPr>
          <p:cNvSpPr/>
          <p:nvPr/>
        </p:nvSpPr>
        <p:spPr>
          <a:xfrm>
            <a:off x="4340434" y="3960896"/>
            <a:ext cx="3814393" cy="420501"/>
          </a:xfrm>
          <a:prstGeom prst="roundRect">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31" name="TextBox 30">
            <a:extLst>
              <a:ext uri="{FF2B5EF4-FFF2-40B4-BE49-F238E27FC236}">
                <a16:creationId xmlns:a16="http://schemas.microsoft.com/office/drawing/2014/main" id="{E548D223-D453-5498-1647-62EF2E1D3941}"/>
              </a:ext>
            </a:extLst>
          </p:cNvPr>
          <p:cNvSpPr txBox="1"/>
          <p:nvPr/>
        </p:nvSpPr>
        <p:spPr>
          <a:xfrm>
            <a:off x="6012866" y="4023348"/>
            <a:ext cx="1623504"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a:t>
            </a:r>
            <a:r>
              <a:rPr kumimoji="0" lang="ru-RU"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5 </a:t>
            </a:r>
            <a:r>
              <a:rPr kumimoji="0" lang="en-US"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billion</a:t>
            </a:r>
            <a:endParaRPr kumimoji="0" lang="ru-RU"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endParaRPr>
          </a:p>
        </p:txBody>
      </p:sp>
      <p:sp>
        <p:nvSpPr>
          <p:cNvPr id="32" name="TextBox 31">
            <a:extLst>
              <a:ext uri="{FF2B5EF4-FFF2-40B4-BE49-F238E27FC236}">
                <a16:creationId xmlns:a16="http://schemas.microsoft.com/office/drawing/2014/main" id="{E67E5FF1-B5FB-5346-C6C2-7D01B407F878}"/>
              </a:ext>
            </a:extLst>
          </p:cNvPr>
          <p:cNvSpPr txBox="1"/>
          <p:nvPr/>
        </p:nvSpPr>
        <p:spPr>
          <a:xfrm>
            <a:off x="4967075" y="4038523"/>
            <a:ext cx="119776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HILIPPINES</a:t>
            </a:r>
            <a:r>
              <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p>
        </p:txBody>
      </p:sp>
      <p:sp>
        <p:nvSpPr>
          <p:cNvPr id="36" name="Прямоугольник: скругленные углы 3">
            <a:extLst>
              <a:ext uri="{FF2B5EF4-FFF2-40B4-BE49-F238E27FC236}">
                <a16:creationId xmlns:a16="http://schemas.microsoft.com/office/drawing/2014/main" id="{FFF1918F-555F-D3E2-1A27-304E25D56DA3}"/>
              </a:ext>
            </a:extLst>
          </p:cNvPr>
          <p:cNvSpPr/>
          <p:nvPr/>
        </p:nvSpPr>
        <p:spPr>
          <a:xfrm>
            <a:off x="8364566" y="3960896"/>
            <a:ext cx="3570776" cy="420501"/>
          </a:xfrm>
          <a:prstGeom prst="roundRect">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graphicFrame>
        <p:nvGraphicFramePr>
          <p:cNvPr id="16" name="Диаграмма 15">
            <a:extLst>
              <a:ext uri="{FF2B5EF4-FFF2-40B4-BE49-F238E27FC236}">
                <a16:creationId xmlns:a16="http://schemas.microsoft.com/office/drawing/2014/main" id="{5F57B91F-F5C2-449D-AEEE-3CC309EC9F01}"/>
              </a:ext>
            </a:extLst>
          </p:cNvPr>
          <p:cNvGraphicFramePr>
            <a:graphicFrameLocks/>
          </p:cNvGraphicFramePr>
          <p:nvPr/>
        </p:nvGraphicFramePr>
        <p:xfrm>
          <a:off x="117559" y="1348295"/>
          <a:ext cx="4025082" cy="238610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1" name="Диаграмма 20">
            <a:extLst>
              <a:ext uri="{FF2B5EF4-FFF2-40B4-BE49-F238E27FC236}">
                <a16:creationId xmlns:a16="http://schemas.microsoft.com/office/drawing/2014/main" id="{2C0D8833-AD30-4895-96B7-AF5BC066EA4A}"/>
              </a:ext>
            </a:extLst>
          </p:cNvPr>
          <p:cNvGraphicFramePr>
            <a:graphicFrameLocks/>
          </p:cNvGraphicFramePr>
          <p:nvPr/>
        </p:nvGraphicFramePr>
        <p:xfrm>
          <a:off x="4341091" y="1293091"/>
          <a:ext cx="3842327" cy="244763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4" name="Диаграмма 33">
            <a:extLst>
              <a:ext uri="{FF2B5EF4-FFF2-40B4-BE49-F238E27FC236}">
                <a16:creationId xmlns:a16="http://schemas.microsoft.com/office/drawing/2014/main" id="{CF2B3A9B-5DC5-449E-8AA0-880D8B557EDF}"/>
              </a:ext>
            </a:extLst>
          </p:cNvPr>
          <p:cNvGraphicFramePr>
            <a:graphicFrameLocks/>
          </p:cNvGraphicFramePr>
          <p:nvPr/>
        </p:nvGraphicFramePr>
        <p:xfrm>
          <a:off x="8372765" y="1335086"/>
          <a:ext cx="3666835" cy="240564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0" name="Диаграмма 39">
            <a:extLst>
              <a:ext uri="{FF2B5EF4-FFF2-40B4-BE49-F238E27FC236}">
                <a16:creationId xmlns:a16="http://schemas.microsoft.com/office/drawing/2014/main" id="{D384E182-EEDA-869A-76CD-F4F27FA7B0A3}"/>
              </a:ext>
            </a:extLst>
          </p:cNvPr>
          <p:cNvGraphicFramePr>
            <a:graphicFrameLocks/>
          </p:cNvGraphicFramePr>
          <p:nvPr/>
        </p:nvGraphicFramePr>
        <p:xfrm>
          <a:off x="138545" y="4556197"/>
          <a:ext cx="3957205" cy="213092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1" name="Диаграмма 40">
            <a:extLst>
              <a:ext uri="{FF2B5EF4-FFF2-40B4-BE49-F238E27FC236}">
                <a16:creationId xmlns:a16="http://schemas.microsoft.com/office/drawing/2014/main" id="{C82B5AF9-96A4-4DB0-8171-EB7BB12FC89A}"/>
              </a:ext>
            </a:extLst>
          </p:cNvPr>
          <p:cNvGraphicFramePr>
            <a:graphicFrameLocks/>
          </p:cNvGraphicFramePr>
          <p:nvPr/>
        </p:nvGraphicFramePr>
        <p:xfrm>
          <a:off x="4343400" y="4557712"/>
          <a:ext cx="3781425" cy="2205038"/>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2" name="Диаграмма 41">
            <a:extLst>
              <a:ext uri="{FF2B5EF4-FFF2-40B4-BE49-F238E27FC236}">
                <a16:creationId xmlns:a16="http://schemas.microsoft.com/office/drawing/2014/main" id="{9C084B1A-1020-4D3C-8D9C-0E136D62A076}"/>
              </a:ext>
            </a:extLst>
          </p:cNvPr>
          <p:cNvGraphicFramePr>
            <a:graphicFrameLocks/>
          </p:cNvGraphicFramePr>
          <p:nvPr/>
        </p:nvGraphicFramePr>
        <p:xfrm>
          <a:off x="8391525" y="4705349"/>
          <a:ext cx="3648075" cy="2047876"/>
        </p:xfrm>
        <a:graphic>
          <a:graphicData uri="http://schemas.openxmlformats.org/drawingml/2006/chart">
            <c:chart xmlns:c="http://schemas.openxmlformats.org/drawingml/2006/chart" xmlns:r="http://schemas.openxmlformats.org/officeDocument/2006/relationships" r:id="rId8"/>
          </a:graphicData>
        </a:graphic>
      </p:graphicFrame>
      <p:pic>
        <p:nvPicPr>
          <p:cNvPr id="38" name="Рисунок 3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96403" y="845532"/>
            <a:ext cx="493288" cy="329116"/>
          </a:xfrm>
          <a:prstGeom prst="rect">
            <a:avLst/>
          </a:prstGeom>
          <a:ln>
            <a:solidFill>
              <a:schemeClr val="bg2">
                <a:lumMod val="90000"/>
              </a:schemeClr>
            </a:solidFill>
          </a:ln>
        </p:spPr>
      </p:pic>
      <p:pic>
        <p:nvPicPr>
          <p:cNvPr id="3" name="Рисунок 2"/>
          <p:cNvPicPr>
            <a:picLocks noChangeAspect="1"/>
          </p:cNvPicPr>
          <p:nvPr/>
        </p:nvPicPr>
        <p:blipFill>
          <a:blip r:embed="rId10"/>
          <a:stretch>
            <a:fillRect/>
          </a:stretch>
        </p:blipFill>
        <p:spPr>
          <a:xfrm>
            <a:off x="4389841" y="843937"/>
            <a:ext cx="497153" cy="328105"/>
          </a:xfrm>
          <a:prstGeom prst="rect">
            <a:avLst/>
          </a:prstGeom>
          <a:ln>
            <a:solidFill>
              <a:schemeClr val="bg2">
                <a:lumMod val="90000"/>
              </a:schemeClr>
            </a:solidFill>
          </a:ln>
        </p:spPr>
      </p:pic>
      <p:pic>
        <p:nvPicPr>
          <p:cNvPr id="43" name="Рисунок 4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94813" y="4068849"/>
            <a:ext cx="486169" cy="243085"/>
          </a:xfrm>
          <a:prstGeom prst="rect">
            <a:avLst/>
          </a:prstGeom>
        </p:spPr>
      </p:pic>
      <p:pic>
        <p:nvPicPr>
          <p:cNvPr id="9" name="Рисунок 8"/>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423667" y="4074909"/>
            <a:ext cx="470014" cy="235007"/>
          </a:xfrm>
          <a:prstGeom prst="rect">
            <a:avLst/>
          </a:prstGeom>
        </p:spPr>
      </p:pic>
      <p:sp>
        <p:nvSpPr>
          <p:cNvPr id="45" name="TextBox 44">
            <a:extLst>
              <a:ext uri="{FF2B5EF4-FFF2-40B4-BE49-F238E27FC236}">
                <a16:creationId xmlns:a16="http://schemas.microsoft.com/office/drawing/2014/main" id="{EC998426-BEBF-EC90-6CCC-80B3FDC734C1}"/>
              </a:ext>
            </a:extLst>
          </p:cNvPr>
          <p:cNvSpPr txBox="1"/>
          <p:nvPr/>
        </p:nvSpPr>
        <p:spPr>
          <a:xfrm>
            <a:off x="9951583" y="849453"/>
            <a:ext cx="1623504"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a:t>
            </a:r>
            <a:r>
              <a:rPr kumimoji="0" lang="ru-RU"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67 </a:t>
            </a:r>
            <a:r>
              <a:rPr kumimoji="0" lang="en-US"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billion</a:t>
            </a:r>
            <a:endParaRPr kumimoji="0" lang="ru-RU"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endParaRPr>
          </a:p>
        </p:txBody>
      </p:sp>
      <p:sp>
        <p:nvSpPr>
          <p:cNvPr id="46" name="TextBox 45">
            <a:extLst>
              <a:ext uri="{FF2B5EF4-FFF2-40B4-BE49-F238E27FC236}">
                <a16:creationId xmlns:a16="http://schemas.microsoft.com/office/drawing/2014/main" id="{91FEB12C-C7A7-D610-460E-2B07FDEEDC47}"/>
              </a:ext>
            </a:extLst>
          </p:cNvPr>
          <p:cNvSpPr txBox="1"/>
          <p:nvPr/>
        </p:nvSpPr>
        <p:spPr>
          <a:xfrm>
            <a:off x="9029264" y="857195"/>
            <a:ext cx="109036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HAILAND</a:t>
            </a:r>
            <a:r>
              <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p>
        </p:txBody>
      </p:sp>
      <p:pic>
        <p:nvPicPr>
          <p:cNvPr id="47" name="Рисунок 46"/>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455778" y="877978"/>
            <a:ext cx="500312" cy="281425"/>
          </a:xfrm>
          <a:prstGeom prst="rect">
            <a:avLst/>
          </a:prstGeom>
        </p:spPr>
      </p:pic>
      <p:pic>
        <p:nvPicPr>
          <p:cNvPr id="2" name="Рисунок 1"/>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447042" y="4025517"/>
            <a:ext cx="483876" cy="309956"/>
          </a:xfrm>
          <a:prstGeom prst="rect">
            <a:avLst/>
          </a:prstGeom>
        </p:spPr>
      </p:pic>
    </p:spTree>
    <p:extLst>
      <p:ext uri="{BB962C8B-B14F-4D97-AF65-F5344CB8AC3E}">
        <p14:creationId xmlns:p14="http://schemas.microsoft.com/office/powerpoint/2010/main" val="402608046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Box 2">
            <a:extLst>
              <a:ext uri="{FF2B5EF4-FFF2-40B4-BE49-F238E27FC236}">
                <a16:creationId xmlns:a16="http://schemas.microsoft.com/office/drawing/2014/main" id="{493053D4-364D-4A3B-8DB8-241E292A3827}"/>
              </a:ext>
            </a:extLst>
          </p:cNvPr>
          <p:cNvSpPr txBox="1"/>
          <p:nvPr/>
        </p:nvSpPr>
        <p:spPr>
          <a:xfrm>
            <a:off x="220563" y="194381"/>
            <a:ext cx="11781756" cy="371897"/>
          </a:xfrm>
          <a:prstGeom prst="rect">
            <a:avLst/>
          </a:prstGeom>
        </p:spPr>
        <p:txBody>
          <a:bodyPr wrap="square" lIns="0" tIns="0" rIns="0" bIns="0" rtlCol="0" anchor="t">
            <a:spAutoFit/>
          </a:bodyPr>
          <a:lstStyle/>
          <a:p>
            <a:pPr marL="0" marR="0" lvl="0" indent="0" algn="l" defTabSz="914400" rtl="0" eaLnBrk="1" fontAlgn="auto" latinLnBrk="0" hangingPunct="1">
              <a:lnSpc>
                <a:spcPts val="2946"/>
              </a:lnSpc>
              <a:spcBef>
                <a:spcPts val="0"/>
              </a:spcBef>
              <a:spcAft>
                <a:spcPts val="0"/>
              </a:spcAft>
              <a:buClrTx/>
              <a:buSzTx/>
              <a:buFontTx/>
              <a:buNone/>
              <a:tabLst/>
              <a:defRPr/>
            </a:pPr>
            <a:r>
              <a:rPr kumimoji="0" lang="en-US" sz="26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TRADE AND INVESTMENT POTENTIAL OF SOUTHEAST ASIA*</a:t>
            </a:r>
          </a:p>
        </p:txBody>
      </p:sp>
      <p:sp>
        <p:nvSpPr>
          <p:cNvPr id="26" name="Прямоугольник: скругленные углы 3">
            <a:extLst>
              <a:ext uri="{FF2B5EF4-FFF2-40B4-BE49-F238E27FC236}">
                <a16:creationId xmlns:a16="http://schemas.microsoft.com/office/drawing/2014/main" id="{6785404D-4260-4187-A85C-B853E3BDA491}"/>
              </a:ext>
            </a:extLst>
          </p:cNvPr>
          <p:cNvSpPr/>
          <p:nvPr/>
        </p:nvSpPr>
        <p:spPr>
          <a:xfrm>
            <a:off x="228601" y="816418"/>
            <a:ext cx="5700954" cy="393649"/>
          </a:xfrm>
          <a:prstGeom prst="roundRect">
            <a:avLst>
              <a:gd name="adj" fmla="val 10507"/>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31" name="TextBox 30">
            <a:extLst>
              <a:ext uri="{FF2B5EF4-FFF2-40B4-BE49-F238E27FC236}">
                <a16:creationId xmlns:a16="http://schemas.microsoft.com/office/drawing/2014/main" id="{3037CCCB-C487-4C23-B457-75E1DC32013F}"/>
              </a:ext>
            </a:extLst>
          </p:cNvPr>
          <p:cNvSpPr txBox="1"/>
          <p:nvPr/>
        </p:nvSpPr>
        <p:spPr>
          <a:xfrm>
            <a:off x="659153" y="874816"/>
            <a:ext cx="5218396" cy="289888"/>
          </a:xfrm>
          <a:prstGeom prst="rect">
            <a:avLst/>
          </a:prstGeom>
          <a:noFill/>
        </p:spPr>
        <p:txBody>
          <a:bodyPr wrap="square" rtlCol="0">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300" b="0" i="0" u="none" strike="noStrike" kern="100" cap="none" spc="0" normalizeH="0" baseline="0" noProof="0" dirty="0">
                <a:ln>
                  <a:noFill/>
                </a:ln>
                <a:solidFill>
                  <a:prstClr val="black">
                    <a:lumMod val="65000"/>
                    <a:lumOff val="35000"/>
                  </a:prstClr>
                </a:solidFill>
                <a:effectLst/>
                <a:uLnTx/>
                <a:uFillTx/>
                <a:latin typeface="Century Gothic" panose="020B0502020202020204" pitchFamily="34" charset="0"/>
                <a:ea typeface="Aptos"/>
                <a:cs typeface="Times New Roman" panose="02020603050405020304" pitchFamily="18" charset="0"/>
              </a:rPr>
              <a:t>TRADE TURNOVER </a:t>
            </a:r>
            <a:r>
              <a:rPr kumimoji="0" lang="ru-RU" sz="1300" b="0" i="0" u="none" strike="noStrike" kern="100" cap="none" spc="0" normalizeH="0" baseline="0" noProof="0" dirty="0">
                <a:ln>
                  <a:noFill/>
                </a:ln>
                <a:solidFill>
                  <a:prstClr val="black">
                    <a:lumMod val="65000"/>
                    <a:lumOff val="35000"/>
                  </a:prstClr>
                </a:solidFill>
                <a:effectLst/>
                <a:uLnTx/>
                <a:uFillTx/>
                <a:latin typeface="Century Gothic" panose="020B0502020202020204" pitchFamily="34" charset="0"/>
                <a:ea typeface="Aptos"/>
                <a:cs typeface="Times New Roman" panose="02020603050405020304" pitchFamily="18" charset="0"/>
              </a:rPr>
              <a:t>2024</a:t>
            </a:r>
            <a:endParaRPr kumimoji="0" lang="en" sz="1300" b="0" i="0" u="none" strike="noStrike" kern="100" cap="none" spc="0" normalizeH="0" baseline="0" noProof="0" dirty="0">
              <a:ln>
                <a:noFill/>
              </a:ln>
              <a:solidFill>
                <a:prstClr val="black">
                  <a:lumMod val="65000"/>
                  <a:lumOff val="35000"/>
                </a:prstClr>
              </a:solidFill>
              <a:effectLst/>
              <a:uLnTx/>
              <a:uFillTx/>
              <a:latin typeface="Century Gothic" panose="020B0502020202020204" pitchFamily="34" charset="0"/>
              <a:ea typeface="Aptos"/>
              <a:cs typeface="Times New Roman" panose="02020603050405020304" pitchFamily="18" charset="0"/>
            </a:endParaRPr>
          </a:p>
        </p:txBody>
      </p:sp>
      <p:pic>
        <p:nvPicPr>
          <p:cNvPr id="32" name="Рисунок 31">
            <a:extLst>
              <a:ext uri="{FF2B5EF4-FFF2-40B4-BE49-F238E27FC236}">
                <a16:creationId xmlns:a16="http://schemas.microsoft.com/office/drawing/2014/main" id="{D16245E1-AC6D-4D21-8F73-1BD0CD85B94E}"/>
              </a:ext>
            </a:extLst>
          </p:cNvPr>
          <p:cNvPicPr>
            <a:picLocks noChangeAspect="1"/>
          </p:cNvPicPr>
          <p:nvPr/>
        </p:nvPicPr>
        <p:blipFill>
          <a:blip r:embed="rId3">
            <a:duotone>
              <a:schemeClr val="accent1">
                <a:shade val="45000"/>
                <a:satMod val="135000"/>
              </a:schemeClr>
              <a:prstClr val="white"/>
            </a:duotone>
          </a:blip>
          <a:stretch>
            <a:fillRect/>
          </a:stretch>
        </p:blipFill>
        <p:spPr>
          <a:xfrm>
            <a:off x="301529" y="849863"/>
            <a:ext cx="335376" cy="335376"/>
          </a:xfrm>
          <a:prstGeom prst="rect">
            <a:avLst/>
          </a:prstGeom>
        </p:spPr>
      </p:pic>
      <p:sp>
        <p:nvSpPr>
          <p:cNvPr id="36" name="TextBox 35">
            <a:extLst>
              <a:ext uri="{FF2B5EF4-FFF2-40B4-BE49-F238E27FC236}">
                <a16:creationId xmlns:a16="http://schemas.microsoft.com/office/drawing/2014/main" id="{26A6651E-0CAC-46DA-9F21-5A176399D959}"/>
              </a:ext>
            </a:extLst>
          </p:cNvPr>
          <p:cNvSpPr txBox="1"/>
          <p:nvPr/>
        </p:nvSpPr>
        <p:spPr>
          <a:xfrm>
            <a:off x="-19087" y="1672366"/>
            <a:ext cx="2136197"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8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 </a:t>
            </a:r>
            <a:r>
              <a:rPr kumimoji="0" lang="en-US" sz="18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SOUTHEAST ASIAN COUNTRIES</a:t>
            </a:r>
            <a:endParaRPr kumimoji="0" lang="en" sz="18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endParaRPr>
          </a:p>
        </p:txBody>
      </p:sp>
      <p:sp>
        <p:nvSpPr>
          <p:cNvPr id="37" name="TextBox 36">
            <a:extLst>
              <a:ext uri="{FF2B5EF4-FFF2-40B4-BE49-F238E27FC236}">
                <a16:creationId xmlns:a16="http://schemas.microsoft.com/office/drawing/2014/main" id="{AF26FCC3-83E0-400B-809F-944E929EF911}"/>
              </a:ext>
            </a:extLst>
          </p:cNvPr>
          <p:cNvSpPr txBox="1"/>
          <p:nvPr/>
        </p:nvSpPr>
        <p:spPr>
          <a:xfrm>
            <a:off x="2181375" y="1769362"/>
            <a:ext cx="1546521" cy="103105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 sz="28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a:t>
            </a:r>
            <a:r>
              <a:rPr kumimoji="0" lang="ru-RU" sz="28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3</a:t>
            </a:r>
            <a:r>
              <a:rPr kumimoji="0" lang="en" sz="28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a:t>
            </a:r>
            <a:r>
              <a:rPr kumimoji="0" lang="ru-RU" sz="28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7</a:t>
            </a:r>
            <a:endParaRPr kumimoji="0" lang="en" sz="28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endParaRP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 sz="28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 </a:t>
            </a:r>
            <a:r>
              <a:rPr kumimoji="0" lang="en-US" sz="28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trillion</a:t>
            </a:r>
            <a:endParaRPr kumimoji="0" lang="en" sz="28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endParaRPr>
          </a:p>
        </p:txBody>
      </p:sp>
      <p:sp>
        <p:nvSpPr>
          <p:cNvPr id="38" name="TextBox 37">
            <a:extLst>
              <a:ext uri="{FF2B5EF4-FFF2-40B4-BE49-F238E27FC236}">
                <a16:creationId xmlns:a16="http://schemas.microsoft.com/office/drawing/2014/main" id="{829854BE-2A28-4BB4-AB9E-89498DEF1D28}"/>
              </a:ext>
            </a:extLst>
          </p:cNvPr>
          <p:cNvSpPr txBox="1"/>
          <p:nvPr/>
        </p:nvSpPr>
        <p:spPr>
          <a:xfrm>
            <a:off x="1887271" y="1243161"/>
            <a:ext cx="2161649"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Export </a:t>
            </a:r>
            <a:r>
              <a:rPr kumimoji="0" lang="en" sz="12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1</a:t>
            </a:r>
            <a:r>
              <a:rPr kumimoji="0" lang="ru-RU" sz="12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9</a:t>
            </a:r>
            <a:r>
              <a:rPr kumimoji="0" lang="en" sz="12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 </a:t>
            </a:r>
            <a:r>
              <a:rPr kumimoji="0" lang="en-US" sz="12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trillion</a:t>
            </a:r>
            <a:endParaRPr kumimoji="0" lang="en" sz="12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endParaRPr>
          </a:p>
        </p:txBody>
      </p:sp>
      <p:sp>
        <p:nvSpPr>
          <p:cNvPr id="39" name="TextBox 38">
            <a:extLst>
              <a:ext uri="{FF2B5EF4-FFF2-40B4-BE49-F238E27FC236}">
                <a16:creationId xmlns:a16="http://schemas.microsoft.com/office/drawing/2014/main" id="{4F8AE42A-F2B8-456A-8141-2761E1ACD7E6}"/>
              </a:ext>
            </a:extLst>
          </p:cNvPr>
          <p:cNvSpPr txBox="1"/>
          <p:nvPr/>
        </p:nvSpPr>
        <p:spPr>
          <a:xfrm>
            <a:off x="1874714" y="2973408"/>
            <a:ext cx="2161649"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Import</a:t>
            </a:r>
            <a:r>
              <a:rPr kumimoji="0" lang="en" sz="12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 $</a:t>
            </a:r>
            <a:r>
              <a:rPr kumimoji="0" lang="ru-RU" sz="12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1</a:t>
            </a:r>
            <a:r>
              <a:rPr kumimoji="0" lang="en" sz="12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a:t>
            </a:r>
            <a:r>
              <a:rPr kumimoji="0" lang="ru-RU" sz="12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8</a:t>
            </a:r>
            <a:r>
              <a:rPr kumimoji="0" lang="en" sz="12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 trillion</a:t>
            </a:r>
          </a:p>
        </p:txBody>
      </p:sp>
      <p:sp>
        <p:nvSpPr>
          <p:cNvPr id="40" name="Выгнутая вверх стрелка 42">
            <a:extLst>
              <a:ext uri="{FF2B5EF4-FFF2-40B4-BE49-F238E27FC236}">
                <a16:creationId xmlns:a16="http://schemas.microsoft.com/office/drawing/2014/main" id="{3B6C9F0C-4461-429E-838E-93E31AAC5FC0}"/>
              </a:ext>
            </a:extLst>
          </p:cNvPr>
          <p:cNvSpPr/>
          <p:nvPr/>
        </p:nvSpPr>
        <p:spPr>
          <a:xfrm>
            <a:off x="1966211" y="1514533"/>
            <a:ext cx="2117882" cy="667563"/>
          </a:xfrm>
          <a:prstGeom prst="curvedDownArrow">
            <a:avLst>
              <a:gd name="adj1" fmla="val 25000"/>
              <a:gd name="adj2" fmla="val 80132"/>
              <a:gd name="adj3" fmla="val 22700"/>
            </a:avLst>
          </a:prstGeom>
          <a:solidFill>
            <a:schemeClr val="accent1">
              <a:lumMod val="75000"/>
            </a:schemeClr>
          </a:solidFill>
          <a:ln w="9525" cap="flat" cmpd="sng" algn="ctr">
            <a:noFill/>
            <a:prstDash val="solid"/>
          </a:ln>
          <a:effec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400" b="1"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41" name="Выгнутая вверх стрелка 44">
            <a:extLst>
              <a:ext uri="{FF2B5EF4-FFF2-40B4-BE49-F238E27FC236}">
                <a16:creationId xmlns:a16="http://schemas.microsoft.com/office/drawing/2014/main" id="{E2FABA1E-FF05-4628-9EFC-E3FABA87E6A9}"/>
              </a:ext>
            </a:extLst>
          </p:cNvPr>
          <p:cNvSpPr/>
          <p:nvPr/>
        </p:nvSpPr>
        <p:spPr>
          <a:xfrm rot="10800000">
            <a:off x="1841963" y="2331974"/>
            <a:ext cx="2117882" cy="668321"/>
          </a:xfrm>
          <a:prstGeom prst="curvedDownArrow">
            <a:avLst>
              <a:gd name="adj1" fmla="val 25000"/>
              <a:gd name="adj2" fmla="val 80132"/>
              <a:gd name="adj3" fmla="val 22700"/>
            </a:avLst>
          </a:prstGeom>
          <a:solidFill>
            <a:schemeClr val="accent1">
              <a:lumMod val="75000"/>
            </a:schemeClr>
          </a:solidFill>
          <a:ln w="9525" cap="flat" cmpd="sng" algn="ctr">
            <a:noFill/>
            <a:prstDash val="solid"/>
          </a:ln>
          <a:effec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400" b="1"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mn-cs"/>
            </a:endParaRPr>
          </a:p>
        </p:txBody>
      </p:sp>
      <p:cxnSp>
        <p:nvCxnSpPr>
          <p:cNvPr id="59" name="Прямая соединительная линия 58">
            <a:extLst>
              <a:ext uri="{FF2B5EF4-FFF2-40B4-BE49-F238E27FC236}">
                <a16:creationId xmlns:a16="http://schemas.microsoft.com/office/drawing/2014/main" id="{8B6C9804-82AD-4DFF-83EE-890B4406B745}"/>
              </a:ext>
            </a:extLst>
          </p:cNvPr>
          <p:cNvCxnSpPr>
            <a:cxnSpLocks/>
          </p:cNvCxnSpPr>
          <p:nvPr/>
        </p:nvCxnSpPr>
        <p:spPr>
          <a:xfrm>
            <a:off x="6138470" y="1069641"/>
            <a:ext cx="0" cy="5472000"/>
          </a:xfrm>
          <a:prstGeom prst="line">
            <a:avLst/>
          </a:prstGeom>
          <a:ln w="19050"/>
        </p:spPr>
        <p:style>
          <a:lnRef idx="1">
            <a:schemeClr val="accent4"/>
          </a:lnRef>
          <a:fillRef idx="0">
            <a:schemeClr val="accent4"/>
          </a:fillRef>
          <a:effectRef idx="0">
            <a:schemeClr val="accent4"/>
          </a:effectRef>
          <a:fontRef idx="minor">
            <a:schemeClr val="tx1"/>
          </a:fontRef>
        </p:style>
      </p:cxnSp>
      <p:sp>
        <p:nvSpPr>
          <p:cNvPr id="34" name="Прямоугольник: скругленные углы 3">
            <a:extLst>
              <a:ext uri="{FF2B5EF4-FFF2-40B4-BE49-F238E27FC236}">
                <a16:creationId xmlns:a16="http://schemas.microsoft.com/office/drawing/2014/main" id="{B6E23829-082E-4294-B26E-2A01B5A07028}"/>
              </a:ext>
            </a:extLst>
          </p:cNvPr>
          <p:cNvSpPr/>
          <p:nvPr/>
        </p:nvSpPr>
        <p:spPr>
          <a:xfrm>
            <a:off x="228601" y="3612585"/>
            <a:ext cx="5700954" cy="393649"/>
          </a:xfrm>
          <a:prstGeom prst="roundRect">
            <a:avLst>
              <a:gd name="adj" fmla="val 10507"/>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43" name="TextBox 42">
            <a:extLst>
              <a:ext uri="{FF2B5EF4-FFF2-40B4-BE49-F238E27FC236}">
                <a16:creationId xmlns:a16="http://schemas.microsoft.com/office/drawing/2014/main" id="{B574D336-E2A9-4614-A303-0440AEEF8DDC}"/>
              </a:ext>
            </a:extLst>
          </p:cNvPr>
          <p:cNvSpPr txBox="1"/>
          <p:nvPr/>
        </p:nvSpPr>
        <p:spPr>
          <a:xfrm>
            <a:off x="692279" y="3670983"/>
            <a:ext cx="4443623" cy="305084"/>
          </a:xfrm>
          <a:prstGeom prst="rect">
            <a:avLst/>
          </a:prstGeom>
          <a:noFill/>
        </p:spPr>
        <p:txBody>
          <a:bodyPr wrap="square" rtlCol="0">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400" b="0" i="0" u="none" strike="noStrike" kern="100" cap="none" spc="0" normalizeH="0" baseline="0" noProof="0" dirty="0">
                <a:ln>
                  <a:noFill/>
                </a:ln>
                <a:solidFill>
                  <a:prstClr val="black">
                    <a:lumMod val="65000"/>
                    <a:lumOff val="35000"/>
                  </a:prstClr>
                </a:solidFill>
                <a:effectLst/>
                <a:uLnTx/>
                <a:uFillTx/>
                <a:latin typeface="Century Gothic" panose="020B0502020202020204" pitchFamily="34" charset="0"/>
                <a:ea typeface="Aptos"/>
                <a:cs typeface="Times New Roman" panose="02020603050405020304" pitchFamily="18" charset="0"/>
              </a:rPr>
              <a:t>THE REGION IS A KEY SUPPLIER OF</a:t>
            </a:r>
            <a:endParaRPr kumimoji="0" lang="en" sz="1400" b="0" i="0" u="none" strike="noStrike" kern="100" cap="none" spc="0" normalizeH="0" baseline="0" noProof="0" dirty="0">
              <a:ln>
                <a:noFill/>
              </a:ln>
              <a:solidFill>
                <a:prstClr val="black">
                  <a:lumMod val="65000"/>
                  <a:lumOff val="35000"/>
                </a:prstClr>
              </a:solidFill>
              <a:effectLst/>
              <a:uLnTx/>
              <a:uFillTx/>
              <a:latin typeface="Century Gothic" panose="020B0502020202020204" pitchFamily="34" charset="0"/>
              <a:ea typeface="Aptos"/>
              <a:cs typeface="Times New Roman" panose="02020603050405020304" pitchFamily="18" charset="0"/>
            </a:endParaRPr>
          </a:p>
        </p:txBody>
      </p:sp>
      <p:pic>
        <p:nvPicPr>
          <p:cNvPr id="6" name="Рисунок 5">
            <a:extLst>
              <a:ext uri="{FF2B5EF4-FFF2-40B4-BE49-F238E27FC236}">
                <a16:creationId xmlns:a16="http://schemas.microsoft.com/office/drawing/2014/main" id="{A54F71F7-408D-49F0-84A8-F8B7B9E4EA1C}"/>
              </a:ext>
            </a:extLst>
          </p:cNvPr>
          <p:cNvPicPr>
            <a:picLocks noChangeAspect="1"/>
          </p:cNvPicPr>
          <p:nvPr/>
        </p:nvPicPr>
        <p:blipFill>
          <a:blip r:embed="rId4">
            <a:duotone>
              <a:schemeClr val="accent1">
                <a:shade val="45000"/>
                <a:satMod val="135000"/>
              </a:schemeClr>
              <a:prstClr val="white"/>
            </a:duotone>
          </a:blip>
          <a:stretch>
            <a:fillRect/>
          </a:stretch>
        </p:blipFill>
        <p:spPr>
          <a:xfrm>
            <a:off x="295457" y="3650228"/>
            <a:ext cx="329967" cy="329967"/>
          </a:xfrm>
          <a:prstGeom prst="rect">
            <a:avLst/>
          </a:prstGeom>
        </p:spPr>
      </p:pic>
      <p:sp>
        <p:nvSpPr>
          <p:cNvPr id="70" name="TextBox 69">
            <a:extLst>
              <a:ext uri="{FF2B5EF4-FFF2-40B4-BE49-F238E27FC236}">
                <a16:creationId xmlns:a16="http://schemas.microsoft.com/office/drawing/2014/main" id="{3C3C258B-689C-44B4-B9FA-0647C454DE5D}"/>
              </a:ext>
            </a:extLst>
          </p:cNvPr>
          <p:cNvSpPr txBox="1"/>
          <p:nvPr/>
        </p:nvSpPr>
        <p:spPr>
          <a:xfrm>
            <a:off x="4089403" y="5099364"/>
            <a:ext cx="188951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etroleum products, coal, bauxite</a:t>
            </a:r>
            <a:endParaRPr kumimoji="0" lang="en"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73" name="TextBox 72">
            <a:extLst>
              <a:ext uri="{FF2B5EF4-FFF2-40B4-BE49-F238E27FC236}">
                <a16:creationId xmlns:a16="http://schemas.microsoft.com/office/drawing/2014/main" id="{E611C98E-574B-455A-9A2C-9C52E245A62C}"/>
              </a:ext>
            </a:extLst>
          </p:cNvPr>
          <p:cNvSpPr txBox="1"/>
          <p:nvPr/>
        </p:nvSpPr>
        <p:spPr>
          <a:xfrm>
            <a:off x="4100152" y="5783358"/>
            <a:ext cx="184063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harmaceuticals</a:t>
            </a:r>
            <a:r>
              <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nd medical products</a:t>
            </a:r>
            <a:endParaRPr kumimoji="0" lang="en"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85" name="TextBox 84">
            <a:extLst>
              <a:ext uri="{FF2B5EF4-FFF2-40B4-BE49-F238E27FC236}">
                <a16:creationId xmlns:a16="http://schemas.microsoft.com/office/drawing/2014/main" id="{A196E4F8-8A51-4AE5-BF7E-4772E11CAEF3}"/>
              </a:ext>
            </a:extLst>
          </p:cNvPr>
          <p:cNvSpPr txBox="1"/>
          <p:nvPr/>
        </p:nvSpPr>
        <p:spPr>
          <a:xfrm>
            <a:off x="16218" y="6641124"/>
            <a:ext cx="11393321"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Times New Roman" panose="02020603050405020304" pitchFamily="18" charset="0"/>
              </a:rPr>
              <a:t>Source</a:t>
            </a:r>
            <a:r>
              <a:rPr kumimoji="0" lang="en"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Times New Roman" panose="02020603050405020304" pitchFamily="18" charset="0"/>
              </a:rPr>
              <a:t>: </a:t>
            </a:r>
            <a:r>
              <a:rPr kumimoji="0" lang="en-US"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Times New Roman" panose="02020603050405020304" pitchFamily="18" charset="0"/>
              </a:rPr>
              <a:t>unctadstat.org</a:t>
            </a:r>
            <a:r>
              <a:rPr kumimoji="0" lang="ru-RU"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Times New Roman" panose="02020603050405020304" pitchFamily="18" charset="0"/>
              </a:rPr>
              <a:t>, </a:t>
            </a:r>
            <a:r>
              <a:rPr kumimoji="0" lang="en-US"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mn-cs"/>
              </a:rPr>
              <a:t>traidingeconomics.com</a:t>
            </a:r>
            <a:endParaRPr kumimoji="0" lang="en-US"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Times New Roman" panose="02020603050405020304" pitchFamily="18" charset="0"/>
            </a:endParaRPr>
          </a:p>
        </p:txBody>
      </p:sp>
      <p:sp>
        <p:nvSpPr>
          <p:cNvPr id="44" name="TextBox 43">
            <a:extLst>
              <a:ext uri="{FF2B5EF4-FFF2-40B4-BE49-F238E27FC236}">
                <a16:creationId xmlns:a16="http://schemas.microsoft.com/office/drawing/2014/main" id="{2034E818-952C-3800-4F37-941EE70FD4E2}"/>
              </a:ext>
            </a:extLst>
          </p:cNvPr>
          <p:cNvSpPr txBox="1"/>
          <p:nvPr/>
        </p:nvSpPr>
        <p:spPr>
          <a:xfrm>
            <a:off x="754980" y="5829525"/>
            <a:ext cx="257607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extiles, clothing and footwear</a:t>
            </a:r>
            <a:endParaRPr kumimoji="0" lang="en"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2" name="TextBox 1">
            <a:extLst>
              <a:ext uri="{FF2B5EF4-FFF2-40B4-BE49-F238E27FC236}">
                <a16:creationId xmlns:a16="http://schemas.microsoft.com/office/drawing/2014/main" id="{C09F9D0A-A5B6-6889-83BB-5B109C6DFD78}"/>
              </a:ext>
            </a:extLst>
          </p:cNvPr>
          <p:cNvSpPr txBox="1"/>
          <p:nvPr/>
        </p:nvSpPr>
        <p:spPr>
          <a:xfrm>
            <a:off x="3984178" y="2128030"/>
            <a:ext cx="147452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WORLD</a:t>
            </a:r>
            <a:endParaRPr kumimoji="0" lang="en" sz="18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endParaRPr>
          </a:p>
        </p:txBody>
      </p:sp>
      <p:sp>
        <p:nvSpPr>
          <p:cNvPr id="27" name="TextBox 26">
            <a:extLst>
              <a:ext uri="{FF2B5EF4-FFF2-40B4-BE49-F238E27FC236}">
                <a16:creationId xmlns:a16="http://schemas.microsoft.com/office/drawing/2014/main" id="{6C8697CD-5AC1-1440-EA65-EFB7171A338C}"/>
              </a:ext>
            </a:extLst>
          </p:cNvPr>
          <p:cNvSpPr txBox="1"/>
          <p:nvPr/>
        </p:nvSpPr>
        <p:spPr>
          <a:xfrm>
            <a:off x="764912" y="4373428"/>
            <a:ext cx="2432104"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electronics and </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electrical equipment</a:t>
            </a:r>
            <a:endParaRPr kumimoji="0" lang="en" sz="80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46" name="Прямоугольник 45">
            <a:extLst>
              <a:ext uri="{FF2B5EF4-FFF2-40B4-BE49-F238E27FC236}">
                <a16:creationId xmlns:a16="http://schemas.microsoft.com/office/drawing/2014/main" id="{FEE3F6EF-8260-6D00-0704-01FC50558F64}"/>
              </a:ext>
            </a:extLst>
          </p:cNvPr>
          <p:cNvSpPr/>
          <p:nvPr/>
        </p:nvSpPr>
        <p:spPr>
          <a:xfrm>
            <a:off x="6847774" y="4361525"/>
            <a:ext cx="1847171" cy="406265"/>
          </a:xfrm>
          <a:prstGeom prst="rect">
            <a:avLst/>
          </a:prstGeom>
        </p:spPr>
        <p:txBody>
          <a:bodyPr wrap="square">
            <a:spAutoFit/>
          </a:bodyPr>
          <a:lstStyle/>
          <a:p>
            <a:pPr marL="0" marR="0" lvl="0" indent="0" algn="l" defTabSz="1219170" rtl="0" eaLnBrk="1" fontAlgn="auto" latinLnBrk="0" hangingPunct="1">
              <a:lnSpc>
                <a:spcPct val="85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Arial Unicode MS" pitchFamily="34" charset="-128"/>
                <a:cs typeface="Arial" pitchFamily="34" charset="0"/>
                <a:sym typeface="Helvetica Neue Medium"/>
              </a:rPr>
              <a:t>Digital economy </a:t>
            </a:r>
            <a:endParaRPr kumimoji="0" lang="ru-RU" sz="12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Arial Unicode MS" pitchFamily="34" charset="-128"/>
              <a:cs typeface="Arial" pitchFamily="34" charset="0"/>
              <a:sym typeface="Helvetica Neue Medium"/>
            </a:endParaRPr>
          </a:p>
          <a:p>
            <a:pPr marL="0" marR="0" lvl="0" indent="0" algn="l" defTabSz="1219170" rtl="0" eaLnBrk="1" fontAlgn="auto" latinLnBrk="0" hangingPunct="1">
              <a:lnSpc>
                <a:spcPct val="85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Arial Unicode MS" pitchFamily="34" charset="-128"/>
                <a:cs typeface="Arial" pitchFamily="34" charset="0"/>
                <a:sym typeface="Helvetica Neue Medium"/>
              </a:rPr>
              <a:t>and ICT</a:t>
            </a:r>
            <a:endParaRPr kumimoji="0" lang="ru-RU" sz="12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Arial Unicode MS" pitchFamily="34" charset="-128"/>
              <a:cs typeface="Arial" pitchFamily="34" charset="0"/>
              <a:sym typeface="Helvetica Neue Medium"/>
            </a:endParaRPr>
          </a:p>
        </p:txBody>
      </p:sp>
      <p:sp>
        <p:nvSpPr>
          <p:cNvPr id="51" name="Прямоугольник 50">
            <a:extLst>
              <a:ext uri="{FF2B5EF4-FFF2-40B4-BE49-F238E27FC236}">
                <a16:creationId xmlns:a16="http://schemas.microsoft.com/office/drawing/2014/main" id="{2041C4A2-1436-E7B8-971A-00C3870E5AA6}"/>
              </a:ext>
            </a:extLst>
          </p:cNvPr>
          <p:cNvSpPr/>
          <p:nvPr/>
        </p:nvSpPr>
        <p:spPr>
          <a:xfrm>
            <a:off x="6847774" y="5057997"/>
            <a:ext cx="2463947" cy="406265"/>
          </a:xfrm>
          <a:prstGeom prst="rect">
            <a:avLst/>
          </a:prstGeom>
        </p:spPr>
        <p:txBody>
          <a:bodyPr wrap="square">
            <a:spAutoFit/>
          </a:bodyPr>
          <a:lstStyle/>
          <a:p>
            <a:pPr marL="0" marR="0" lvl="0" indent="0" algn="l" defTabSz="1219170" rtl="0" eaLnBrk="1" fontAlgn="auto" latinLnBrk="0" hangingPunct="1">
              <a:lnSpc>
                <a:spcPct val="85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Arial Unicode MS" pitchFamily="34" charset="-128"/>
                <a:cs typeface="Arial" pitchFamily="34" charset="0"/>
                <a:sym typeface="Helvetica Neue Medium"/>
              </a:rPr>
              <a:t>Green energy and </a:t>
            </a:r>
            <a:r>
              <a:rPr kumimoji="0" lang="en-US" sz="1200" b="0" i="0" u="none" strike="noStrike" kern="1200" cap="none" spc="0" normalizeH="0" baseline="0" noProof="0" dirty="0" err="1">
                <a:ln>
                  <a:noFill/>
                </a:ln>
                <a:solidFill>
                  <a:prstClr val="white">
                    <a:lumMod val="50000"/>
                  </a:prstClr>
                </a:solidFill>
                <a:effectLst/>
                <a:uLnTx/>
                <a:uFillTx/>
                <a:latin typeface="Century Gothic" panose="020B0502020202020204" pitchFamily="34" charset="0"/>
                <a:ea typeface="Arial Unicode MS" pitchFamily="34" charset="-128"/>
                <a:cs typeface="Arial" pitchFamily="34" charset="0"/>
                <a:sym typeface="Helvetica Neue Medium"/>
              </a:rPr>
              <a:t>decarbonization</a:t>
            </a:r>
            <a:endParaRPr kumimoji="0" lang="ru-RU" sz="12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Arial Unicode MS" pitchFamily="34" charset="-128"/>
              <a:cs typeface="Arial" pitchFamily="34" charset="0"/>
              <a:sym typeface="Helvetica Neue Medium"/>
            </a:endParaRPr>
          </a:p>
        </p:txBody>
      </p:sp>
      <p:sp>
        <p:nvSpPr>
          <p:cNvPr id="53" name="Прямоугольник 52">
            <a:extLst>
              <a:ext uri="{FF2B5EF4-FFF2-40B4-BE49-F238E27FC236}">
                <a16:creationId xmlns:a16="http://schemas.microsoft.com/office/drawing/2014/main" id="{991CCBB7-CE55-2C5F-EF66-A465265FAB62}"/>
              </a:ext>
            </a:extLst>
          </p:cNvPr>
          <p:cNvSpPr/>
          <p:nvPr/>
        </p:nvSpPr>
        <p:spPr>
          <a:xfrm>
            <a:off x="9735461" y="4328491"/>
            <a:ext cx="2376908" cy="406265"/>
          </a:xfrm>
          <a:prstGeom prst="rect">
            <a:avLst/>
          </a:prstGeom>
        </p:spPr>
        <p:txBody>
          <a:bodyPr wrap="square">
            <a:spAutoFit/>
          </a:bodyPr>
          <a:lstStyle/>
          <a:p>
            <a:pPr marL="0" marR="0" lvl="0" indent="0" algn="l" defTabSz="1219170" rtl="0" eaLnBrk="1" fontAlgn="auto" latinLnBrk="0" hangingPunct="1">
              <a:lnSpc>
                <a:spcPct val="85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Arial Unicode MS" pitchFamily="34" charset="-128"/>
                <a:cs typeface="Arial" pitchFamily="34" charset="0"/>
                <a:sym typeface="Helvetica Neue Medium"/>
              </a:rPr>
              <a:t>Medical technologies and pharmaceuticals</a:t>
            </a:r>
          </a:p>
        </p:txBody>
      </p:sp>
      <p:sp>
        <p:nvSpPr>
          <p:cNvPr id="55" name="Прямоугольник 54">
            <a:extLst>
              <a:ext uri="{FF2B5EF4-FFF2-40B4-BE49-F238E27FC236}">
                <a16:creationId xmlns:a16="http://schemas.microsoft.com/office/drawing/2014/main" id="{4E88AD03-F423-BEA4-9EB2-C4477572946D}"/>
              </a:ext>
            </a:extLst>
          </p:cNvPr>
          <p:cNvSpPr/>
          <p:nvPr/>
        </p:nvSpPr>
        <p:spPr>
          <a:xfrm>
            <a:off x="6846449" y="5862660"/>
            <a:ext cx="2575509" cy="406265"/>
          </a:xfrm>
          <a:prstGeom prst="rect">
            <a:avLst/>
          </a:prstGeom>
        </p:spPr>
        <p:txBody>
          <a:bodyPr wrap="square">
            <a:spAutoFit/>
          </a:bodyPr>
          <a:lstStyle/>
          <a:p>
            <a:pPr marL="0" marR="0" lvl="0" indent="0" algn="l" defTabSz="1219170" rtl="0" eaLnBrk="1" fontAlgn="auto" latinLnBrk="0" hangingPunct="1">
              <a:lnSpc>
                <a:spcPct val="85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Arial Unicode MS" pitchFamily="34" charset="-128"/>
                <a:cs typeface="Arial" pitchFamily="34" charset="0"/>
                <a:sym typeface="Helvetica Neue Medium"/>
              </a:rPr>
              <a:t>Semiconductors and </a:t>
            </a:r>
          </a:p>
          <a:p>
            <a:pPr marL="0" marR="0" lvl="0" indent="0" algn="l" defTabSz="1219170" rtl="0" eaLnBrk="1" fontAlgn="auto" latinLnBrk="0" hangingPunct="1">
              <a:lnSpc>
                <a:spcPct val="85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Arial Unicode MS" pitchFamily="34" charset="-128"/>
                <a:cs typeface="Arial" pitchFamily="34" charset="0"/>
                <a:sym typeface="Helvetica Neue Medium"/>
              </a:rPr>
              <a:t>high-tech manufacturing</a:t>
            </a:r>
          </a:p>
        </p:txBody>
      </p:sp>
      <p:sp>
        <p:nvSpPr>
          <p:cNvPr id="57" name="Прямоугольник 56">
            <a:extLst>
              <a:ext uri="{FF2B5EF4-FFF2-40B4-BE49-F238E27FC236}">
                <a16:creationId xmlns:a16="http://schemas.microsoft.com/office/drawing/2014/main" id="{5AFB75D4-8730-03AF-4058-B2C5F27D1B4A}"/>
              </a:ext>
            </a:extLst>
          </p:cNvPr>
          <p:cNvSpPr/>
          <p:nvPr/>
        </p:nvSpPr>
        <p:spPr>
          <a:xfrm>
            <a:off x="9735461" y="5073458"/>
            <a:ext cx="1909722" cy="406265"/>
          </a:xfrm>
          <a:prstGeom prst="rect">
            <a:avLst/>
          </a:prstGeom>
        </p:spPr>
        <p:txBody>
          <a:bodyPr wrap="square">
            <a:spAutoFit/>
          </a:bodyPr>
          <a:lstStyle/>
          <a:p>
            <a:pPr marL="0" marR="0" lvl="0" indent="0" algn="l" defTabSz="1219170" rtl="0" eaLnBrk="1" fontAlgn="auto" latinLnBrk="0" hangingPunct="1">
              <a:lnSpc>
                <a:spcPct val="85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Arial Unicode MS" pitchFamily="34" charset="-128"/>
                <a:cs typeface="Arial" pitchFamily="34" charset="0"/>
                <a:sym typeface="Helvetica Neue Medium"/>
              </a:rPr>
              <a:t>Electric vehicles and </a:t>
            </a:r>
          </a:p>
          <a:p>
            <a:pPr marL="0" marR="0" lvl="0" indent="0" algn="l" defTabSz="1219170" rtl="0" eaLnBrk="1" fontAlgn="auto" latinLnBrk="0" hangingPunct="1">
              <a:lnSpc>
                <a:spcPct val="85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Arial Unicode MS" pitchFamily="34" charset="-128"/>
                <a:cs typeface="Arial" pitchFamily="34" charset="0"/>
                <a:sym typeface="Helvetica Neue Medium"/>
              </a:rPr>
              <a:t>e-mobility components</a:t>
            </a:r>
          </a:p>
        </p:txBody>
      </p:sp>
      <p:pic>
        <p:nvPicPr>
          <p:cNvPr id="62" name="Рисунок 61">
            <a:extLst>
              <a:ext uri="{FF2B5EF4-FFF2-40B4-BE49-F238E27FC236}">
                <a16:creationId xmlns:a16="http://schemas.microsoft.com/office/drawing/2014/main" id="{9E48B0A8-E1D4-4B6A-6535-FEFC7D78AEDC}"/>
              </a:ext>
            </a:extLst>
          </p:cNvPr>
          <p:cNvPicPr>
            <a:picLocks noChangeAspect="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363559" y="4361232"/>
            <a:ext cx="323605" cy="323605"/>
          </a:xfrm>
          <a:prstGeom prst="rect">
            <a:avLst/>
          </a:prstGeom>
        </p:spPr>
      </p:pic>
      <p:pic>
        <p:nvPicPr>
          <p:cNvPr id="64" name="Рисунок 63">
            <a:extLst>
              <a:ext uri="{FF2B5EF4-FFF2-40B4-BE49-F238E27FC236}">
                <a16:creationId xmlns:a16="http://schemas.microsoft.com/office/drawing/2014/main" id="{140B1B67-BCAD-EEEF-9993-D493D831DBD4}"/>
              </a:ext>
            </a:extLst>
          </p:cNvPr>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376801" y="4412784"/>
            <a:ext cx="288001" cy="288001"/>
          </a:xfrm>
          <a:prstGeom prst="rect">
            <a:avLst/>
          </a:prstGeom>
          <a:noFill/>
          <a:ln>
            <a:noFill/>
          </a:ln>
        </p:spPr>
      </p:pic>
      <p:pic>
        <p:nvPicPr>
          <p:cNvPr id="65" name="Рисунок 64">
            <a:extLst>
              <a:ext uri="{FF2B5EF4-FFF2-40B4-BE49-F238E27FC236}">
                <a16:creationId xmlns:a16="http://schemas.microsoft.com/office/drawing/2014/main" id="{781743C2-51BE-6CB0-6329-4F26EFA50DCD}"/>
              </a:ext>
            </a:extLst>
          </p:cNvPr>
          <p:cNvPicPr>
            <a:picLocks noChangeAspect="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392170" y="5894223"/>
            <a:ext cx="294994" cy="294994"/>
          </a:xfrm>
          <a:prstGeom prst="rect">
            <a:avLst/>
          </a:prstGeom>
        </p:spPr>
      </p:pic>
      <p:sp>
        <p:nvSpPr>
          <p:cNvPr id="67" name="TextBox 66">
            <a:extLst>
              <a:ext uri="{FF2B5EF4-FFF2-40B4-BE49-F238E27FC236}">
                <a16:creationId xmlns:a16="http://schemas.microsoft.com/office/drawing/2014/main" id="{2FD5B8C6-A359-5754-F7A2-1B0739DF3052}"/>
              </a:ext>
            </a:extLst>
          </p:cNvPr>
          <p:cNvSpPr txBox="1"/>
          <p:nvPr/>
        </p:nvSpPr>
        <p:spPr>
          <a:xfrm>
            <a:off x="6798275" y="876917"/>
            <a:ext cx="323571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FDI INFLOW</a:t>
            </a:r>
            <a:endParaRPr kumimoji="0" lang="en"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86" name="Прямоугольник: скругленные углы 3">
            <a:extLst>
              <a:ext uri="{FF2B5EF4-FFF2-40B4-BE49-F238E27FC236}">
                <a16:creationId xmlns:a16="http://schemas.microsoft.com/office/drawing/2014/main" id="{6A09A1E4-004E-C40E-FEE5-C790F4968650}"/>
              </a:ext>
            </a:extLst>
          </p:cNvPr>
          <p:cNvSpPr/>
          <p:nvPr/>
        </p:nvSpPr>
        <p:spPr>
          <a:xfrm>
            <a:off x="6303336" y="814078"/>
            <a:ext cx="5602914" cy="420501"/>
          </a:xfrm>
          <a:prstGeom prst="roundRect">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pic>
        <p:nvPicPr>
          <p:cNvPr id="87" name="Рисунок 86">
            <a:extLst>
              <a:ext uri="{FF2B5EF4-FFF2-40B4-BE49-F238E27FC236}">
                <a16:creationId xmlns:a16="http://schemas.microsoft.com/office/drawing/2014/main" id="{C2E5D787-BC49-0991-0B3D-D6D3A2602E7D}"/>
              </a:ext>
            </a:extLst>
          </p:cNvPr>
          <p:cNvPicPr>
            <a:picLocks noChangeAspect="1"/>
          </p:cNvPicPr>
          <p:nvPr/>
        </p:nvPicPr>
        <p:blipFill>
          <a:blip r:embed="rId8">
            <a:duotone>
              <a:schemeClr val="accent1">
                <a:shade val="45000"/>
                <a:satMod val="135000"/>
              </a:schemeClr>
              <a:prstClr val="white"/>
            </a:duotone>
          </a:blip>
          <a:stretch>
            <a:fillRect/>
          </a:stretch>
        </p:blipFill>
        <p:spPr>
          <a:xfrm>
            <a:off x="6380606" y="883874"/>
            <a:ext cx="307777" cy="307777"/>
          </a:xfrm>
          <a:prstGeom prst="rect">
            <a:avLst/>
          </a:prstGeom>
        </p:spPr>
      </p:pic>
      <p:sp>
        <p:nvSpPr>
          <p:cNvPr id="89" name="TextBox 88">
            <a:extLst>
              <a:ext uri="{FF2B5EF4-FFF2-40B4-BE49-F238E27FC236}">
                <a16:creationId xmlns:a16="http://schemas.microsoft.com/office/drawing/2014/main" id="{2C6629FA-FF49-40B1-B487-8EF3A362E1FF}"/>
              </a:ext>
            </a:extLst>
          </p:cNvPr>
          <p:cNvSpPr txBox="1"/>
          <p:nvPr/>
        </p:nvSpPr>
        <p:spPr>
          <a:xfrm>
            <a:off x="7627667" y="1576406"/>
            <a:ext cx="1555740"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IN 2024, GLOBAL FDI INFLOWS AMOUNTED TO</a:t>
            </a:r>
            <a:endParaRPr kumimoji="0" lang="ru-RU" sz="15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90" name="TextBox 89">
            <a:extLst>
              <a:ext uri="{FF2B5EF4-FFF2-40B4-BE49-F238E27FC236}">
                <a16:creationId xmlns:a16="http://schemas.microsoft.com/office/drawing/2014/main" id="{51CF80F8-7AC6-E17B-A9A7-1A3F192802C4}"/>
              </a:ext>
            </a:extLst>
          </p:cNvPr>
          <p:cNvSpPr txBox="1"/>
          <p:nvPr/>
        </p:nvSpPr>
        <p:spPr>
          <a:xfrm>
            <a:off x="9863178" y="1411252"/>
            <a:ext cx="1571192"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rPr>
              <a:t>$</a:t>
            </a:r>
            <a:r>
              <a:rPr kumimoji="0" lang="ru-RU" sz="40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rPr>
              <a:t>1.</a:t>
            </a:r>
            <a:r>
              <a:rPr kumimoji="0" lang="en-US" sz="40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rPr>
              <a:t>5</a:t>
            </a:r>
            <a:r>
              <a:rPr kumimoji="0" lang="ru-RU" sz="2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a:t>
            </a:r>
            <a:r>
              <a:rPr kumimoji="0" lang="en-US" sz="14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mn-cs"/>
              </a:rPr>
              <a:t>trillion</a:t>
            </a:r>
            <a:endParaRPr kumimoji="0" lang="ru-RU" sz="14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mn-cs"/>
            </a:endParaRPr>
          </a:p>
        </p:txBody>
      </p:sp>
      <p:sp>
        <p:nvSpPr>
          <p:cNvPr id="93" name="TextBox 92">
            <a:extLst>
              <a:ext uri="{FF2B5EF4-FFF2-40B4-BE49-F238E27FC236}">
                <a16:creationId xmlns:a16="http://schemas.microsoft.com/office/drawing/2014/main" id="{E5E0DD95-7E49-FDA8-9BB1-AE5DBEE27758}"/>
              </a:ext>
            </a:extLst>
          </p:cNvPr>
          <p:cNvSpPr txBox="1"/>
          <p:nvPr/>
        </p:nvSpPr>
        <p:spPr>
          <a:xfrm>
            <a:off x="7637553" y="2744205"/>
            <a:ext cx="2391711" cy="55399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FDI I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SOUTHEAST ASIA</a:t>
            </a:r>
            <a:endParaRPr kumimoji="0" lang="ru-RU" sz="15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94" name="TextBox 93">
            <a:extLst>
              <a:ext uri="{FF2B5EF4-FFF2-40B4-BE49-F238E27FC236}">
                <a16:creationId xmlns:a16="http://schemas.microsoft.com/office/drawing/2014/main" id="{DAD27A94-668F-C72E-2C1A-E83894AF59EB}"/>
              </a:ext>
            </a:extLst>
          </p:cNvPr>
          <p:cNvSpPr txBox="1"/>
          <p:nvPr/>
        </p:nvSpPr>
        <p:spPr>
          <a:xfrm>
            <a:off x="9937821" y="2467207"/>
            <a:ext cx="1571192"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rPr>
              <a:t>$</a:t>
            </a:r>
            <a:r>
              <a:rPr kumimoji="0" lang="ru-RU" sz="40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rPr>
              <a:t>225</a:t>
            </a:r>
            <a:r>
              <a:rPr kumimoji="0" lang="ru-RU" sz="2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a:t>
            </a:r>
            <a:endParaRPr kumimoji="0" lang="en-US" sz="2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mn-cs"/>
              </a:rPr>
              <a:t>billion</a:t>
            </a:r>
            <a:endParaRPr kumimoji="0" lang="ru-RU" sz="14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mn-cs"/>
            </a:endParaRPr>
          </a:p>
        </p:txBody>
      </p:sp>
      <p:sp>
        <p:nvSpPr>
          <p:cNvPr id="95" name="Прямоугольник: скругленные углы 3">
            <a:extLst>
              <a:ext uri="{FF2B5EF4-FFF2-40B4-BE49-F238E27FC236}">
                <a16:creationId xmlns:a16="http://schemas.microsoft.com/office/drawing/2014/main" id="{A79F4DA9-7ED2-4409-5AE5-AD398A882E3C}"/>
              </a:ext>
            </a:extLst>
          </p:cNvPr>
          <p:cNvSpPr/>
          <p:nvPr/>
        </p:nvSpPr>
        <p:spPr>
          <a:xfrm>
            <a:off x="6303336" y="3614190"/>
            <a:ext cx="5602914" cy="393649"/>
          </a:xfrm>
          <a:prstGeom prst="roundRect">
            <a:avLst>
              <a:gd name="adj" fmla="val 10507"/>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96" name="TextBox 95">
            <a:extLst>
              <a:ext uri="{FF2B5EF4-FFF2-40B4-BE49-F238E27FC236}">
                <a16:creationId xmlns:a16="http://schemas.microsoft.com/office/drawing/2014/main" id="{E4FF2ADC-335F-9AA2-D009-C45A4394A88B}"/>
              </a:ext>
            </a:extLst>
          </p:cNvPr>
          <p:cNvSpPr txBox="1"/>
          <p:nvPr/>
        </p:nvSpPr>
        <p:spPr>
          <a:xfrm>
            <a:off x="6671321" y="3661955"/>
            <a:ext cx="5101579" cy="305084"/>
          </a:xfrm>
          <a:prstGeom prst="rect">
            <a:avLst/>
          </a:prstGeom>
          <a:noFill/>
        </p:spPr>
        <p:txBody>
          <a:bodyPr wrap="square" rtlCol="0">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400" b="0" i="0" u="none" strike="noStrike" kern="100" cap="none" spc="0" normalizeH="0" baseline="0" noProof="0" dirty="0">
                <a:ln>
                  <a:noFill/>
                </a:ln>
                <a:solidFill>
                  <a:prstClr val="black">
                    <a:lumMod val="65000"/>
                    <a:lumOff val="35000"/>
                  </a:prstClr>
                </a:solidFill>
                <a:effectLst/>
                <a:uLnTx/>
                <a:uFillTx/>
                <a:latin typeface="Century Gothic" panose="020B0502020202020204" pitchFamily="34" charset="0"/>
                <a:ea typeface="Aptos"/>
                <a:cs typeface="Times New Roman" panose="02020603050405020304" pitchFamily="18" charset="0"/>
              </a:rPr>
              <a:t>VAST OPPORTUNITIES ACROSS VARIOUS SECTORS</a:t>
            </a:r>
            <a:endParaRPr kumimoji="0" lang="en" sz="1400" b="0" i="0" u="none" strike="noStrike" kern="100" cap="all" spc="0" normalizeH="0" baseline="0" noProof="0" dirty="0">
              <a:ln>
                <a:noFill/>
              </a:ln>
              <a:solidFill>
                <a:prstClr val="black">
                  <a:lumMod val="65000"/>
                  <a:lumOff val="35000"/>
                </a:prstClr>
              </a:solidFill>
              <a:effectLst/>
              <a:uLnTx/>
              <a:uFillTx/>
              <a:latin typeface="Century Gothic" panose="020B0502020202020204" pitchFamily="34" charset="0"/>
              <a:ea typeface="Aptos"/>
              <a:cs typeface="Times New Roman" panose="02020603050405020304" pitchFamily="18" charset="0"/>
            </a:endParaRPr>
          </a:p>
        </p:txBody>
      </p:sp>
      <p:pic>
        <p:nvPicPr>
          <p:cNvPr id="97" name="Рисунок 96">
            <a:extLst>
              <a:ext uri="{FF2B5EF4-FFF2-40B4-BE49-F238E27FC236}">
                <a16:creationId xmlns:a16="http://schemas.microsoft.com/office/drawing/2014/main" id="{CD3E5DE7-34DD-B153-2792-20DABED75DF8}"/>
              </a:ext>
            </a:extLst>
          </p:cNvPr>
          <p:cNvPicPr>
            <a:picLocks noChangeAspect="1"/>
          </p:cNvPicPr>
          <p:nvPr/>
        </p:nvPicPr>
        <p:blipFill>
          <a:blip r:embed="rId9"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370192" y="3651833"/>
            <a:ext cx="329967" cy="329967"/>
          </a:xfrm>
          <a:prstGeom prst="rect">
            <a:avLst/>
          </a:prstGeom>
        </p:spPr>
      </p:pic>
      <p:pic>
        <p:nvPicPr>
          <p:cNvPr id="4102" name="Picture 6"/>
          <p:cNvPicPr>
            <a:picLocks noChangeAspect="1" noChangeArrowheads="1"/>
          </p:cNvPicPr>
          <p:nvPr/>
        </p:nvPicPr>
        <p:blipFill>
          <a:blip r:embed="rId10"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bwMode="auto">
          <a:xfrm>
            <a:off x="6386693" y="5107778"/>
            <a:ext cx="301525" cy="301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Прямоугольник 2"/>
          <p:cNvSpPr/>
          <p:nvPr/>
        </p:nvSpPr>
        <p:spPr>
          <a:xfrm>
            <a:off x="9735461" y="5831774"/>
            <a:ext cx="2137654"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Arial Unicode MS" pitchFamily="34" charset="-128"/>
                <a:cs typeface="Arial" pitchFamily="34" charset="0"/>
              </a:rPr>
              <a:t>Agro-industry an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Arial Unicode MS" pitchFamily="34" charset="-128"/>
                <a:cs typeface="Arial" pitchFamily="34" charset="0"/>
              </a:rPr>
              <a:t>food security</a:t>
            </a:r>
            <a:endParaRPr kumimoji="0" lang="ru-RU" sz="12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Arial Unicode MS" pitchFamily="34" charset="-128"/>
              <a:cs typeface="Arial" pitchFamily="34" charset="0"/>
            </a:endParaRPr>
          </a:p>
        </p:txBody>
      </p:sp>
      <p:sp>
        <p:nvSpPr>
          <p:cNvPr id="9" name="TextBox 8">
            <a:extLst>
              <a:ext uri="{FF2B5EF4-FFF2-40B4-BE49-F238E27FC236}">
                <a16:creationId xmlns:a16="http://schemas.microsoft.com/office/drawing/2014/main" id="{A842629E-D7E6-20BA-292A-D48B5733890A}"/>
              </a:ext>
            </a:extLst>
          </p:cNvPr>
          <p:cNvSpPr txBox="1"/>
          <p:nvPr/>
        </p:nvSpPr>
        <p:spPr>
          <a:xfrm>
            <a:off x="752081" y="5094045"/>
            <a:ext cx="2905217"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gro-industrial products </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alm oil, rice, coffee)</a:t>
            </a:r>
            <a:endParaRPr kumimoji="0" lang="en" sz="70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8" name="TextBox 7">
            <a:extLst>
              <a:ext uri="{FF2B5EF4-FFF2-40B4-BE49-F238E27FC236}">
                <a16:creationId xmlns:a16="http://schemas.microsoft.com/office/drawing/2014/main" id="{F5633A91-A1F7-E08B-51DA-92CD6F933381}"/>
              </a:ext>
            </a:extLst>
          </p:cNvPr>
          <p:cNvSpPr txBox="1"/>
          <p:nvPr/>
        </p:nvSpPr>
        <p:spPr>
          <a:xfrm>
            <a:off x="158290" y="3334089"/>
            <a:ext cx="5729204"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mn-cs"/>
              </a:rPr>
              <a:t>*Indonesia, Vietnam, Philippines, Thailand, Cambodia, Malaysia, Singapore, Laos, Brunei, East Timor</a:t>
            </a:r>
          </a:p>
        </p:txBody>
      </p:sp>
      <p:sp>
        <p:nvSpPr>
          <p:cNvPr id="69" name="TextBox 68">
            <a:extLst>
              <a:ext uri="{FF2B5EF4-FFF2-40B4-BE49-F238E27FC236}">
                <a16:creationId xmlns:a16="http://schemas.microsoft.com/office/drawing/2014/main" id="{C25A2DE2-7BFA-4078-9991-A135D8710349}"/>
              </a:ext>
            </a:extLst>
          </p:cNvPr>
          <p:cNvSpPr txBox="1"/>
          <p:nvPr/>
        </p:nvSpPr>
        <p:spPr>
          <a:xfrm>
            <a:off x="2434354" y="2176514"/>
            <a:ext cx="1111202"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trade turnover</a:t>
            </a:r>
            <a:r>
              <a:rPr kumimoji="0" lang="ru-RU" sz="10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 </a:t>
            </a:r>
          </a:p>
        </p:txBody>
      </p:sp>
      <p:pic>
        <p:nvPicPr>
          <p:cNvPr id="10" name="Рисунок 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293850" y="1565795"/>
            <a:ext cx="1267274" cy="1434847"/>
          </a:xfrm>
          <a:prstGeom prst="rect">
            <a:avLst/>
          </a:prstGeom>
        </p:spPr>
      </p:pic>
      <p:sp>
        <p:nvSpPr>
          <p:cNvPr id="63" name="TextBox 62">
            <a:extLst>
              <a:ext uri="{FF2B5EF4-FFF2-40B4-BE49-F238E27FC236}">
                <a16:creationId xmlns:a16="http://schemas.microsoft.com/office/drawing/2014/main" id="{A6C290D5-C8FC-4FCE-96F2-8517274D75FA}"/>
              </a:ext>
            </a:extLst>
          </p:cNvPr>
          <p:cNvSpPr txBox="1"/>
          <p:nvPr/>
        </p:nvSpPr>
        <p:spPr>
          <a:xfrm>
            <a:off x="4094788" y="4253946"/>
            <a:ext cx="189952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utomobiles, motorcycles and </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uto parts</a:t>
            </a:r>
            <a:endParaRPr kumimoji="0" lang="en"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pic>
        <p:nvPicPr>
          <p:cNvPr id="11" name="Рисунок 10"/>
          <p:cNvPicPr>
            <a:picLocks noChangeAspect="1"/>
          </p:cNvPicPr>
          <p:nvPr/>
        </p:nvPicPr>
        <p:blipFill>
          <a:blip r:embed="rId1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04302" y="4460968"/>
            <a:ext cx="309833" cy="309833"/>
          </a:xfrm>
          <a:prstGeom prst="rect">
            <a:avLst/>
          </a:prstGeom>
        </p:spPr>
      </p:pic>
      <p:pic>
        <p:nvPicPr>
          <p:cNvPr id="12" name="Рисунок 11"/>
          <p:cNvPicPr>
            <a:picLocks noChangeAspect="1"/>
          </p:cNvPicPr>
          <p:nvPr/>
        </p:nvPicPr>
        <p:blipFill>
          <a:blip r:embed="rId1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07785" y="5213080"/>
            <a:ext cx="282648" cy="282648"/>
          </a:xfrm>
          <a:prstGeom prst="rect">
            <a:avLst/>
          </a:prstGeom>
        </p:spPr>
      </p:pic>
      <p:pic>
        <p:nvPicPr>
          <p:cNvPr id="13" name="Рисунок 12"/>
          <p:cNvPicPr>
            <a:picLocks noChangeAspect="1"/>
          </p:cNvPicPr>
          <p:nvPr/>
        </p:nvPicPr>
        <p:blipFill>
          <a:blip r:embed="rId1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94874" y="5863436"/>
            <a:ext cx="261064" cy="261064"/>
          </a:xfrm>
          <a:prstGeom prst="rect">
            <a:avLst/>
          </a:prstGeom>
        </p:spPr>
      </p:pic>
      <p:pic>
        <p:nvPicPr>
          <p:cNvPr id="15" name="Рисунок 14"/>
          <p:cNvPicPr>
            <a:picLocks noChangeAspect="1"/>
          </p:cNvPicPr>
          <p:nvPr/>
        </p:nvPicPr>
        <p:blipFill>
          <a:blip r:embed="rId15"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625706" y="4361047"/>
            <a:ext cx="385449" cy="385449"/>
          </a:xfrm>
          <a:prstGeom prst="rect">
            <a:avLst/>
          </a:prstGeom>
        </p:spPr>
      </p:pic>
      <p:pic>
        <p:nvPicPr>
          <p:cNvPr id="16" name="Рисунок 15"/>
          <p:cNvPicPr>
            <a:picLocks noChangeAspect="1"/>
          </p:cNvPicPr>
          <p:nvPr/>
        </p:nvPicPr>
        <p:blipFill>
          <a:blip r:embed="rId1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674467" y="5190887"/>
            <a:ext cx="297240" cy="297240"/>
          </a:xfrm>
          <a:prstGeom prst="rect">
            <a:avLst/>
          </a:prstGeom>
        </p:spPr>
      </p:pic>
      <p:pic>
        <p:nvPicPr>
          <p:cNvPr id="17" name="Рисунок 16"/>
          <p:cNvPicPr>
            <a:picLocks noChangeAspect="1"/>
          </p:cNvPicPr>
          <p:nvPr/>
        </p:nvPicPr>
        <p:blipFill>
          <a:blip r:embed="rId17"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679303" y="5862408"/>
            <a:ext cx="306697" cy="306697"/>
          </a:xfrm>
          <a:prstGeom prst="rect">
            <a:avLst/>
          </a:prstGeom>
        </p:spPr>
      </p:pic>
      <p:pic>
        <p:nvPicPr>
          <p:cNvPr id="18" name="Рисунок 17"/>
          <p:cNvPicPr>
            <a:picLocks noChangeAspect="1"/>
          </p:cNvPicPr>
          <p:nvPr/>
        </p:nvPicPr>
        <p:blipFill>
          <a:blip r:embed="rId18"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6387433" y="5910177"/>
            <a:ext cx="315632" cy="315632"/>
          </a:xfrm>
          <a:prstGeom prst="rect">
            <a:avLst/>
          </a:prstGeom>
        </p:spPr>
      </p:pic>
      <p:pic>
        <p:nvPicPr>
          <p:cNvPr id="19" name="Рисунок 18"/>
          <p:cNvPicPr>
            <a:picLocks noChangeAspect="1"/>
          </p:cNvPicPr>
          <p:nvPr/>
        </p:nvPicPr>
        <p:blipFill>
          <a:blip r:embed="rId19"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343931" y="5102411"/>
            <a:ext cx="332871" cy="332871"/>
          </a:xfrm>
          <a:prstGeom prst="rect">
            <a:avLst/>
          </a:prstGeom>
        </p:spPr>
      </p:pic>
    </p:spTree>
    <p:extLst>
      <p:ext uri="{BB962C8B-B14F-4D97-AF65-F5344CB8AC3E}">
        <p14:creationId xmlns:p14="http://schemas.microsoft.com/office/powerpoint/2010/main" val="332663794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Таблица 12"/>
          <p:cNvGraphicFramePr>
            <a:graphicFrameLocks noGrp="1"/>
          </p:cNvGraphicFramePr>
          <p:nvPr/>
        </p:nvGraphicFramePr>
        <p:xfrm>
          <a:off x="227404" y="3626191"/>
          <a:ext cx="9591106" cy="2816924"/>
        </p:xfrm>
        <a:graphic>
          <a:graphicData uri="http://schemas.openxmlformats.org/drawingml/2006/table">
            <a:tbl>
              <a:tblPr firstRow="1" bandRow="1">
                <a:tableStyleId>{2D5ABB26-0587-4C30-8999-92F81FD0307C}</a:tableStyleId>
              </a:tblPr>
              <a:tblGrid>
                <a:gridCol w="1457892">
                  <a:extLst>
                    <a:ext uri="{9D8B030D-6E8A-4147-A177-3AD203B41FA5}">
                      <a16:colId xmlns:a16="http://schemas.microsoft.com/office/drawing/2014/main" val="1047936529"/>
                    </a:ext>
                  </a:extLst>
                </a:gridCol>
                <a:gridCol w="1241622">
                  <a:extLst>
                    <a:ext uri="{9D8B030D-6E8A-4147-A177-3AD203B41FA5}">
                      <a16:colId xmlns:a16="http://schemas.microsoft.com/office/drawing/2014/main" val="195761416"/>
                    </a:ext>
                  </a:extLst>
                </a:gridCol>
                <a:gridCol w="1006414">
                  <a:extLst>
                    <a:ext uri="{9D8B030D-6E8A-4147-A177-3AD203B41FA5}">
                      <a16:colId xmlns:a16="http://schemas.microsoft.com/office/drawing/2014/main" val="3130236978"/>
                    </a:ext>
                  </a:extLst>
                </a:gridCol>
                <a:gridCol w="827576">
                  <a:extLst>
                    <a:ext uri="{9D8B030D-6E8A-4147-A177-3AD203B41FA5}">
                      <a16:colId xmlns:a16="http://schemas.microsoft.com/office/drawing/2014/main" val="3531526526"/>
                    </a:ext>
                  </a:extLst>
                </a:gridCol>
                <a:gridCol w="1122817">
                  <a:extLst>
                    <a:ext uri="{9D8B030D-6E8A-4147-A177-3AD203B41FA5}">
                      <a16:colId xmlns:a16="http://schemas.microsoft.com/office/drawing/2014/main" val="1163087140"/>
                    </a:ext>
                  </a:extLst>
                </a:gridCol>
                <a:gridCol w="1311595">
                  <a:extLst>
                    <a:ext uri="{9D8B030D-6E8A-4147-A177-3AD203B41FA5}">
                      <a16:colId xmlns:a16="http://schemas.microsoft.com/office/drawing/2014/main" val="3351167926"/>
                    </a:ext>
                  </a:extLst>
                </a:gridCol>
                <a:gridCol w="1311595">
                  <a:extLst>
                    <a:ext uri="{9D8B030D-6E8A-4147-A177-3AD203B41FA5}">
                      <a16:colId xmlns:a16="http://schemas.microsoft.com/office/drawing/2014/main" val="2725535609"/>
                    </a:ext>
                  </a:extLst>
                </a:gridCol>
                <a:gridCol w="1311595">
                  <a:extLst>
                    <a:ext uri="{9D8B030D-6E8A-4147-A177-3AD203B41FA5}">
                      <a16:colId xmlns:a16="http://schemas.microsoft.com/office/drawing/2014/main" val="2403743730"/>
                    </a:ext>
                  </a:extLst>
                </a:gridCol>
              </a:tblGrid>
              <a:tr h="330572">
                <a:tc>
                  <a:txBody>
                    <a:bodyPr/>
                    <a:lstStyle/>
                    <a:p>
                      <a:pPr algn="ctr"/>
                      <a:r>
                        <a:rPr lang="en-US" sz="900" dirty="0">
                          <a:latin typeface="Century Gothic" panose="020B0502020202020204" pitchFamily="34" charset="0"/>
                        </a:rPr>
                        <a:t>Country</a:t>
                      </a: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en-US" sz="900" dirty="0">
                          <a:latin typeface="Century Gothic" panose="020B0502020202020204" pitchFamily="34" charset="0"/>
                        </a:rPr>
                        <a:t>Agro-industrial complex and food</a:t>
                      </a: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en-US" sz="900" dirty="0">
                          <a:latin typeface="Century Gothic" panose="020B0502020202020204" pitchFamily="34" charset="0"/>
                        </a:rPr>
                        <a:t>Resources and metallurgy</a:t>
                      </a: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en-US" sz="900" dirty="0">
                          <a:latin typeface="Century Gothic" panose="020B0502020202020204" pitchFamily="34" charset="0"/>
                        </a:rPr>
                        <a:t>Transport and logistics</a:t>
                      </a: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en-US" sz="900" dirty="0">
                          <a:latin typeface="Century Gothic" panose="020B0502020202020204" pitchFamily="34" charset="0"/>
                        </a:rPr>
                        <a:t>Digitalization and IT</a:t>
                      </a: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en-US" sz="900" dirty="0">
                          <a:latin typeface="Century Gothic" panose="020B0502020202020204" pitchFamily="34" charset="0"/>
                        </a:rPr>
                        <a:t>Green energy</a:t>
                      </a: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en-US" sz="900" dirty="0">
                          <a:latin typeface="Century Gothic" panose="020B0502020202020204" pitchFamily="34" charset="0"/>
                        </a:rPr>
                        <a:t>Education</a:t>
                      </a:r>
                      <a:r>
                        <a:rPr lang="ru-RU" sz="900" dirty="0">
                          <a:latin typeface="Century Gothic" panose="020B0502020202020204" pitchFamily="34" charset="0"/>
                        </a:rPr>
                        <a:t> / </a:t>
                      </a:r>
                      <a:r>
                        <a:rPr lang="en-US" sz="900" dirty="0">
                          <a:latin typeface="Century Gothic" panose="020B0502020202020204" pitchFamily="34" charset="0"/>
                        </a:rPr>
                        <a:t>healthcare</a:t>
                      </a: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en-US" sz="900" dirty="0">
                          <a:latin typeface="Century Gothic" panose="020B0502020202020204" pitchFamily="34" charset="0"/>
                        </a:rPr>
                        <a:t>Finance</a:t>
                      </a: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2660631489"/>
                  </a:ext>
                </a:extLst>
              </a:tr>
              <a:tr h="330572">
                <a:tc>
                  <a:txBody>
                    <a:bodyPr/>
                    <a:lstStyle/>
                    <a:p>
                      <a:pPr algn="ctr"/>
                      <a:r>
                        <a:rPr lang="en-US" sz="900" dirty="0">
                          <a:latin typeface="Century Gothic" panose="020B0502020202020204" pitchFamily="34" charset="0"/>
                        </a:rPr>
                        <a:t>Singapore</a:t>
                      </a: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994167935"/>
                  </a:ext>
                </a:extLst>
              </a:tr>
              <a:tr h="330572">
                <a:tc>
                  <a:txBody>
                    <a:bodyPr/>
                    <a:lstStyle/>
                    <a:p>
                      <a:pPr algn="ctr"/>
                      <a:r>
                        <a:rPr lang="en-US" sz="900" dirty="0">
                          <a:latin typeface="Century Gothic" panose="020B0502020202020204" pitchFamily="34" charset="0"/>
                        </a:rPr>
                        <a:t>Malaysia</a:t>
                      </a: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2076961896"/>
                  </a:ext>
                </a:extLst>
              </a:tr>
              <a:tr h="330572">
                <a:tc>
                  <a:txBody>
                    <a:bodyPr/>
                    <a:lstStyle/>
                    <a:p>
                      <a:pPr algn="ctr"/>
                      <a:r>
                        <a:rPr lang="en-US" sz="900" dirty="0">
                          <a:latin typeface="Century Gothic" panose="020B0502020202020204" pitchFamily="34" charset="0"/>
                        </a:rPr>
                        <a:t>Vietnam</a:t>
                      </a: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237247770"/>
                  </a:ext>
                </a:extLst>
              </a:tr>
              <a:tr h="330572">
                <a:tc>
                  <a:txBody>
                    <a:bodyPr/>
                    <a:lstStyle/>
                    <a:p>
                      <a:pPr algn="ctr"/>
                      <a:r>
                        <a:rPr lang="en-US" sz="900" dirty="0">
                          <a:latin typeface="Century Gothic" panose="020B0502020202020204" pitchFamily="34" charset="0"/>
                        </a:rPr>
                        <a:t>Indonesia</a:t>
                      </a: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833526248"/>
                  </a:ext>
                </a:extLst>
              </a:tr>
              <a:tr h="330572">
                <a:tc>
                  <a:txBody>
                    <a:bodyPr/>
                    <a:lstStyle/>
                    <a:p>
                      <a:pPr algn="ctr"/>
                      <a:r>
                        <a:rPr lang="en-US" sz="900" dirty="0">
                          <a:latin typeface="Century Gothic" panose="020B0502020202020204" pitchFamily="34" charset="0"/>
                        </a:rPr>
                        <a:t>Thailand</a:t>
                      </a: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82897822"/>
                  </a:ext>
                </a:extLst>
              </a:tr>
              <a:tr h="330572">
                <a:tc>
                  <a:txBody>
                    <a:bodyPr/>
                    <a:lstStyle/>
                    <a:p>
                      <a:pPr algn="ctr"/>
                      <a:r>
                        <a:rPr lang="en-US" sz="900" dirty="0">
                          <a:latin typeface="Century Gothic" panose="020B0502020202020204" pitchFamily="34" charset="0"/>
                        </a:rPr>
                        <a:t>Philippines</a:t>
                      </a: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4004783050"/>
                  </a:ext>
                </a:extLst>
              </a:tr>
              <a:tr h="330572">
                <a:tc>
                  <a:txBody>
                    <a:bodyPr/>
                    <a:lstStyle/>
                    <a:p>
                      <a:pPr algn="ctr"/>
                      <a:r>
                        <a:rPr lang="en-US" sz="900" dirty="0">
                          <a:latin typeface="Century Gothic" panose="020B0502020202020204" pitchFamily="34" charset="0"/>
                        </a:rPr>
                        <a:t>Cambodia</a:t>
                      </a: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608193951"/>
                  </a:ext>
                </a:extLst>
              </a:tr>
            </a:tbl>
          </a:graphicData>
        </a:graphic>
      </p:graphicFrame>
      <p:sp>
        <p:nvSpPr>
          <p:cNvPr id="33" name="TextBox 2">
            <a:extLst>
              <a:ext uri="{FF2B5EF4-FFF2-40B4-BE49-F238E27FC236}">
                <a16:creationId xmlns:a16="http://schemas.microsoft.com/office/drawing/2014/main" id="{493053D4-364D-4A3B-8DB8-241E292A3827}"/>
              </a:ext>
            </a:extLst>
          </p:cNvPr>
          <p:cNvSpPr txBox="1"/>
          <p:nvPr/>
        </p:nvSpPr>
        <p:spPr>
          <a:xfrm>
            <a:off x="220563" y="194381"/>
            <a:ext cx="11781756" cy="371897"/>
          </a:xfrm>
          <a:prstGeom prst="rect">
            <a:avLst/>
          </a:prstGeom>
        </p:spPr>
        <p:txBody>
          <a:bodyPr wrap="square" lIns="0" tIns="0" rIns="0" bIns="0" rtlCol="0" anchor="t">
            <a:spAutoFit/>
          </a:bodyPr>
          <a:lstStyle/>
          <a:p>
            <a:pPr marL="0" marR="0" lvl="0" indent="0" algn="l" defTabSz="914400" rtl="0" eaLnBrk="1" fontAlgn="auto" latinLnBrk="0" hangingPunct="1">
              <a:lnSpc>
                <a:spcPts val="2946"/>
              </a:lnSpc>
              <a:spcBef>
                <a:spcPts val="0"/>
              </a:spcBef>
              <a:spcAft>
                <a:spcPts val="0"/>
              </a:spcAft>
              <a:buClrTx/>
              <a:buSzTx/>
              <a:buFontTx/>
              <a:buNone/>
              <a:tabLst/>
              <a:defRPr/>
            </a:pPr>
            <a:r>
              <a:rPr kumimoji="0" lang="en-US" sz="26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PROMISING AREAS OF COOPERATION</a:t>
            </a:r>
            <a:endParaRPr kumimoji="0" lang="en" sz="26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endParaRPr>
          </a:p>
        </p:txBody>
      </p:sp>
      <p:sp>
        <p:nvSpPr>
          <p:cNvPr id="34" name="Прямоугольник: скругленные углы 3">
            <a:extLst>
              <a:ext uri="{FF2B5EF4-FFF2-40B4-BE49-F238E27FC236}">
                <a16:creationId xmlns:a16="http://schemas.microsoft.com/office/drawing/2014/main" id="{B6E23829-082E-4294-B26E-2A01B5A07028}"/>
              </a:ext>
            </a:extLst>
          </p:cNvPr>
          <p:cNvSpPr/>
          <p:nvPr/>
        </p:nvSpPr>
        <p:spPr>
          <a:xfrm>
            <a:off x="220563" y="728725"/>
            <a:ext cx="1979464" cy="393649"/>
          </a:xfrm>
          <a:prstGeom prst="roundRect">
            <a:avLst>
              <a:gd name="adj" fmla="val 10507"/>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95" name="Прямоугольник: скругленные углы 3">
            <a:extLst>
              <a:ext uri="{FF2B5EF4-FFF2-40B4-BE49-F238E27FC236}">
                <a16:creationId xmlns:a16="http://schemas.microsoft.com/office/drawing/2014/main" id="{A79F4DA9-7ED2-4409-5AE5-AD398A882E3C}"/>
              </a:ext>
            </a:extLst>
          </p:cNvPr>
          <p:cNvSpPr/>
          <p:nvPr/>
        </p:nvSpPr>
        <p:spPr>
          <a:xfrm>
            <a:off x="220562" y="2961825"/>
            <a:ext cx="3270739" cy="393649"/>
          </a:xfrm>
          <a:prstGeom prst="roundRect">
            <a:avLst>
              <a:gd name="adj" fmla="val 10507"/>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96" name="TextBox 95">
            <a:extLst>
              <a:ext uri="{FF2B5EF4-FFF2-40B4-BE49-F238E27FC236}">
                <a16:creationId xmlns:a16="http://schemas.microsoft.com/office/drawing/2014/main" id="{E4FF2ADC-335F-9AA2-D009-C45A4394A88B}"/>
              </a:ext>
            </a:extLst>
          </p:cNvPr>
          <p:cNvSpPr txBox="1"/>
          <p:nvPr/>
        </p:nvSpPr>
        <p:spPr>
          <a:xfrm>
            <a:off x="715501" y="3018617"/>
            <a:ext cx="2775799" cy="322845"/>
          </a:xfrm>
          <a:prstGeom prst="rect">
            <a:avLst/>
          </a:prstGeom>
          <a:noFill/>
        </p:spPr>
        <p:txBody>
          <a:bodyPr wrap="square" rtlCol="0">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400" b="0" i="0" u="none" strike="noStrike" kern="100" cap="none" spc="0" normalizeH="0" baseline="0" noProof="0" dirty="0">
                <a:ln>
                  <a:noFill/>
                </a:ln>
                <a:solidFill>
                  <a:prstClr val="black">
                    <a:lumMod val="65000"/>
                    <a:lumOff val="35000"/>
                  </a:prstClr>
                </a:solidFill>
                <a:effectLst/>
                <a:uLnTx/>
                <a:uFillTx/>
                <a:latin typeface="Century Gothic" panose="020B0502020202020204" pitchFamily="34" charset="0"/>
                <a:ea typeface="Aptos"/>
                <a:cs typeface="Times New Roman" panose="02020603050405020304" pitchFamily="18" charset="0"/>
              </a:rPr>
              <a:t>MATRIX OF COUNTRY INTEREST</a:t>
            </a:r>
            <a:endParaRPr kumimoji="0" lang="en" sz="1400" b="0" i="0" u="none" strike="noStrike" kern="100" cap="all" spc="0" normalizeH="0" baseline="0" noProof="0" dirty="0">
              <a:ln>
                <a:noFill/>
              </a:ln>
              <a:solidFill>
                <a:prstClr val="black">
                  <a:lumMod val="65000"/>
                  <a:lumOff val="35000"/>
                </a:prstClr>
              </a:solidFill>
              <a:effectLst/>
              <a:uLnTx/>
              <a:uFillTx/>
              <a:latin typeface="Century Gothic" panose="020B0502020202020204" pitchFamily="34" charset="0"/>
              <a:ea typeface="Aptos"/>
              <a:cs typeface="Times New Roman" panose="02020603050405020304" pitchFamily="18" charset="0"/>
            </a:endParaRPr>
          </a:p>
        </p:txBody>
      </p:sp>
      <p:pic>
        <p:nvPicPr>
          <p:cNvPr id="21" name="Рисунок 20"/>
          <p:cNvPicPr>
            <a:picLocks noChangeAspect="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12374" y="3012013"/>
            <a:ext cx="311688" cy="311688"/>
          </a:xfrm>
          <a:prstGeom prst="rect">
            <a:avLst/>
          </a:prstGeom>
        </p:spPr>
      </p:pic>
      <p:sp>
        <p:nvSpPr>
          <p:cNvPr id="148" name="TextBox 147">
            <a:extLst>
              <a:ext uri="{FF2B5EF4-FFF2-40B4-BE49-F238E27FC236}">
                <a16:creationId xmlns:a16="http://schemas.microsoft.com/office/drawing/2014/main" id="{2FD5B8C6-A359-5754-F7A2-1B0739DF3052}"/>
              </a:ext>
            </a:extLst>
          </p:cNvPr>
          <p:cNvSpPr txBox="1"/>
          <p:nvPr/>
        </p:nvSpPr>
        <p:spPr>
          <a:xfrm>
            <a:off x="737284" y="772473"/>
            <a:ext cx="132664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FDI INFLOW</a:t>
            </a:r>
            <a:endParaRPr kumimoji="0" lang="en"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pic>
        <p:nvPicPr>
          <p:cNvPr id="149" name="Рисунок 148">
            <a:extLst>
              <a:ext uri="{FF2B5EF4-FFF2-40B4-BE49-F238E27FC236}">
                <a16:creationId xmlns:a16="http://schemas.microsoft.com/office/drawing/2014/main" id="{C2E5D787-BC49-0991-0B3D-D6D3A2602E7D}"/>
              </a:ext>
            </a:extLst>
          </p:cNvPr>
          <p:cNvPicPr>
            <a:picLocks noChangeAspect="1"/>
          </p:cNvPicPr>
          <p:nvPr/>
        </p:nvPicPr>
        <p:blipFill>
          <a:blip r:embed="rId4">
            <a:duotone>
              <a:schemeClr val="accent1">
                <a:shade val="45000"/>
                <a:satMod val="135000"/>
              </a:schemeClr>
              <a:prstClr val="white"/>
            </a:duotone>
          </a:blip>
          <a:stretch>
            <a:fillRect/>
          </a:stretch>
        </p:blipFill>
        <p:spPr>
          <a:xfrm>
            <a:off x="319615" y="779430"/>
            <a:ext cx="307777" cy="307777"/>
          </a:xfrm>
          <a:prstGeom prst="rect">
            <a:avLst/>
          </a:prstGeom>
        </p:spPr>
      </p:pic>
      <p:sp>
        <p:nvSpPr>
          <p:cNvPr id="150" name="TextBox 149">
            <a:extLst>
              <a:ext uri="{FF2B5EF4-FFF2-40B4-BE49-F238E27FC236}">
                <a16:creationId xmlns:a16="http://schemas.microsoft.com/office/drawing/2014/main" id="{613D9BE7-78DF-4E81-8A82-8EF9AC28089D}"/>
              </a:ext>
            </a:extLst>
          </p:cNvPr>
          <p:cNvSpPr txBox="1"/>
          <p:nvPr/>
        </p:nvSpPr>
        <p:spPr>
          <a:xfrm>
            <a:off x="4879758" y="1184333"/>
            <a:ext cx="848309"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USD million</a:t>
            </a:r>
            <a:endParaRPr kumimoji="0" lang="ru-RU" sz="10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endParaRPr>
          </a:p>
        </p:txBody>
      </p:sp>
      <p:graphicFrame>
        <p:nvGraphicFramePr>
          <p:cNvPr id="151" name="Диаграмма 150"/>
          <p:cNvGraphicFramePr/>
          <p:nvPr/>
        </p:nvGraphicFramePr>
        <p:xfrm>
          <a:off x="139998" y="1408335"/>
          <a:ext cx="5807331" cy="1361333"/>
        </p:xfrm>
        <a:graphic>
          <a:graphicData uri="http://schemas.openxmlformats.org/drawingml/2006/chart">
            <c:chart xmlns:c="http://schemas.openxmlformats.org/drawingml/2006/chart" xmlns:r="http://schemas.openxmlformats.org/officeDocument/2006/relationships" r:id="rId5"/>
          </a:graphicData>
        </a:graphic>
      </p:graphicFrame>
      <p:sp>
        <p:nvSpPr>
          <p:cNvPr id="4099" name="Прямоугольник 4098"/>
          <p:cNvSpPr/>
          <p:nvPr/>
        </p:nvSpPr>
        <p:spPr>
          <a:xfrm>
            <a:off x="6370891" y="1614228"/>
            <a:ext cx="5395356" cy="830997"/>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Southeast Asian countries’ investments in Kazakhstan have shown a wave-like growth pattern, with a sharp increase after 2021, reaching a </a:t>
            </a:r>
            <a:r>
              <a:rPr kumimoji="0" lang="en-US" sz="1200" b="1"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record high of $711.8 million in 2024</a:t>
            </a:r>
            <a:r>
              <a:rPr kumimoji="0" lang="en-US" sz="12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 This reflects a growing interest and strengthening of economic partnership.</a:t>
            </a:r>
            <a:endParaRPr kumimoji="0" lang="ru-RU" sz="12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endParaRPr>
          </a:p>
        </p:txBody>
      </p:sp>
      <p:sp>
        <p:nvSpPr>
          <p:cNvPr id="64" name="TextBox 63">
            <a:extLst>
              <a:ext uri="{FF2B5EF4-FFF2-40B4-BE49-F238E27FC236}">
                <a16:creationId xmlns:a16="http://schemas.microsoft.com/office/drawing/2014/main" id="{375D7695-C7F0-477E-9D35-EE419F7F38F1}"/>
              </a:ext>
            </a:extLst>
          </p:cNvPr>
          <p:cNvSpPr txBox="1"/>
          <p:nvPr/>
        </p:nvSpPr>
        <p:spPr>
          <a:xfrm>
            <a:off x="16218" y="6641124"/>
            <a:ext cx="11393321"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Times New Roman" panose="02020603050405020304" pitchFamily="18" charset="0"/>
              </a:rPr>
              <a:t>Source: National Bank of the Republic of Kazakhstan</a:t>
            </a:r>
            <a:endParaRPr kumimoji="0" lang="ru-RU"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Times New Roman" panose="02020603050405020304" pitchFamily="18" charset="0"/>
            </a:endParaRPr>
          </a:p>
        </p:txBody>
      </p:sp>
      <p:sp>
        <p:nvSpPr>
          <p:cNvPr id="2" name="Прямоугольник 1"/>
          <p:cNvSpPr/>
          <p:nvPr/>
        </p:nvSpPr>
        <p:spPr>
          <a:xfrm>
            <a:off x="10175130" y="4186682"/>
            <a:ext cx="148046" cy="16546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66" name="Прямоугольник 65"/>
          <p:cNvSpPr/>
          <p:nvPr/>
        </p:nvSpPr>
        <p:spPr>
          <a:xfrm>
            <a:off x="10175130" y="4666210"/>
            <a:ext cx="148046" cy="16546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67" name="Прямоугольник 66"/>
          <p:cNvSpPr/>
          <p:nvPr/>
        </p:nvSpPr>
        <p:spPr>
          <a:xfrm>
            <a:off x="10175130" y="5116771"/>
            <a:ext cx="148046" cy="165462"/>
          </a:xfrm>
          <a:prstGeom prst="rect">
            <a:avLst/>
          </a:prstGeom>
          <a:solidFill>
            <a:schemeClr val="bg2">
              <a:lumMod val="90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68" name="TextBox 67">
            <a:extLst>
              <a:ext uri="{FF2B5EF4-FFF2-40B4-BE49-F238E27FC236}">
                <a16:creationId xmlns:a16="http://schemas.microsoft.com/office/drawing/2014/main" id="{613D9BE7-78DF-4E81-8A82-8EF9AC28089D}"/>
              </a:ext>
            </a:extLst>
          </p:cNvPr>
          <p:cNvSpPr txBox="1"/>
          <p:nvPr/>
        </p:nvSpPr>
        <p:spPr>
          <a:xfrm>
            <a:off x="10429094" y="4146302"/>
            <a:ext cx="934871"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rPr>
              <a:t>high interest</a:t>
            </a:r>
            <a:endParaRPr kumimoji="0" lang="ru-RU" sz="1000" b="0"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endParaRPr>
          </a:p>
        </p:txBody>
      </p:sp>
      <p:sp>
        <p:nvSpPr>
          <p:cNvPr id="69" name="TextBox 68">
            <a:extLst>
              <a:ext uri="{FF2B5EF4-FFF2-40B4-BE49-F238E27FC236}">
                <a16:creationId xmlns:a16="http://schemas.microsoft.com/office/drawing/2014/main" id="{613D9BE7-78DF-4E81-8A82-8EF9AC28089D}"/>
              </a:ext>
            </a:extLst>
          </p:cNvPr>
          <p:cNvSpPr txBox="1"/>
          <p:nvPr/>
        </p:nvSpPr>
        <p:spPr>
          <a:xfrm>
            <a:off x="10429094" y="4626790"/>
            <a:ext cx="1293944"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rPr>
              <a:t>moderate interest</a:t>
            </a:r>
            <a:endParaRPr kumimoji="0" lang="ru-RU" sz="1000" b="0"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endParaRPr>
          </a:p>
        </p:txBody>
      </p:sp>
      <p:sp>
        <p:nvSpPr>
          <p:cNvPr id="70" name="TextBox 69">
            <a:extLst>
              <a:ext uri="{FF2B5EF4-FFF2-40B4-BE49-F238E27FC236}">
                <a16:creationId xmlns:a16="http://schemas.microsoft.com/office/drawing/2014/main" id="{613D9BE7-78DF-4E81-8A82-8EF9AC28089D}"/>
              </a:ext>
            </a:extLst>
          </p:cNvPr>
          <p:cNvSpPr txBox="1"/>
          <p:nvPr/>
        </p:nvSpPr>
        <p:spPr>
          <a:xfrm>
            <a:off x="10429094" y="5082612"/>
            <a:ext cx="880369"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rPr>
              <a:t>low interest</a:t>
            </a:r>
            <a:endParaRPr kumimoji="0" lang="ru-RU" sz="1000" b="0"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endParaRPr>
          </a:p>
        </p:txBody>
      </p:sp>
      <p:sp>
        <p:nvSpPr>
          <p:cNvPr id="71" name="Прямоугольник 70"/>
          <p:cNvSpPr/>
          <p:nvPr/>
        </p:nvSpPr>
        <p:spPr>
          <a:xfrm>
            <a:off x="2200027" y="4202034"/>
            <a:ext cx="148046" cy="16546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72" name="Прямоугольник 71"/>
          <p:cNvSpPr/>
          <p:nvPr/>
        </p:nvSpPr>
        <p:spPr>
          <a:xfrm>
            <a:off x="3343256" y="4208208"/>
            <a:ext cx="148046" cy="16546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73" name="Прямоугольник 72"/>
          <p:cNvSpPr/>
          <p:nvPr/>
        </p:nvSpPr>
        <p:spPr>
          <a:xfrm>
            <a:off x="4260959" y="4541735"/>
            <a:ext cx="148046" cy="16546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74" name="Прямоугольник 73"/>
          <p:cNvSpPr/>
          <p:nvPr/>
        </p:nvSpPr>
        <p:spPr>
          <a:xfrm>
            <a:off x="7815108" y="4213279"/>
            <a:ext cx="148046" cy="16546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78" name="Прямоугольник 77"/>
          <p:cNvSpPr/>
          <p:nvPr/>
        </p:nvSpPr>
        <p:spPr>
          <a:xfrm>
            <a:off x="4260959" y="4872446"/>
            <a:ext cx="148046" cy="16546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81" name="Прямоугольник 80"/>
          <p:cNvSpPr/>
          <p:nvPr/>
        </p:nvSpPr>
        <p:spPr>
          <a:xfrm>
            <a:off x="6500113" y="4869191"/>
            <a:ext cx="148046" cy="16546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82" name="Прямоугольник 81"/>
          <p:cNvSpPr/>
          <p:nvPr/>
        </p:nvSpPr>
        <p:spPr>
          <a:xfrm>
            <a:off x="7815108" y="4869191"/>
            <a:ext cx="148046" cy="16546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84" name="Прямоугольник 83"/>
          <p:cNvSpPr/>
          <p:nvPr/>
        </p:nvSpPr>
        <p:spPr>
          <a:xfrm>
            <a:off x="9130103" y="4865554"/>
            <a:ext cx="148046" cy="16546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85" name="Прямоугольник 84"/>
          <p:cNvSpPr/>
          <p:nvPr/>
        </p:nvSpPr>
        <p:spPr>
          <a:xfrm>
            <a:off x="5249913" y="5199502"/>
            <a:ext cx="148046" cy="16546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86" name="Прямоугольник 85"/>
          <p:cNvSpPr/>
          <p:nvPr/>
        </p:nvSpPr>
        <p:spPr>
          <a:xfrm>
            <a:off x="3350914" y="5529950"/>
            <a:ext cx="148046" cy="16546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87" name="Прямоугольник 86"/>
          <p:cNvSpPr/>
          <p:nvPr/>
        </p:nvSpPr>
        <p:spPr>
          <a:xfrm>
            <a:off x="4260959" y="5535010"/>
            <a:ext cx="148046" cy="16546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89" name="Прямоугольник 88"/>
          <p:cNvSpPr/>
          <p:nvPr/>
        </p:nvSpPr>
        <p:spPr>
          <a:xfrm>
            <a:off x="9130103" y="5535021"/>
            <a:ext cx="148046" cy="16546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90" name="Прямоугольник 89"/>
          <p:cNvSpPr/>
          <p:nvPr/>
        </p:nvSpPr>
        <p:spPr>
          <a:xfrm>
            <a:off x="2191710" y="5878135"/>
            <a:ext cx="148046" cy="16546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93" name="Прямоугольник 92"/>
          <p:cNvSpPr/>
          <p:nvPr/>
        </p:nvSpPr>
        <p:spPr>
          <a:xfrm>
            <a:off x="3350914" y="6197097"/>
            <a:ext cx="148046" cy="16546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94" name="Прямоугольник 93"/>
          <p:cNvSpPr/>
          <p:nvPr/>
        </p:nvSpPr>
        <p:spPr>
          <a:xfrm>
            <a:off x="9130103" y="5878948"/>
            <a:ext cx="148046" cy="16546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97" name="Прямоугольник 96"/>
          <p:cNvSpPr/>
          <p:nvPr/>
        </p:nvSpPr>
        <p:spPr>
          <a:xfrm>
            <a:off x="7815108" y="5199502"/>
            <a:ext cx="148046" cy="165462"/>
          </a:xfrm>
          <a:prstGeom prst="rect">
            <a:avLst/>
          </a:prstGeom>
          <a:solidFill>
            <a:schemeClr val="bg2">
              <a:lumMod val="90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06" name="Прямоугольник 105"/>
          <p:cNvSpPr/>
          <p:nvPr/>
        </p:nvSpPr>
        <p:spPr>
          <a:xfrm>
            <a:off x="4260959" y="6203380"/>
            <a:ext cx="148046" cy="165462"/>
          </a:xfrm>
          <a:prstGeom prst="rect">
            <a:avLst/>
          </a:prstGeom>
          <a:solidFill>
            <a:schemeClr val="bg2">
              <a:lumMod val="90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32" name="Прямоугольник 131"/>
          <p:cNvSpPr/>
          <p:nvPr/>
        </p:nvSpPr>
        <p:spPr>
          <a:xfrm>
            <a:off x="5249913" y="6195758"/>
            <a:ext cx="148046" cy="165462"/>
          </a:xfrm>
          <a:prstGeom prst="rect">
            <a:avLst/>
          </a:prstGeom>
          <a:solidFill>
            <a:schemeClr val="bg2">
              <a:lumMod val="90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33" name="Прямоугольник 132"/>
          <p:cNvSpPr/>
          <p:nvPr/>
        </p:nvSpPr>
        <p:spPr>
          <a:xfrm>
            <a:off x="6500113" y="6194922"/>
            <a:ext cx="148046" cy="165462"/>
          </a:xfrm>
          <a:prstGeom prst="rect">
            <a:avLst/>
          </a:prstGeom>
          <a:solidFill>
            <a:schemeClr val="bg2">
              <a:lumMod val="90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34" name="Прямоугольник 133"/>
          <p:cNvSpPr/>
          <p:nvPr/>
        </p:nvSpPr>
        <p:spPr>
          <a:xfrm>
            <a:off x="9130103" y="6194922"/>
            <a:ext cx="148046" cy="165462"/>
          </a:xfrm>
          <a:prstGeom prst="rect">
            <a:avLst/>
          </a:prstGeom>
          <a:solidFill>
            <a:schemeClr val="bg2">
              <a:lumMod val="90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35" name="Прямоугольник 134"/>
          <p:cNvSpPr/>
          <p:nvPr/>
        </p:nvSpPr>
        <p:spPr>
          <a:xfrm>
            <a:off x="3356981" y="5878948"/>
            <a:ext cx="148046" cy="165462"/>
          </a:xfrm>
          <a:prstGeom prst="rect">
            <a:avLst/>
          </a:prstGeom>
          <a:solidFill>
            <a:schemeClr val="bg2">
              <a:lumMod val="90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36" name="Прямоугольник 135"/>
          <p:cNvSpPr/>
          <p:nvPr/>
        </p:nvSpPr>
        <p:spPr>
          <a:xfrm>
            <a:off x="4262283" y="5878948"/>
            <a:ext cx="148046" cy="165462"/>
          </a:xfrm>
          <a:prstGeom prst="rect">
            <a:avLst/>
          </a:prstGeom>
          <a:solidFill>
            <a:schemeClr val="bg2">
              <a:lumMod val="90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37" name="Прямоугольник 136"/>
          <p:cNvSpPr/>
          <p:nvPr/>
        </p:nvSpPr>
        <p:spPr>
          <a:xfrm>
            <a:off x="6505047" y="5878135"/>
            <a:ext cx="148046" cy="165462"/>
          </a:xfrm>
          <a:prstGeom prst="rect">
            <a:avLst/>
          </a:prstGeom>
          <a:solidFill>
            <a:schemeClr val="bg2">
              <a:lumMod val="90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38" name="Прямоугольник 137"/>
          <p:cNvSpPr/>
          <p:nvPr/>
        </p:nvSpPr>
        <p:spPr>
          <a:xfrm>
            <a:off x="2200027" y="4530977"/>
            <a:ext cx="148046" cy="16546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39" name="Прямоугольник 138"/>
          <p:cNvSpPr/>
          <p:nvPr/>
        </p:nvSpPr>
        <p:spPr>
          <a:xfrm>
            <a:off x="2195144" y="4855774"/>
            <a:ext cx="148046" cy="16546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40" name="Прямоугольник 139"/>
          <p:cNvSpPr/>
          <p:nvPr/>
        </p:nvSpPr>
        <p:spPr>
          <a:xfrm>
            <a:off x="2200027" y="5201323"/>
            <a:ext cx="148046" cy="16546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41" name="Прямоугольник 140"/>
          <p:cNvSpPr/>
          <p:nvPr/>
        </p:nvSpPr>
        <p:spPr>
          <a:xfrm>
            <a:off x="2200027" y="5529950"/>
            <a:ext cx="148046" cy="16546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42" name="Прямоугольник 141"/>
          <p:cNvSpPr/>
          <p:nvPr/>
        </p:nvSpPr>
        <p:spPr>
          <a:xfrm>
            <a:off x="2191710" y="6194698"/>
            <a:ext cx="148046" cy="16546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43" name="Прямоугольник 142"/>
          <p:cNvSpPr/>
          <p:nvPr/>
        </p:nvSpPr>
        <p:spPr>
          <a:xfrm>
            <a:off x="3343256" y="4539934"/>
            <a:ext cx="148046" cy="16546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44" name="Прямоугольник 143"/>
          <p:cNvSpPr/>
          <p:nvPr/>
        </p:nvSpPr>
        <p:spPr>
          <a:xfrm>
            <a:off x="3350914" y="4876414"/>
            <a:ext cx="148046" cy="16546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45" name="Прямоугольник 144"/>
          <p:cNvSpPr/>
          <p:nvPr/>
        </p:nvSpPr>
        <p:spPr>
          <a:xfrm>
            <a:off x="3350914" y="5201994"/>
            <a:ext cx="148046" cy="16546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46" name="Прямоугольник 145"/>
          <p:cNvSpPr/>
          <p:nvPr/>
        </p:nvSpPr>
        <p:spPr>
          <a:xfrm>
            <a:off x="4260959" y="4208719"/>
            <a:ext cx="148046" cy="16546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47" name="Прямоугольник 146"/>
          <p:cNvSpPr/>
          <p:nvPr/>
        </p:nvSpPr>
        <p:spPr>
          <a:xfrm>
            <a:off x="4262283" y="5203728"/>
            <a:ext cx="148046" cy="16546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52" name="Прямоугольник 151"/>
          <p:cNvSpPr/>
          <p:nvPr/>
        </p:nvSpPr>
        <p:spPr>
          <a:xfrm>
            <a:off x="5249913" y="4216682"/>
            <a:ext cx="148046" cy="16546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53" name="Прямоугольник 152"/>
          <p:cNvSpPr/>
          <p:nvPr/>
        </p:nvSpPr>
        <p:spPr>
          <a:xfrm>
            <a:off x="5249913" y="4539934"/>
            <a:ext cx="148046" cy="16546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54" name="Прямоугольник 153"/>
          <p:cNvSpPr/>
          <p:nvPr/>
        </p:nvSpPr>
        <p:spPr>
          <a:xfrm>
            <a:off x="5249913" y="4871223"/>
            <a:ext cx="148046" cy="16546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55" name="Прямоугольник 154"/>
          <p:cNvSpPr/>
          <p:nvPr/>
        </p:nvSpPr>
        <p:spPr>
          <a:xfrm>
            <a:off x="5249913" y="5524375"/>
            <a:ext cx="148046" cy="16546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56" name="Прямоугольник 155"/>
          <p:cNvSpPr/>
          <p:nvPr/>
        </p:nvSpPr>
        <p:spPr>
          <a:xfrm>
            <a:off x="5249913" y="5880627"/>
            <a:ext cx="148046" cy="16546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57" name="Прямоугольник 156"/>
          <p:cNvSpPr/>
          <p:nvPr/>
        </p:nvSpPr>
        <p:spPr>
          <a:xfrm>
            <a:off x="9130103" y="4208208"/>
            <a:ext cx="148046" cy="16546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58" name="Прямоугольник 157"/>
          <p:cNvSpPr/>
          <p:nvPr/>
        </p:nvSpPr>
        <p:spPr>
          <a:xfrm>
            <a:off x="6496338" y="4208252"/>
            <a:ext cx="148046" cy="16546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59" name="Прямоугольник 158"/>
          <p:cNvSpPr/>
          <p:nvPr/>
        </p:nvSpPr>
        <p:spPr>
          <a:xfrm>
            <a:off x="6496338" y="4547262"/>
            <a:ext cx="148046" cy="16546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60" name="Прямоугольник 159"/>
          <p:cNvSpPr/>
          <p:nvPr/>
        </p:nvSpPr>
        <p:spPr>
          <a:xfrm>
            <a:off x="6504732" y="5208201"/>
            <a:ext cx="148046" cy="16546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61" name="Прямоугольник 160"/>
          <p:cNvSpPr/>
          <p:nvPr/>
        </p:nvSpPr>
        <p:spPr>
          <a:xfrm>
            <a:off x="6504732" y="5524375"/>
            <a:ext cx="148046" cy="16546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62" name="Прямоугольник 161"/>
          <p:cNvSpPr/>
          <p:nvPr/>
        </p:nvSpPr>
        <p:spPr>
          <a:xfrm>
            <a:off x="7820125" y="4539934"/>
            <a:ext cx="148046" cy="16546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63" name="Прямоугольник 162"/>
          <p:cNvSpPr/>
          <p:nvPr/>
        </p:nvSpPr>
        <p:spPr>
          <a:xfrm>
            <a:off x="7815108" y="5529983"/>
            <a:ext cx="148046" cy="16546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64" name="Прямоугольник 163"/>
          <p:cNvSpPr/>
          <p:nvPr/>
        </p:nvSpPr>
        <p:spPr>
          <a:xfrm>
            <a:off x="7815108" y="5878135"/>
            <a:ext cx="148046" cy="16546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65" name="Прямоугольник 164"/>
          <p:cNvSpPr/>
          <p:nvPr/>
        </p:nvSpPr>
        <p:spPr>
          <a:xfrm>
            <a:off x="7815108" y="6194698"/>
            <a:ext cx="148046" cy="16546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66" name="Прямоугольник 165"/>
          <p:cNvSpPr/>
          <p:nvPr/>
        </p:nvSpPr>
        <p:spPr>
          <a:xfrm>
            <a:off x="9130103" y="4547962"/>
            <a:ext cx="148046" cy="16546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67" name="Прямоугольник 166"/>
          <p:cNvSpPr/>
          <p:nvPr/>
        </p:nvSpPr>
        <p:spPr>
          <a:xfrm>
            <a:off x="9130103" y="5208201"/>
            <a:ext cx="148046" cy="16546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cxnSp>
        <p:nvCxnSpPr>
          <p:cNvPr id="168" name="Прямая соединительная линия 167">
            <a:extLst>
              <a:ext uri="{FF2B5EF4-FFF2-40B4-BE49-F238E27FC236}">
                <a16:creationId xmlns:a16="http://schemas.microsoft.com/office/drawing/2014/main" id="{A65B7FF6-088D-4623-ABAC-83E943FAEFE7}"/>
              </a:ext>
            </a:extLst>
          </p:cNvPr>
          <p:cNvCxnSpPr>
            <a:cxnSpLocks/>
          </p:cNvCxnSpPr>
          <p:nvPr/>
        </p:nvCxnSpPr>
        <p:spPr>
          <a:xfrm flipV="1">
            <a:off x="3845854" y="3135741"/>
            <a:ext cx="7997803" cy="25470"/>
          </a:xfrm>
          <a:prstGeom prst="line">
            <a:avLst/>
          </a:prstGeom>
          <a:ln w="6350">
            <a:prstDash val="dashDot"/>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31283034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Box 2">
            <a:extLst>
              <a:ext uri="{FF2B5EF4-FFF2-40B4-BE49-F238E27FC236}">
                <a16:creationId xmlns:a16="http://schemas.microsoft.com/office/drawing/2014/main" id="{493053D4-364D-4A3B-8DB8-241E292A3827}"/>
              </a:ext>
            </a:extLst>
          </p:cNvPr>
          <p:cNvSpPr txBox="1"/>
          <p:nvPr/>
        </p:nvSpPr>
        <p:spPr>
          <a:xfrm>
            <a:off x="220563" y="252572"/>
            <a:ext cx="11781756" cy="371897"/>
          </a:xfrm>
          <a:prstGeom prst="rect">
            <a:avLst/>
          </a:prstGeom>
        </p:spPr>
        <p:txBody>
          <a:bodyPr wrap="square" lIns="0" tIns="0" rIns="0" bIns="0" rtlCol="0" anchor="t">
            <a:spAutoFit/>
          </a:bodyPr>
          <a:lstStyle/>
          <a:p>
            <a:pPr marL="0" marR="0" lvl="0" indent="0" algn="l" defTabSz="914400" rtl="0" eaLnBrk="1" fontAlgn="auto" latinLnBrk="0" hangingPunct="1">
              <a:lnSpc>
                <a:spcPts val="2946"/>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KAZAKHSTAN and SINGAPORE</a:t>
            </a:r>
            <a:endParaRPr kumimoji="0" lang="ru-RU" sz="30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endParaRPr>
          </a:p>
        </p:txBody>
      </p:sp>
      <p:sp>
        <p:nvSpPr>
          <p:cNvPr id="28" name="Прямоугольник: скругленные углы 3">
            <a:extLst>
              <a:ext uri="{FF2B5EF4-FFF2-40B4-BE49-F238E27FC236}">
                <a16:creationId xmlns:a16="http://schemas.microsoft.com/office/drawing/2014/main" id="{A22B5AF5-3601-402C-B5A3-9E7B64C79F5B}"/>
              </a:ext>
            </a:extLst>
          </p:cNvPr>
          <p:cNvSpPr/>
          <p:nvPr/>
        </p:nvSpPr>
        <p:spPr>
          <a:xfrm>
            <a:off x="228601" y="716662"/>
            <a:ext cx="5700954" cy="393649"/>
          </a:xfrm>
          <a:prstGeom prst="roundRect">
            <a:avLst>
              <a:gd name="adj" fmla="val 10507"/>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29" name="TextBox 28">
            <a:extLst>
              <a:ext uri="{FF2B5EF4-FFF2-40B4-BE49-F238E27FC236}">
                <a16:creationId xmlns:a16="http://schemas.microsoft.com/office/drawing/2014/main" id="{12DD67E1-5693-4009-8FAF-9279848A504D}"/>
              </a:ext>
            </a:extLst>
          </p:cNvPr>
          <p:cNvSpPr txBox="1"/>
          <p:nvPr/>
        </p:nvSpPr>
        <p:spPr>
          <a:xfrm>
            <a:off x="659153" y="775060"/>
            <a:ext cx="4476750" cy="305084"/>
          </a:xfrm>
          <a:prstGeom prst="rect">
            <a:avLst/>
          </a:prstGeom>
          <a:noFill/>
        </p:spPr>
        <p:txBody>
          <a:bodyPr wrap="square" rtlCol="0">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400" b="0" i="0" u="none" strike="noStrike" kern="100" cap="none" spc="0" normalizeH="0" baseline="0" noProof="0" dirty="0">
                <a:ln>
                  <a:noFill/>
                </a:ln>
                <a:solidFill>
                  <a:prstClr val="black">
                    <a:lumMod val="65000"/>
                    <a:lumOff val="35000"/>
                  </a:prstClr>
                </a:solidFill>
                <a:effectLst/>
                <a:uLnTx/>
                <a:uFillTx/>
                <a:latin typeface="Century Gothic" panose="020B0502020202020204" pitchFamily="34" charset="0"/>
                <a:ea typeface="Aptos"/>
                <a:cs typeface="Times New Roman" panose="02020603050405020304" pitchFamily="18" charset="0"/>
              </a:rPr>
              <a:t>TRADE BETWEEN KAZAKHSTAN AND SINGAPORE</a:t>
            </a:r>
            <a:endParaRPr kumimoji="0" lang="ru-RU" sz="1400" b="0" i="0" u="none" strike="noStrike" kern="100" cap="none" spc="0" normalizeH="0" baseline="0" noProof="0" dirty="0">
              <a:ln>
                <a:noFill/>
              </a:ln>
              <a:solidFill>
                <a:prstClr val="black">
                  <a:lumMod val="65000"/>
                  <a:lumOff val="35000"/>
                </a:prstClr>
              </a:solidFill>
              <a:effectLst/>
              <a:uLnTx/>
              <a:uFillTx/>
              <a:latin typeface="Century Gothic" panose="020B0502020202020204" pitchFamily="34" charset="0"/>
              <a:ea typeface="Aptos"/>
              <a:cs typeface="Times New Roman" panose="02020603050405020304" pitchFamily="18" charset="0"/>
            </a:endParaRPr>
          </a:p>
        </p:txBody>
      </p:sp>
      <p:pic>
        <p:nvPicPr>
          <p:cNvPr id="30" name="Рисунок 29">
            <a:extLst>
              <a:ext uri="{FF2B5EF4-FFF2-40B4-BE49-F238E27FC236}">
                <a16:creationId xmlns:a16="http://schemas.microsoft.com/office/drawing/2014/main" id="{49CB5FC6-B85C-4DD1-BBD0-E284537DFE9B}"/>
              </a:ext>
            </a:extLst>
          </p:cNvPr>
          <p:cNvPicPr>
            <a:picLocks noChangeAspect="1"/>
          </p:cNvPicPr>
          <p:nvPr/>
        </p:nvPicPr>
        <p:blipFill>
          <a:blip r:embed="rId3">
            <a:duotone>
              <a:schemeClr val="accent1">
                <a:shade val="45000"/>
                <a:satMod val="135000"/>
              </a:schemeClr>
              <a:prstClr val="white"/>
            </a:duotone>
          </a:blip>
          <a:stretch>
            <a:fillRect/>
          </a:stretch>
        </p:blipFill>
        <p:spPr>
          <a:xfrm>
            <a:off x="278083" y="743287"/>
            <a:ext cx="335376" cy="335376"/>
          </a:xfrm>
          <a:prstGeom prst="rect">
            <a:avLst/>
          </a:prstGeom>
        </p:spPr>
      </p:pic>
      <p:sp>
        <p:nvSpPr>
          <p:cNvPr id="8" name="Прямоугольник: скругленные углы 3">
            <a:extLst>
              <a:ext uri="{FF2B5EF4-FFF2-40B4-BE49-F238E27FC236}">
                <a16:creationId xmlns:a16="http://schemas.microsoft.com/office/drawing/2014/main" id="{F5A17A50-DFCB-4033-825C-E11F96A82EBB}"/>
              </a:ext>
            </a:extLst>
          </p:cNvPr>
          <p:cNvSpPr/>
          <p:nvPr/>
        </p:nvSpPr>
        <p:spPr>
          <a:xfrm>
            <a:off x="228601" y="3757972"/>
            <a:ext cx="5700954" cy="393649"/>
          </a:xfrm>
          <a:prstGeom prst="roundRect">
            <a:avLst>
              <a:gd name="adj" fmla="val 10507"/>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9" name="TextBox 8">
            <a:extLst>
              <a:ext uri="{FF2B5EF4-FFF2-40B4-BE49-F238E27FC236}">
                <a16:creationId xmlns:a16="http://schemas.microsoft.com/office/drawing/2014/main" id="{51959491-F987-49A6-9690-B9D5E94CCDB9}"/>
              </a:ext>
            </a:extLst>
          </p:cNvPr>
          <p:cNvSpPr txBox="1"/>
          <p:nvPr/>
        </p:nvSpPr>
        <p:spPr>
          <a:xfrm>
            <a:off x="659153" y="3816370"/>
            <a:ext cx="4476750" cy="305084"/>
          </a:xfrm>
          <a:prstGeom prst="rect">
            <a:avLst/>
          </a:prstGeom>
          <a:noFill/>
        </p:spPr>
        <p:txBody>
          <a:bodyPr wrap="square" rtlCol="0">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400" b="0" i="0" u="none" strike="noStrike" kern="100" cap="none" spc="0" normalizeH="0" baseline="0" noProof="0" dirty="0">
                <a:ln>
                  <a:noFill/>
                </a:ln>
                <a:solidFill>
                  <a:prstClr val="black">
                    <a:lumMod val="65000"/>
                    <a:lumOff val="35000"/>
                  </a:prstClr>
                </a:solidFill>
                <a:effectLst/>
                <a:uLnTx/>
                <a:uFillTx/>
                <a:latin typeface="Century Gothic" panose="020B0502020202020204" pitchFamily="34" charset="0"/>
                <a:ea typeface="Aptos"/>
                <a:cs typeface="Times New Roman" panose="02020603050405020304" pitchFamily="18" charset="0"/>
              </a:rPr>
              <a:t>KEY PRODUCTS IN 2024</a:t>
            </a:r>
            <a:endParaRPr kumimoji="0" lang="ru-RU" sz="1400" b="0" i="0" u="none" strike="noStrike" kern="100" cap="none" spc="0" normalizeH="0" baseline="0" noProof="0" dirty="0">
              <a:ln>
                <a:noFill/>
              </a:ln>
              <a:solidFill>
                <a:prstClr val="black">
                  <a:lumMod val="65000"/>
                  <a:lumOff val="35000"/>
                </a:prstClr>
              </a:solidFill>
              <a:effectLst/>
              <a:uLnTx/>
              <a:uFillTx/>
              <a:latin typeface="Century Gothic" panose="020B0502020202020204" pitchFamily="34" charset="0"/>
              <a:ea typeface="Aptos"/>
              <a:cs typeface="Times New Roman" panose="02020603050405020304" pitchFamily="18" charset="0"/>
            </a:endParaRPr>
          </a:p>
        </p:txBody>
      </p:sp>
      <p:sp>
        <p:nvSpPr>
          <p:cNvPr id="13" name="TextBox 12">
            <a:extLst>
              <a:ext uri="{FF2B5EF4-FFF2-40B4-BE49-F238E27FC236}">
                <a16:creationId xmlns:a16="http://schemas.microsoft.com/office/drawing/2014/main" id="{69545749-E88B-4755-BE01-75885AB8890A}"/>
              </a:ext>
            </a:extLst>
          </p:cNvPr>
          <p:cNvSpPr txBox="1"/>
          <p:nvPr/>
        </p:nvSpPr>
        <p:spPr>
          <a:xfrm>
            <a:off x="128048" y="4210019"/>
            <a:ext cx="2465740"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sng"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Export</a:t>
            </a:r>
            <a:r>
              <a:rPr kumimoji="0" lang="en-US" sz="1000" b="0" i="0" u="sng"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from Kazakhstan to Singapore</a:t>
            </a:r>
          </a:p>
        </p:txBody>
      </p:sp>
      <p:sp>
        <p:nvSpPr>
          <p:cNvPr id="14" name="TextBox 13">
            <a:extLst>
              <a:ext uri="{FF2B5EF4-FFF2-40B4-BE49-F238E27FC236}">
                <a16:creationId xmlns:a16="http://schemas.microsoft.com/office/drawing/2014/main" id="{E7E288D1-372A-4E3E-99D4-5A9FF4D3DD54}"/>
              </a:ext>
            </a:extLst>
          </p:cNvPr>
          <p:cNvSpPr txBox="1"/>
          <p:nvPr/>
        </p:nvSpPr>
        <p:spPr>
          <a:xfrm>
            <a:off x="3204129" y="4217078"/>
            <a:ext cx="2481770"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sng"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Import</a:t>
            </a:r>
            <a:r>
              <a:rPr kumimoji="0" lang="en-US" sz="1000" b="0" i="0" u="sng"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from Singapore to Kazakhstan</a:t>
            </a:r>
            <a:endParaRPr kumimoji="0" lang="ru-RU" sz="1000" b="0" i="0" u="sng"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graphicFrame>
        <p:nvGraphicFramePr>
          <p:cNvPr id="4" name="Таблица 3">
            <a:extLst>
              <a:ext uri="{FF2B5EF4-FFF2-40B4-BE49-F238E27FC236}">
                <a16:creationId xmlns:a16="http://schemas.microsoft.com/office/drawing/2014/main" id="{5A5940C8-E33C-4715-A717-8C02ED6E119D}"/>
              </a:ext>
            </a:extLst>
          </p:cNvPr>
          <p:cNvGraphicFramePr>
            <a:graphicFrameLocks noGrp="1"/>
          </p:cNvGraphicFramePr>
          <p:nvPr/>
        </p:nvGraphicFramePr>
        <p:xfrm>
          <a:off x="205745" y="4479883"/>
          <a:ext cx="2743200" cy="1440122"/>
        </p:xfrm>
        <a:graphic>
          <a:graphicData uri="http://schemas.openxmlformats.org/drawingml/2006/table">
            <a:tbl>
              <a:tblPr firstRow="1" bandRow="1">
                <a:tableStyleId>{3B4B98B0-60AC-42C2-AFA5-B58CD77FA1E5}</a:tableStyleId>
              </a:tblPr>
              <a:tblGrid>
                <a:gridCol w="2202472">
                  <a:extLst>
                    <a:ext uri="{9D8B030D-6E8A-4147-A177-3AD203B41FA5}">
                      <a16:colId xmlns:a16="http://schemas.microsoft.com/office/drawing/2014/main" val="1169314713"/>
                    </a:ext>
                  </a:extLst>
                </a:gridCol>
                <a:gridCol w="540728">
                  <a:extLst>
                    <a:ext uri="{9D8B030D-6E8A-4147-A177-3AD203B41FA5}">
                      <a16:colId xmlns:a16="http://schemas.microsoft.com/office/drawing/2014/main" val="777741575"/>
                    </a:ext>
                  </a:extLst>
                </a:gridCol>
              </a:tblGrid>
              <a:tr h="92272">
                <a:tc>
                  <a:txBody>
                    <a:bodyPr/>
                    <a:lstStyle/>
                    <a:p>
                      <a:pPr algn="l" fontAlgn="b"/>
                      <a:r>
                        <a:rPr lang="en-US" sz="1000" u="none" strike="noStrike" dirty="0">
                          <a:solidFill>
                            <a:schemeClr val="tx1">
                              <a:lumMod val="50000"/>
                              <a:lumOff val="50000"/>
                            </a:schemeClr>
                          </a:solidFill>
                          <a:effectLst/>
                          <a:latin typeface="Century Gothic" panose="020B0502020202020204" pitchFamily="34" charset="0"/>
                        </a:rPr>
                        <a:t>Total, USD million</a:t>
                      </a:r>
                      <a:endParaRPr lang="ru-RU" sz="1000" b="1" i="0" u="none" strike="noStrike" dirty="0">
                        <a:solidFill>
                          <a:schemeClr val="tx1">
                            <a:lumMod val="50000"/>
                            <a:lumOff val="50000"/>
                          </a:schemeClr>
                        </a:solidFill>
                        <a:effectLst/>
                        <a:latin typeface="Century Gothic" panose="020B0502020202020204" pitchFamily="34" charset="0"/>
                      </a:endParaRPr>
                    </a:p>
                  </a:txBody>
                  <a:tcPr marL="8706" marR="8706" marT="8706" marB="0" anchor="b"/>
                </a:tc>
                <a:tc>
                  <a:txBody>
                    <a:bodyPr/>
                    <a:lstStyle/>
                    <a:p>
                      <a:pPr algn="r" fontAlgn="b"/>
                      <a:r>
                        <a:rPr lang="ru-RU" sz="1000" b="1" i="0" u="none" strike="noStrike" dirty="0">
                          <a:solidFill>
                            <a:schemeClr val="tx1">
                              <a:lumMod val="50000"/>
                              <a:lumOff val="50000"/>
                            </a:schemeClr>
                          </a:solidFill>
                          <a:effectLst/>
                          <a:latin typeface="Century Gothic" panose="020B0502020202020204" pitchFamily="34" charset="0"/>
                        </a:rPr>
                        <a:t>854,6</a:t>
                      </a:r>
                    </a:p>
                  </a:txBody>
                  <a:tcPr marL="8706" marR="8706" marT="8706" marB="0" anchor="b"/>
                </a:tc>
                <a:extLst>
                  <a:ext uri="{0D108BD9-81ED-4DB2-BD59-A6C34878D82A}">
                    <a16:rowId xmlns:a16="http://schemas.microsoft.com/office/drawing/2014/main" val="2485979017"/>
                  </a:ext>
                </a:extLst>
              </a:tr>
              <a:tr h="92272">
                <a:tc>
                  <a:txBody>
                    <a:bodyPr/>
                    <a:lstStyle/>
                    <a:p>
                      <a:pPr algn="l" fontAlgn="b"/>
                      <a:r>
                        <a:rPr lang="en-US" sz="1000" b="0" i="0" u="none" strike="noStrike" baseline="0" dirty="0">
                          <a:solidFill>
                            <a:schemeClr val="tx1">
                              <a:lumMod val="50000"/>
                              <a:lumOff val="50000"/>
                            </a:schemeClr>
                          </a:solidFill>
                          <a:effectLst/>
                          <a:latin typeface="Century Gothic" panose="020B0502020202020204" pitchFamily="34" charset="0"/>
                        </a:rPr>
                        <a:t>OIL AND OIL PRODUCTS</a:t>
                      </a:r>
                    </a:p>
                  </a:txBody>
                  <a:tcPr marL="8706" marR="8706" marT="8706" marB="0" anchor="b"/>
                </a:tc>
                <a:tc>
                  <a:txBody>
                    <a:bodyPr/>
                    <a:lstStyle/>
                    <a:p>
                      <a:pPr algn="r" fontAlgn="b"/>
                      <a:r>
                        <a:rPr lang="ru-RU" sz="1000" b="0" i="0" u="none" strike="noStrike" dirty="0">
                          <a:solidFill>
                            <a:schemeClr val="tx1">
                              <a:lumMod val="50000"/>
                              <a:lumOff val="50000"/>
                            </a:schemeClr>
                          </a:solidFill>
                          <a:effectLst/>
                          <a:latin typeface="Century Gothic" panose="020B0502020202020204" pitchFamily="34" charset="0"/>
                        </a:rPr>
                        <a:t>819,2</a:t>
                      </a:r>
                    </a:p>
                  </a:txBody>
                  <a:tcPr marL="8706" marR="8706" marT="8706" marB="0" anchor="b"/>
                </a:tc>
                <a:extLst>
                  <a:ext uri="{0D108BD9-81ED-4DB2-BD59-A6C34878D82A}">
                    <a16:rowId xmlns:a16="http://schemas.microsoft.com/office/drawing/2014/main" val="2866705465"/>
                  </a:ext>
                </a:extLst>
              </a:tr>
              <a:tr h="110952">
                <a:tc>
                  <a:txBody>
                    <a:bodyPr/>
                    <a:lstStyle/>
                    <a:p>
                      <a:pPr algn="l" fontAlgn="b"/>
                      <a:r>
                        <a:rPr lang="en-US" sz="1000" b="0" i="0" u="none" strike="noStrike" dirty="0">
                          <a:solidFill>
                            <a:schemeClr val="tx1">
                              <a:lumMod val="50000"/>
                              <a:lumOff val="50000"/>
                            </a:schemeClr>
                          </a:solidFill>
                          <a:effectLst/>
                          <a:latin typeface="Century Gothic" panose="020B0502020202020204" pitchFamily="34" charset="0"/>
                        </a:rPr>
                        <a:t>COPPER</a:t>
                      </a:r>
                    </a:p>
                  </a:txBody>
                  <a:tcPr marL="8706" marR="8706" marT="8706" marB="0" anchor="b"/>
                </a:tc>
                <a:tc>
                  <a:txBody>
                    <a:bodyPr/>
                    <a:lstStyle/>
                    <a:p>
                      <a:pPr algn="r" fontAlgn="b"/>
                      <a:r>
                        <a:rPr lang="ru-RU" sz="1000" b="0" i="0" u="none" strike="noStrike" dirty="0">
                          <a:solidFill>
                            <a:schemeClr val="tx1">
                              <a:lumMod val="50000"/>
                              <a:lumOff val="50000"/>
                            </a:schemeClr>
                          </a:solidFill>
                          <a:effectLst/>
                          <a:latin typeface="Century Gothic" panose="020B0502020202020204" pitchFamily="34" charset="0"/>
                        </a:rPr>
                        <a:t>33,2</a:t>
                      </a:r>
                    </a:p>
                  </a:txBody>
                  <a:tcPr marL="8706" marR="8706" marT="8706" marB="0" anchor="b"/>
                </a:tc>
                <a:extLst>
                  <a:ext uri="{0D108BD9-81ED-4DB2-BD59-A6C34878D82A}">
                    <a16:rowId xmlns:a16="http://schemas.microsoft.com/office/drawing/2014/main" val="3780704254"/>
                  </a:ext>
                </a:extLst>
              </a:tr>
              <a:tr h="164896">
                <a:tc>
                  <a:txBody>
                    <a:bodyPr/>
                    <a:lstStyle/>
                    <a:p>
                      <a:pPr algn="l" fontAlgn="b"/>
                      <a:r>
                        <a:rPr lang="en-US" sz="1000" b="0" i="0" u="none" strike="noStrike" dirty="0">
                          <a:solidFill>
                            <a:schemeClr val="tx1">
                              <a:lumMod val="50000"/>
                              <a:lumOff val="50000"/>
                            </a:schemeClr>
                          </a:solidFill>
                          <a:effectLst/>
                          <a:latin typeface="Century Gothic" panose="020B0502020202020204" pitchFamily="34" charset="0"/>
                        </a:rPr>
                        <a:t>PRECIOUS METALS AND STONES</a:t>
                      </a:r>
                    </a:p>
                  </a:txBody>
                  <a:tcPr marL="8706" marR="8706" marT="8706" marB="0" anchor="b"/>
                </a:tc>
                <a:tc>
                  <a:txBody>
                    <a:bodyPr/>
                    <a:lstStyle/>
                    <a:p>
                      <a:pPr algn="r" fontAlgn="b"/>
                      <a:r>
                        <a:rPr lang="ru-RU" sz="1000" b="0" i="0" u="none" strike="noStrike" dirty="0">
                          <a:solidFill>
                            <a:schemeClr val="tx1">
                              <a:lumMod val="50000"/>
                              <a:lumOff val="50000"/>
                            </a:schemeClr>
                          </a:solidFill>
                          <a:effectLst/>
                          <a:latin typeface="Century Gothic" panose="020B0502020202020204" pitchFamily="34" charset="0"/>
                        </a:rPr>
                        <a:t>1,5</a:t>
                      </a:r>
                    </a:p>
                  </a:txBody>
                  <a:tcPr marL="8706" marR="8706" marT="8706" marB="0" anchor="b"/>
                </a:tc>
                <a:extLst>
                  <a:ext uri="{0D108BD9-81ED-4DB2-BD59-A6C34878D82A}">
                    <a16:rowId xmlns:a16="http://schemas.microsoft.com/office/drawing/2014/main" val="1842747082"/>
                  </a:ext>
                </a:extLst>
              </a:tr>
              <a:tr h="164896">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b="0" i="0" u="none" strike="noStrike" dirty="0">
                          <a:solidFill>
                            <a:schemeClr val="tx1">
                              <a:lumMod val="50000"/>
                              <a:lumOff val="50000"/>
                            </a:schemeClr>
                          </a:solidFill>
                          <a:effectLst/>
                          <a:latin typeface="Century Gothic" panose="020B0502020202020204" pitchFamily="34" charset="0"/>
                        </a:rPr>
                        <a:t>MECHANICAL EQUIPMENT AND TECHNOLOGY, COMPUTERS</a:t>
                      </a:r>
                    </a:p>
                  </a:txBody>
                  <a:tcPr marL="8706" marR="8706" marT="8706" marB="0" anchor="b"/>
                </a:tc>
                <a:tc>
                  <a:txBody>
                    <a:bodyPr/>
                    <a:lstStyle/>
                    <a:p>
                      <a:pPr algn="r" fontAlgn="b"/>
                      <a:r>
                        <a:rPr lang="ru-RU" sz="1000" b="0" i="0" u="none" strike="noStrike" dirty="0">
                          <a:solidFill>
                            <a:schemeClr val="tx1">
                              <a:lumMod val="50000"/>
                              <a:lumOff val="50000"/>
                            </a:schemeClr>
                          </a:solidFill>
                          <a:effectLst/>
                          <a:latin typeface="Century Gothic" panose="020B0502020202020204" pitchFamily="34" charset="0"/>
                        </a:rPr>
                        <a:t>0,4</a:t>
                      </a:r>
                    </a:p>
                  </a:txBody>
                  <a:tcPr marL="8706" marR="8706" marT="8706" marB="0" anchor="b"/>
                </a:tc>
                <a:extLst>
                  <a:ext uri="{0D108BD9-81ED-4DB2-BD59-A6C34878D82A}">
                    <a16:rowId xmlns:a16="http://schemas.microsoft.com/office/drawing/2014/main" val="1028787543"/>
                  </a:ext>
                </a:extLst>
              </a:tr>
              <a:tr h="110952">
                <a:tc>
                  <a:txBody>
                    <a:bodyPr/>
                    <a:lstStyle/>
                    <a:p>
                      <a:pPr algn="l" fontAlgn="b"/>
                      <a:r>
                        <a:rPr lang="en-US" sz="1000" b="0" i="0" u="none" strike="noStrike" dirty="0">
                          <a:solidFill>
                            <a:schemeClr val="tx1">
                              <a:lumMod val="50000"/>
                              <a:lumOff val="50000"/>
                            </a:schemeClr>
                          </a:solidFill>
                          <a:effectLst/>
                          <a:latin typeface="Century Gothic" panose="020B0502020202020204" pitchFamily="34" charset="0"/>
                        </a:rPr>
                        <a:t>ELECTRICAL DEVICES, COMMUNICATION EQUIPMENT</a:t>
                      </a:r>
                    </a:p>
                  </a:txBody>
                  <a:tcPr marL="8706" marR="8706" marT="8706" marB="0" anchor="b"/>
                </a:tc>
                <a:tc>
                  <a:txBody>
                    <a:bodyPr/>
                    <a:lstStyle/>
                    <a:p>
                      <a:pPr algn="r" fontAlgn="b"/>
                      <a:r>
                        <a:rPr lang="ru-RU" sz="1000" b="0" i="0" u="none" strike="noStrike" dirty="0">
                          <a:solidFill>
                            <a:schemeClr val="tx1">
                              <a:lumMod val="50000"/>
                              <a:lumOff val="50000"/>
                            </a:schemeClr>
                          </a:solidFill>
                          <a:effectLst/>
                          <a:latin typeface="Century Gothic" panose="020B0502020202020204" pitchFamily="34" charset="0"/>
                        </a:rPr>
                        <a:t>0,1</a:t>
                      </a:r>
                    </a:p>
                  </a:txBody>
                  <a:tcPr marL="8706" marR="8706" marT="8706" marB="0" anchor="b"/>
                </a:tc>
                <a:extLst>
                  <a:ext uri="{0D108BD9-81ED-4DB2-BD59-A6C34878D82A}">
                    <a16:rowId xmlns:a16="http://schemas.microsoft.com/office/drawing/2014/main" val="3211375636"/>
                  </a:ext>
                </a:extLst>
              </a:tr>
              <a:tr h="164896">
                <a:tc>
                  <a:txBody>
                    <a:bodyPr/>
                    <a:lstStyle/>
                    <a:p>
                      <a:pPr algn="l" fontAlgn="b"/>
                      <a:r>
                        <a:rPr lang="en-US" sz="1000" b="0" i="0" u="none" strike="noStrike" dirty="0">
                          <a:solidFill>
                            <a:schemeClr val="tx1">
                              <a:lumMod val="50000"/>
                              <a:lumOff val="50000"/>
                            </a:schemeClr>
                          </a:solidFill>
                          <a:effectLst/>
                          <a:latin typeface="Century Gothic" panose="020B0502020202020204" pitchFamily="34" charset="0"/>
                        </a:rPr>
                        <a:t>others</a:t>
                      </a:r>
                      <a:endParaRPr lang="ru-RU" sz="1000" b="0" i="0" u="none" strike="noStrike" dirty="0">
                        <a:solidFill>
                          <a:schemeClr val="tx1">
                            <a:lumMod val="50000"/>
                            <a:lumOff val="50000"/>
                          </a:schemeClr>
                        </a:solidFill>
                        <a:effectLst/>
                        <a:latin typeface="Century Gothic" panose="020B0502020202020204" pitchFamily="34" charset="0"/>
                      </a:endParaRPr>
                    </a:p>
                  </a:txBody>
                  <a:tcPr marL="8706" marR="8706" marT="8706" marB="0" anchor="b"/>
                </a:tc>
                <a:tc>
                  <a:txBody>
                    <a:bodyPr/>
                    <a:lstStyle/>
                    <a:p>
                      <a:pPr algn="r" fontAlgn="b"/>
                      <a:r>
                        <a:rPr lang="ru-RU" sz="1000" b="0" i="0" u="none" strike="noStrike" dirty="0">
                          <a:solidFill>
                            <a:schemeClr val="tx1">
                              <a:lumMod val="50000"/>
                              <a:lumOff val="50000"/>
                            </a:schemeClr>
                          </a:solidFill>
                          <a:effectLst/>
                          <a:latin typeface="Century Gothic" panose="020B0502020202020204" pitchFamily="34" charset="0"/>
                        </a:rPr>
                        <a:t>0,2</a:t>
                      </a:r>
                    </a:p>
                  </a:txBody>
                  <a:tcPr marL="8706" marR="8706" marT="8706" marB="0" anchor="b"/>
                </a:tc>
                <a:extLst>
                  <a:ext uri="{0D108BD9-81ED-4DB2-BD59-A6C34878D82A}">
                    <a16:rowId xmlns:a16="http://schemas.microsoft.com/office/drawing/2014/main" val="4072777090"/>
                  </a:ext>
                </a:extLst>
              </a:tr>
            </a:tbl>
          </a:graphicData>
        </a:graphic>
      </p:graphicFrame>
      <p:graphicFrame>
        <p:nvGraphicFramePr>
          <p:cNvPr id="5" name="Таблица 4">
            <a:extLst>
              <a:ext uri="{FF2B5EF4-FFF2-40B4-BE49-F238E27FC236}">
                <a16:creationId xmlns:a16="http://schemas.microsoft.com/office/drawing/2014/main" id="{26072EC0-0AB0-4C8A-9CAB-5FB425BF1815}"/>
              </a:ext>
            </a:extLst>
          </p:cNvPr>
          <p:cNvGraphicFramePr>
            <a:graphicFrameLocks noGrp="1"/>
          </p:cNvGraphicFramePr>
          <p:nvPr/>
        </p:nvGraphicFramePr>
        <p:xfrm>
          <a:off x="3299882" y="4479885"/>
          <a:ext cx="2629673" cy="1622751"/>
        </p:xfrm>
        <a:graphic>
          <a:graphicData uri="http://schemas.openxmlformats.org/drawingml/2006/table">
            <a:tbl>
              <a:tblPr firstRow="1" bandRow="1">
                <a:tableStyleId>{3B4B98B0-60AC-42C2-AFA5-B58CD77FA1E5}</a:tableStyleId>
              </a:tblPr>
              <a:tblGrid>
                <a:gridCol w="2053306">
                  <a:extLst>
                    <a:ext uri="{9D8B030D-6E8A-4147-A177-3AD203B41FA5}">
                      <a16:colId xmlns:a16="http://schemas.microsoft.com/office/drawing/2014/main" val="3487033153"/>
                    </a:ext>
                  </a:extLst>
                </a:gridCol>
                <a:gridCol w="576367">
                  <a:extLst>
                    <a:ext uri="{9D8B030D-6E8A-4147-A177-3AD203B41FA5}">
                      <a16:colId xmlns:a16="http://schemas.microsoft.com/office/drawing/2014/main" val="2662731415"/>
                    </a:ext>
                  </a:extLst>
                </a:gridCol>
              </a:tblGrid>
              <a:tr h="143912">
                <a:tc>
                  <a:txBody>
                    <a:bodyPr/>
                    <a:lstStyle/>
                    <a:p>
                      <a:pPr algn="l" fontAlgn="b"/>
                      <a:r>
                        <a:rPr lang="en-US" sz="1000" u="none" strike="noStrike" dirty="0">
                          <a:solidFill>
                            <a:schemeClr val="tx1">
                              <a:lumMod val="50000"/>
                              <a:lumOff val="50000"/>
                            </a:schemeClr>
                          </a:solidFill>
                          <a:effectLst/>
                          <a:latin typeface="Century Gothic" panose="020B0502020202020204" pitchFamily="34" charset="0"/>
                        </a:rPr>
                        <a:t>Total, USD million</a:t>
                      </a:r>
                      <a:endParaRPr lang="ru-RU" sz="1000" b="0" i="0" u="none" strike="noStrike" dirty="0">
                        <a:solidFill>
                          <a:schemeClr val="tx1">
                            <a:lumMod val="50000"/>
                            <a:lumOff val="50000"/>
                          </a:schemeClr>
                        </a:solidFill>
                        <a:effectLst/>
                        <a:latin typeface="Century Gothic" panose="020B0502020202020204" pitchFamily="34" charset="0"/>
                      </a:endParaRPr>
                    </a:p>
                  </a:txBody>
                  <a:tcPr marL="9525" marR="9525" marT="9525" marB="0" anchor="b"/>
                </a:tc>
                <a:tc>
                  <a:txBody>
                    <a:bodyPr/>
                    <a:lstStyle/>
                    <a:p>
                      <a:pPr algn="r" fontAlgn="b"/>
                      <a:r>
                        <a:rPr lang="ru-RU" sz="1000" u="none" strike="noStrike" dirty="0">
                          <a:solidFill>
                            <a:schemeClr val="tx1">
                              <a:lumMod val="50000"/>
                              <a:lumOff val="50000"/>
                            </a:schemeClr>
                          </a:solidFill>
                          <a:effectLst/>
                          <a:latin typeface="Century Gothic" panose="020B0502020202020204" pitchFamily="34" charset="0"/>
                        </a:rPr>
                        <a:t>70,1</a:t>
                      </a:r>
                      <a:endParaRPr lang="ru-RU" sz="1000" b="1" i="0" u="none" strike="noStrike" dirty="0">
                        <a:solidFill>
                          <a:schemeClr val="tx1">
                            <a:lumMod val="50000"/>
                            <a:lumOff val="50000"/>
                          </a:schemeClr>
                        </a:solidFill>
                        <a:effectLst/>
                        <a:latin typeface="Century Gothic" panose="020B0502020202020204" pitchFamily="34" charset="0"/>
                      </a:endParaRPr>
                    </a:p>
                  </a:txBody>
                  <a:tcPr marL="9525" marR="9525" marT="9525" marB="0" anchor="b"/>
                </a:tc>
                <a:extLst>
                  <a:ext uri="{0D108BD9-81ED-4DB2-BD59-A6C34878D82A}">
                    <a16:rowId xmlns:a16="http://schemas.microsoft.com/office/drawing/2014/main" val="3978151844"/>
                  </a:ext>
                </a:extLst>
              </a:tr>
              <a:tr h="143912">
                <a:tc>
                  <a:txBody>
                    <a:bodyPr/>
                    <a:lstStyle/>
                    <a:p>
                      <a:pPr algn="l" fontAlgn="b"/>
                      <a:r>
                        <a:rPr lang="en-US" sz="1000" b="0" i="0" u="none" strike="noStrike" dirty="0">
                          <a:solidFill>
                            <a:schemeClr val="tx1">
                              <a:lumMod val="50000"/>
                              <a:lumOff val="50000"/>
                            </a:schemeClr>
                          </a:solidFill>
                          <a:effectLst/>
                          <a:latin typeface="Century Gothic" panose="020B0502020202020204" pitchFamily="34" charset="0"/>
                        </a:rPr>
                        <a:t>OPTICS, DEVICES, MEDICAL EQUIPMENT</a:t>
                      </a:r>
                    </a:p>
                  </a:txBody>
                  <a:tcPr marL="9525" marR="9525" marT="9525" marB="0" anchor="b"/>
                </a:tc>
                <a:tc>
                  <a:txBody>
                    <a:bodyPr/>
                    <a:lstStyle/>
                    <a:p>
                      <a:pPr algn="r" fontAlgn="b"/>
                      <a:r>
                        <a:rPr lang="ru-RU" sz="1000" b="0" i="0" u="none" strike="noStrike" dirty="0">
                          <a:solidFill>
                            <a:schemeClr val="tx1">
                              <a:lumMod val="50000"/>
                              <a:lumOff val="50000"/>
                            </a:schemeClr>
                          </a:solidFill>
                          <a:effectLst/>
                          <a:latin typeface="Century Gothic" panose="020B0502020202020204" pitchFamily="34" charset="0"/>
                        </a:rPr>
                        <a:t>12,6</a:t>
                      </a:r>
                    </a:p>
                  </a:txBody>
                  <a:tcPr marL="9525" marR="9525" marT="9525" marB="0" anchor="b"/>
                </a:tc>
                <a:extLst>
                  <a:ext uri="{0D108BD9-81ED-4DB2-BD59-A6C34878D82A}">
                    <a16:rowId xmlns:a16="http://schemas.microsoft.com/office/drawing/2014/main" val="3230626832"/>
                  </a:ext>
                </a:extLst>
              </a:tr>
              <a:tr h="143912">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b="0" i="0" u="none" strike="noStrike" dirty="0">
                          <a:solidFill>
                            <a:schemeClr val="tx1">
                              <a:lumMod val="50000"/>
                              <a:lumOff val="50000"/>
                            </a:schemeClr>
                          </a:solidFill>
                          <a:effectLst/>
                          <a:latin typeface="Century Gothic" panose="020B0502020202020204" pitchFamily="34" charset="0"/>
                        </a:rPr>
                        <a:t>ELECTRICAL DEVICES, COMMUNICATION EQUIPMENT</a:t>
                      </a:r>
                    </a:p>
                  </a:txBody>
                  <a:tcPr marL="9525" marR="9525" marT="9525" marB="0" anchor="b"/>
                </a:tc>
                <a:tc>
                  <a:txBody>
                    <a:bodyPr/>
                    <a:lstStyle/>
                    <a:p>
                      <a:pPr algn="r" fontAlgn="b"/>
                      <a:r>
                        <a:rPr lang="ru-RU" sz="1000" b="0" i="0" u="none" strike="noStrike" dirty="0">
                          <a:solidFill>
                            <a:schemeClr val="tx1">
                              <a:lumMod val="50000"/>
                              <a:lumOff val="50000"/>
                            </a:schemeClr>
                          </a:solidFill>
                          <a:effectLst/>
                          <a:latin typeface="Century Gothic" panose="020B0502020202020204" pitchFamily="34" charset="0"/>
                        </a:rPr>
                        <a:t>11,6</a:t>
                      </a:r>
                    </a:p>
                  </a:txBody>
                  <a:tcPr marL="9525" marR="9525" marT="9525" marB="0" anchor="b"/>
                </a:tc>
                <a:extLst>
                  <a:ext uri="{0D108BD9-81ED-4DB2-BD59-A6C34878D82A}">
                    <a16:rowId xmlns:a16="http://schemas.microsoft.com/office/drawing/2014/main" val="2511442906"/>
                  </a:ext>
                </a:extLst>
              </a:tr>
              <a:tr h="143912">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b="0" i="0" u="none" strike="noStrike" dirty="0">
                          <a:solidFill>
                            <a:schemeClr val="tx1">
                              <a:lumMod val="50000"/>
                              <a:lumOff val="50000"/>
                            </a:schemeClr>
                          </a:solidFill>
                          <a:effectLst/>
                          <a:latin typeface="Century Gothic" panose="020B0502020202020204" pitchFamily="34" charset="0"/>
                        </a:rPr>
                        <a:t>MECHANICAL EQUIPMENT AND TECHNOLOGY, COMPUTERS</a:t>
                      </a:r>
                    </a:p>
                  </a:txBody>
                  <a:tcPr marL="9525" marR="9525" marT="9525" marB="0" anchor="b"/>
                </a:tc>
                <a:tc>
                  <a:txBody>
                    <a:bodyPr/>
                    <a:lstStyle/>
                    <a:p>
                      <a:pPr algn="r" fontAlgn="b"/>
                      <a:r>
                        <a:rPr lang="ru-RU" sz="1000" b="0" i="0" u="none" strike="noStrike" dirty="0">
                          <a:solidFill>
                            <a:schemeClr val="tx1">
                              <a:lumMod val="50000"/>
                              <a:lumOff val="50000"/>
                            </a:schemeClr>
                          </a:solidFill>
                          <a:effectLst/>
                          <a:latin typeface="Century Gothic" panose="020B0502020202020204" pitchFamily="34" charset="0"/>
                        </a:rPr>
                        <a:t>10,5</a:t>
                      </a:r>
                    </a:p>
                  </a:txBody>
                  <a:tcPr marL="9525" marR="9525" marT="9525" marB="0" anchor="b"/>
                </a:tc>
                <a:extLst>
                  <a:ext uri="{0D108BD9-81ED-4DB2-BD59-A6C34878D82A}">
                    <a16:rowId xmlns:a16="http://schemas.microsoft.com/office/drawing/2014/main" val="3077378786"/>
                  </a:ext>
                </a:extLst>
              </a:tr>
              <a:tr h="143912">
                <a:tc>
                  <a:txBody>
                    <a:bodyPr/>
                    <a:lstStyle/>
                    <a:p>
                      <a:pPr algn="l" fontAlgn="b"/>
                      <a:r>
                        <a:rPr lang="en-US" sz="1000" b="0" i="0" u="none" strike="noStrike" dirty="0">
                          <a:solidFill>
                            <a:schemeClr val="tx1">
                              <a:lumMod val="50000"/>
                              <a:lumOff val="50000"/>
                            </a:schemeClr>
                          </a:solidFill>
                          <a:effectLst/>
                          <a:latin typeface="Century Gothic" panose="020B0502020202020204" pitchFamily="34" charset="0"/>
                        </a:rPr>
                        <a:t>PHARMACEUTICAL PRODUCTS</a:t>
                      </a:r>
                    </a:p>
                  </a:txBody>
                  <a:tcPr marL="9525" marR="9525" marT="9525" marB="0" anchor="b"/>
                </a:tc>
                <a:tc>
                  <a:txBody>
                    <a:bodyPr/>
                    <a:lstStyle/>
                    <a:p>
                      <a:pPr algn="r" fontAlgn="b"/>
                      <a:r>
                        <a:rPr lang="ru-RU" sz="1000" b="0" i="0" u="none" strike="noStrike" dirty="0">
                          <a:solidFill>
                            <a:schemeClr val="tx1">
                              <a:lumMod val="50000"/>
                              <a:lumOff val="50000"/>
                            </a:schemeClr>
                          </a:solidFill>
                          <a:effectLst/>
                          <a:latin typeface="Century Gothic" panose="020B0502020202020204" pitchFamily="34" charset="0"/>
                        </a:rPr>
                        <a:t>5,7</a:t>
                      </a:r>
                    </a:p>
                  </a:txBody>
                  <a:tcPr marL="9525" marR="9525" marT="9525" marB="0" anchor="b"/>
                </a:tc>
                <a:extLst>
                  <a:ext uri="{0D108BD9-81ED-4DB2-BD59-A6C34878D82A}">
                    <a16:rowId xmlns:a16="http://schemas.microsoft.com/office/drawing/2014/main" val="156264806"/>
                  </a:ext>
                </a:extLst>
              </a:tr>
              <a:tr h="194001">
                <a:tc>
                  <a:txBody>
                    <a:bodyPr/>
                    <a:lstStyle/>
                    <a:p>
                      <a:pPr algn="l" fontAlgn="b"/>
                      <a:r>
                        <a:rPr lang="en-US" sz="1000" b="0" i="0" u="none" strike="noStrike" dirty="0">
                          <a:solidFill>
                            <a:schemeClr val="tx1">
                              <a:lumMod val="50000"/>
                              <a:lumOff val="50000"/>
                            </a:schemeClr>
                          </a:solidFill>
                          <a:effectLst/>
                          <a:latin typeface="Century Gothic" panose="020B0502020202020204" pitchFamily="34" charset="0"/>
                        </a:rPr>
                        <a:t>OIL AND OIL PRODUCTS</a:t>
                      </a:r>
                    </a:p>
                  </a:txBody>
                  <a:tcPr marL="9525" marR="9525" marT="9525" marB="0" anchor="b"/>
                </a:tc>
                <a:tc>
                  <a:txBody>
                    <a:bodyPr/>
                    <a:lstStyle/>
                    <a:p>
                      <a:pPr algn="r" fontAlgn="b"/>
                      <a:r>
                        <a:rPr lang="ru-RU" sz="1000" b="0" i="0" u="none" strike="noStrike" dirty="0">
                          <a:solidFill>
                            <a:schemeClr val="tx1">
                              <a:lumMod val="50000"/>
                              <a:lumOff val="50000"/>
                            </a:schemeClr>
                          </a:solidFill>
                          <a:effectLst/>
                          <a:latin typeface="Century Gothic" panose="020B0502020202020204" pitchFamily="34" charset="0"/>
                        </a:rPr>
                        <a:t>4,5</a:t>
                      </a:r>
                    </a:p>
                  </a:txBody>
                  <a:tcPr marL="9525" marR="9525" marT="9525" marB="0" anchor="b"/>
                </a:tc>
                <a:extLst>
                  <a:ext uri="{0D108BD9-81ED-4DB2-BD59-A6C34878D82A}">
                    <a16:rowId xmlns:a16="http://schemas.microsoft.com/office/drawing/2014/main" val="2309782135"/>
                  </a:ext>
                </a:extLst>
              </a:tr>
              <a:tr h="143912">
                <a:tc>
                  <a:txBody>
                    <a:bodyPr/>
                    <a:lstStyle/>
                    <a:p>
                      <a:pPr algn="l" fontAlgn="b"/>
                      <a:r>
                        <a:rPr lang="en-US" sz="1000" b="0" i="0" u="none" strike="noStrike" dirty="0">
                          <a:solidFill>
                            <a:schemeClr val="tx1">
                              <a:lumMod val="50000"/>
                              <a:lumOff val="50000"/>
                            </a:schemeClr>
                          </a:solidFill>
                          <a:effectLst/>
                          <a:latin typeface="Century Gothic" panose="020B0502020202020204" pitchFamily="34" charset="0"/>
                        </a:rPr>
                        <a:t>others</a:t>
                      </a:r>
                      <a:endParaRPr lang="ru-RU" sz="1000" b="0" i="0" u="none" strike="noStrike" dirty="0">
                        <a:solidFill>
                          <a:schemeClr val="tx1">
                            <a:lumMod val="50000"/>
                            <a:lumOff val="50000"/>
                          </a:schemeClr>
                        </a:solidFill>
                        <a:effectLst/>
                        <a:latin typeface="Century Gothic" panose="020B0502020202020204" pitchFamily="34" charset="0"/>
                      </a:endParaRPr>
                    </a:p>
                  </a:txBody>
                  <a:tcPr marL="9525" marR="9525" marT="9525" marB="0" anchor="b"/>
                </a:tc>
                <a:tc>
                  <a:txBody>
                    <a:bodyPr/>
                    <a:lstStyle/>
                    <a:p>
                      <a:pPr algn="r" fontAlgn="b"/>
                      <a:r>
                        <a:rPr lang="ru-RU" sz="1000" b="0" i="0" u="none" strike="noStrike" dirty="0">
                          <a:solidFill>
                            <a:schemeClr val="tx1">
                              <a:lumMod val="50000"/>
                              <a:lumOff val="50000"/>
                            </a:schemeClr>
                          </a:solidFill>
                          <a:effectLst/>
                          <a:latin typeface="Century Gothic" panose="020B0502020202020204" pitchFamily="34" charset="0"/>
                        </a:rPr>
                        <a:t>25,2</a:t>
                      </a:r>
                    </a:p>
                  </a:txBody>
                  <a:tcPr marL="9525" marR="9525" marT="9525" marB="0" anchor="b"/>
                </a:tc>
                <a:extLst>
                  <a:ext uri="{0D108BD9-81ED-4DB2-BD59-A6C34878D82A}">
                    <a16:rowId xmlns:a16="http://schemas.microsoft.com/office/drawing/2014/main" val="3138667892"/>
                  </a:ext>
                </a:extLst>
              </a:tr>
            </a:tbl>
          </a:graphicData>
        </a:graphic>
      </p:graphicFrame>
      <p:cxnSp>
        <p:nvCxnSpPr>
          <p:cNvPr id="17" name="Прямая соединительная линия 16">
            <a:extLst>
              <a:ext uri="{FF2B5EF4-FFF2-40B4-BE49-F238E27FC236}">
                <a16:creationId xmlns:a16="http://schemas.microsoft.com/office/drawing/2014/main" id="{95999A39-075D-4356-92A9-58C9105CE083}"/>
              </a:ext>
            </a:extLst>
          </p:cNvPr>
          <p:cNvCxnSpPr>
            <a:cxnSpLocks/>
          </p:cNvCxnSpPr>
          <p:nvPr/>
        </p:nvCxnSpPr>
        <p:spPr>
          <a:xfrm>
            <a:off x="3107250" y="4284107"/>
            <a:ext cx="0" cy="2304000"/>
          </a:xfrm>
          <a:prstGeom prst="line">
            <a:avLst/>
          </a:prstGeom>
          <a:ln w="6350">
            <a:prstDash val="dashDot"/>
          </a:ln>
        </p:spPr>
        <p:style>
          <a:lnRef idx="1">
            <a:schemeClr val="accent4"/>
          </a:lnRef>
          <a:fillRef idx="0">
            <a:schemeClr val="accent4"/>
          </a:fillRef>
          <a:effectRef idx="0">
            <a:schemeClr val="accent4"/>
          </a:effectRef>
          <a:fontRef idx="minor">
            <a:schemeClr val="tx1"/>
          </a:fontRef>
        </p:style>
      </p:cxnSp>
      <p:cxnSp>
        <p:nvCxnSpPr>
          <p:cNvPr id="18" name="Прямая соединительная линия 17">
            <a:extLst>
              <a:ext uri="{FF2B5EF4-FFF2-40B4-BE49-F238E27FC236}">
                <a16:creationId xmlns:a16="http://schemas.microsoft.com/office/drawing/2014/main" id="{068963CD-4621-4B77-86B1-EAF0FB740CB2}"/>
              </a:ext>
            </a:extLst>
          </p:cNvPr>
          <p:cNvCxnSpPr>
            <a:cxnSpLocks/>
          </p:cNvCxnSpPr>
          <p:nvPr/>
        </p:nvCxnSpPr>
        <p:spPr>
          <a:xfrm>
            <a:off x="6062270" y="969885"/>
            <a:ext cx="0" cy="5472000"/>
          </a:xfrm>
          <a:prstGeom prst="line">
            <a:avLst/>
          </a:prstGeom>
          <a:ln w="19050"/>
        </p:spPr>
        <p:style>
          <a:lnRef idx="1">
            <a:schemeClr val="accent4"/>
          </a:lnRef>
          <a:fillRef idx="0">
            <a:schemeClr val="accent4"/>
          </a:fillRef>
          <a:effectRef idx="0">
            <a:schemeClr val="accent4"/>
          </a:effectRef>
          <a:fontRef idx="minor">
            <a:schemeClr val="tx1"/>
          </a:fontRef>
        </p:style>
      </p:cxnSp>
      <p:sp>
        <p:nvSpPr>
          <p:cNvPr id="19" name="Прямоугольник: скругленные углы 3">
            <a:extLst>
              <a:ext uri="{FF2B5EF4-FFF2-40B4-BE49-F238E27FC236}">
                <a16:creationId xmlns:a16="http://schemas.microsoft.com/office/drawing/2014/main" id="{7458E572-E9F7-4CBF-9A07-D3F358000548}"/>
              </a:ext>
            </a:extLst>
          </p:cNvPr>
          <p:cNvSpPr/>
          <p:nvPr/>
        </p:nvSpPr>
        <p:spPr>
          <a:xfrm>
            <a:off x="6212963" y="716662"/>
            <a:ext cx="5700954" cy="393649"/>
          </a:xfrm>
          <a:prstGeom prst="roundRect">
            <a:avLst>
              <a:gd name="adj" fmla="val 10507"/>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20" name="TextBox 19">
            <a:extLst>
              <a:ext uri="{FF2B5EF4-FFF2-40B4-BE49-F238E27FC236}">
                <a16:creationId xmlns:a16="http://schemas.microsoft.com/office/drawing/2014/main" id="{932BC355-8681-489C-BFCD-20ECB9DABA45}"/>
              </a:ext>
            </a:extLst>
          </p:cNvPr>
          <p:cNvSpPr txBox="1"/>
          <p:nvPr/>
        </p:nvSpPr>
        <p:spPr>
          <a:xfrm>
            <a:off x="6643515" y="775060"/>
            <a:ext cx="4476750" cy="305084"/>
          </a:xfrm>
          <a:prstGeom prst="rect">
            <a:avLst/>
          </a:prstGeom>
          <a:noFill/>
        </p:spPr>
        <p:txBody>
          <a:bodyPr wrap="square" rtlCol="0">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400" b="0" i="0" u="none" strike="noStrike" kern="100" cap="none" spc="0" normalizeH="0" baseline="0" noProof="0" dirty="0">
                <a:ln>
                  <a:noFill/>
                </a:ln>
                <a:solidFill>
                  <a:prstClr val="black">
                    <a:lumMod val="65000"/>
                    <a:lumOff val="35000"/>
                  </a:prstClr>
                </a:solidFill>
                <a:effectLst/>
                <a:uLnTx/>
                <a:uFillTx/>
                <a:latin typeface="Century Gothic" panose="020B0502020202020204" pitchFamily="34" charset="0"/>
                <a:ea typeface="Aptos"/>
                <a:cs typeface="Times New Roman" panose="02020603050405020304" pitchFamily="18" charset="0"/>
              </a:rPr>
              <a:t>SINGAPORE INVESTMENTS IN KAZAKHSTAN</a:t>
            </a:r>
            <a:endParaRPr kumimoji="0" lang="ru-RU" sz="1400" b="0" i="0" u="none" strike="noStrike" kern="100" cap="none" spc="0" normalizeH="0" baseline="0" noProof="0" dirty="0">
              <a:ln>
                <a:noFill/>
              </a:ln>
              <a:solidFill>
                <a:prstClr val="black">
                  <a:lumMod val="65000"/>
                  <a:lumOff val="35000"/>
                </a:prstClr>
              </a:solidFill>
              <a:effectLst/>
              <a:uLnTx/>
              <a:uFillTx/>
              <a:latin typeface="Century Gothic" panose="020B0502020202020204" pitchFamily="34" charset="0"/>
              <a:ea typeface="Aptos"/>
              <a:cs typeface="Times New Roman" panose="02020603050405020304" pitchFamily="18" charset="0"/>
            </a:endParaRPr>
          </a:p>
        </p:txBody>
      </p:sp>
      <p:pic>
        <p:nvPicPr>
          <p:cNvPr id="11" name="Рисунок 10">
            <a:extLst>
              <a:ext uri="{FF2B5EF4-FFF2-40B4-BE49-F238E27FC236}">
                <a16:creationId xmlns:a16="http://schemas.microsoft.com/office/drawing/2014/main" id="{00FB82CA-0C9E-48DB-9A93-1D13860DA5AC}"/>
              </a:ext>
            </a:extLst>
          </p:cNvPr>
          <p:cNvPicPr>
            <a:picLocks noChangeAspect="1"/>
          </p:cNvPicPr>
          <p:nvPr/>
        </p:nvPicPr>
        <p:blipFill>
          <a:blip r:embed="rId4">
            <a:duotone>
              <a:schemeClr val="accent1">
                <a:shade val="45000"/>
                <a:satMod val="135000"/>
              </a:schemeClr>
              <a:prstClr val="white"/>
            </a:duotone>
          </a:blip>
          <a:stretch>
            <a:fillRect/>
          </a:stretch>
        </p:blipFill>
        <p:spPr>
          <a:xfrm>
            <a:off x="6338431" y="755702"/>
            <a:ext cx="305084" cy="305084"/>
          </a:xfrm>
          <a:prstGeom prst="rect">
            <a:avLst/>
          </a:prstGeom>
        </p:spPr>
      </p:pic>
      <p:sp>
        <p:nvSpPr>
          <p:cNvPr id="25" name="TextBox 24">
            <a:extLst>
              <a:ext uri="{FF2B5EF4-FFF2-40B4-BE49-F238E27FC236}">
                <a16:creationId xmlns:a16="http://schemas.microsoft.com/office/drawing/2014/main" id="{613D9BE7-78DF-4E81-8A82-8EF9AC28089D}"/>
              </a:ext>
            </a:extLst>
          </p:cNvPr>
          <p:cNvSpPr txBox="1"/>
          <p:nvPr/>
        </p:nvSpPr>
        <p:spPr>
          <a:xfrm>
            <a:off x="11034502" y="1162921"/>
            <a:ext cx="848309"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USD million</a:t>
            </a:r>
            <a:endParaRPr kumimoji="0" lang="ru-RU" sz="10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endParaRPr>
          </a:p>
        </p:txBody>
      </p:sp>
      <p:sp>
        <p:nvSpPr>
          <p:cNvPr id="26" name="TextBox 25">
            <a:extLst>
              <a:ext uri="{FF2B5EF4-FFF2-40B4-BE49-F238E27FC236}">
                <a16:creationId xmlns:a16="http://schemas.microsoft.com/office/drawing/2014/main" id="{6880D9D6-37DF-436A-B3E2-189B23377517}"/>
              </a:ext>
            </a:extLst>
          </p:cNvPr>
          <p:cNvSpPr txBox="1"/>
          <p:nvPr/>
        </p:nvSpPr>
        <p:spPr>
          <a:xfrm>
            <a:off x="5035580" y="1220920"/>
            <a:ext cx="848309"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USD million</a:t>
            </a:r>
            <a:endParaRPr kumimoji="0" lang="ru-RU" sz="10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endParaRPr>
          </a:p>
        </p:txBody>
      </p:sp>
      <p:cxnSp>
        <p:nvCxnSpPr>
          <p:cNvPr id="27" name="Прямая соединительная линия 26">
            <a:extLst>
              <a:ext uri="{FF2B5EF4-FFF2-40B4-BE49-F238E27FC236}">
                <a16:creationId xmlns:a16="http://schemas.microsoft.com/office/drawing/2014/main" id="{4B68E04E-4D76-4484-B874-FD611782BD64}"/>
              </a:ext>
            </a:extLst>
          </p:cNvPr>
          <p:cNvCxnSpPr>
            <a:cxnSpLocks/>
          </p:cNvCxnSpPr>
          <p:nvPr/>
        </p:nvCxnSpPr>
        <p:spPr>
          <a:xfrm rot="16200000">
            <a:off x="9038431" y="1310026"/>
            <a:ext cx="0" cy="5400000"/>
          </a:xfrm>
          <a:prstGeom prst="line">
            <a:avLst/>
          </a:prstGeom>
          <a:ln w="6350">
            <a:prstDash val="dashDot"/>
          </a:ln>
        </p:spPr>
        <p:style>
          <a:lnRef idx="1">
            <a:schemeClr val="accent4"/>
          </a:lnRef>
          <a:fillRef idx="0">
            <a:schemeClr val="accent4"/>
          </a:fillRef>
          <a:effectRef idx="0">
            <a:schemeClr val="accent4"/>
          </a:effectRef>
          <a:fontRef idx="minor">
            <a:schemeClr val="tx1"/>
          </a:fontRef>
        </p:style>
      </p:cxnSp>
      <p:sp>
        <p:nvSpPr>
          <p:cNvPr id="31" name="TextBox 30">
            <a:extLst>
              <a:ext uri="{FF2B5EF4-FFF2-40B4-BE49-F238E27FC236}">
                <a16:creationId xmlns:a16="http://schemas.microsoft.com/office/drawing/2014/main" id="{36B2E6E0-69CE-45EE-9E36-7008DEA6414C}"/>
              </a:ext>
            </a:extLst>
          </p:cNvPr>
          <p:cNvSpPr txBox="1"/>
          <p:nvPr/>
        </p:nvSpPr>
        <p:spPr>
          <a:xfrm>
            <a:off x="6194986" y="3111776"/>
            <a:ext cx="5718930" cy="7386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Investment cooperation between Singapore and Kazakhstan shows </a:t>
            </a:r>
            <a:r>
              <a:rPr kumimoji="0" lang="en-US" sz="1400" b="1"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positive dynamics</a:t>
            </a:r>
            <a:r>
              <a:rPr kumimoji="0" lang="en-US" sz="14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 despite some fluctuations in investment volumes.</a:t>
            </a:r>
          </a:p>
        </p:txBody>
      </p:sp>
      <p:sp>
        <p:nvSpPr>
          <p:cNvPr id="32" name="TextBox 31">
            <a:extLst>
              <a:ext uri="{FF2B5EF4-FFF2-40B4-BE49-F238E27FC236}">
                <a16:creationId xmlns:a16="http://schemas.microsoft.com/office/drawing/2014/main" id="{99E559AA-C6FC-4C53-B875-F3475F471178}"/>
              </a:ext>
            </a:extLst>
          </p:cNvPr>
          <p:cNvSpPr txBox="1"/>
          <p:nvPr/>
        </p:nvSpPr>
        <p:spPr>
          <a:xfrm>
            <a:off x="6202892" y="4169611"/>
            <a:ext cx="5628796" cy="95410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There are </a:t>
            </a:r>
            <a:r>
              <a:rPr kumimoji="0" lang="en-US" sz="1400" b="1"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268 companies with Singaporean capital </a:t>
            </a:r>
            <a:r>
              <a:rPr kumimoji="0" lang="en-US" sz="14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registered in Kazakhstan, reflecting the active involvement of Singaporean businesses in various sectors of the Kazakh economy.</a:t>
            </a:r>
            <a:endParaRPr kumimoji="0" lang="ru-RU" sz="14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endParaRPr>
          </a:p>
        </p:txBody>
      </p:sp>
      <p:sp>
        <p:nvSpPr>
          <p:cNvPr id="35" name="TextBox 34">
            <a:extLst>
              <a:ext uri="{FF2B5EF4-FFF2-40B4-BE49-F238E27FC236}">
                <a16:creationId xmlns:a16="http://schemas.microsoft.com/office/drawing/2014/main" id="{375D7695-C7F0-477E-9D35-EE419F7F38F1}"/>
              </a:ext>
            </a:extLst>
          </p:cNvPr>
          <p:cNvSpPr txBox="1"/>
          <p:nvPr/>
        </p:nvSpPr>
        <p:spPr>
          <a:xfrm>
            <a:off x="16218" y="6641124"/>
            <a:ext cx="11393321"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Times New Roman" panose="02020603050405020304" pitchFamily="18" charset="0"/>
              </a:rPr>
              <a:t>Source: National Bank of the Republic of Kazakhstan, Development Bank of Kazakhstan</a:t>
            </a:r>
            <a:endParaRPr kumimoji="0" lang="ru-RU"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Times New Roman" panose="02020603050405020304" pitchFamily="18" charset="0"/>
            </a:endParaRPr>
          </a:p>
        </p:txBody>
      </p:sp>
      <p:graphicFrame>
        <p:nvGraphicFramePr>
          <p:cNvPr id="40" name="Диаграмма 39"/>
          <p:cNvGraphicFramePr/>
          <p:nvPr/>
        </p:nvGraphicFramePr>
        <p:xfrm>
          <a:off x="176659" y="1368278"/>
          <a:ext cx="5804837" cy="2308607"/>
        </p:xfrm>
        <a:graphic>
          <a:graphicData uri="http://schemas.openxmlformats.org/drawingml/2006/chart">
            <c:chart xmlns:c="http://schemas.openxmlformats.org/drawingml/2006/chart" xmlns:r="http://schemas.openxmlformats.org/officeDocument/2006/relationships" r:id="rId5"/>
          </a:graphicData>
        </a:graphic>
      </p:graphicFrame>
      <p:sp>
        <p:nvSpPr>
          <p:cNvPr id="51" name="Овал 50"/>
          <p:cNvSpPr/>
          <p:nvPr/>
        </p:nvSpPr>
        <p:spPr>
          <a:xfrm>
            <a:off x="5256649" y="2522581"/>
            <a:ext cx="78191" cy="66502"/>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50" name="Овал 49"/>
          <p:cNvSpPr/>
          <p:nvPr/>
        </p:nvSpPr>
        <p:spPr>
          <a:xfrm>
            <a:off x="4152449" y="1987449"/>
            <a:ext cx="78191" cy="66502"/>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45" name="Овал 44"/>
          <p:cNvSpPr/>
          <p:nvPr/>
        </p:nvSpPr>
        <p:spPr>
          <a:xfrm>
            <a:off x="3039981" y="1873543"/>
            <a:ext cx="78191" cy="66502"/>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52" name="Овал 51"/>
          <p:cNvSpPr/>
          <p:nvPr/>
        </p:nvSpPr>
        <p:spPr>
          <a:xfrm>
            <a:off x="1922509" y="2348463"/>
            <a:ext cx="78191" cy="66502"/>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53" name="Овал 52"/>
          <p:cNvSpPr/>
          <p:nvPr/>
        </p:nvSpPr>
        <p:spPr>
          <a:xfrm>
            <a:off x="822470" y="3002523"/>
            <a:ext cx="78191" cy="66502"/>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pic>
        <p:nvPicPr>
          <p:cNvPr id="37" name="Рисунок 36">
            <a:extLst>
              <a:ext uri="{FF2B5EF4-FFF2-40B4-BE49-F238E27FC236}">
                <a16:creationId xmlns:a16="http://schemas.microsoft.com/office/drawing/2014/main" id="{5EF2118C-5D1C-458F-BD61-6638022AA9C4}"/>
              </a:ext>
            </a:extLst>
          </p:cNvPr>
          <p:cNvPicPr>
            <a:picLocks noChangeAspect="1"/>
          </p:cNvPicPr>
          <p:nvPr/>
        </p:nvPicPr>
        <p:blipFill>
          <a:blip r:embed="rId6">
            <a:duotone>
              <a:schemeClr val="accent1">
                <a:shade val="45000"/>
                <a:satMod val="135000"/>
              </a:schemeClr>
              <a:prstClr val="white"/>
            </a:duotone>
          </a:blip>
          <a:stretch>
            <a:fillRect/>
          </a:stretch>
        </p:blipFill>
        <p:spPr>
          <a:xfrm>
            <a:off x="293127" y="3796220"/>
            <a:ext cx="320332" cy="320332"/>
          </a:xfrm>
          <a:prstGeom prst="rect">
            <a:avLst/>
          </a:prstGeom>
        </p:spPr>
      </p:pic>
      <p:graphicFrame>
        <p:nvGraphicFramePr>
          <p:cNvPr id="38" name="Диаграмма 37"/>
          <p:cNvGraphicFramePr/>
          <p:nvPr/>
        </p:nvGraphicFramePr>
        <p:xfrm>
          <a:off x="6194986" y="1430611"/>
          <a:ext cx="5799425" cy="1638414"/>
        </p:xfrm>
        <a:graphic>
          <a:graphicData uri="http://schemas.openxmlformats.org/drawingml/2006/chart">
            <c:chart xmlns:c="http://schemas.openxmlformats.org/drawingml/2006/chart" xmlns:r="http://schemas.openxmlformats.org/officeDocument/2006/relationships" r:id="rId7"/>
          </a:graphicData>
        </a:graphic>
      </p:graphicFrame>
      <p:pic>
        <p:nvPicPr>
          <p:cNvPr id="2" name="Рисунок 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943733" y="5338025"/>
            <a:ext cx="612188" cy="612188"/>
          </a:xfrm>
          <a:prstGeom prst="rect">
            <a:avLst/>
          </a:prstGeom>
        </p:spPr>
      </p:pic>
      <p:pic>
        <p:nvPicPr>
          <p:cNvPr id="3" name="Рисунок 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978388" y="5361002"/>
            <a:ext cx="1855712" cy="499061"/>
          </a:xfrm>
          <a:prstGeom prst="rect">
            <a:avLst/>
          </a:prstGeom>
        </p:spPr>
      </p:pic>
      <p:pic>
        <p:nvPicPr>
          <p:cNvPr id="6" name="Рисунок 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184018" y="5388815"/>
            <a:ext cx="1132936" cy="423745"/>
          </a:xfrm>
          <a:prstGeom prst="rect">
            <a:avLst/>
          </a:prstGeom>
        </p:spPr>
      </p:pic>
    </p:spTree>
    <p:extLst>
      <p:ext uri="{BB962C8B-B14F-4D97-AF65-F5344CB8AC3E}">
        <p14:creationId xmlns:p14="http://schemas.microsoft.com/office/powerpoint/2010/main" val="376792584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Box 2">
            <a:extLst>
              <a:ext uri="{FF2B5EF4-FFF2-40B4-BE49-F238E27FC236}">
                <a16:creationId xmlns:a16="http://schemas.microsoft.com/office/drawing/2014/main" id="{493053D4-364D-4A3B-8DB8-241E292A3827}"/>
              </a:ext>
            </a:extLst>
          </p:cNvPr>
          <p:cNvSpPr txBox="1"/>
          <p:nvPr/>
        </p:nvSpPr>
        <p:spPr>
          <a:xfrm>
            <a:off x="220563" y="227633"/>
            <a:ext cx="11781756" cy="371897"/>
          </a:xfrm>
          <a:prstGeom prst="rect">
            <a:avLst/>
          </a:prstGeom>
        </p:spPr>
        <p:txBody>
          <a:bodyPr wrap="square" lIns="0" tIns="0" rIns="0" bIns="0" rtlCol="0" anchor="t">
            <a:spAutoFit/>
          </a:bodyPr>
          <a:lstStyle/>
          <a:p>
            <a:pPr marL="0" marR="0" lvl="0" indent="0" algn="l" defTabSz="914400" rtl="0" eaLnBrk="1" fontAlgn="auto" latinLnBrk="0" hangingPunct="1">
              <a:lnSpc>
                <a:spcPts val="2946"/>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SINGAPORE’S INVESTMENT ATTRACTION STRATEGY</a:t>
            </a:r>
            <a:endParaRPr kumimoji="0" lang="ru-RU" sz="30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endParaRPr>
          </a:p>
        </p:txBody>
      </p:sp>
      <p:sp>
        <p:nvSpPr>
          <p:cNvPr id="34" name="Прямоугольник: скругленные углы 3">
            <a:extLst>
              <a:ext uri="{FF2B5EF4-FFF2-40B4-BE49-F238E27FC236}">
                <a16:creationId xmlns:a16="http://schemas.microsoft.com/office/drawing/2014/main" id="{7FE06594-C2E3-4AEB-92B0-25F238221CA3}"/>
              </a:ext>
            </a:extLst>
          </p:cNvPr>
          <p:cNvSpPr/>
          <p:nvPr/>
        </p:nvSpPr>
        <p:spPr>
          <a:xfrm>
            <a:off x="228601" y="716662"/>
            <a:ext cx="5700954" cy="393649"/>
          </a:xfrm>
          <a:prstGeom prst="roundRect">
            <a:avLst>
              <a:gd name="adj" fmla="val 10507"/>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35" name="TextBox 34">
            <a:extLst>
              <a:ext uri="{FF2B5EF4-FFF2-40B4-BE49-F238E27FC236}">
                <a16:creationId xmlns:a16="http://schemas.microsoft.com/office/drawing/2014/main" id="{7BFCFE9C-90CF-4A55-8CD6-FA1734A2B967}"/>
              </a:ext>
            </a:extLst>
          </p:cNvPr>
          <p:cNvSpPr txBox="1"/>
          <p:nvPr/>
        </p:nvSpPr>
        <p:spPr>
          <a:xfrm>
            <a:off x="659153" y="775060"/>
            <a:ext cx="4476750" cy="322845"/>
          </a:xfrm>
          <a:prstGeom prst="rect">
            <a:avLst/>
          </a:prstGeom>
          <a:noFill/>
        </p:spPr>
        <p:txBody>
          <a:bodyPr wrap="square" rtlCol="0">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ru-RU" sz="1400" b="0" i="0" u="none" strike="noStrike" kern="100" cap="none" spc="0" normalizeH="0" baseline="0" noProof="0" dirty="0">
                <a:ln>
                  <a:noFill/>
                </a:ln>
                <a:solidFill>
                  <a:prstClr val="black">
                    <a:lumMod val="65000"/>
                    <a:lumOff val="35000"/>
                  </a:prstClr>
                </a:solidFill>
                <a:effectLst/>
                <a:uLnTx/>
                <a:uFillTx/>
                <a:latin typeface="Century Gothic" panose="020B0502020202020204" pitchFamily="34" charset="0"/>
                <a:ea typeface="Aptos"/>
                <a:cs typeface="Times New Roman" panose="02020603050405020304" pitchFamily="18" charset="0"/>
              </a:rPr>
              <a:t>«</a:t>
            </a:r>
            <a:r>
              <a:rPr kumimoji="0" lang="en-US" sz="1400" b="0" i="0" u="none" strike="noStrike" kern="100" cap="none" spc="0" normalizeH="0" baseline="0" noProof="0" dirty="0">
                <a:ln>
                  <a:noFill/>
                </a:ln>
                <a:solidFill>
                  <a:prstClr val="black">
                    <a:lumMod val="65000"/>
                    <a:lumOff val="35000"/>
                  </a:prstClr>
                </a:solidFill>
                <a:effectLst/>
                <a:uLnTx/>
                <a:uFillTx/>
                <a:latin typeface="Century Gothic" panose="020B0502020202020204" pitchFamily="34" charset="0"/>
                <a:ea typeface="Aptos"/>
                <a:cs typeface="Times New Roman" panose="02020603050405020304" pitchFamily="18" charset="0"/>
              </a:rPr>
              <a:t>Singapore Economy 2030</a:t>
            </a:r>
            <a:r>
              <a:rPr kumimoji="0" lang="ru-RU" sz="1400" b="0" i="0" u="none" strike="noStrike" kern="100" cap="none" spc="0" normalizeH="0" baseline="0" noProof="0" dirty="0">
                <a:ln>
                  <a:noFill/>
                </a:ln>
                <a:solidFill>
                  <a:prstClr val="black">
                    <a:lumMod val="65000"/>
                    <a:lumOff val="35000"/>
                  </a:prstClr>
                </a:solidFill>
                <a:effectLst/>
                <a:uLnTx/>
                <a:uFillTx/>
                <a:latin typeface="Century Gothic" panose="020B0502020202020204" pitchFamily="34" charset="0"/>
                <a:ea typeface="Aptos"/>
                <a:cs typeface="Times New Roman" panose="02020603050405020304" pitchFamily="18" charset="0"/>
              </a:rPr>
              <a:t>»</a:t>
            </a:r>
            <a:r>
              <a:rPr kumimoji="0" lang="en-US" sz="1400" b="0" i="0" u="none" strike="noStrike" kern="100" cap="none" spc="0" normalizeH="0" baseline="0" noProof="0" dirty="0">
                <a:ln>
                  <a:noFill/>
                </a:ln>
                <a:solidFill>
                  <a:prstClr val="black">
                    <a:lumMod val="65000"/>
                    <a:lumOff val="35000"/>
                  </a:prstClr>
                </a:solidFill>
                <a:effectLst/>
                <a:uLnTx/>
                <a:uFillTx/>
                <a:latin typeface="Century Gothic" panose="020B0502020202020204" pitchFamily="34" charset="0"/>
                <a:ea typeface="Aptos"/>
                <a:cs typeface="Times New Roman" panose="02020603050405020304" pitchFamily="18" charset="0"/>
              </a:rPr>
              <a:t> PROGRAM</a:t>
            </a:r>
            <a:endParaRPr kumimoji="0" lang="ru-RU" sz="1400" b="0" i="0" u="none" strike="noStrike" kern="100" cap="none" spc="0" normalizeH="0" baseline="0" noProof="0" dirty="0">
              <a:ln>
                <a:noFill/>
              </a:ln>
              <a:solidFill>
                <a:prstClr val="black">
                  <a:lumMod val="65000"/>
                  <a:lumOff val="35000"/>
                </a:prstClr>
              </a:solidFill>
              <a:effectLst/>
              <a:uLnTx/>
              <a:uFillTx/>
              <a:latin typeface="Century Gothic" panose="020B0502020202020204" pitchFamily="34" charset="0"/>
              <a:ea typeface="Aptos"/>
              <a:cs typeface="Times New Roman" panose="02020603050405020304" pitchFamily="18" charset="0"/>
            </a:endParaRPr>
          </a:p>
        </p:txBody>
      </p:sp>
      <p:pic>
        <p:nvPicPr>
          <p:cNvPr id="6" name="Рисунок 5">
            <a:extLst>
              <a:ext uri="{FF2B5EF4-FFF2-40B4-BE49-F238E27FC236}">
                <a16:creationId xmlns:a16="http://schemas.microsoft.com/office/drawing/2014/main" id="{FB90D23A-145B-4B22-BD21-004162FF5B4B}"/>
              </a:ext>
            </a:extLst>
          </p:cNvPr>
          <p:cNvPicPr>
            <a:picLocks noChangeAspect="1"/>
          </p:cNvPicPr>
          <p:nvPr/>
        </p:nvPicPr>
        <p:blipFill>
          <a:blip r:embed="rId3">
            <a:duotone>
              <a:schemeClr val="accent1">
                <a:shade val="45000"/>
                <a:satMod val="135000"/>
              </a:schemeClr>
              <a:prstClr val="white"/>
            </a:duotone>
          </a:blip>
          <a:stretch>
            <a:fillRect/>
          </a:stretch>
        </p:blipFill>
        <p:spPr>
          <a:xfrm>
            <a:off x="287646" y="786608"/>
            <a:ext cx="289672" cy="289672"/>
          </a:xfrm>
          <a:prstGeom prst="rect">
            <a:avLst/>
          </a:prstGeom>
        </p:spPr>
      </p:pic>
      <p:sp>
        <p:nvSpPr>
          <p:cNvPr id="10" name="TextBox 9">
            <a:extLst>
              <a:ext uri="{FF2B5EF4-FFF2-40B4-BE49-F238E27FC236}">
                <a16:creationId xmlns:a16="http://schemas.microsoft.com/office/drawing/2014/main" id="{7F8630E9-6C45-4903-9BB3-515329F07B35}"/>
              </a:ext>
            </a:extLst>
          </p:cNvPr>
          <p:cNvSpPr txBox="1"/>
          <p:nvPr/>
        </p:nvSpPr>
        <p:spPr>
          <a:xfrm>
            <a:off x="114299" y="1058887"/>
            <a:ext cx="529312"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4800" b="1" i="0" u="none" strike="noStrike" kern="1200" cap="none" spc="0" normalizeH="0" baseline="0" noProof="0" dirty="0">
                <a:ln>
                  <a:noFill/>
                </a:ln>
                <a:solidFill>
                  <a:srgbClr val="5B9BD5">
                    <a:lumMod val="20000"/>
                    <a:lumOff val="80000"/>
                  </a:srgbClr>
                </a:solidFill>
                <a:effectLst/>
                <a:uLnTx/>
                <a:uFillTx/>
                <a:latin typeface="Century Gothic" panose="020B0502020202020204" pitchFamily="34" charset="0"/>
                <a:ea typeface="+mn-ea"/>
                <a:cs typeface="+mn-cs"/>
              </a:rPr>
              <a:t>1</a:t>
            </a:r>
          </a:p>
        </p:txBody>
      </p:sp>
      <p:sp>
        <p:nvSpPr>
          <p:cNvPr id="12" name="TextBox 11">
            <a:extLst>
              <a:ext uri="{FF2B5EF4-FFF2-40B4-BE49-F238E27FC236}">
                <a16:creationId xmlns:a16="http://schemas.microsoft.com/office/drawing/2014/main" id="{A3D3FC74-BE73-47E7-A23B-C99C22BA7617}"/>
              </a:ext>
            </a:extLst>
          </p:cNvPr>
          <p:cNvSpPr txBox="1"/>
          <p:nvPr/>
        </p:nvSpPr>
        <p:spPr>
          <a:xfrm>
            <a:off x="659153" y="1186402"/>
            <a:ext cx="504373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rade 2030</a:t>
            </a:r>
            <a:r>
              <a:rPr kumimoji="0" lang="en-US" sz="1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t>
            </a:r>
            <a:r>
              <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r>
              <a:rPr kumimoji="0" lang="en-US" sz="1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export volume of at least $1 trillion, transoceanic trade – $2 trillion</a:t>
            </a:r>
          </a:p>
        </p:txBody>
      </p:sp>
      <p:sp>
        <p:nvSpPr>
          <p:cNvPr id="39" name="TextBox 38">
            <a:extLst>
              <a:ext uri="{FF2B5EF4-FFF2-40B4-BE49-F238E27FC236}">
                <a16:creationId xmlns:a16="http://schemas.microsoft.com/office/drawing/2014/main" id="{FBB82278-4680-46DD-B410-4D850F95720D}"/>
              </a:ext>
            </a:extLst>
          </p:cNvPr>
          <p:cNvSpPr txBox="1"/>
          <p:nvPr/>
        </p:nvSpPr>
        <p:spPr>
          <a:xfrm>
            <a:off x="659153" y="1916315"/>
            <a:ext cx="504373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Manufacturing 2030</a:t>
            </a:r>
            <a:r>
              <a:rPr kumimoji="0" lang="en-US" sz="1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to increase manufacturing value-add by 50%</a:t>
            </a:r>
          </a:p>
        </p:txBody>
      </p:sp>
      <p:sp>
        <p:nvSpPr>
          <p:cNvPr id="40" name="TextBox 39">
            <a:extLst>
              <a:ext uri="{FF2B5EF4-FFF2-40B4-BE49-F238E27FC236}">
                <a16:creationId xmlns:a16="http://schemas.microsoft.com/office/drawing/2014/main" id="{237C21CE-76F8-4BB8-B82D-B8E7AB7F480D}"/>
              </a:ext>
            </a:extLst>
          </p:cNvPr>
          <p:cNvSpPr txBox="1"/>
          <p:nvPr/>
        </p:nvSpPr>
        <p:spPr>
          <a:xfrm>
            <a:off x="114299" y="2461563"/>
            <a:ext cx="529312"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4800" b="1" i="0" u="none" strike="noStrike" kern="1200" cap="none" spc="0" normalizeH="0" baseline="0" noProof="0" dirty="0">
                <a:ln>
                  <a:noFill/>
                </a:ln>
                <a:solidFill>
                  <a:srgbClr val="5B9BD5">
                    <a:lumMod val="20000"/>
                    <a:lumOff val="80000"/>
                  </a:srgbClr>
                </a:solidFill>
                <a:effectLst/>
                <a:uLnTx/>
                <a:uFillTx/>
                <a:latin typeface="Century Gothic" panose="020B0502020202020204" pitchFamily="34" charset="0"/>
                <a:ea typeface="+mn-ea"/>
                <a:cs typeface="+mn-cs"/>
              </a:rPr>
              <a:t>3</a:t>
            </a:r>
          </a:p>
        </p:txBody>
      </p:sp>
      <p:sp>
        <p:nvSpPr>
          <p:cNvPr id="41" name="TextBox 40">
            <a:extLst>
              <a:ext uri="{FF2B5EF4-FFF2-40B4-BE49-F238E27FC236}">
                <a16:creationId xmlns:a16="http://schemas.microsoft.com/office/drawing/2014/main" id="{88386B58-B946-4CF9-8523-B55EE4632C1D}"/>
              </a:ext>
            </a:extLst>
          </p:cNvPr>
          <p:cNvSpPr txBox="1"/>
          <p:nvPr/>
        </p:nvSpPr>
        <p:spPr>
          <a:xfrm>
            <a:off x="659152" y="2624782"/>
            <a:ext cx="504373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Services 2030</a:t>
            </a:r>
            <a:r>
              <a:rPr kumimoji="0" lang="en-US" sz="1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to grow the modern services cluster’s value-add by 50%</a:t>
            </a:r>
            <a:endParaRPr kumimoji="0" lang="ru-RU" sz="1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51" name="TextBox 50">
            <a:extLst>
              <a:ext uri="{FF2B5EF4-FFF2-40B4-BE49-F238E27FC236}">
                <a16:creationId xmlns:a16="http://schemas.microsoft.com/office/drawing/2014/main" id="{CF3B9259-B76A-4938-A10C-D3026ED4A534}"/>
              </a:ext>
            </a:extLst>
          </p:cNvPr>
          <p:cNvSpPr txBox="1"/>
          <p:nvPr/>
        </p:nvSpPr>
        <p:spPr>
          <a:xfrm>
            <a:off x="124545" y="1765935"/>
            <a:ext cx="529312"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5B9BD5">
                    <a:lumMod val="20000"/>
                    <a:lumOff val="80000"/>
                  </a:srgbClr>
                </a:solidFill>
                <a:effectLst/>
                <a:uLnTx/>
                <a:uFillTx/>
                <a:latin typeface="Century Gothic" panose="020B0502020202020204" pitchFamily="34" charset="0"/>
                <a:ea typeface="+mn-ea"/>
                <a:cs typeface="+mn-cs"/>
              </a:rPr>
              <a:t>2</a:t>
            </a:r>
            <a:endParaRPr kumimoji="0" lang="ru-RU" sz="4800" b="1" i="0" u="none" strike="noStrike" kern="1200" cap="none" spc="0" normalizeH="0" baseline="0" noProof="0" dirty="0">
              <a:ln>
                <a:noFill/>
              </a:ln>
              <a:solidFill>
                <a:srgbClr val="5B9BD5">
                  <a:lumMod val="20000"/>
                  <a:lumOff val="80000"/>
                </a:srgbClr>
              </a:solidFill>
              <a:effectLst/>
              <a:uLnTx/>
              <a:uFillTx/>
              <a:latin typeface="Century Gothic" panose="020B0502020202020204" pitchFamily="34" charset="0"/>
              <a:ea typeface="+mn-ea"/>
              <a:cs typeface="+mn-cs"/>
            </a:endParaRPr>
          </a:p>
        </p:txBody>
      </p:sp>
      <p:sp>
        <p:nvSpPr>
          <p:cNvPr id="30" name="TextBox 29">
            <a:extLst>
              <a:ext uri="{FF2B5EF4-FFF2-40B4-BE49-F238E27FC236}">
                <a16:creationId xmlns:a16="http://schemas.microsoft.com/office/drawing/2014/main" id="{1179A704-9884-4A06-86D2-2AE781E89271}"/>
              </a:ext>
            </a:extLst>
          </p:cNvPr>
          <p:cNvSpPr txBox="1"/>
          <p:nvPr/>
        </p:nvSpPr>
        <p:spPr>
          <a:xfrm>
            <a:off x="16218" y="6659236"/>
            <a:ext cx="11393321"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Times New Roman" panose="02020603050405020304" pitchFamily="18" charset="0"/>
              </a:rPr>
              <a:t>Source: Ministry of Trade and Industry of Singapore</a:t>
            </a:r>
          </a:p>
        </p:txBody>
      </p:sp>
      <p:sp>
        <p:nvSpPr>
          <p:cNvPr id="31" name="TextBox 30">
            <a:extLst>
              <a:ext uri="{FF2B5EF4-FFF2-40B4-BE49-F238E27FC236}">
                <a16:creationId xmlns:a16="http://schemas.microsoft.com/office/drawing/2014/main" id="{237C21CE-76F8-4BB8-B82D-B8E7AB7F480D}"/>
              </a:ext>
            </a:extLst>
          </p:cNvPr>
          <p:cNvSpPr txBox="1"/>
          <p:nvPr/>
        </p:nvSpPr>
        <p:spPr>
          <a:xfrm>
            <a:off x="114299" y="3167971"/>
            <a:ext cx="529312"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4800" b="1" i="0" u="none" strike="noStrike" kern="1200" cap="none" spc="0" normalizeH="0" baseline="0" noProof="0" dirty="0">
                <a:ln>
                  <a:noFill/>
                </a:ln>
                <a:solidFill>
                  <a:srgbClr val="5B9BD5">
                    <a:lumMod val="20000"/>
                    <a:lumOff val="80000"/>
                  </a:srgbClr>
                </a:solidFill>
                <a:effectLst/>
                <a:uLnTx/>
                <a:uFillTx/>
                <a:latin typeface="Century Gothic" panose="020B0502020202020204" pitchFamily="34" charset="0"/>
                <a:ea typeface="+mn-ea"/>
                <a:cs typeface="+mn-cs"/>
              </a:rPr>
              <a:t>4</a:t>
            </a:r>
          </a:p>
        </p:txBody>
      </p:sp>
      <p:sp>
        <p:nvSpPr>
          <p:cNvPr id="32" name="TextBox 31">
            <a:extLst>
              <a:ext uri="{FF2B5EF4-FFF2-40B4-BE49-F238E27FC236}">
                <a16:creationId xmlns:a16="http://schemas.microsoft.com/office/drawing/2014/main" id="{88386B58-B946-4CF9-8523-B55EE4632C1D}"/>
              </a:ext>
            </a:extLst>
          </p:cNvPr>
          <p:cNvSpPr txBox="1"/>
          <p:nvPr/>
        </p:nvSpPr>
        <p:spPr>
          <a:xfrm>
            <a:off x="659152" y="3293440"/>
            <a:ext cx="504373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Enterprise 2030</a:t>
            </a:r>
            <a:r>
              <a:rPr kumimoji="0" lang="en-US" sz="1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to build and sustain a vibrant ecosystem of Singapore enterprises</a:t>
            </a:r>
            <a:endParaRPr kumimoji="0" lang="ru-RU" sz="1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cxnSp>
        <p:nvCxnSpPr>
          <p:cNvPr id="36" name="Прямая соединительная линия 35">
            <a:extLst>
              <a:ext uri="{FF2B5EF4-FFF2-40B4-BE49-F238E27FC236}">
                <a16:creationId xmlns:a16="http://schemas.microsoft.com/office/drawing/2014/main" id="{A65B7FF6-088D-4623-ABAC-83E943FAEFE7}"/>
              </a:ext>
            </a:extLst>
          </p:cNvPr>
          <p:cNvCxnSpPr>
            <a:cxnSpLocks/>
          </p:cNvCxnSpPr>
          <p:nvPr/>
        </p:nvCxnSpPr>
        <p:spPr>
          <a:xfrm flipH="1">
            <a:off x="6028602" y="1127720"/>
            <a:ext cx="9526" cy="5008790"/>
          </a:xfrm>
          <a:prstGeom prst="line">
            <a:avLst/>
          </a:prstGeom>
          <a:ln w="6350">
            <a:prstDash val="dashDot"/>
          </a:ln>
        </p:spPr>
        <p:style>
          <a:lnRef idx="1">
            <a:schemeClr val="accent4"/>
          </a:lnRef>
          <a:fillRef idx="0">
            <a:schemeClr val="accent4"/>
          </a:fillRef>
          <a:effectRef idx="0">
            <a:schemeClr val="accent4"/>
          </a:effectRef>
          <a:fontRef idx="minor">
            <a:schemeClr val="tx1"/>
          </a:fontRef>
        </p:style>
      </p:cxnSp>
      <p:sp>
        <p:nvSpPr>
          <p:cNvPr id="37" name="Прямоугольник: скругленные углы 3">
            <a:extLst>
              <a:ext uri="{FF2B5EF4-FFF2-40B4-BE49-F238E27FC236}">
                <a16:creationId xmlns:a16="http://schemas.microsoft.com/office/drawing/2014/main" id="{7FE06594-C2E3-4AEB-92B0-25F238221CA3}"/>
              </a:ext>
            </a:extLst>
          </p:cNvPr>
          <p:cNvSpPr/>
          <p:nvPr/>
        </p:nvSpPr>
        <p:spPr>
          <a:xfrm>
            <a:off x="220563" y="3993079"/>
            <a:ext cx="5700954" cy="393649"/>
          </a:xfrm>
          <a:prstGeom prst="roundRect">
            <a:avLst>
              <a:gd name="adj" fmla="val 10507"/>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59" name="TextBox 58">
            <a:extLst>
              <a:ext uri="{FF2B5EF4-FFF2-40B4-BE49-F238E27FC236}">
                <a16:creationId xmlns:a16="http://schemas.microsoft.com/office/drawing/2014/main" id="{7BFCFE9C-90CF-4A55-8CD6-FA1734A2B967}"/>
              </a:ext>
            </a:extLst>
          </p:cNvPr>
          <p:cNvSpPr txBox="1"/>
          <p:nvPr/>
        </p:nvSpPr>
        <p:spPr>
          <a:xfrm>
            <a:off x="651115" y="4051477"/>
            <a:ext cx="5051768" cy="305084"/>
          </a:xfrm>
          <a:prstGeom prst="rect">
            <a:avLst/>
          </a:prstGeom>
          <a:noFill/>
        </p:spPr>
        <p:txBody>
          <a:bodyPr wrap="square" rtlCol="0">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400" b="0" i="0" u="none" strike="noStrike" kern="100" cap="none" spc="0" normalizeH="0" baseline="0" noProof="0" dirty="0">
                <a:ln>
                  <a:noFill/>
                </a:ln>
                <a:solidFill>
                  <a:prstClr val="black">
                    <a:lumMod val="65000"/>
                    <a:lumOff val="35000"/>
                  </a:prstClr>
                </a:solidFill>
                <a:effectLst/>
                <a:uLnTx/>
                <a:uFillTx/>
                <a:latin typeface="Century Gothic" panose="020B0502020202020204" pitchFamily="34" charset="0"/>
                <a:ea typeface="Aptos"/>
                <a:cs typeface="Times New Roman" panose="02020603050405020304" pitchFamily="18" charset="0"/>
              </a:rPr>
              <a:t>Singapore IP Strategy 2030 (SIPS 2030)</a:t>
            </a:r>
          </a:p>
        </p:txBody>
      </p:sp>
      <p:pic>
        <p:nvPicPr>
          <p:cNvPr id="2" name="Рисунок 1"/>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03644" y="4052867"/>
            <a:ext cx="290513" cy="290513"/>
          </a:xfrm>
          <a:prstGeom prst="rect">
            <a:avLst/>
          </a:prstGeom>
        </p:spPr>
      </p:pic>
      <p:sp>
        <p:nvSpPr>
          <p:cNvPr id="3" name="Прямоугольник 2"/>
          <p:cNvSpPr/>
          <p:nvPr/>
        </p:nvSpPr>
        <p:spPr>
          <a:xfrm>
            <a:off x="236842" y="4517117"/>
            <a:ext cx="5673662" cy="461665"/>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he program is aimed at strengthening Singapore’s position as a global node for technology, innovation, and entrepreneurship in Asia.</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4" name="Блок-схема: узел 3"/>
          <p:cNvSpPr/>
          <p:nvPr/>
        </p:nvSpPr>
        <p:spPr>
          <a:xfrm>
            <a:off x="295483" y="5222501"/>
            <a:ext cx="162232" cy="154858"/>
          </a:xfrm>
          <a:prstGeom prst="flowChartConnector">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100" b="1"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rPr>
              <a:t>1</a:t>
            </a:r>
          </a:p>
        </p:txBody>
      </p:sp>
      <p:sp>
        <p:nvSpPr>
          <p:cNvPr id="61" name="Блок-схема: узел 60"/>
          <p:cNvSpPr/>
          <p:nvPr/>
        </p:nvSpPr>
        <p:spPr>
          <a:xfrm>
            <a:off x="3116632" y="5264176"/>
            <a:ext cx="162232" cy="154858"/>
          </a:xfrm>
          <a:prstGeom prst="flowChartConnector">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100" b="1"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rPr>
              <a:t>2</a:t>
            </a:r>
          </a:p>
        </p:txBody>
      </p:sp>
      <p:sp>
        <p:nvSpPr>
          <p:cNvPr id="62" name="Блок-схема: узел 61"/>
          <p:cNvSpPr/>
          <p:nvPr/>
        </p:nvSpPr>
        <p:spPr>
          <a:xfrm>
            <a:off x="1310152" y="5925018"/>
            <a:ext cx="162232" cy="154858"/>
          </a:xfrm>
          <a:prstGeom prst="flowChartConnector">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100" b="1"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rPr>
              <a:t>3</a:t>
            </a:r>
          </a:p>
        </p:txBody>
      </p:sp>
      <p:sp>
        <p:nvSpPr>
          <p:cNvPr id="63" name="Прямоугольник 62"/>
          <p:cNvSpPr/>
          <p:nvPr/>
        </p:nvSpPr>
        <p:spPr>
          <a:xfrm>
            <a:off x="343256" y="5320081"/>
            <a:ext cx="2540057" cy="461665"/>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ub</a:t>
            </a: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 support for international activities</a:t>
            </a:r>
          </a:p>
        </p:txBody>
      </p:sp>
      <p:sp>
        <p:nvSpPr>
          <p:cNvPr id="64" name="Прямоугольник 63"/>
          <p:cNvSpPr/>
          <p:nvPr/>
        </p:nvSpPr>
        <p:spPr>
          <a:xfrm>
            <a:off x="3217494" y="5320081"/>
            <a:ext cx="2625212" cy="461665"/>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Business</a:t>
            </a: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 development of local enterprises</a:t>
            </a:r>
          </a:p>
        </p:txBody>
      </p:sp>
      <p:sp>
        <p:nvSpPr>
          <p:cNvPr id="65" name="Прямоугольник 64"/>
          <p:cNvSpPr/>
          <p:nvPr/>
        </p:nvSpPr>
        <p:spPr>
          <a:xfrm>
            <a:off x="1391268" y="6009590"/>
            <a:ext cx="3564192" cy="276999"/>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Jobs</a:t>
            </a: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 formation of a highly skilled workforce</a:t>
            </a:r>
          </a:p>
        </p:txBody>
      </p:sp>
      <p:sp>
        <p:nvSpPr>
          <p:cNvPr id="66" name="Прямоугольник: скругленные углы 3">
            <a:extLst>
              <a:ext uri="{FF2B5EF4-FFF2-40B4-BE49-F238E27FC236}">
                <a16:creationId xmlns:a16="http://schemas.microsoft.com/office/drawing/2014/main" id="{7FE06594-C2E3-4AEB-92B0-25F238221CA3}"/>
              </a:ext>
            </a:extLst>
          </p:cNvPr>
          <p:cNvSpPr/>
          <p:nvPr/>
        </p:nvSpPr>
        <p:spPr>
          <a:xfrm>
            <a:off x="6198326" y="713298"/>
            <a:ext cx="5700954" cy="393649"/>
          </a:xfrm>
          <a:prstGeom prst="roundRect">
            <a:avLst>
              <a:gd name="adj" fmla="val 10507"/>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67" name="TextBox 66">
            <a:extLst>
              <a:ext uri="{FF2B5EF4-FFF2-40B4-BE49-F238E27FC236}">
                <a16:creationId xmlns:a16="http://schemas.microsoft.com/office/drawing/2014/main" id="{7BFCFE9C-90CF-4A55-8CD6-FA1734A2B967}"/>
              </a:ext>
            </a:extLst>
          </p:cNvPr>
          <p:cNvSpPr txBox="1"/>
          <p:nvPr/>
        </p:nvSpPr>
        <p:spPr>
          <a:xfrm>
            <a:off x="6628878" y="771696"/>
            <a:ext cx="4476750" cy="305084"/>
          </a:xfrm>
          <a:prstGeom prst="rect">
            <a:avLst/>
          </a:prstGeom>
          <a:noFill/>
        </p:spPr>
        <p:txBody>
          <a:bodyPr wrap="square" rtlCol="0">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400" b="0" i="0" u="none" strike="noStrike" kern="100" cap="none" spc="0" normalizeH="0" baseline="0" noProof="0" dirty="0">
                <a:ln>
                  <a:noFill/>
                </a:ln>
                <a:solidFill>
                  <a:prstClr val="black">
                    <a:lumMod val="65000"/>
                    <a:lumOff val="35000"/>
                  </a:prstClr>
                </a:solidFill>
                <a:effectLst/>
                <a:uLnTx/>
                <a:uFillTx/>
                <a:latin typeface="Century Gothic" panose="020B0502020202020204" pitchFamily="34" charset="0"/>
                <a:ea typeface="Aptos"/>
                <a:cs typeface="Times New Roman" panose="02020603050405020304" pitchFamily="18" charset="0"/>
              </a:rPr>
              <a:t>INVESTMENT SUPPORT MEASURES</a:t>
            </a:r>
          </a:p>
        </p:txBody>
      </p:sp>
      <p:sp>
        <p:nvSpPr>
          <p:cNvPr id="69" name="Прямоугольник: скругленные углы 3">
            <a:extLst>
              <a:ext uri="{FF2B5EF4-FFF2-40B4-BE49-F238E27FC236}">
                <a16:creationId xmlns:a16="http://schemas.microsoft.com/office/drawing/2014/main" id="{7FE06594-C2E3-4AEB-92B0-25F238221CA3}"/>
              </a:ext>
            </a:extLst>
          </p:cNvPr>
          <p:cNvSpPr/>
          <p:nvPr/>
        </p:nvSpPr>
        <p:spPr>
          <a:xfrm>
            <a:off x="6198326" y="3998968"/>
            <a:ext cx="5700954" cy="393649"/>
          </a:xfrm>
          <a:prstGeom prst="roundRect">
            <a:avLst>
              <a:gd name="adj" fmla="val 10507"/>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70" name="TextBox 69">
            <a:extLst>
              <a:ext uri="{FF2B5EF4-FFF2-40B4-BE49-F238E27FC236}">
                <a16:creationId xmlns:a16="http://schemas.microsoft.com/office/drawing/2014/main" id="{7BFCFE9C-90CF-4A55-8CD6-FA1734A2B967}"/>
              </a:ext>
            </a:extLst>
          </p:cNvPr>
          <p:cNvSpPr txBox="1"/>
          <p:nvPr/>
        </p:nvSpPr>
        <p:spPr>
          <a:xfrm>
            <a:off x="6570686" y="4057366"/>
            <a:ext cx="5373441" cy="322845"/>
          </a:xfrm>
          <a:prstGeom prst="rect">
            <a:avLst/>
          </a:prstGeom>
          <a:noFill/>
        </p:spPr>
        <p:txBody>
          <a:bodyPr wrap="square" rtlCol="0">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400" b="0" i="0" u="none" strike="noStrike" kern="100" cap="none" spc="0" normalizeH="0" baseline="0" noProof="0" dirty="0">
                <a:ln>
                  <a:noFill/>
                </a:ln>
                <a:solidFill>
                  <a:prstClr val="black">
                    <a:lumMod val="65000"/>
                    <a:lumOff val="35000"/>
                  </a:prstClr>
                </a:solidFill>
                <a:effectLst/>
                <a:uLnTx/>
                <a:uFillTx/>
                <a:latin typeface="Century Gothic" panose="020B0502020202020204" pitchFamily="34" charset="0"/>
                <a:ea typeface="Aptos"/>
                <a:cs typeface="Times New Roman" panose="02020603050405020304" pitchFamily="18" charset="0"/>
              </a:rPr>
              <a:t>SUSTAINABLE DEVELOPMENT AND DIGITAL TRANSFORMATION</a:t>
            </a:r>
          </a:p>
        </p:txBody>
      </p:sp>
      <p:pic>
        <p:nvPicPr>
          <p:cNvPr id="5" name="Рисунок 4"/>
          <p:cNvPicPr>
            <a:picLocks noChangeAspect="1"/>
          </p:cNvPicPr>
          <p:nvPr/>
        </p:nvPicPr>
        <p:blipFill>
          <a:blip r:embed="rId5"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6279560" y="4041941"/>
            <a:ext cx="312364" cy="312364"/>
          </a:xfrm>
          <a:prstGeom prst="rect">
            <a:avLst/>
          </a:prstGeom>
        </p:spPr>
      </p:pic>
      <p:pic>
        <p:nvPicPr>
          <p:cNvPr id="7" name="Рисунок 6"/>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284991" y="777977"/>
            <a:ext cx="306933" cy="306933"/>
          </a:xfrm>
          <a:prstGeom prst="rect">
            <a:avLst/>
          </a:prstGeom>
        </p:spPr>
      </p:pic>
      <p:sp>
        <p:nvSpPr>
          <p:cNvPr id="9" name="Прямоугольник 8"/>
          <p:cNvSpPr/>
          <p:nvPr/>
        </p:nvSpPr>
        <p:spPr>
          <a:xfrm>
            <a:off x="6857375" y="4631869"/>
            <a:ext cx="5075442" cy="1815882"/>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Green Plan 2030</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green energy, transport, construction</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Green Finance Corridor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with China), green bonds (MA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Smart Nation 2.0</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I, </a:t>
            </a:r>
            <a:r>
              <a:rPr kumimoji="0" lang="en-US" sz="14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IoT</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r>
              <a:rPr kumimoji="0" lang="en-US" sz="14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GovTech</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centers of excellence (</a:t>
            </a:r>
            <a:r>
              <a:rPr kumimoji="0" lang="en-US" sz="14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CoE</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t>
            </a: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1" name="Прямоугольник 10"/>
          <p:cNvSpPr/>
          <p:nvPr/>
        </p:nvSpPr>
        <p:spPr>
          <a:xfrm>
            <a:off x="6857376" y="1629673"/>
            <a:ext cx="5041904" cy="1815882"/>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Refundable Investment Credit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2024): tax credits for key project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ioneer Certificate / Investment Allowance</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tax incentives available through 2028</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National Productivity Fund</a:t>
            </a:r>
            <a:r>
              <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supports automation, digitalization and productivity enhancements</a:t>
            </a: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pic>
        <p:nvPicPr>
          <p:cNvPr id="13" name="Рисунок 12"/>
          <p:cNvPicPr>
            <a:picLocks noChangeAspect="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355137" y="4627671"/>
            <a:ext cx="357369" cy="357369"/>
          </a:xfrm>
          <a:prstGeom prst="rect">
            <a:avLst/>
          </a:prstGeom>
        </p:spPr>
      </p:pic>
      <p:pic>
        <p:nvPicPr>
          <p:cNvPr id="14" name="Рисунок 13"/>
          <p:cNvPicPr>
            <a:picLocks noChangeAspect="1"/>
          </p:cNvPicPr>
          <p:nvPr/>
        </p:nvPicPr>
        <p:blipFill>
          <a:blip r:embed="rId8">
            <a:duotone>
              <a:schemeClr val="accent1">
                <a:shade val="45000"/>
                <a:satMod val="135000"/>
              </a:schemeClr>
              <a:prstClr val="white"/>
            </a:duotone>
          </a:blip>
          <a:stretch>
            <a:fillRect/>
          </a:stretch>
        </p:blipFill>
        <p:spPr>
          <a:xfrm>
            <a:off x="6330642" y="5263216"/>
            <a:ext cx="457315" cy="347559"/>
          </a:xfrm>
          <a:prstGeom prst="rect">
            <a:avLst/>
          </a:prstGeom>
        </p:spPr>
      </p:pic>
      <p:pic>
        <p:nvPicPr>
          <p:cNvPr id="15" name="Рисунок 14"/>
          <p:cNvPicPr>
            <a:picLocks noChangeAspect="1"/>
          </p:cNvPicPr>
          <p:nvPr/>
        </p:nvPicPr>
        <p:blipFill>
          <a:blip r:embed="rId9"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332297" y="5962936"/>
            <a:ext cx="418539" cy="418539"/>
          </a:xfrm>
          <a:prstGeom prst="rect">
            <a:avLst/>
          </a:prstGeom>
        </p:spPr>
      </p:pic>
      <p:pic>
        <p:nvPicPr>
          <p:cNvPr id="17" name="Рисунок 16"/>
          <p:cNvPicPr>
            <a:picLocks noChangeAspect="1"/>
          </p:cNvPicPr>
          <p:nvPr/>
        </p:nvPicPr>
        <p:blipFill>
          <a:blip r:embed="rId10"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6363846" y="1691507"/>
            <a:ext cx="422155" cy="422155"/>
          </a:xfrm>
          <a:prstGeom prst="rect">
            <a:avLst/>
          </a:prstGeom>
        </p:spPr>
      </p:pic>
      <p:pic>
        <p:nvPicPr>
          <p:cNvPr id="18" name="Рисунок 17"/>
          <p:cNvPicPr>
            <a:picLocks noChangeAspect="1"/>
          </p:cNvPicPr>
          <p:nvPr/>
        </p:nvPicPr>
        <p:blipFill>
          <a:blip r:embed="rId11"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6437279" y="2360230"/>
            <a:ext cx="383197" cy="383197"/>
          </a:xfrm>
          <a:prstGeom prst="rect">
            <a:avLst/>
          </a:prstGeom>
        </p:spPr>
      </p:pic>
      <p:pic>
        <p:nvPicPr>
          <p:cNvPr id="19" name="Рисунок 18"/>
          <p:cNvPicPr>
            <a:picLocks noChangeAspect="1"/>
          </p:cNvPicPr>
          <p:nvPr/>
        </p:nvPicPr>
        <p:blipFill>
          <a:blip r:embed="rId1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6390445" y="2975737"/>
            <a:ext cx="431243" cy="431243"/>
          </a:xfrm>
          <a:prstGeom prst="rect">
            <a:avLst/>
          </a:prstGeom>
        </p:spPr>
      </p:pic>
    </p:spTree>
    <p:extLst>
      <p:ext uri="{BB962C8B-B14F-4D97-AF65-F5344CB8AC3E}">
        <p14:creationId xmlns:p14="http://schemas.microsoft.com/office/powerpoint/2010/main" val="400252227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Диаграмма 41"/>
          <p:cNvGraphicFramePr/>
          <p:nvPr/>
        </p:nvGraphicFramePr>
        <p:xfrm>
          <a:off x="220562" y="1556950"/>
          <a:ext cx="5700955" cy="1974776"/>
        </p:xfrm>
        <a:graphic>
          <a:graphicData uri="http://schemas.openxmlformats.org/drawingml/2006/chart">
            <c:chart xmlns:c="http://schemas.openxmlformats.org/drawingml/2006/chart" xmlns:r="http://schemas.openxmlformats.org/officeDocument/2006/relationships" r:id="rId3"/>
          </a:graphicData>
        </a:graphic>
      </p:graphicFrame>
      <p:sp>
        <p:nvSpPr>
          <p:cNvPr id="33" name="TextBox 2">
            <a:extLst>
              <a:ext uri="{FF2B5EF4-FFF2-40B4-BE49-F238E27FC236}">
                <a16:creationId xmlns:a16="http://schemas.microsoft.com/office/drawing/2014/main" id="{493053D4-364D-4A3B-8DB8-241E292A3827}"/>
              </a:ext>
            </a:extLst>
          </p:cNvPr>
          <p:cNvSpPr txBox="1"/>
          <p:nvPr/>
        </p:nvSpPr>
        <p:spPr>
          <a:xfrm>
            <a:off x="220562" y="121147"/>
            <a:ext cx="11456913" cy="743793"/>
          </a:xfrm>
          <a:prstGeom prst="rect">
            <a:avLst/>
          </a:prstGeom>
        </p:spPr>
        <p:txBody>
          <a:bodyPr wrap="square" lIns="0" tIns="0" rIns="0" bIns="0" rtlCol="0" anchor="t">
            <a:spAutoFit/>
          </a:bodyPr>
          <a:lstStyle/>
          <a:p>
            <a:pPr marL="0" marR="0" lvl="0" indent="0" algn="l" defTabSz="914400" rtl="0" eaLnBrk="1" fontAlgn="auto" latinLnBrk="0" hangingPunct="1">
              <a:lnSpc>
                <a:spcPts val="2946"/>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CONCLUSION – STRATEGIC FOCUS AS THE FOUNDATION OF INVESTMENT SUCCESS</a:t>
            </a:r>
            <a:endParaRPr kumimoji="0" lang="ru-RU" sz="30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endParaRPr>
          </a:p>
        </p:txBody>
      </p:sp>
      <p:sp>
        <p:nvSpPr>
          <p:cNvPr id="34" name="Прямоугольник: скругленные углы 3">
            <a:extLst>
              <a:ext uri="{FF2B5EF4-FFF2-40B4-BE49-F238E27FC236}">
                <a16:creationId xmlns:a16="http://schemas.microsoft.com/office/drawing/2014/main" id="{7FE06594-C2E3-4AEB-92B0-25F238221CA3}"/>
              </a:ext>
            </a:extLst>
          </p:cNvPr>
          <p:cNvSpPr/>
          <p:nvPr/>
        </p:nvSpPr>
        <p:spPr>
          <a:xfrm>
            <a:off x="220563" y="966567"/>
            <a:ext cx="5700954" cy="393649"/>
          </a:xfrm>
          <a:prstGeom prst="roundRect">
            <a:avLst>
              <a:gd name="adj" fmla="val 10507"/>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35" name="TextBox 34">
            <a:extLst>
              <a:ext uri="{FF2B5EF4-FFF2-40B4-BE49-F238E27FC236}">
                <a16:creationId xmlns:a16="http://schemas.microsoft.com/office/drawing/2014/main" id="{7BFCFE9C-90CF-4A55-8CD6-FA1734A2B967}"/>
              </a:ext>
            </a:extLst>
          </p:cNvPr>
          <p:cNvSpPr txBox="1"/>
          <p:nvPr/>
        </p:nvSpPr>
        <p:spPr>
          <a:xfrm>
            <a:off x="651114" y="1024965"/>
            <a:ext cx="5045287" cy="305084"/>
          </a:xfrm>
          <a:prstGeom prst="rect">
            <a:avLst/>
          </a:prstGeom>
          <a:noFill/>
        </p:spPr>
        <p:txBody>
          <a:bodyPr wrap="square" rtlCol="0">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400" b="0" i="0" u="none" strike="noStrike" kern="100" cap="none" spc="0" normalizeH="0" baseline="0" noProof="0" dirty="0">
                <a:ln>
                  <a:noFill/>
                </a:ln>
                <a:solidFill>
                  <a:prstClr val="black">
                    <a:lumMod val="65000"/>
                    <a:lumOff val="35000"/>
                  </a:prstClr>
                </a:solidFill>
                <a:effectLst/>
                <a:uLnTx/>
                <a:uFillTx/>
                <a:latin typeface="Century Gothic" panose="020B0502020202020204" pitchFamily="34" charset="0"/>
                <a:ea typeface="Aptos"/>
                <a:cs typeface="Times New Roman" panose="02020603050405020304" pitchFamily="18" charset="0"/>
              </a:rPr>
              <a:t>FDI INFLOW INTO SINGAPORE</a:t>
            </a:r>
          </a:p>
        </p:txBody>
      </p:sp>
      <p:sp>
        <p:nvSpPr>
          <p:cNvPr id="17" name="Прямоугольник: скругленные углы 3">
            <a:extLst>
              <a:ext uri="{FF2B5EF4-FFF2-40B4-BE49-F238E27FC236}">
                <a16:creationId xmlns:a16="http://schemas.microsoft.com/office/drawing/2014/main" id="{2596E0BE-F0B5-4E38-A083-8285A9A27EA8}"/>
              </a:ext>
            </a:extLst>
          </p:cNvPr>
          <p:cNvSpPr/>
          <p:nvPr/>
        </p:nvSpPr>
        <p:spPr>
          <a:xfrm>
            <a:off x="6265022" y="966567"/>
            <a:ext cx="5700954" cy="393649"/>
          </a:xfrm>
          <a:prstGeom prst="roundRect">
            <a:avLst>
              <a:gd name="adj" fmla="val 10507"/>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18" name="TextBox 17">
            <a:extLst>
              <a:ext uri="{FF2B5EF4-FFF2-40B4-BE49-F238E27FC236}">
                <a16:creationId xmlns:a16="http://schemas.microsoft.com/office/drawing/2014/main" id="{DAE92C61-4499-40C3-8E1F-A9675A52A58F}"/>
              </a:ext>
            </a:extLst>
          </p:cNvPr>
          <p:cNvSpPr txBox="1"/>
          <p:nvPr/>
        </p:nvSpPr>
        <p:spPr>
          <a:xfrm>
            <a:off x="6567171" y="1028049"/>
            <a:ext cx="5025410" cy="298928"/>
          </a:xfrm>
          <a:prstGeom prst="rect">
            <a:avLst/>
          </a:prstGeom>
          <a:noFill/>
        </p:spPr>
        <p:txBody>
          <a:bodyPr wrap="square" rtlCol="0">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360" b="0" i="0" u="none" strike="noStrike" kern="100" cap="none" spc="0" normalizeH="0" baseline="0" noProof="0" dirty="0">
                <a:ln>
                  <a:noFill/>
                </a:ln>
                <a:solidFill>
                  <a:prstClr val="black">
                    <a:lumMod val="65000"/>
                    <a:lumOff val="35000"/>
                  </a:prstClr>
                </a:solidFill>
                <a:effectLst/>
                <a:uLnTx/>
                <a:uFillTx/>
                <a:latin typeface="Century Gothic" panose="020B0502020202020204" pitchFamily="34" charset="0"/>
                <a:ea typeface="Aptos"/>
                <a:cs typeface="Times New Roman" panose="02020603050405020304" pitchFamily="18" charset="0"/>
              </a:rPr>
              <a:t>FDI INFLOW BY SECTOR</a:t>
            </a:r>
          </a:p>
        </p:txBody>
      </p:sp>
      <p:pic>
        <p:nvPicPr>
          <p:cNvPr id="8" name="Рисунок 7">
            <a:extLst>
              <a:ext uri="{FF2B5EF4-FFF2-40B4-BE49-F238E27FC236}">
                <a16:creationId xmlns:a16="http://schemas.microsoft.com/office/drawing/2014/main" id="{EC18A451-4F88-4CBA-8498-CB6BABC44FCB}"/>
              </a:ext>
            </a:extLst>
          </p:cNvPr>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333255" y="1029460"/>
            <a:ext cx="300068" cy="300068"/>
          </a:xfrm>
          <a:prstGeom prst="rect">
            <a:avLst/>
          </a:prstGeom>
        </p:spPr>
      </p:pic>
      <p:cxnSp>
        <p:nvCxnSpPr>
          <p:cNvPr id="30" name="Прямая соединительная линия 29">
            <a:extLst>
              <a:ext uri="{FF2B5EF4-FFF2-40B4-BE49-F238E27FC236}">
                <a16:creationId xmlns:a16="http://schemas.microsoft.com/office/drawing/2014/main" id="{2BD2EE7E-0DC1-407A-A71B-89D71D658081}"/>
              </a:ext>
            </a:extLst>
          </p:cNvPr>
          <p:cNvCxnSpPr>
            <a:cxnSpLocks/>
          </p:cNvCxnSpPr>
          <p:nvPr/>
        </p:nvCxnSpPr>
        <p:spPr>
          <a:xfrm>
            <a:off x="6109895" y="969885"/>
            <a:ext cx="0" cy="5472000"/>
          </a:xfrm>
          <a:prstGeom prst="line">
            <a:avLst/>
          </a:prstGeom>
          <a:ln w="19050"/>
        </p:spPr>
        <p:style>
          <a:lnRef idx="1">
            <a:schemeClr val="accent4"/>
          </a:lnRef>
          <a:fillRef idx="0">
            <a:schemeClr val="accent4"/>
          </a:fillRef>
          <a:effectRef idx="0">
            <a:schemeClr val="accent4"/>
          </a:effectRef>
          <a:fontRef idx="minor">
            <a:schemeClr val="tx1"/>
          </a:fontRef>
        </p:style>
      </p:cxnSp>
      <p:sp>
        <p:nvSpPr>
          <p:cNvPr id="5" name="Прямоугольный треугольник 4">
            <a:extLst>
              <a:ext uri="{FF2B5EF4-FFF2-40B4-BE49-F238E27FC236}">
                <a16:creationId xmlns:a16="http://schemas.microsoft.com/office/drawing/2014/main" id="{50D3F326-D05F-47B7-877E-056647DDD880}"/>
              </a:ext>
            </a:extLst>
          </p:cNvPr>
          <p:cNvSpPr/>
          <p:nvPr/>
        </p:nvSpPr>
        <p:spPr>
          <a:xfrm rot="10800000">
            <a:off x="11404201" y="0"/>
            <a:ext cx="786577" cy="1206806"/>
          </a:xfrm>
          <a:prstGeom prst="rtTriangle">
            <a:avLst/>
          </a:prstGeom>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6" name="TextBox 5">
            <a:extLst>
              <a:ext uri="{FF2B5EF4-FFF2-40B4-BE49-F238E27FC236}">
                <a16:creationId xmlns:a16="http://schemas.microsoft.com/office/drawing/2014/main" id="{B59C8940-C87F-4DCD-B294-2BF01F1F242A}"/>
              </a:ext>
            </a:extLst>
          </p:cNvPr>
          <p:cNvSpPr txBox="1"/>
          <p:nvPr/>
        </p:nvSpPr>
        <p:spPr>
          <a:xfrm>
            <a:off x="11773261" y="67722"/>
            <a:ext cx="300082"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I</a:t>
            </a:r>
            <a:endParaRPr kumimoji="0" lang="ru-RU" sz="3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37" name="TextBox 36">
            <a:extLst>
              <a:ext uri="{FF2B5EF4-FFF2-40B4-BE49-F238E27FC236}">
                <a16:creationId xmlns:a16="http://schemas.microsoft.com/office/drawing/2014/main" id="{6880D9D6-37DF-436A-B3E2-189B23377517}"/>
              </a:ext>
            </a:extLst>
          </p:cNvPr>
          <p:cNvSpPr txBox="1"/>
          <p:nvPr/>
        </p:nvSpPr>
        <p:spPr>
          <a:xfrm>
            <a:off x="5018949" y="1461993"/>
            <a:ext cx="816249"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USD billion</a:t>
            </a:r>
            <a:endParaRPr kumimoji="0" lang="ru-RU" sz="10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endParaRPr>
          </a:p>
        </p:txBody>
      </p:sp>
      <p:cxnSp>
        <p:nvCxnSpPr>
          <p:cNvPr id="43" name="Прямая соединительная линия 42">
            <a:extLst>
              <a:ext uri="{FF2B5EF4-FFF2-40B4-BE49-F238E27FC236}">
                <a16:creationId xmlns:a16="http://schemas.microsoft.com/office/drawing/2014/main" id="{07DB7F6D-3C7D-4DB0-8172-A3DF9DF24E34}"/>
              </a:ext>
            </a:extLst>
          </p:cNvPr>
          <p:cNvCxnSpPr>
            <a:cxnSpLocks/>
          </p:cNvCxnSpPr>
          <p:nvPr/>
        </p:nvCxnSpPr>
        <p:spPr>
          <a:xfrm flipH="1" flipV="1">
            <a:off x="223776" y="4028715"/>
            <a:ext cx="5725242" cy="9701"/>
          </a:xfrm>
          <a:prstGeom prst="line">
            <a:avLst/>
          </a:prstGeom>
          <a:ln w="6350">
            <a:prstDash val="dashDot"/>
          </a:ln>
        </p:spPr>
        <p:style>
          <a:lnRef idx="1">
            <a:schemeClr val="accent4"/>
          </a:lnRef>
          <a:fillRef idx="0">
            <a:schemeClr val="accent4"/>
          </a:fillRef>
          <a:effectRef idx="0">
            <a:schemeClr val="accent4"/>
          </a:effectRef>
          <a:fontRef idx="minor">
            <a:schemeClr val="tx1"/>
          </a:fontRef>
        </p:style>
      </p:cxnSp>
      <p:sp>
        <p:nvSpPr>
          <p:cNvPr id="23" name="Прямоугольник 22"/>
          <p:cNvSpPr/>
          <p:nvPr/>
        </p:nvSpPr>
        <p:spPr>
          <a:xfrm>
            <a:off x="16837" y="6646764"/>
            <a:ext cx="2836033" cy="21544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Times New Roman" panose="02020603050405020304" pitchFamily="18" charset="0"/>
              </a:rPr>
              <a:t>Source</a:t>
            </a:r>
            <a:r>
              <a:rPr kumimoji="0" lang="ru-RU"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Times New Roman" panose="02020603050405020304" pitchFamily="18" charset="0"/>
              </a:rPr>
              <a:t>: </a:t>
            </a:r>
            <a:r>
              <a:rPr kumimoji="0" lang="en-US"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Times New Roman" panose="02020603050405020304" pitchFamily="18" charset="0"/>
              </a:rPr>
              <a:t>The Singapore Department of Statistics (DOS)</a:t>
            </a:r>
            <a:endParaRPr kumimoji="0" lang="ru-RU"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Times New Roman" panose="02020603050405020304" pitchFamily="18" charset="0"/>
            </a:endParaRPr>
          </a:p>
        </p:txBody>
      </p:sp>
      <p:graphicFrame>
        <p:nvGraphicFramePr>
          <p:cNvPr id="44" name="Диаграмма 43"/>
          <p:cNvGraphicFramePr/>
          <p:nvPr/>
        </p:nvGraphicFramePr>
        <p:xfrm>
          <a:off x="6958149" y="1655567"/>
          <a:ext cx="4901375" cy="3062921"/>
        </p:xfrm>
        <a:graphic>
          <a:graphicData uri="http://schemas.openxmlformats.org/drawingml/2006/chart">
            <c:chart xmlns:c="http://schemas.openxmlformats.org/drawingml/2006/chart" xmlns:r="http://schemas.openxmlformats.org/officeDocument/2006/relationships" r:id="rId5"/>
          </a:graphicData>
        </a:graphic>
      </p:graphicFrame>
      <p:sp>
        <p:nvSpPr>
          <p:cNvPr id="45" name="TextBox 44">
            <a:extLst>
              <a:ext uri="{FF2B5EF4-FFF2-40B4-BE49-F238E27FC236}">
                <a16:creationId xmlns:a16="http://schemas.microsoft.com/office/drawing/2014/main" id="{6880D9D6-37DF-436A-B3E2-189B23377517}"/>
              </a:ext>
            </a:extLst>
          </p:cNvPr>
          <p:cNvSpPr txBox="1"/>
          <p:nvPr/>
        </p:nvSpPr>
        <p:spPr>
          <a:xfrm>
            <a:off x="11025461" y="1481576"/>
            <a:ext cx="816249"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USD billion</a:t>
            </a:r>
            <a:endParaRPr kumimoji="0" lang="ru-RU" sz="10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endParaRPr>
          </a:p>
        </p:txBody>
      </p:sp>
      <p:sp>
        <p:nvSpPr>
          <p:cNvPr id="3" name="Прямоугольник 2"/>
          <p:cNvSpPr/>
          <p:nvPr/>
        </p:nvSpPr>
        <p:spPr>
          <a:xfrm>
            <a:off x="6382396" y="4900530"/>
            <a:ext cx="5477128" cy="1200329"/>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entury Gothic" panose="020B0502020202020204" pitchFamily="34" charset="0"/>
                <a:ea typeface="Times New Roman" panose="02020603050405020304" pitchFamily="18" charset="0"/>
                <a:cs typeface="+mn-cs"/>
              </a:rPr>
              <a:t>In the context of global competition for investment, Singapore has focused on sectors with high value-added, intellectual intensity and technological content. This approach has ensured not only growth in the volume of FDI but also its quality: the majority of capital is directed toward structural economic transformation, productivity gains and export potential.</a:t>
            </a:r>
            <a:endParaRPr kumimoji="0" lang="ru-RU"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pic>
        <p:nvPicPr>
          <p:cNvPr id="46" name="Рисунок 45">
            <a:extLst>
              <a:ext uri="{FF2B5EF4-FFF2-40B4-BE49-F238E27FC236}">
                <a16:creationId xmlns:a16="http://schemas.microsoft.com/office/drawing/2014/main" id="{C2E5D787-BC49-0991-0B3D-D6D3A2602E7D}"/>
              </a:ext>
            </a:extLst>
          </p:cNvPr>
          <p:cNvPicPr>
            <a:picLocks noChangeAspect="1"/>
          </p:cNvPicPr>
          <p:nvPr/>
        </p:nvPicPr>
        <p:blipFill>
          <a:blip r:embed="rId6">
            <a:duotone>
              <a:schemeClr val="accent1">
                <a:shade val="45000"/>
                <a:satMod val="135000"/>
              </a:schemeClr>
              <a:prstClr val="white"/>
            </a:duotone>
          </a:blip>
          <a:stretch>
            <a:fillRect/>
          </a:stretch>
        </p:blipFill>
        <p:spPr>
          <a:xfrm>
            <a:off x="328388" y="1021196"/>
            <a:ext cx="307777" cy="307777"/>
          </a:xfrm>
          <a:prstGeom prst="rect">
            <a:avLst/>
          </a:prstGeom>
        </p:spPr>
      </p:pic>
      <p:sp>
        <p:nvSpPr>
          <p:cNvPr id="50" name="TextBox 49"/>
          <p:cNvSpPr txBox="1"/>
          <p:nvPr/>
        </p:nvSpPr>
        <p:spPr>
          <a:xfrm>
            <a:off x="3192087" y="3504809"/>
            <a:ext cx="2665191"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D7D31"/>
                </a:solidFill>
                <a:effectLst/>
                <a:uLnTx/>
                <a:uFillTx/>
                <a:latin typeface="Century Gothic" panose="020B0502020202020204" pitchFamily="34" charset="0"/>
                <a:ea typeface="+mn-ea"/>
                <a:cs typeface="+mn-cs"/>
              </a:rPr>
              <a:t>85.3% of all FDI in Southeast Asia</a:t>
            </a:r>
          </a:p>
        </p:txBody>
      </p:sp>
      <p:sp>
        <p:nvSpPr>
          <p:cNvPr id="25" name="Прямоугольник 24"/>
          <p:cNvSpPr/>
          <p:nvPr/>
        </p:nvSpPr>
        <p:spPr>
          <a:xfrm>
            <a:off x="3279329" y="3706793"/>
            <a:ext cx="2577949" cy="230832"/>
          </a:xfrm>
          <a:prstGeom prst="rect">
            <a:avLst/>
          </a:prstGeom>
        </p:spPr>
        <p:txBody>
          <a:bodyPr wrap="non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more than the rest of the region combined</a:t>
            </a:r>
          </a:p>
        </p:txBody>
      </p:sp>
      <p:sp>
        <p:nvSpPr>
          <p:cNvPr id="27" name="Левая круглая скобка 26"/>
          <p:cNvSpPr/>
          <p:nvPr/>
        </p:nvSpPr>
        <p:spPr>
          <a:xfrm>
            <a:off x="6871062" y="2020389"/>
            <a:ext cx="60960" cy="2132434"/>
          </a:xfrm>
          <a:prstGeom prst="leftBracket">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a:ea typeface="+mn-ea"/>
              <a:cs typeface="+mn-cs"/>
            </a:endParaRPr>
          </a:p>
        </p:txBody>
      </p:sp>
      <p:sp>
        <p:nvSpPr>
          <p:cNvPr id="68" name="TextBox 67"/>
          <p:cNvSpPr txBox="1"/>
          <p:nvPr/>
        </p:nvSpPr>
        <p:spPr>
          <a:xfrm>
            <a:off x="6185040" y="2780858"/>
            <a:ext cx="634718" cy="64633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D7D31"/>
                </a:solidFill>
                <a:effectLst/>
                <a:uLnTx/>
                <a:uFillTx/>
                <a:latin typeface="Century Gothic" panose="020B0502020202020204" pitchFamily="34" charset="0"/>
                <a:ea typeface="+mn-ea"/>
                <a:cs typeface="+mn-cs"/>
              </a:rPr>
              <a:t>99.1% of all FDI</a:t>
            </a:r>
          </a:p>
        </p:txBody>
      </p:sp>
      <p:graphicFrame>
        <p:nvGraphicFramePr>
          <p:cNvPr id="69" name="Таблица 68"/>
          <p:cNvGraphicFramePr>
            <a:graphicFrameLocks noGrp="1"/>
          </p:cNvGraphicFramePr>
          <p:nvPr/>
        </p:nvGraphicFramePr>
        <p:xfrm>
          <a:off x="328388" y="4223737"/>
          <a:ext cx="5436686" cy="2146796"/>
        </p:xfrm>
        <a:graphic>
          <a:graphicData uri="http://schemas.openxmlformats.org/drawingml/2006/table">
            <a:tbl>
              <a:tblPr firstRow="1" bandRow="1">
                <a:tableStyleId>{68D230F3-CF80-4859-8CE7-A43EE81993B5}</a:tableStyleId>
              </a:tblPr>
              <a:tblGrid>
                <a:gridCol w="2718343">
                  <a:extLst>
                    <a:ext uri="{9D8B030D-6E8A-4147-A177-3AD203B41FA5}">
                      <a16:colId xmlns:a16="http://schemas.microsoft.com/office/drawing/2014/main" val="1706646908"/>
                    </a:ext>
                  </a:extLst>
                </a:gridCol>
                <a:gridCol w="2718343">
                  <a:extLst>
                    <a:ext uri="{9D8B030D-6E8A-4147-A177-3AD203B41FA5}">
                      <a16:colId xmlns:a16="http://schemas.microsoft.com/office/drawing/2014/main" val="3990296797"/>
                    </a:ext>
                  </a:extLst>
                </a:gridCol>
              </a:tblGrid>
              <a:tr h="429077">
                <a:tc>
                  <a:txBody>
                    <a:bodyPr/>
                    <a:lstStyle/>
                    <a:p>
                      <a:pPr algn="ctr"/>
                      <a:r>
                        <a:rPr lang="en-US" sz="1200" dirty="0">
                          <a:solidFill>
                            <a:schemeClr val="tx1">
                              <a:lumMod val="65000"/>
                              <a:lumOff val="35000"/>
                            </a:schemeClr>
                          </a:solidFill>
                          <a:latin typeface="Century Gothic" panose="020B0502020202020204" pitchFamily="34" charset="0"/>
                        </a:rPr>
                        <a:t>Myth</a:t>
                      </a:r>
                      <a:endParaRPr lang="ru-RU" sz="1200" dirty="0">
                        <a:solidFill>
                          <a:schemeClr val="tx1">
                            <a:lumMod val="65000"/>
                            <a:lumOff val="35000"/>
                          </a:schemeClr>
                        </a:solidFill>
                        <a:latin typeface="Century Gothic" panose="020B0502020202020204" pitchFamily="34" charset="0"/>
                      </a:endParaRPr>
                    </a:p>
                  </a:txBody>
                  <a:tcPr anchor="ctr"/>
                </a:tc>
                <a:tc>
                  <a:txBody>
                    <a:bodyPr/>
                    <a:lstStyle/>
                    <a:p>
                      <a:pPr algn="ctr"/>
                      <a:r>
                        <a:rPr lang="en-US" sz="1200" dirty="0">
                          <a:solidFill>
                            <a:schemeClr val="tx1">
                              <a:lumMod val="65000"/>
                              <a:lumOff val="35000"/>
                            </a:schemeClr>
                          </a:solidFill>
                          <a:latin typeface="Century Gothic" panose="020B0502020202020204" pitchFamily="34" charset="0"/>
                        </a:rPr>
                        <a:t>Reality</a:t>
                      </a:r>
                      <a:endParaRPr lang="ru-RU" sz="1200" dirty="0">
                        <a:solidFill>
                          <a:schemeClr val="tx1">
                            <a:lumMod val="65000"/>
                            <a:lumOff val="35000"/>
                          </a:schemeClr>
                        </a:solidFill>
                        <a:latin typeface="Century Gothic" panose="020B0502020202020204" pitchFamily="34" charset="0"/>
                      </a:endParaRPr>
                    </a:p>
                  </a:txBody>
                  <a:tcPr anchor="ctr"/>
                </a:tc>
                <a:extLst>
                  <a:ext uri="{0D108BD9-81ED-4DB2-BD59-A6C34878D82A}">
                    <a16:rowId xmlns:a16="http://schemas.microsoft.com/office/drawing/2014/main" val="578179807"/>
                  </a:ext>
                </a:extLst>
              </a:tr>
              <a:tr h="528999">
                <a:tc>
                  <a:txBody>
                    <a:bodyPr/>
                    <a:lstStyle/>
                    <a:p>
                      <a:pPr algn="ctr"/>
                      <a:r>
                        <a:rPr lang="en-US" sz="1100" dirty="0">
                          <a:solidFill>
                            <a:schemeClr val="tx1">
                              <a:lumMod val="65000"/>
                              <a:lumOff val="35000"/>
                            </a:schemeClr>
                          </a:solidFill>
                          <a:latin typeface="Century Gothic" panose="020B0502020202020204" pitchFamily="34" charset="0"/>
                        </a:rPr>
                        <a:t>Bigger country –</a:t>
                      </a:r>
                      <a:r>
                        <a:rPr lang="en-US" sz="1100" baseline="0" dirty="0">
                          <a:solidFill>
                            <a:schemeClr val="tx1">
                              <a:lumMod val="65000"/>
                              <a:lumOff val="35000"/>
                            </a:schemeClr>
                          </a:solidFill>
                          <a:latin typeface="Century Gothic" panose="020B0502020202020204" pitchFamily="34" charset="0"/>
                        </a:rPr>
                        <a:t> more FDI</a:t>
                      </a:r>
                      <a:endParaRPr lang="ru-RU" sz="1100" dirty="0">
                        <a:solidFill>
                          <a:schemeClr val="tx1">
                            <a:lumMod val="65000"/>
                            <a:lumOff val="35000"/>
                          </a:schemeClr>
                        </a:solidFill>
                        <a:latin typeface="Century Gothic" panose="020B0502020202020204" pitchFamily="34" charset="0"/>
                      </a:endParaRPr>
                    </a:p>
                  </a:txBody>
                  <a:tcPr anchor="ctr"/>
                </a:tc>
                <a:tc>
                  <a:txBody>
                    <a:bodyPr/>
                    <a:lstStyle/>
                    <a:p>
                      <a:pPr algn="ctr"/>
                      <a:r>
                        <a:rPr lang="en-US" sz="1100" dirty="0">
                          <a:solidFill>
                            <a:schemeClr val="tx1">
                              <a:lumMod val="65000"/>
                              <a:lumOff val="35000"/>
                            </a:schemeClr>
                          </a:solidFill>
                          <a:latin typeface="Century Gothic" panose="020B0502020202020204" pitchFamily="34" charset="0"/>
                        </a:rPr>
                        <a:t>Singapore is a city-state and a leader in FDI in Southeast Asia</a:t>
                      </a:r>
                    </a:p>
                  </a:txBody>
                  <a:tcPr anchor="ctr"/>
                </a:tc>
                <a:extLst>
                  <a:ext uri="{0D108BD9-81ED-4DB2-BD59-A6C34878D82A}">
                    <a16:rowId xmlns:a16="http://schemas.microsoft.com/office/drawing/2014/main" val="3555404476"/>
                  </a:ext>
                </a:extLst>
              </a:tr>
              <a:tr h="549773">
                <a:tc>
                  <a:txBody>
                    <a:bodyPr/>
                    <a:lstStyle/>
                    <a:p>
                      <a:pPr algn="ctr"/>
                      <a:r>
                        <a:rPr lang="en-US" sz="1100" dirty="0">
                          <a:solidFill>
                            <a:schemeClr val="tx1">
                              <a:lumMod val="65000"/>
                              <a:lumOff val="35000"/>
                            </a:schemeClr>
                          </a:solidFill>
                          <a:latin typeface="Century Gothic" panose="020B0502020202020204" pitchFamily="34" charset="0"/>
                        </a:rPr>
                        <a:t>Raw materials are the main magnet for investors</a:t>
                      </a:r>
                    </a:p>
                  </a:txBody>
                  <a:tcPr anchor="ctr"/>
                </a:tc>
                <a:tc>
                  <a:txBody>
                    <a:bodyPr/>
                    <a:lstStyle/>
                    <a:p>
                      <a:pPr algn="ctr"/>
                      <a:r>
                        <a:rPr lang="en-US" sz="1100" dirty="0">
                          <a:solidFill>
                            <a:schemeClr val="tx1">
                              <a:lumMod val="65000"/>
                              <a:lumOff val="35000"/>
                            </a:schemeClr>
                          </a:solidFill>
                          <a:latin typeface="Century Gothic" panose="020B0502020202020204" pitchFamily="34" charset="0"/>
                        </a:rPr>
                        <a:t>Finance, digital technologies, intellectual property are the main drivers</a:t>
                      </a:r>
                    </a:p>
                  </a:txBody>
                  <a:tcPr anchor="ctr"/>
                </a:tc>
                <a:extLst>
                  <a:ext uri="{0D108BD9-81ED-4DB2-BD59-A6C34878D82A}">
                    <a16:rowId xmlns:a16="http://schemas.microsoft.com/office/drawing/2014/main" val="2519222313"/>
                  </a:ext>
                </a:extLst>
              </a:tr>
              <a:tr h="528999">
                <a:tc>
                  <a:txBody>
                    <a:bodyPr/>
                    <a:lstStyle/>
                    <a:p>
                      <a:pPr algn="ctr"/>
                      <a:r>
                        <a:rPr lang="en-US" sz="1100" dirty="0">
                          <a:solidFill>
                            <a:schemeClr val="tx1">
                              <a:lumMod val="65000"/>
                              <a:lumOff val="35000"/>
                            </a:schemeClr>
                          </a:solidFill>
                          <a:latin typeface="Century Gothic" panose="020B0502020202020204" pitchFamily="34" charset="0"/>
                        </a:rPr>
                        <a:t>Investment is all about volume, not structure</a:t>
                      </a:r>
                    </a:p>
                  </a:txBody>
                  <a:tcPr anchor="ctr"/>
                </a:tc>
                <a:tc>
                  <a:txBody>
                    <a:bodyPr/>
                    <a:lstStyle/>
                    <a:p>
                      <a:pPr algn="ctr"/>
                      <a:r>
                        <a:rPr lang="en-US" sz="1100" dirty="0">
                          <a:solidFill>
                            <a:schemeClr val="tx1">
                              <a:lumMod val="65000"/>
                              <a:lumOff val="35000"/>
                            </a:schemeClr>
                          </a:solidFill>
                          <a:latin typeface="Century Gothic" panose="020B0502020202020204" pitchFamily="34" charset="0"/>
                        </a:rPr>
                        <a:t>Quality of FDI: over 60% directed toward high-yield, knowledge-intensive sectors</a:t>
                      </a:r>
                      <a:endParaRPr lang="ru-RU" sz="1100" dirty="0">
                        <a:solidFill>
                          <a:schemeClr val="tx1">
                            <a:lumMod val="65000"/>
                            <a:lumOff val="35000"/>
                          </a:schemeClr>
                        </a:solidFill>
                        <a:latin typeface="Century Gothic" panose="020B0502020202020204" pitchFamily="34" charset="0"/>
                      </a:endParaRPr>
                    </a:p>
                  </a:txBody>
                  <a:tcPr anchor="ctr"/>
                </a:tc>
                <a:extLst>
                  <a:ext uri="{0D108BD9-81ED-4DB2-BD59-A6C34878D82A}">
                    <a16:rowId xmlns:a16="http://schemas.microsoft.com/office/drawing/2014/main" val="1648182194"/>
                  </a:ext>
                </a:extLst>
              </a:tr>
            </a:tbl>
          </a:graphicData>
        </a:graphic>
      </p:graphicFrame>
    </p:spTree>
    <p:extLst>
      <p:ext uri="{BB962C8B-B14F-4D97-AF65-F5344CB8AC3E}">
        <p14:creationId xmlns:p14="http://schemas.microsoft.com/office/powerpoint/2010/main" val="37132304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A53621-89A9-5CB9-15CF-BCE35B57AB53}"/>
            </a:ext>
          </a:extLst>
        </p:cNvPr>
        <p:cNvGrpSpPr/>
        <p:nvPr/>
      </p:nvGrpSpPr>
      <p:grpSpPr>
        <a:xfrm>
          <a:off x="0" y="0"/>
          <a:ext cx="0" cy="0"/>
          <a:chOff x="0" y="0"/>
          <a:chExt cx="0" cy="0"/>
        </a:xfrm>
      </p:grpSpPr>
      <p:graphicFrame>
        <p:nvGraphicFramePr>
          <p:cNvPr id="165" name="think-cell data - do not delete" hidden="1">
            <a:extLst>
              <a:ext uri="{FF2B5EF4-FFF2-40B4-BE49-F238E27FC236}">
                <a16:creationId xmlns:a16="http://schemas.microsoft.com/office/drawing/2014/main" id="{57AD73EE-AE98-4190-F317-063FF48DB81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Слайд think-cell" r:id="rId8" imgW="7772400" imgH="10058400" progId="TCLayout.ActiveDocument.1">
                  <p:embed/>
                </p:oleObj>
              </mc:Choice>
              <mc:Fallback>
                <p:oleObj name="Слайд think-cell" r:id="rId8" imgW="7772400" imgH="10058400" progId="TCLayout.ActiveDocument.1">
                  <p:embed/>
                  <p:pic>
                    <p:nvPicPr>
                      <p:cNvPr id="165" name="think-cell data - do not delete" hidden="1">
                        <a:extLst>
                          <a:ext uri="{FF2B5EF4-FFF2-40B4-BE49-F238E27FC236}">
                            <a16:creationId xmlns:a16="http://schemas.microsoft.com/office/drawing/2014/main" id="{57AD73EE-AE98-4190-F317-063FF48DB817}"/>
                          </a:ext>
                        </a:extLst>
                      </p:cNvPr>
                      <p:cNvPicPr/>
                      <p:nvPr/>
                    </p:nvPicPr>
                    <p:blipFill>
                      <a:blip r:embed="rId9"/>
                      <a:stretch>
                        <a:fillRect/>
                      </a:stretch>
                    </p:blipFill>
                    <p:spPr>
                      <a:xfrm>
                        <a:off x="1588" y="1588"/>
                        <a:ext cx="1227" cy="1588"/>
                      </a:xfrm>
                      <a:prstGeom prst="rect">
                        <a:avLst/>
                      </a:prstGeom>
                    </p:spPr>
                  </p:pic>
                </p:oleObj>
              </mc:Fallback>
            </mc:AlternateContent>
          </a:graphicData>
        </a:graphic>
      </p:graphicFrame>
      <p:sp>
        <p:nvSpPr>
          <p:cNvPr id="193" name="Прямоугольник: скругленные углы 28">
            <a:extLst>
              <a:ext uri="{FF2B5EF4-FFF2-40B4-BE49-F238E27FC236}">
                <a16:creationId xmlns:a16="http://schemas.microsoft.com/office/drawing/2014/main" id="{0CD19A2D-0E43-ABA7-C0DD-C310F18BE03E}"/>
              </a:ext>
            </a:extLst>
          </p:cNvPr>
          <p:cNvSpPr/>
          <p:nvPr/>
        </p:nvSpPr>
        <p:spPr>
          <a:xfrm>
            <a:off x="9551406" y="2861118"/>
            <a:ext cx="1702454" cy="584146"/>
          </a:xfrm>
          <a:prstGeom prst="roundRect">
            <a:avLst/>
          </a:prstGeom>
          <a:ln>
            <a:solidFill>
              <a:schemeClr val="tx2">
                <a:lumMod val="75000"/>
                <a:lumOff val="25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ellets, powder, liquid additive</a:t>
            </a:r>
            <a:b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br>
            <a:endParaRPr kumimoji="0" lang="ru-RU"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169" name="Прямоугольник: скругленные углы 28">
            <a:extLst>
              <a:ext uri="{FF2B5EF4-FFF2-40B4-BE49-F238E27FC236}">
                <a16:creationId xmlns:a16="http://schemas.microsoft.com/office/drawing/2014/main" id="{DC4E72D5-9555-A785-916B-8F53ED3BB0E2}"/>
              </a:ext>
            </a:extLst>
          </p:cNvPr>
          <p:cNvSpPr/>
          <p:nvPr/>
        </p:nvSpPr>
        <p:spPr>
          <a:xfrm>
            <a:off x="6443760" y="2857835"/>
            <a:ext cx="1702454" cy="580737"/>
          </a:xfrm>
          <a:prstGeom prst="roundRect">
            <a:avLst/>
          </a:prstGeom>
          <a:ln>
            <a:solidFill>
              <a:schemeClr val="tx2">
                <a:lumMod val="75000"/>
                <a:lumOff val="25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Biofeed</a:t>
            </a: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mix/premix</a:t>
            </a:r>
            <a:b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br>
            <a:endParaRPr kumimoji="0" lang="ru-RU" sz="1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17" name="Прямоугольник: скругленные углы 16">
            <a:extLst>
              <a:ext uri="{FF2B5EF4-FFF2-40B4-BE49-F238E27FC236}">
                <a16:creationId xmlns:a16="http://schemas.microsoft.com/office/drawing/2014/main" id="{B2A9BFED-CB3C-44CA-8D2E-80576A74AB9F}"/>
              </a:ext>
            </a:extLst>
          </p:cNvPr>
          <p:cNvSpPr/>
          <p:nvPr/>
        </p:nvSpPr>
        <p:spPr>
          <a:xfrm>
            <a:off x="408931" y="692269"/>
            <a:ext cx="11395235" cy="813273"/>
          </a:xfrm>
          <a:prstGeom prst="roundRect">
            <a:avLst>
              <a:gd name="adj" fmla="val 4040"/>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2" name="TextBox 1">
            <a:extLst>
              <a:ext uri="{FF2B5EF4-FFF2-40B4-BE49-F238E27FC236}">
                <a16:creationId xmlns:a16="http://schemas.microsoft.com/office/drawing/2014/main" id="{4BC2F765-ED67-7659-8D37-9C30D01343C9}"/>
              </a:ext>
            </a:extLst>
          </p:cNvPr>
          <p:cNvSpPr txBox="1"/>
          <p:nvPr/>
        </p:nvSpPr>
        <p:spPr>
          <a:xfrm>
            <a:off x="375869" y="158751"/>
            <a:ext cx="5602816" cy="464230"/>
          </a:xfrm>
          <a:prstGeom prst="rect">
            <a:avLst/>
          </a:prstGeom>
          <a:noFill/>
        </p:spPr>
        <p:txBody>
          <a:bodyPr wrap="none" rtlCol="0">
            <a:spAutoFit/>
          </a:bodyPr>
          <a:lstStyle/>
          <a:p>
            <a:pPr marL="0" marR="0" lvl="0" indent="0" algn="l" defTabSz="914400" rtl="0" eaLnBrk="1" fontAlgn="auto" latinLnBrk="0" hangingPunct="1">
              <a:lnSpc>
                <a:spcPts val="2946"/>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Rubik Bold" panose="020B0604020202020204"/>
              </a:rPr>
              <a:t>BIOFEED PRODUCTION CHAIN</a:t>
            </a:r>
            <a:endParaRPr kumimoji="0" lang="ru-RU" sz="30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Rubik Bold" panose="020B0604020202020204"/>
            </a:endParaRPr>
          </a:p>
        </p:txBody>
      </p:sp>
      <p:cxnSp>
        <p:nvCxnSpPr>
          <p:cNvPr id="27" name="Прямая соединительная линия 26">
            <a:extLst>
              <a:ext uri="{FF2B5EF4-FFF2-40B4-BE49-F238E27FC236}">
                <a16:creationId xmlns:a16="http://schemas.microsoft.com/office/drawing/2014/main" id="{7609C373-7787-22A7-D8B2-5E89A359A7FC}"/>
              </a:ext>
            </a:extLst>
          </p:cNvPr>
          <p:cNvCxnSpPr>
            <a:cxnSpLocks/>
          </p:cNvCxnSpPr>
          <p:nvPr/>
        </p:nvCxnSpPr>
        <p:spPr>
          <a:xfrm flipV="1">
            <a:off x="0" y="2672058"/>
            <a:ext cx="12188086" cy="9016"/>
          </a:xfrm>
          <a:prstGeom prst="line">
            <a:avLst/>
          </a:prstGeom>
          <a:ln w="19050"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30" name="Группа 29">
            <a:extLst>
              <a:ext uri="{FF2B5EF4-FFF2-40B4-BE49-F238E27FC236}">
                <a16:creationId xmlns:a16="http://schemas.microsoft.com/office/drawing/2014/main" id="{F9453F51-6FCD-8880-B852-E3FF8F91DCB6}"/>
              </a:ext>
            </a:extLst>
          </p:cNvPr>
          <p:cNvGrpSpPr/>
          <p:nvPr/>
        </p:nvGrpSpPr>
        <p:grpSpPr>
          <a:xfrm>
            <a:off x="398937" y="1775899"/>
            <a:ext cx="294640" cy="294640"/>
            <a:chOff x="2501900" y="2336800"/>
            <a:chExt cx="294640" cy="294640"/>
          </a:xfrm>
        </p:grpSpPr>
        <p:sp>
          <p:nvSpPr>
            <p:cNvPr id="35" name="Овал 34">
              <a:extLst>
                <a:ext uri="{FF2B5EF4-FFF2-40B4-BE49-F238E27FC236}">
                  <a16:creationId xmlns:a16="http://schemas.microsoft.com/office/drawing/2014/main" id="{CB199040-E8AD-179D-4CD1-7FB15B97F8D3}"/>
                </a:ext>
              </a:extLst>
            </p:cNvPr>
            <p:cNvSpPr/>
            <p:nvPr/>
          </p:nvSpPr>
          <p:spPr>
            <a:xfrm>
              <a:off x="2501900" y="2336800"/>
              <a:ext cx="294640" cy="294640"/>
            </a:xfrm>
            <a:prstGeom prst="ellipse">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Rubik Bold" panose="020B0604020202020204"/>
              </a:endParaRPr>
            </a:p>
          </p:txBody>
        </p:sp>
        <p:sp>
          <p:nvSpPr>
            <p:cNvPr id="36" name="Овал 35">
              <a:extLst>
                <a:ext uri="{FF2B5EF4-FFF2-40B4-BE49-F238E27FC236}">
                  <a16:creationId xmlns:a16="http://schemas.microsoft.com/office/drawing/2014/main" id="{06423579-FCD2-8719-B880-F9ADA7198D21}"/>
                </a:ext>
              </a:extLst>
            </p:cNvPr>
            <p:cNvSpPr/>
            <p:nvPr/>
          </p:nvSpPr>
          <p:spPr>
            <a:xfrm>
              <a:off x="2593340" y="2420620"/>
              <a:ext cx="125222" cy="125222"/>
            </a:xfrm>
            <a:prstGeom prst="ellipse">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Rubik Bold" panose="020B0604020202020204"/>
              </a:endParaRPr>
            </a:p>
          </p:txBody>
        </p:sp>
      </p:grpSp>
      <p:grpSp>
        <p:nvGrpSpPr>
          <p:cNvPr id="53" name="Группа 52">
            <a:extLst>
              <a:ext uri="{FF2B5EF4-FFF2-40B4-BE49-F238E27FC236}">
                <a16:creationId xmlns:a16="http://schemas.microsoft.com/office/drawing/2014/main" id="{8EEDC711-C782-5DAB-FAA2-3CF4DB092853}"/>
              </a:ext>
            </a:extLst>
          </p:cNvPr>
          <p:cNvGrpSpPr/>
          <p:nvPr/>
        </p:nvGrpSpPr>
        <p:grpSpPr>
          <a:xfrm>
            <a:off x="9212811" y="1821681"/>
            <a:ext cx="294640" cy="294640"/>
            <a:chOff x="2501900" y="2336800"/>
            <a:chExt cx="294640" cy="294640"/>
          </a:xfrm>
        </p:grpSpPr>
        <p:sp>
          <p:nvSpPr>
            <p:cNvPr id="54" name="Овал 53">
              <a:extLst>
                <a:ext uri="{FF2B5EF4-FFF2-40B4-BE49-F238E27FC236}">
                  <a16:creationId xmlns:a16="http://schemas.microsoft.com/office/drawing/2014/main" id="{EB263377-90C3-342A-127F-E42296972F05}"/>
                </a:ext>
              </a:extLst>
            </p:cNvPr>
            <p:cNvSpPr/>
            <p:nvPr/>
          </p:nvSpPr>
          <p:spPr>
            <a:xfrm>
              <a:off x="2501900" y="2336800"/>
              <a:ext cx="294640" cy="294640"/>
            </a:xfrm>
            <a:prstGeom prst="ellipse">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Rubik Bold" panose="020B0604020202020204"/>
              </a:endParaRPr>
            </a:p>
          </p:txBody>
        </p:sp>
        <p:sp>
          <p:nvSpPr>
            <p:cNvPr id="57" name="Овал 56">
              <a:extLst>
                <a:ext uri="{FF2B5EF4-FFF2-40B4-BE49-F238E27FC236}">
                  <a16:creationId xmlns:a16="http://schemas.microsoft.com/office/drawing/2014/main" id="{BF5DED13-E59C-F97A-D673-028BA383E2E4}"/>
                </a:ext>
              </a:extLst>
            </p:cNvPr>
            <p:cNvSpPr/>
            <p:nvPr/>
          </p:nvSpPr>
          <p:spPr>
            <a:xfrm>
              <a:off x="2593340" y="2420620"/>
              <a:ext cx="125222" cy="125222"/>
            </a:xfrm>
            <a:prstGeom prst="ellipse">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Rubik Bold" panose="020B0604020202020204"/>
              </a:endParaRPr>
            </a:p>
          </p:txBody>
        </p:sp>
      </p:grpSp>
      <p:cxnSp>
        <p:nvCxnSpPr>
          <p:cNvPr id="61" name="Прямая соединительная линия 60">
            <a:extLst>
              <a:ext uri="{FF2B5EF4-FFF2-40B4-BE49-F238E27FC236}">
                <a16:creationId xmlns:a16="http://schemas.microsoft.com/office/drawing/2014/main" id="{E724A5A5-CC3D-3E74-6901-24C41236EC8B}"/>
              </a:ext>
            </a:extLst>
          </p:cNvPr>
          <p:cNvCxnSpPr>
            <a:cxnSpLocks/>
            <a:endCxn id="155" idx="4"/>
          </p:cNvCxnSpPr>
          <p:nvPr/>
        </p:nvCxnSpPr>
        <p:spPr>
          <a:xfrm>
            <a:off x="546257" y="1984941"/>
            <a:ext cx="0" cy="1435137"/>
          </a:xfrm>
          <a:prstGeom prst="line">
            <a:avLst/>
          </a:prstGeom>
          <a:ln w="50800">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40" name="Rectangle 286">
            <a:extLst>
              <a:ext uri="{FF2B5EF4-FFF2-40B4-BE49-F238E27FC236}">
                <a16:creationId xmlns:a16="http://schemas.microsoft.com/office/drawing/2014/main" id="{5FEF20A4-C49C-C1D0-E644-4107538D0FA0}"/>
              </a:ext>
            </a:extLst>
          </p:cNvPr>
          <p:cNvSpPr txBox="1">
            <a:spLocks noChangeArrowheads="1"/>
          </p:cNvSpPr>
          <p:nvPr>
            <p:custDataLst>
              <p:tags r:id="rId2"/>
            </p:custDataLst>
          </p:nvPr>
        </p:nvSpPr>
        <p:spPr bwMode="gray">
          <a:xfrm>
            <a:off x="785017" y="1787708"/>
            <a:ext cx="1907111" cy="335730"/>
          </a:xfrm>
          <a:prstGeom prst="roundRect">
            <a:avLst>
              <a:gd name="adj" fmla="val 0"/>
            </a:avLst>
          </a:prstGeom>
          <a:solidFill>
            <a:schemeClr val="tx2">
              <a:lumMod val="10000"/>
              <a:lumOff val="90000"/>
            </a:schemeClr>
          </a:solidFill>
          <a:ln w="9525" cap="flat" cmpd="sng" algn="ctr">
            <a:noFill/>
            <a:prstDash val="solid"/>
          </a:ln>
          <a:effectLst>
            <a:outerShdw blurRad="50800" dist="38100" dir="5400000" algn="t" rotWithShape="0">
              <a:schemeClr val="tx2">
                <a:lumMod val="60000"/>
                <a:lumOff val="40000"/>
                <a:alpha val="40000"/>
              </a:schemeClr>
            </a:outerShdw>
          </a:effectLst>
        </p:spPr>
        <p:txBody>
          <a:bodyPr anchor="ctr"/>
          <a:lstStyle>
            <a:defPPr>
              <a:defRPr lang="en-US"/>
            </a:defPPr>
            <a:lvl1pPr algn="ctr">
              <a:defRPr sz="11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FFFFFF"/>
              </a:solidFill>
              <a:effectLst/>
              <a:uLnTx/>
              <a:uFillTx/>
              <a:latin typeface="Century Gothic" panose="020B0502020202020204" pitchFamily="34" charset="0"/>
              <a:ea typeface="ＭＳ Ｐゴシック"/>
              <a:cs typeface="+mn-cs"/>
            </a:endParaRPr>
          </a:p>
        </p:txBody>
      </p:sp>
      <p:sp>
        <p:nvSpPr>
          <p:cNvPr id="147" name="TextBox 63">
            <a:extLst>
              <a:ext uri="{FF2B5EF4-FFF2-40B4-BE49-F238E27FC236}">
                <a16:creationId xmlns:a16="http://schemas.microsoft.com/office/drawing/2014/main" id="{690AA886-66EE-8994-F205-4E7856AE655A}"/>
              </a:ext>
            </a:extLst>
          </p:cNvPr>
          <p:cNvSpPr txBox="1"/>
          <p:nvPr/>
        </p:nvSpPr>
        <p:spPr>
          <a:xfrm>
            <a:off x="816259" y="1835291"/>
            <a:ext cx="1985089" cy="308482"/>
          </a:xfrm>
          <a:prstGeom prst="rect">
            <a:avLst/>
          </a:prstGeom>
        </p:spPr>
        <p:txBody>
          <a:bodyPr wrap="square" lIns="0" tIns="0" rIns="0" bIns="0" rtlCol="0" anchor="t">
            <a:spAutoFit/>
          </a:bodyPr>
          <a:lstStyle/>
          <a:p>
            <a:pPr marL="0" marR="0" lvl="0" indent="0" algn="l" defTabSz="914400" rtl="0" eaLnBrk="1" fontAlgn="auto" latinLnBrk="0" hangingPunct="1">
              <a:lnSpc>
                <a:spcPts val="1236"/>
              </a:lnSpc>
              <a:spcBef>
                <a:spcPts val="0"/>
              </a:spcBef>
              <a:spcAft>
                <a:spcPts val="0"/>
              </a:spcAft>
              <a:buClrTx/>
              <a:buSzTx/>
              <a:buFontTx/>
              <a:buNone/>
              <a:tabLst/>
              <a:defRPr/>
            </a:pPr>
            <a:r>
              <a:rPr kumimoji="0" lang="en-US" sz="1400" b="1" i="0" u="none" strike="noStrike" kern="1200" cap="none" spc="-24" normalizeH="0" baseline="0" noProof="0" dirty="0">
                <a:ln>
                  <a:noFill/>
                </a:ln>
                <a:solidFill>
                  <a:srgbClr val="156082"/>
                </a:solidFill>
                <a:effectLst/>
                <a:uLnTx/>
                <a:uFillTx/>
                <a:latin typeface="Century Gothic" panose="020B0502020202020204" pitchFamily="34" charset="0"/>
                <a:ea typeface="+mn-ea"/>
                <a:cs typeface="+mn-cs"/>
              </a:rPr>
              <a:t>Cultivation/biomass harvesting</a:t>
            </a:r>
          </a:p>
        </p:txBody>
      </p:sp>
      <p:sp>
        <p:nvSpPr>
          <p:cNvPr id="154" name="Прямоугольник: скругленные углы 28">
            <a:extLst>
              <a:ext uri="{FF2B5EF4-FFF2-40B4-BE49-F238E27FC236}">
                <a16:creationId xmlns:a16="http://schemas.microsoft.com/office/drawing/2014/main" id="{EE86D06B-2105-9B07-F0FE-4CA2695C3EDF}"/>
              </a:ext>
            </a:extLst>
          </p:cNvPr>
          <p:cNvSpPr/>
          <p:nvPr/>
        </p:nvSpPr>
        <p:spPr>
          <a:xfrm>
            <a:off x="661619" y="2842468"/>
            <a:ext cx="1281652" cy="596769"/>
          </a:xfrm>
          <a:prstGeom prst="roundRect">
            <a:avLst/>
          </a:prstGeom>
          <a:ln>
            <a:solidFill>
              <a:schemeClr val="tx2">
                <a:lumMod val="75000"/>
                <a:lumOff val="25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Raw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biomass</a:t>
            </a:r>
            <a:endParaRPr kumimoji="0" lang="ru-RU" sz="16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155" name="Овал 154">
            <a:extLst>
              <a:ext uri="{FF2B5EF4-FFF2-40B4-BE49-F238E27FC236}">
                <a16:creationId xmlns:a16="http://schemas.microsoft.com/office/drawing/2014/main" id="{9607050E-F114-31FC-578D-EE52062ED948}"/>
              </a:ext>
            </a:extLst>
          </p:cNvPr>
          <p:cNvSpPr/>
          <p:nvPr/>
        </p:nvSpPr>
        <p:spPr>
          <a:xfrm>
            <a:off x="286840" y="2873455"/>
            <a:ext cx="518834" cy="546623"/>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156" name="Rectangle 286">
            <a:extLst>
              <a:ext uri="{FF2B5EF4-FFF2-40B4-BE49-F238E27FC236}">
                <a16:creationId xmlns:a16="http://schemas.microsoft.com/office/drawing/2014/main" id="{F8FE1FC1-53AE-71DD-ACD7-BABA7132E90A}"/>
              </a:ext>
            </a:extLst>
          </p:cNvPr>
          <p:cNvSpPr txBox="1">
            <a:spLocks noChangeArrowheads="1"/>
          </p:cNvSpPr>
          <p:nvPr>
            <p:custDataLst>
              <p:tags r:id="rId3"/>
            </p:custDataLst>
          </p:nvPr>
        </p:nvSpPr>
        <p:spPr bwMode="gray">
          <a:xfrm>
            <a:off x="3538107" y="1787795"/>
            <a:ext cx="1907111" cy="335730"/>
          </a:xfrm>
          <a:prstGeom prst="roundRect">
            <a:avLst>
              <a:gd name="adj" fmla="val 0"/>
            </a:avLst>
          </a:prstGeom>
          <a:solidFill>
            <a:schemeClr val="tx2">
              <a:lumMod val="10000"/>
              <a:lumOff val="90000"/>
            </a:schemeClr>
          </a:solidFill>
          <a:ln w="9525" cap="flat" cmpd="sng" algn="ctr">
            <a:noFill/>
            <a:prstDash val="solid"/>
          </a:ln>
          <a:effectLst>
            <a:outerShdw blurRad="50800" dist="38100" dir="5400000" algn="t" rotWithShape="0">
              <a:schemeClr val="tx2">
                <a:lumMod val="60000"/>
                <a:lumOff val="40000"/>
                <a:alpha val="40000"/>
              </a:schemeClr>
            </a:outerShdw>
          </a:effectLst>
        </p:spPr>
        <p:txBody>
          <a:bodyPr anchor="ctr"/>
          <a:lstStyle>
            <a:defPPr>
              <a:defRPr lang="en-US"/>
            </a:defPPr>
            <a:lvl1pPr algn="ctr">
              <a:defRPr sz="11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FFFFFF"/>
              </a:solidFill>
              <a:effectLst/>
              <a:uLnTx/>
              <a:uFillTx/>
              <a:latin typeface="Century Gothic" panose="020B0502020202020204" pitchFamily="34" charset="0"/>
              <a:ea typeface="ＭＳ Ｐゴシック"/>
              <a:cs typeface="+mn-cs"/>
            </a:endParaRPr>
          </a:p>
        </p:txBody>
      </p:sp>
      <p:sp>
        <p:nvSpPr>
          <p:cNvPr id="159" name="TextBox 158">
            <a:extLst>
              <a:ext uri="{FF2B5EF4-FFF2-40B4-BE49-F238E27FC236}">
                <a16:creationId xmlns:a16="http://schemas.microsoft.com/office/drawing/2014/main" id="{EF2ADFC4-3607-B5D8-B1BA-E7FA1B6B6AD3}"/>
              </a:ext>
            </a:extLst>
          </p:cNvPr>
          <p:cNvSpPr txBox="1"/>
          <p:nvPr/>
        </p:nvSpPr>
        <p:spPr>
          <a:xfrm>
            <a:off x="3481277" y="1784540"/>
            <a:ext cx="2022375" cy="400815"/>
          </a:xfrm>
          <a:prstGeom prst="rect">
            <a:avLst/>
          </a:prstGeom>
          <a:noFill/>
        </p:spPr>
        <p:txBody>
          <a:bodyPr wrap="square">
            <a:spAutoFit/>
          </a:bodyPr>
          <a:lstStyle/>
          <a:p>
            <a:pPr marL="0" marR="0" lvl="0" indent="0" algn="l" defTabSz="914400" rtl="0" eaLnBrk="1" fontAlgn="auto" latinLnBrk="0" hangingPunct="1">
              <a:lnSpc>
                <a:spcPts val="1236"/>
              </a:lnSpc>
              <a:spcBef>
                <a:spcPts val="0"/>
              </a:spcBef>
              <a:spcAft>
                <a:spcPts val="0"/>
              </a:spcAft>
              <a:buClrTx/>
              <a:buSzTx/>
              <a:buFontTx/>
              <a:buNone/>
              <a:tabLst/>
              <a:defRPr/>
            </a:pPr>
            <a:r>
              <a:rPr kumimoji="0" lang="en-US" sz="1400" b="1" i="0" u="none" strike="noStrike" kern="1200" cap="none" spc="-24" normalizeH="0" baseline="0" noProof="0" dirty="0">
                <a:ln>
                  <a:noFill/>
                </a:ln>
                <a:solidFill>
                  <a:srgbClr val="156082"/>
                </a:solidFill>
                <a:effectLst/>
                <a:uLnTx/>
                <a:uFillTx/>
                <a:latin typeface="Century Gothic" panose="020B0502020202020204" pitchFamily="34" charset="0"/>
                <a:ea typeface="+mn-ea"/>
                <a:cs typeface="+mn-cs"/>
              </a:rPr>
              <a:t>Biotechnological processing</a:t>
            </a:r>
          </a:p>
        </p:txBody>
      </p:sp>
      <p:cxnSp>
        <p:nvCxnSpPr>
          <p:cNvPr id="161" name="Прямая соединительная линия 160">
            <a:extLst>
              <a:ext uri="{FF2B5EF4-FFF2-40B4-BE49-F238E27FC236}">
                <a16:creationId xmlns:a16="http://schemas.microsoft.com/office/drawing/2014/main" id="{142DFB67-5E51-C282-A565-D91E9C787A15}"/>
              </a:ext>
            </a:extLst>
          </p:cNvPr>
          <p:cNvCxnSpPr>
            <a:cxnSpLocks/>
          </p:cNvCxnSpPr>
          <p:nvPr/>
        </p:nvCxnSpPr>
        <p:spPr>
          <a:xfrm flipH="1">
            <a:off x="3296187" y="2005643"/>
            <a:ext cx="8739" cy="1401894"/>
          </a:xfrm>
          <a:prstGeom prst="line">
            <a:avLst/>
          </a:prstGeom>
          <a:ln w="50800">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62" name="Прямоугольник: скругленные углы 28">
            <a:extLst>
              <a:ext uri="{FF2B5EF4-FFF2-40B4-BE49-F238E27FC236}">
                <a16:creationId xmlns:a16="http://schemas.microsoft.com/office/drawing/2014/main" id="{483D7D9D-4272-2D4E-764A-1CA97E278E48}"/>
              </a:ext>
            </a:extLst>
          </p:cNvPr>
          <p:cNvSpPr/>
          <p:nvPr/>
        </p:nvSpPr>
        <p:spPr>
          <a:xfrm>
            <a:off x="3488713" y="2847269"/>
            <a:ext cx="1723571" cy="584146"/>
          </a:xfrm>
          <a:prstGeom prst="roundRect">
            <a:avLst/>
          </a:prstGeom>
          <a:ln>
            <a:solidFill>
              <a:schemeClr val="tx2">
                <a:lumMod val="75000"/>
                <a:lumOff val="25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cessed protein raw material</a:t>
            </a:r>
            <a:b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br>
            <a:endParaRPr kumimoji="0" lang="ru-RU" sz="1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163" name="Овал 162">
            <a:extLst>
              <a:ext uri="{FF2B5EF4-FFF2-40B4-BE49-F238E27FC236}">
                <a16:creationId xmlns:a16="http://schemas.microsoft.com/office/drawing/2014/main" id="{86410160-E564-C253-04BF-980C8890F4F8}"/>
              </a:ext>
            </a:extLst>
          </p:cNvPr>
          <p:cNvSpPr/>
          <p:nvPr/>
        </p:nvSpPr>
        <p:spPr>
          <a:xfrm>
            <a:off x="3036770" y="2879964"/>
            <a:ext cx="518834" cy="546623"/>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164" name="Rectangle 286">
            <a:extLst>
              <a:ext uri="{FF2B5EF4-FFF2-40B4-BE49-F238E27FC236}">
                <a16:creationId xmlns:a16="http://schemas.microsoft.com/office/drawing/2014/main" id="{22FF6593-DDF5-4992-F52C-0ADDB56C74A7}"/>
              </a:ext>
            </a:extLst>
          </p:cNvPr>
          <p:cNvSpPr txBox="1">
            <a:spLocks noChangeArrowheads="1"/>
          </p:cNvSpPr>
          <p:nvPr>
            <p:custDataLst>
              <p:tags r:id="rId4"/>
            </p:custDataLst>
          </p:nvPr>
        </p:nvSpPr>
        <p:spPr bwMode="gray">
          <a:xfrm>
            <a:off x="6495415" y="1787795"/>
            <a:ext cx="1907111" cy="335730"/>
          </a:xfrm>
          <a:prstGeom prst="roundRect">
            <a:avLst>
              <a:gd name="adj" fmla="val 0"/>
            </a:avLst>
          </a:prstGeom>
          <a:solidFill>
            <a:schemeClr val="tx2">
              <a:lumMod val="10000"/>
              <a:lumOff val="90000"/>
            </a:schemeClr>
          </a:solidFill>
          <a:ln w="9525" cap="flat" cmpd="sng" algn="ctr">
            <a:noFill/>
            <a:prstDash val="solid"/>
          </a:ln>
          <a:effectLst>
            <a:outerShdw blurRad="50800" dist="38100" dir="5400000" algn="t" rotWithShape="0">
              <a:schemeClr val="tx2">
                <a:lumMod val="60000"/>
                <a:lumOff val="40000"/>
                <a:alpha val="40000"/>
              </a:schemeClr>
            </a:outerShdw>
          </a:effectLst>
        </p:spPr>
        <p:txBody>
          <a:bodyPr anchor="ctr"/>
          <a:lstStyle>
            <a:defPPr>
              <a:defRPr lang="en-US"/>
            </a:defPPr>
            <a:lvl1pPr algn="ctr">
              <a:defRPr sz="11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FFFFFF"/>
              </a:solidFill>
              <a:effectLst/>
              <a:uLnTx/>
              <a:uFillTx/>
              <a:latin typeface="Century Gothic" panose="020B0502020202020204" pitchFamily="34" charset="0"/>
              <a:ea typeface="ＭＳ Ｐゴシック"/>
              <a:cs typeface="+mn-cs"/>
            </a:endParaRPr>
          </a:p>
        </p:txBody>
      </p:sp>
      <p:sp>
        <p:nvSpPr>
          <p:cNvPr id="160" name="TextBox 159">
            <a:extLst>
              <a:ext uri="{FF2B5EF4-FFF2-40B4-BE49-F238E27FC236}">
                <a16:creationId xmlns:a16="http://schemas.microsoft.com/office/drawing/2014/main" id="{6B5021C0-0860-5E13-F24B-AACBE9DB9183}"/>
              </a:ext>
            </a:extLst>
          </p:cNvPr>
          <p:cNvSpPr txBox="1"/>
          <p:nvPr/>
        </p:nvSpPr>
        <p:spPr>
          <a:xfrm>
            <a:off x="6473514" y="1782392"/>
            <a:ext cx="1964331" cy="400815"/>
          </a:xfrm>
          <a:prstGeom prst="rect">
            <a:avLst/>
          </a:prstGeom>
          <a:noFill/>
        </p:spPr>
        <p:txBody>
          <a:bodyPr wrap="square">
            <a:spAutoFit/>
          </a:bodyPr>
          <a:lstStyle/>
          <a:p>
            <a:pPr marL="0" marR="0" lvl="0" indent="0" algn="l" defTabSz="914400" rtl="0" eaLnBrk="1" fontAlgn="auto" latinLnBrk="0" hangingPunct="1">
              <a:lnSpc>
                <a:spcPts val="1236"/>
              </a:lnSpc>
              <a:spcBef>
                <a:spcPts val="0"/>
              </a:spcBef>
              <a:spcAft>
                <a:spcPts val="0"/>
              </a:spcAft>
              <a:buClrTx/>
              <a:buSzTx/>
              <a:buFontTx/>
              <a:buNone/>
              <a:tabLst/>
              <a:defRPr/>
            </a:pPr>
            <a:r>
              <a:rPr kumimoji="0" lang="en-US" sz="1400" b="1" i="0" u="none" strike="noStrike" kern="1200" cap="none" spc="-24" normalizeH="0" baseline="0" noProof="0" dirty="0">
                <a:ln>
                  <a:noFill/>
                </a:ln>
                <a:solidFill>
                  <a:srgbClr val="156082"/>
                </a:solidFill>
                <a:effectLst/>
                <a:uLnTx/>
                <a:uFillTx/>
                <a:latin typeface="Century Gothic" panose="020B0502020202020204" pitchFamily="34" charset="0"/>
                <a:ea typeface="+mn-ea"/>
                <a:cs typeface="+mn-cs"/>
              </a:rPr>
              <a:t>Enrichment and formulation</a:t>
            </a:r>
          </a:p>
        </p:txBody>
      </p:sp>
      <p:cxnSp>
        <p:nvCxnSpPr>
          <p:cNvPr id="166" name="Прямая соединительная линия 165">
            <a:extLst>
              <a:ext uri="{FF2B5EF4-FFF2-40B4-BE49-F238E27FC236}">
                <a16:creationId xmlns:a16="http://schemas.microsoft.com/office/drawing/2014/main" id="{B4241303-6A90-DD68-B133-D06614BA569E}"/>
              </a:ext>
            </a:extLst>
          </p:cNvPr>
          <p:cNvCxnSpPr>
            <a:cxnSpLocks/>
          </p:cNvCxnSpPr>
          <p:nvPr/>
        </p:nvCxnSpPr>
        <p:spPr>
          <a:xfrm flipH="1">
            <a:off x="6255503" y="2009771"/>
            <a:ext cx="1564" cy="1391257"/>
          </a:xfrm>
          <a:prstGeom prst="line">
            <a:avLst/>
          </a:prstGeom>
          <a:ln w="50800">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67" name="Овал 166">
            <a:extLst>
              <a:ext uri="{FF2B5EF4-FFF2-40B4-BE49-F238E27FC236}">
                <a16:creationId xmlns:a16="http://schemas.microsoft.com/office/drawing/2014/main" id="{7E76E639-3CF7-2E66-0084-3E5913CD310F}"/>
              </a:ext>
            </a:extLst>
          </p:cNvPr>
          <p:cNvSpPr/>
          <p:nvPr/>
        </p:nvSpPr>
        <p:spPr>
          <a:xfrm>
            <a:off x="5996086" y="2873455"/>
            <a:ext cx="518834" cy="546623"/>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cxnSp>
        <p:nvCxnSpPr>
          <p:cNvPr id="170" name="Прямая соединительная линия 169">
            <a:extLst>
              <a:ext uri="{FF2B5EF4-FFF2-40B4-BE49-F238E27FC236}">
                <a16:creationId xmlns:a16="http://schemas.microsoft.com/office/drawing/2014/main" id="{EE40FE03-C600-1145-50E3-34FEF04C8A23}"/>
              </a:ext>
            </a:extLst>
          </p:cNvPr>
          <p:cNvCxnSpPr>
            <a:cxnSpLocks/>
          </p:cNvCxnSpPr>
          <p:nvPr/>
        </p:nvCxnSpPr>
        <p:spPr>
          <a:xfrm flipH="1">
            <a:off x="8396362" y="3160784"/>
            <a:ext cx="1257" cy="1446041"/>
          </a:xfrm>
          <a:prstGeom prst="line">
            <a:avLst/>
          </a:prstGeom>
        </p:spPr>
        <p:style>
          <a:lnRef idx="1">
            <a:schemeClr val="accent1"/>
          </a:lnRef>
          <a:fillRef idx="0">
            <a:schemeClr val="accent1"/>
          </a:fillRef>
          <a:effectRef idx="0">
            <a:schemeClr val="accent1"/>
          </a:effectRef>
          <a:fontRef idx="minor">
            <a:schemeClr val="tx1"/>
          </a:fontRef>
        </p:style>
      </p:cxnSp>
      <p:cxnSp>
        <p:nvCxnSpPr>
          <p:cNvPr id="176" name="Прямая соединительная линия 175">
            <a:extLst>
              <a:ext uri="{FF2B5EF4-FFF2-40B4-BE49-F238E27FC236}">
                <a16:creationId xmlns:a16="http://schemas.microsoft.com/office/drawing/2014/main" id="{F5F3A2BE-92B5-0411-C770-09FE5FB7971E}"/>
              </a:ext>
            </a:extLst>
          </p:cNvPr>
          <p:cNvCxnSpPr>
            <a:cxnSpLocks/>
          </p:cNvCxnSpPr>
          <p:nvPr/>
        </p:nvCxnSpPr>
        <p:spPr>
          <a:xfrm>
            <a:off x="8206803" y="4606825"/>
            <a:ext cx="181608" cy="0"/>
          </a:xfrm>
          <a:prstGeom prst="line">
            <a:avLst/>
          </a:prstGeom>
        </p:spPr>
        <p:style>
          <a:lnRef idx="1">
            <a:schemeClr val="accent1"/>
          </a:lnRef>
          <a:fillRef idx="0">
            <a:schemeClr val="accent1"/>
          </a:fillRef>
          <a:effectRef idx="0">
            <a:schemeClr val="accent1"/>
          </a:effectRef>
          <a:fontRef idx="minor">
            <a:schemeClr val="tx1"/>
          </a:fontRef>
        </p:style>
      </p:cxnSp>
      <p:sp>
        <p:nvSpPr>
          <p:cNvPr id="177" name="Прямоугольник: скругленные углы 10">
            <a:extLst>
              <a:ext uri="{FF2B5EF4-FFF2-40B4-BE49-F238E27FC236}">
                <a16:creationId xmlns:a16="http://schemas.microsoft.com/office/drawing/2014/main" id="{8BA38267-63B7-1BD1-CD9F-505D136A390B}"/>
              </a:ext>
            </a:extLst>
          </p:cNvPr>
          <p:cNvSpPr/>
          <p:nvPr/>
        </p:nvSpPr>
        <p:spPr>
          <a:xfrm>
            <a:off x="6483687" y="4479926"/>
            <a:ext cx="1702575" cy="268440"/>
          </a:xfrm>
          <a:prstGeom prst="roundRect">
            <a:avLst/>
          </a:prstGeom>
          <a:noFill/>
          <a:ln>
            <a:solidFill>
              <a:schemeClr val="tx2">
                <a:lumMod val="75000"/>
                <a:lumOff val="2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Minerals</a:t>
            </a:r>
            <a:endParaRPr kumimoji="0" lang="ru-RU" sz="9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78" name="Прямоугольник: скругленные углы 10">
            <a:extLst>
              <a:ext uri="{FF2B5EF4-FFF2-40B4-BE49-F238E27FC236}">
                <a16:creationId xmlns:a16="http://schemas.microsoft.com/office/drawing/2014/main" id="{5461FE5F-6727-F264-21EB-9EA3DD4EF55F}"/>
              </a:ext>
            </a:extLst>
          </p:cNvPr>
          <p:cNvSpPr/>
          <p:nvPr/>
        </p:nvSpPr>
        <p:spPr>
          <a:xfrm>
            <a:off x="6483687" y="3549727"/>
            <a:ext cx="1702575" cy="363185"/>
          </a:xfrm>
          <a:prstGeom prst="roundRect">
            <a:avLst/>
          </a:prstGeom>
          <a:noFill/>
          <a:ln>
            <a:solidFill>
              <a:schemeClr val="tx2">
                <a:lumMod val="75000"/>
                <a:lumOff val="2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Organic base</a:t>
            </a:r>
            <a:endParaRPr kumimoji="0" lang="ru-RU" sz="10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cxnSp>
        <p:nvCxnSpPr>
          <p:cNvPr id="181" name="Прямая соединительная линия 180">
            <a:extLst>
              <a:ext uri="{FF2B5EF4-FFF2-40B4-BE49-F238E27FC236}">
                <a16:creationId xmlns:a16="http://schemas.microsoft.com/office/drawing/2014/main" id="{C2A99ACF-1CBE-100D-DBE9-53890BC5DD2C}"/>
              </a:ext>
            </a:extLst>
          </p:cNvPr>
          <p:cNvCxnSpPr>
            <a:cxnSpLocks/>
            <a:stCxn id="178" idx="3"/>
          </p:cNvCxnSpPr>
          <p:nvPr/>
        </p:nvCxnSpPr>
        <p:spPr>
          <a:xfrm flipV="1">
            <a:off x="8186262" y="3729354"/>
            <a:ext cx="203296" cy="1966"/>
          </a:xfrm>
          <a:prstGeom prst="line">
            <a:avLst/>
          </a:prstGeom>
        </p:spPr>
        <p:style>
          <a:lnRef idx="1">
            <a:schemeClr val="accent1"/>
          </a:lnRef>
          <a:fillRef idx="0">
            <a:schemeClr val="accent1"/>
          </a:fillRef>
          <a:effectRef idx="0">
            <a:schemeClr val="accent1"/>
          </a:effectRef>
          <a:fontRef idx="minor">
            <a:schemeClr val="tx1"/>
          </a:fontRef>
        </p:style>
      </p:cxnSp>
      <p:sp>
        <p:nvSpPr>
          <p:cNvPr id="182" name="Треугольник 181">
            <a:extLst>
              <a:ext uri="{FF2B5EF4-FFF2-40B4-BE49-F238E27FC236}">
                <a16:creationId xmlns:a16="http://schemas.microsoft.com/office/drawing/2014/main" id="{12D4B82B-D806-5ADE-C6D0-E6CEEEC4630E}"/>
              </a:ext>
            </a:extLst>
          </p:cNvPr>
          <p:cNvSpPr/>
          <p:nvPr/>
        </p:nvSpPr>
        <p:spPr>
          <a:xfrm rot="10800000">
            <a:off x="7229883" y="4833274"/>
            <a:ext cx="210181" cy="200624"/>
          </a:xfrm>
          <a:prstGeom prst="triangle">
            <a:avLst/>
          </a:prstGeom>
          <a:solidFill>
            <a:schemeClr val="tx2">
              <a:lumMod val="25000"/>
              <a:lumOff val="75000"/>
            </a:schemeClr>
          </a:solidFill>
          <a:ln>
            <a:solidFill>
              <a:schemeClr val="tx2">
                <a:lumMod val="25000"/>
                <a:lumOff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83" name="TextBox 182">
            <a:extLst>
              <a:ext uri="{FF2B5EF4-FFF2-40B4-BE49-F238E27FC236}">
                <a16:creationId xmlns:a16="http://schemas.microsoft.com/office/drawing/2014/main" id="{9A4731B7-6C1E-EA02-0AEA-2B4F3CDB48EC}"/>
              </a:ext>
            </a:extLst>
          </p:cNvPr>
          <p:cNvSpPr txBox="1"/>
          <p:nvPr/>
        </p:nvSpPr>
        <p:spPr>
          <a:xfrm>
            <a:off x="6160398" y="5053477"/>
            <a:ext cx="2519362" cy="246927"/>
          </a:xfrm>
          <a:prstGeom prst="rect">
            <a:avLst/>
          </a:prstGeom>
          <a:noFill/>
        </p:spPr>
        <p:txBody>
          <a:bodyPr wrap="square">
            <a:spAutoFit/>
          </a:bodyPr>
          <a:lstStyle/>
          <a:p>
            <a:pPr marL="0" marR="0" lvl="0" indent="0" algn="ctr" defTabSz="914400" rtl="0" eaLnBrk="1" fontAlgn="auto" latinLnBrk="0" hangingPunct="1">
              <a:lnSpc>
                <a:spcPts val="1236"/>
              </a:lnSpc>
              <a:spcBef>
                <a:spcPts val="0"/>
              </a:spcBef>
              <a:spcAft>
                <a:spcPts val="0"/>
              </a:spcAft>
              <a:buClrTx/>
              <a:buSzTx/>
              <a:buFontTx/>
              <a:buNone/>
              <a:tabLst/>
              <a:defRPr/>
            </a:pPr>
            <a:r>
              <a:rPr kumimoji="0" lang="en-US" sz="1400" b="1" i="0" u="none" strike="noStrike" kern="1200" cap="none" spc="-24" normalizeH="0" baseline="0" noProof="0" dirty="0">
                <a:ln>
                  <a:noFill/>
                </a:ln>
                <a:solidFill>
                  <a:srgbClr val="156082"/>
                </a:solidFill>
                <a:effectLst/>
                <a:uLnTx/>
                <a:uFillTx/>
                <a:latin typeface="Century Gothic" panose="020B0502020202020204" pitchFamily="34" charset="0"/>
                <a:ea typeface="+mn-ea"/>
                <a:cs typeface="+mn-cs"/>
              </a:rPr>
              <a:t>By-products</a:t>
            </a:r>
          </a:p>
        </p:txBody>
      </p:sp>
      <p:sp>
        <p:nvSpPr>
          <p:cNvPr id="184" name="Прямоугольник 183">
            <a:extLst>
              <a:ext uri="{FF2B5EF4-FFF2-40B4-BE49-F238E27FC236}">
                <a16:creationId xmlns:a16="http://schemas.microsoft.com/office/drawing/2014/main" id="{D4CAD42D-8E45-3B30-5716-2B8C9B958761}"/>
              </a:ext>
            </a:extLst>
          </p:cNvPr>
          <p:cNvSpPr/>
          <p:nvPr/>
        </p:nvSpPr>
        <p:spPr>
          <a:xfrm>
            <a:off x="6495414" y="5305437"/>
            <a:ext cx="1942431" cy="1290742"/>
          </a:xfrm>
          <a:prstGeom prst="rect">
            <a:avLst/>
          </a:prstGeom>
          <a:ln>
            <a:solidFill>
              <a:srgbClr val="336699"/>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Fugate, oilcake/meal</a:t>
            </a:r>
            <a:endParaRPr kumimoji="0" lang="ru-KZ" sz="12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200" b="1"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hey are used as a soil conditioner and a carbohydrate-protein supplement respectively</a:t>
            </a:r>
            <a:endParaRPr kumimoji="0" lang="ru-RU" sz="11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cxnSp>
        <p:nvCxnSpPr>
          <p:cNvPr id="185" name="Прямая соединительная линия 184">
            <a:extLst>
              <a:ext uri="{FF2B5EF4-FFF2-40B4-BE49-F238E27FC236}">
                <a16:creationId xmlns:a16="http://schemas.microsoft.com/office/drawing/2014/main" id="{BCDCCABD-79AF-27D4-B12C-6F2AE74A449E}"/>
              </a:ext>
            </a:extLst>
          </p:cNvPr>
          <p:cNvCxnSpPr>
            <a:cxnSpLocks/>
            <a:endCxn id="232" idx="4"/>
          </p:cNvCxnSpPr>
          <p:nvPr/>
        </p:nvCxnSpPr>
        <p:spPr>
          <a:xfrm flipH="1">
            <a:off x="9349982" y="2004573"/>
            <a:ext cx="7355" cy="1358160"/>
          </a:xfrm>
          <a:prstGeom prst="line">
            <a:avLst/>
          </a:prstGeom>
          <a:ln w="50800">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86" name="Rectangle 286">
            <a:extLst>
              <a:ext uri="{FF2B5EF4-FFF2-40B4-BE49-F238E27FC236}">
                <a16:creationId xmlns:a16="http://schemas.microsoft.com/office/drawing/2014/main" id="{17CE03F0-E041-4641-5915-9668E07726AF}"/>
              </a:ext>
            </a:extLst>
          </p:cNvPr>
          <p:cNvSpPr txBox="1">
            <a:spLocks noChangeArrowheads="1"/>
          </p:cNvSpPr>
          <p:nvPr>
            <p:custDataLst>
              <p:tags r:id="rId5"/>
            </p:custDataLst>
          </p:nvPr>
        </p:nvSpPr>
        <p:spPr bwMode="gray">
          <a:xfrm>
            <a:off x="9600043" y="1812779"/>
            <a:ext cx="1653817" cy="335730"/>
          </a:xfrm>
          <a:prstGeom prst="roundRect">
            <a:avLst>
              <a:gd name="adj" fmla="val 0"/>
            </a:avLst>
          </a:prstGeom>
          <a:solidFill>
            <a:schemeClr val="tx2">
              <a:lumMod val="10000"/>
              <a:lumOff val="90000"/>
            </a:schemeClr>
          </a:solidFill>
          <a:ln w="9525" cap="flat" cmpd="sng" algn="ctr">
            <a:noFill/>
            <a:prstDash val="solid"/>
          </a:ln>
          <a:effectLst>
            <a:outerShdw blurRad="50800" dist="38100" dir="5400000" algn="t" rotWithShape="0">
              <a:schemeClr val="tx2">
                <a:lumMod val="60000"/>
                <a:lumOff val="40000"/>
                <a:alpha val="40000"/>
              </a:schemeClr>
            </a:outerShdw>
          </a:effectLst>
        </p:spPr>
        <p:txBody>
          <a:bodyPr anchor="ctr"/>
          <a:lstStyle>
            <a:defPPr>
              <a:defRPr lang="en-US"/>
            </a:defPPr>
            <a:lvl1pPr algn="ctr">
              <a:defRPr sz="11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FFFFFF"/>
              </a:solidFill>
              <a:effectLst/>
              <a:uLnTx/>
              <a:uFillTx/>
              <a:latin typeface="Century Gothic" panose="020B0502020202020204" pitchFamily="34" charset="0"/>
              <a:ea typeface="ＭＳ Ｐゴシック"/>
              <a:cs typeface="+mn-cs"/>
            </a:endParaRPr>
          </a:p>
        </p:txBody>
      </p:sp>
      <p:sp>
        <p:nvSpPr>
          <p:cNvPr id="187" name="TextBox 186">
            <a:extLst>
              <a:ext uri="{FF2B5EF4-FFF2-40B4-BE49-F238E27FC236}">
                <a16:creationId xmlns:a16="http://schemas.microsoft.com/office/drawing/2014/main" id="{CC675F86-F396-A475-1A1A-32C4A935B294}"/>
              </a:ext>
            </a:extLst>
          </p:cNvPr>
          <p:cNvSpPr txBox="1"/>
          <p:nvPr/>
        </p:nvSpPr>
        <p:spPr>
          <a:xfrm>
            <a:off x="9555994" y="1883411"/>
            <a:ext cx="1660882" cy="246927"/>
          </a:xfrm>
          <a:prstGeom prst="rect">
            <a:avLst/>
          </a:prstGeom>
          <a:noFill/>
        </p:spPr>
        <p:txBody>
          <a:bodyPr wrap="square">
            <a:spAutoFit/>
          </a:bodyPr>
          <a:lstStyle/>
          <a:p>
            <a:pPr marL="0" marR="0" lvl="0" indent="0" algn="l" defTabSz="914400" rtl="0" eaLnBrk="1" fontAlgn="auto" latinLnBrk="0" hangingPunct="1">
              <a:lnSpc>
                <a:spcPts val="1236"/>
              </a:lnSpc>
              <a:spcBef>
                <a:spcPts val="0"/>
              </a:spcBef>
              <a:spcAft>
                <a:spcPts val="0"/>
              </a:spcAft>
              <a:buClrTx/>
              <a:buSzTx/>
              <a:buFontTx/>
              <a:buNone/>
              <a:tabLst/>
              <a:defRPr/>
            </a:pPr>
            <a:r>
              <a:rPr kumimoji="0" lang="en-US" sz="1400" b="1" i="0" u="none" strike="noStrike" kern="1200" cap="none" spc="-24" normalizeH="0" baseline="0" noProof="0" dirty="0">
                <a:ln>
                  <a:noFill/>
                </a:ln>
                <a:solidFill>
                  <a:srgbClr val="156082"/>
                </a:solidFill>
                <a:effectLst/>
                <a:uLnTx/>
                <a:uFillTx/>
                <a:latin typeface="Century Gothic" panose="020B0502020202020204" pitchFamily="34" charset="0"/>
                <a:ea typeface="+mn-ea"/>
                <a:cs typeface="+mn-cs"/>
              </a:rPr>
              <a:t>Production</a:t>
            </a:r>
            <a:r>
              <a:rPr kumimoji="0" lang="ru-RU" sz="1400" b="1" i="0" u="none" strike="noStrike" kern="1200" cap="none" spc="-24" normalizeH="0" baseline="0" noProof="0" dirty="0">
                <a:ln>
                  <a:noFill/>
                </a:ln>
                <a:solidFill>
                  <a:srgbClr val="156082"/>
                </a:solidFill>
                <a:effectLst/>
                <a:uLnTx/>
                <a:uFillTx/>
                <a:latin typeface="Century Gothic" panose="020B0502020202020204" pitchFamily="34" charset="0"/>
                <a:ea typeface="+mn-ea"/>
                <a:cs typeface="+mn-cs"/>
              </a:rPr>
              <a:t> </a:t>
            </a:r>
            <a:endParaRPr kumimoji="0" lang="en-US" sz="1400" b="1" i="0" u="none" strike="noStrike" kern="1200" cap="none" spc="-24" normalizeH="0" baseline="0" noProof="0" dirty="0">
              <a:ln>
                <a:noFill/>
              </a:ln>
              <a:solidFill>
                <a:srgbClr val="156082"/>
              </a:solidFill>
              <a:effectLst/>
              <a:uLnTx/>
              <a:uFillTx/>
              <a:latin typeface="Century Gothic" panose="020B0502020202020204" pitchFamily="34" charset="0"/>
              <a:ea typeface="+mn-ea"/>
              <a:cs typeface="+mn-cs"/>
            </a:endParaRPr>
          </a:p>
        </p:txBody>
      </p:sp>
      <p:sp>
        <p:nvSpPr>
          <p:cNvPr id="192" name="Овал 191">
            <a:extLst>
              <a:ext uri="{FF2B5EF4-FFF2-40B4-BE49-F238E27FC236}">
                <a16:creationId xmlns:a16="http://schemas.microsoft.com/office/drawing/2014/main" id="{FB0F9A46-4BDC-0800-D73C-8A78B339569C}"/>
              </a:ext>
            </a:extLst>
          </p:cNvPr>
          <p:cNvSpPr/>
          <p:nvPr/>
        </p:nvSpPr>
        <p:spPr>
          <a:xfrm>
            <a:off x="9095680" y="2878351"/>
            <a:ext cx="518834" cy="546623"/>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198" name="Треугольник 197">
            <a:extLst>
              <a:ext uri="{FF2B5EF4-FFF2-40B4-BE49-F238E27FC236}">
                <a16:creationId xmlns:a16="http://schemas.microsoft.com/office/drawing/2014/main" id="{24019F7C-19BE-2454-94A8-AECFCFAF3DF2}"/>
              </a:ext>
            </a:extLst>
          </p:cNvPr>
          <p:cNvSpPr/>
          <p:nvPr/>
        </p:nvSpPr>
        <p:spPr>
          <a:xfrm rot="5400000">
            <a:off x="8712940" y="3031409"/>
            <a:ext cx="210181" cy="200624"/>
          </a:xfrm>
          <a:prstGeom prst="triangle">
            <a:avLst/>
          </a:prstGeom>
          <a:solidFill>
            <a:schemeClr val="tx2">
              <a:lumMod val="25000"/>
              <a:lumOff val="75000"/>
            </a:schemeClr>
          </a:solidFill>
          <a:ln>
            <a:solidFill>
              <a:schemeClr val="tx2">
                <a:lumMod val="25000"/>
                <a:lumOff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03" name="Треугольник 202">
            <a:extLst>
              <a:ext uri="{FF2B5EF4-FFF2-40B4-BE49-F238E27FC236}">
                <a16:creationId xmlns:a16="http://schemas.microsoft.com/office/drawing/2014/main" id="{48D339C2-B42F-2DAB-DA6E-025B52079FE6}"/>
              </a:ext>
            </a:extLst>
          </p:cNvPr>
          <p:cNvSpPr/>
          <p:nvPr/>
        </p:nvSpPr>
        <p:spPr>
          <a:xfrm rot="5400000">
            <a:off x="5513618" y="3022483"/>
            <a:ext cx="210181" cy="200624"/>
          </a:xfrm>
          <a:prstGeom prst="triangle">
            <a:avLst/>
          </a:prstGeom>
          <a:solidFill>
            <a:schemeClr val="tx2">
              <a:lumMod val="25000"/>
              <a:lumOff val="75000"/>
            </a:schemeClr>
          </a:solidFill>
          <a:ln>
            <a:solidFill>
              <a:schemeClr val="tx2">
                <a:lumMod val="25000"/>
                <a:lumOff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04" name="Треугольник 203">
            <a:extLst>
              <a:ext uri="{FF2B5EF4-FFF2-40B4-BE49-F238E27FC236}">
                <a16:creationId xmlns:a16="http://schemas.microsoft.com/office/drawing/2014/main" id="{56C8F4BD-69E2-97C1-99AD-B2FF07599A56}"/>
              </a:ext>
            </a:extLst>
          </p:cNvPr>
          <p:cNvSpPr/>
          <p:nvPr/>
        </p:nvSpPr>
        <p:spPr>
          <a:xfrm rot="5400000">
            <a:off x="2426225" y="3031408"/>
            <a:ext cx="210181" cy="200624"/>
          </a:xfrm>
          <a:prstGeom prst="triangle">
            <a:avLst/>
          </a:prstGeom>
          <a:solidFill>
            <a:schemeClr val="tx2">
              <a:lumMod val="25000"/>
              <a:lumOff val="75000"/>
            </a:schemeClr>
          </a:solidFill>
          <a:ln>
            <a:solidFill>
              <a:schemeClr val="tx2">
                <a:lumMod val="25000"/>
                <a:lumOff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22" name="TextBox 221">
            <a:extLst>
              <a:ext uri="{FF2B5EF4-FFF2-40B4-BE49-F238E27FC236}">
                <a16:creationId xmlns:a16="http://schemas.microsoft.com/office/drawing/2014/main" id="{E70ACA5D-CDD1-8F1D-8093-EBE99E062FD9}"/>
              </a:ext>
            </a:extLst>
          </p:cNvPr>
          <p:cNvSpPr txBox="1"/>
          <p:nvPr/>
        </p:nvSpPr>
        <p:spPr>
          <a:xfrm>
            <a:off x="509219" y="729277"/>
            <a:ext cx="11190173" cy="738664"/>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o assess the potential of the sector, it is essential to understand the structure of </a:t>
            </a:r>
            <a:r>
              <a:rPr kumimoji="0" lang="en-US" sz="1400" b="1" i="0" u="none" strike="noStrike" kern="1200" cap="none" spc="0" normalizeH="0" baseline="0" noProof="0" dirty="0" err="1">
                <a:ln>
                  <a:noFill/>
                </a:ln>
                <a:solidFill>
                  <a:srgbClr val="156082"/>
                </a:solidFill>
                <a:effectLst/>
                <a:uLnTx/>
                <a:uFillTx/>
                <a:latin typeface="Century Gothic" panose="020B0502020202020204" pitchFamily="34" charset="0"/>
                <a:ea typeface="+mn-ea"/>
                <a:cs typeface="+mn-cs"/>
              </a:rPr>
              <a:t>biofeed</a:t>
            </a:r>
            <a:r>
              <a:rPr kumimoji="0" lang="en-US" sz="1400" b="1" i="0" u="none" strike="noStrike" kern="1200" cap="none" spc="0" normalizeH="0" baseline="0" noProof="0" dirty="0">
                <a:ln>
                  <a:noFill/>
                </a:ln>
                <a:solidFill>
                  <a:srgbClr val="156082"/>
                </a:solidFill>
                <a:effectLst/>
                <a:uLnTx/>
                <a:uFillTx/>
                <a:latin typeface="Century Gothic" panose="020B0502020202020204" pitchFamily="34" charset="0"/>
                <a:ea typeface="+mn-ea"/>
                <a:cs typeface="+mn-cs"/>
              </a:rPr>
              <a:t> production</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he illustrated value chain helps visualize the </a:t>
            </a:r>
            <a:r>
              <a:rPr kumimoji="0" lang="en-US" sz="1400" b="1" i="0" u="none" strike="noStrike" kern="1200" cap="none" spc="0" normalizeH="0" baseline="0" noProof="0" dirty="0">
                <a:ln>
                  <a:noFill/>
                </a:ln>
                <a:solidFill>
                  <a:srgbClr val="156082"/>
                </a:solidFill>
                <a:effectLst/>
                <a:uLnTx/>
                <a:uFillTx/>
                <a:latin typeface="Century Gothic" panose="020B0502020202020204" pitchFamily="34" charset="0"/>
                <a:ea typeface="+mn-ea"/>
                <a:cs typeface="+mn-cs"/>
              </a:rPr>
              <a:t>key stages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of the process and identify </a:t>
            </a:r>
            <a:r>
              <a:rPr kumimoji="0" lang="en-US" sz="1400" b="1" i="0" u="none" strike="noStrike" kern="1200" cap="none" spc="0" normalizeH="0" baseline="0" noProof="0" dirty="0">
                <a:ln>
                  <a:noFill/>
                </a:ln>
                <a:solidFill>
                  <a:srgbClr val="156082"/>
                </a:solidFill>
                <a:effectLst/>
                <a:uLnTx/>
                <a:uFillTx/>
                <a:latin typeface="Century Gothic" panose="020B0502020202020204" pitchFamily="34" charset="0"/>
                <a:ea typeface="+mn-ea"/>
                <a:cs typeface="+mn-cs"/>
              </a:rPr>
              <a:t>value-added points that are attractive for localization and investment</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t>
            </a:r>
            <a:endParaRPr kumimoji="0" lang="ru-KZ" sz="1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229" name="Овал 228">
            <a:extLst>
              <a:ext uri="{FF2B5EF4-FFF2-40B4-BE49-F238E27FC236}">
                <a16:creationId xmlns:a16="http://schemas.microsoft.com/office/drawing/2014/main" id="{BFCC7E50-E002-F091-A067-19126793F5CC}"/>
              </a:ext>
            </a:extLst>
          </p:cNvPr>
          <p:cNvSpPr/>
          <p:nvPr/>
        </p:nvSpPr>
        <p:spPr>
          <a:xfrm>
            <a:off x="336583" y="2932653"/>
            <a:ext cx="419347" cy="430611"/>
          </a:xfrm>
          <a:prstGeom prst="ellipse">
            <a:avLst/>
          </a:prstGeom>
          <a:solidFill>
            <a:schemeClr val="bg1"/>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230" name="Овал 229">
            <a:extLst>
              <a:ext uri="{FF2B5EF4-FFF2-40B4-BE49-F238E27FC236}">
                <a16:creationId xmlns:a16="http://schemas.microsoft.com/office/drawing/2014/main" id="{32646263-F24B-A98C-DF78-0566971C3E1E}"/>
              </a:ext>
            </a:extLst>
          </p:cNvPr>
          <p:cNvSpPr/>
          <p:nvPr/>
        </p:nvSpPr>
        <p:spPr>
          <a:xfrm>
            <a:off x="3079302" y="2941493"/>
            <a:ext cx="419347" cy="430611"/>
          </a:xfrm>
          <a:prstGeom prst="ellipse">
            <a:avLst/>
          </a:prstGeom>
          <a:solidFill>
            <a:schemeClr val="bg1"/>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231" name="Овал 230">
            <a:extLst>
              <a:ext uri="{FF2B5EF4-FFF2-40B4-BE49-F238E27FC236}">
                <a16:creationId xmlns:a16="http://schemas.microsoft.com/office/drawing/2014/main" id="{4EC63E1C-88DB-A767-3121-4A57A2396A28}"/>
              </a:ext>
            </a:extLst>
          </p:cNvPr>
          <p:cNvSpPr/>
          <p:nvPr/>
        </p:nvSpPr>
        <p:spPr>
          <a:xfrm>
            <a:off x="6047154" y="2932701"/>
            <a:ext cx="419347" cy="430611"/>
          </a:xfrm>
          <a:prstGeom prst="ellipse">
            <a:avLst/>
          </a:prstGeom>
          <a:solidFill>
            <a:schemeClr val="bg1"/>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232" name="Овал 231">
            <a:extLst>
              <a:ext uri="{FF2B5EF4-FFF2-40B4-BE49-F238E27FC236}">
                <a16:creationId xmlns:a16="http://schemas.microsoft.com/office/drawing/2014/main" id="{F36CB1CF-8BD4-7554-8B57-31B3CAC55B2B}"/>
              </a:ext>
            </a:extLst>
          </p:cNvPr>
          <p:cNvSpPr/>
          <p:nvPr/>
        </p:nvSpPr>
        <p:spPr>
          <a:xfrm>
            <a:off x="9140308" y="2932122"/>
            <a:ext cx="419347" cy="430611"/>
          </a:xfrm>
          <a:prstGeom prst="ellipse">
            <a:avLst/>
          </a:prstGeom>
          <a:solidFill>
            <a:schemeClr val="bg1"/>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pic>
        <p:nvPicPr>
          <p:cNvPr id="4" name="Рисунок 3"/>
          <p:cNvPicPr>
            <a:picLocks noChangeAspect="1"/>
          </p:cNvPicPr>
          <p:nvPr/>
        </p:nvPicPr>
        <p:blipFill>
          <a:blip r:embed="rId10">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95670" y="3001508"/>
            <a:ext cx="314869" cy="314869"/>
          </a:xfrm>
          <a:prstGeom prst="rect">
            <a:avLst/>
          </a:prstGeom>
        </p:spPr>
      </p:pic>
      <p:pic>
        <p:nvPicPr>
          <p:cNvPr id="5" name="Рисунок 4"/>
          <p:cNvPicPr>
            <a:picLocks noChangeAspect="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119102" y="2997761"/>
            <a:ext cx="322447" cy="322447"/>
          </a:xfrm>
          <a:prstGeom prst="rect">
            <a:avLst/>
          </a:prstGeom>
        </p:spPr>
      </p:pic>
      <p:pic>
        <p:nvPicPr>
          <p:cNvPr id="6" name="Рисунок 5"/>
          <p:cNvPicPr>
            <a:picLocks noChangeAspect="1"/>
          </p:cNvPicPr>
          <p:nvPr/>
        </p:nvPicPr>
        <p:blipFill>
          <a:blip r:embed="rId12">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6116142" y="3008223"/>
            <a:ext cx="277086" cy="277086"/>
          </a:xfrm>
          <a:prstGeom prst="rect">
            <a:avLst/>
          </a:prstGeom>
        </p:spPr>
      </p:pic>
      <p:pic>
        <p:nvPicPr>
          <p:cNvPr id="7" name="Рисунок 6"/>
          <p:cNvPicPr>
            <a:picLocks noChangeAspect="1"/>
          </p:cNvPicPr>
          <p:nvPr/>
        </p:nvPicPr>
        <p:blipFill>
          <a:blip r:embed="rId13">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178924" y="2970676"/>
            <a:ext cx="361165" cy="361165"/>
          </a:xfrm>
          <a:prstGeom prst="rect">
            <a:avLst/>
          </a:prstGeom>
        </p:spPr>
      </p:pic>
      <p:cxnSp>
        <p:nvCxnSpPr>
          <p:cNvPr id="77" name="Прямая соединительная линия 76">
            <a:extLst>
              <a:ext uri="{FF2B5EF4-FFF2-40B4-BE49-F238E27FC236}">
                <a16:creationId xmlns:a16="http://schemas.microsoft.com/office/drawing/2014/main" id="{C2A99ACF-1CBE-100D-DBE9-53890BC5DD2C}"/>
              </a:ext>
            </a:extLst>
          </p:cNvPr>
          <p:cNvCxnSpPr>
            <a:cxnSpLocks/>
          </p:cNvCxnSpPr>
          <p:nvPr/>
        </p:nvCxnSpPr>
        <p:spPr>
          <a:xfrm>
            <a:off x="8206803" y="4194586"/>
            <a:ext cx="181608" cy="0"/>
          </a:xfrm>
          <a:prstGeom prst="line">
            <a:avLst/>
          </a:prstGeom>
        </p:spPr>
        <p:style>
          <a:lnRef idx="1">
            <a:schemeClr val="accent1"/>
          </a:lnRef>
          <a:fillRef idx="0">
            <a:schemeClr val="accent1"/>
          </a:fillRef>
          <a:effectRef idx="0">
            <a:schemeClr val="accent1"/>
          </a:effectRef>
          <a:fontRef idx="minor">
            <a:schemeClr val="tx1"/>
          </a:fontRef>
        </p:style>
      </p:cxnSp>
      <p:sp>
        <p:nvSpPr>
          <p:cNvPr id="78" name="Прямоугольник: скругленные углы 10">
            <a:extLst>
              <a:ext uri="{FF2B5EF4-FFF2-40B4-BE49-F238E27FC236}">
                <a16:creationId xmlns:a16="http://schemas.microsoft.com/office/drawing/2014/main" id="{8BA38267-63B7-1BD1-CD9F-505D136A390B}"/>
              </a:ext>
            </a:extLst>
          </p:cNvPr>
          <p:cNvSpPr/>
          <p:nvPr/>
        </p:nvSpPr>
        <p:spPr>
          <a:xfrm>
            <a:off x="6483688" y="4014295"/>
            <a:ext cx="1723614" cy="363365"/>
          </a:xfrm>
          <a:prstGeom prst="roundRect">
            <a:avLst/>
          </a:prstGeom>
          <a:noFill/>
          <a:ln>
            <a:solidFill>
              <a:schemeClr val="tx2">
                <a:lumMod val="75000"/>
                <a:lumOff val="2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ctive microflora</a:t>
            </a:r>
            <a:endParaRPr kumimoji="0" lang="ru-RU" sz="9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grpSp>
        <p:nvGrpSpPr>
          <p:cNvPr id="37" name="Группа 36">
            <a:extLst>
              <a:ext uri="{FF2B5EF4-FFF2-40B4-BE49-F238E27FC236}">
                <a16:creationId xmlns:a16="http://schemas.microsoft.com/office/drawing/2014/main" id="{E90901CE-DCA0-AA86-EE4B-A13D652621A3}"/>
              </a:ext>
            </a:extLst>
          </p:cNvPr>
          <p:cNvGrpSpPr/>
          <p:nvPr/>
        </p:nvGrpSpPr>
        <p:grpSpPr>
          <a:xfrm>
            <a:off x="3150875" y="1815651"/>
            <a:ext cx="294640" cy="294640"/>
            <a:chOff x="2501900" y="2336800"/>
            <a:chExt cx="294640" cy="294640"/>
          </a:xfrm>
        </p:grpSpPr>
        <p:sp>
          <p:nvSpPr>
            <p:cNvPr id="40" name="Овал 39">
              <a:extLst>
                <a:ext uri="{FF2B5EF4-FFF2-40B4-BE49-F238E27FC236}">
                  <a16:creationId xmlns:a16="http://schemas.microsoft.com/office/drawing/2014/main" id="{13C0C2F9-BF16-3B6C-4916-8A8838EA531C}"/>
                </a:ext>
              </a:extLst>
            </p:cNvPr>
            <p:cNvSpPr/>
            <p:nvPr/>
          </p:nvSpPr>
          <p:spPr>
            <a:xfrm>
              <a:off x="2501900" y="2336800"/>
              <a:ext cx="294640" cy="294640"/>
            </a:xfrm>
            <a:prstGeom prst="ellipse">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Rubik Bold" panose="020B0604020202020204"/>
              </a:endParaRPr>
            </a:p>
          </p:txBody>
        </p:sp>
        <p:sp>
          <p:nvSpPr>
            <p:cNvPr id="42" name="Овал 41">
              <a:extLst>
                <a:ext uri="{FF2B5EF4-FFF2-40B4-BE49-F238E27FC236}">
                  <a16:creationId xmlns:a16="http://schemas.microsoft.com/office/drawing/2014/main" id="{B37F1218-2B97-416E-FADE-D3A333AB9BA7}"/>
                </a:ext>
              </a:extLst>
            </p:cNvPr>
            <p:cNvSpPr/>
            <p:nvPr/>
          </p:nvSpPr>
          <p:spPr>
            <a:xfrm>
              <a:off x="2593340" y="2420620"/>
              <a:ext cx="125222" cy="125222"/>
            </a:xfrm>
            <a:prstGeom prst="ellipse">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Rubik Bold" panose="020B0604020202020204"/>
              </a:endParaRPr>
            </a:p>
          </p:txBody>
        </p:sp>
      </p:grpSp>
      <p:grpSp>
        <p:nvGrpSpPr>
          <p:cNvPr id="43" name="Группа 42">
            <a:extLst>
              <a:ext uri="{FF2B5EF4-FFF2-40B4-BE49-F238E27FC236}">
                <a16:creationId xmlns:a16="http://schemas.microsoft.com/office/drawing/2014/main" id="{137B337A-A1EA-77CB-2153-49C656B67E4A}"/>
              </a:ext>
            </a:extLst>
          </p:cNvPr>
          <p:cNvGrpSpPr/>
          <p:nvPr/>
        </p:nvGrpSpPr>
        <p:grpSpPr>
          <a:xfrm>
            <a:off x="6108183" y="1819779"/>
            <a:ext cx="294640" cy="294640"/>
            <a:chOff x="2501900" y="2336800"/>
            <a:chExt cx="294640" cy="294640"/>
          </a:xfrm>
        </p:grpSpPr>
        <p:sp>
          <p:nvSpPr>
            <p:cNvPr id="49" name="Овал 48">
              <a:extLst>
                <a:ext uri="{FF2B5EF4-FFF2-40B4-BE49-F238E27FC236}">
                  <a16:creationId xmlns:a16="http://schemas.microsoft.com/office/drawing/2014/main" id="{0A457375-A6EA-B747-A882-2215E98DD4CA}"/>
                </a:ext>
              </a:extLst>
            </p:cNvPr>
            <p:cNvSpPr/>
            <p:nvPr/>
          </p:nvSpPr>
          <p:spPr>
            <a:xfrm>
              <a:off x="2501900" y="2336800"/>
              <a:ext cx="294640" cy="294640"/>
            </a:xfrm>
            <a:prstGeom prst="ellipse">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Rubik Bold" panose="020B0604020202020204"/>
              </a:endParaRPr>
            </a:p>
          </p:txBody>
        </p:sp>
        <p:sp>
          <p:nvSpPr>
            <p:cNvPr id="51" name="Овал 50">
              <a:extLst>
                <a:ext uri="{FF2B5EF4-FFF2-40B4-BE49-F238E27FC236}">
                  <a16:creationId xmlns:a16="http://schemas.microsoft.com/office/drawing/2014/main" id="{588BA29E-BE47-08BB-38EA-FE47E6E29D12}"/>
                </a:ext>
              </a:extLst>
            </p:cNvPr>
            <p:cNvSpPr/>
            <p:nvPr/>
          </p:nvSpPr>
          <p:spPr>
            <a:xfrm>
              <a:off x="2593340" y="2420620"/>
              <a:ext cx="125222" cy="125222"/>
            </a:xfrm>
            <a:prstGeom prst="ellipse">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Rubik Bold" panose="020B0604020202020204"/>
              </a:endParaRPr>
            </a:p>
          </p:txBody>
        </p:sp>
      </p:grpSp>
      <p:sp>
        <p:nvSpPr>
          <p:cNvPr id="63" name="Прямоугольник 62">
            <a:extLst>
              <a:ext uri="{FF2B5EF4-FFF2-40B4-BE49-F238E27FC236}">
                <a16:creationId xmlns:a16="http://schemas.microsoft.com/office/drawing/2014/main" id="{AB916D10-D21D-DACB-94A2-2CE52933067F}"/>
              </a:ext>
            </a:extLst>
          </p:cNvPr>
          <p:cNvSpPr/>
          <p:nvPr/>
        </p:nvSpPr>
        <p:spPr>
          <a:xfrm>
            <a:off x="9484278" y="4172621"/>
            <a:ext cx="2022876" cy="1806149"/>
          </a:xfrm>
          <a:prstGeom prst="rect">
            <a:avLst/>
          </a:prstGeom>
          <a:ln>
            <a:solidFill>
              <a:srgbClr val="336699"/>
            </a:solidFill>
          </a:ln>
        </p:spPr>
        <p:style>
          <a:lnRef idx="2">
            <a:schemeClr val="accent6"/>
          </a:lnRef>
          <a:fillRef idx="1">
            <a:schemeClr val="lt1"/>
          </a:fillRef>
          <a:effectRef idx="0">
            <a:schemeClr val="accent6"/>
          </a:effectRef>
          <a:fontRef idx="minor">
            <a:schemeClr val="dk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v"/>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Increased weight gain</a:t>
            </a:r>
            <a:endParaRPr kumimoji="0" lang="kk-KZ" sz="11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kk-KZ" sz="11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v"/>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Reduced mortality</a:t>
            </a:r>
            <a:endParaRPr kumimoji="0" lang="ru-RU" sz="11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v"/>
              <a:tabLst/>
              <a:defRPr/>
            </a:pPr>
            <a:endParaRPr kumimoji="0" lang="ru-RU" sz="11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v"/>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Lower antibiotic use</a:t>
            </a:r>
            <a:endParaRPr kumimoji="0" lang="ru-RU" sz="11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v"/>
              <a:tabLst/>
              <a:defRPr/>
            </a:pPr>
            <a:endParaRPr kumimoji="0" lang="ru-RU" sz="11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v"/>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Improved farm profitability</a:t>
            </a:r>
            <a:endParaRPr kumimoji="0" lang="ru-RU" sz="11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64" name="TextBox 63">
            <a:extLst>
              <a:ext uri="{FF2B5EF4-FFF2-40B4-BE49-F238E27FC236}">
                <a16:creationId xmlns:a16="http://schemas.microsoft.com/office/drawing/2014/main" id="{D1F5D829-AE4D-5F1E-423C-EECFF6315780}"/>
              </a:ext>
            </a:extLst>
          </p:cNvPr>
          <p:cNvSpPr txBox="1"/>
          <p:nvPr/>
        </p:nvSpPr>
        <p:spPr>
          <a:xfrm>
            <a:off x="9142951" y="3857856"/>
            <a:ext cx="2519362" cy="246927"/>
          </a:xfrm>
          <a:prstGeom prst="rect">
            <a:avLst/>
          </a:prstGeom>
          <a:noFill/>
        </p:spPr>
        <p:txBody>
          <a:bodyPr wrap="square">
            <a:spAutoFit/>
          </a:bodyPr>
          <a:lstStyle/>
          <a:p>
            <a:pPr marL="0" marR="0" lvl="0" indent="0" algn="ctr" defTabSz="914400" rtl="0" eaLnBrk="1" fontAlgn="auto" latinLnBrk="0" hangingPunct="1">
              <a:lnSpc>
                <a:spcPts val="1236"/>
              </a:lnSpc>
              <a:spcBef>
                <a:spcPts val="0"/>
              </a:spcBef>
              <a:spcAft>
                <a:spcPts val="0"/>
              </a:spcAft>
              <a:buClrTx/>
              <a:buSzTx/>
              <a:buFontTx/>
              <a:buNone/>
              <a:tabLst/>
              <a:defRPr/>
            </a:pPr>
            <a:r>
              <a:rPr kumimoji="0" lang="en-US" sz="1400" b="1" i="0" u="none" strike="noStrike" kern="1200" cap="none" spc="-24" normalizeH="0" baseline="0" noProof="0" dirty="0">
                <a:ln>
                  <a:noFill/>
                </a:ln>
                <a:solidFill>
                  <a:srgbClr val="156082"/>
                </a:solidFill>
                <a:effectLst/>
                <a:uLnTx/>
                <a:uFillTx/>
                <a:latin typeface="Century Gothic" panose="020B0502020202020204" pitchFamily="34" charset="0"/>
                <a:ea typeface="+mn-ea"/>
                <a:cs typeface="+mn-cs"/>
              </a:rPr>
              <a:t>Result</a:t>
            </a:r>
            <a:r>
              <a:rPr kumimoji="0" lang="kk-KZ" sz="1400" b="0" i="0" u="none" strike="noStrike" kern="1200" cap="none" spc="-24" normalizeH="0" baseline="0" noProof="0" dirty="0">
                <a:ln>
                  <a:noFill/>
                </a:ln>
                <a:solidFill>
                  <a:srgbClr val="156082"/>
                </a:solidFill>
                <a:effectLst/>
                <a:uLnTx/>
                <a:uFillTx/>
                <a:latin typeface="Century Gothic" panose="020B0502020202020204" pitchFamily="34" charset="0"/>
                <a:ea typeface="+mn-ea"/>
                <a:cs typeface="+mn-cs"/>
              </a:rPr>
              <a:t> </a:t>
            </a:r>
            <a:endParaRPr kumimoji="0" lang="en-US" sz="1400" b="0" i="0" u="none" strike="noStrike" kern="1200" cap="none" spc="-24" normalizeH="0" baseline="0" noProof="0" dirty="0">
              <a:ln>
                <a:noFill/>
              </a:ln>
              <a:solidFill>
                <a:srgbClr val="156082"/>
              </a:solidFill>
              <a:effectLst/>
              <a:uLnTx/>
              <a:uFillTx/>
              <a:latin typeface="Century Gothic" panose="020B0502020202020204" pitchFamily="34" charset="0"/>
              <a:ea typeface="+mn-ea"/>
              <a:cs typeface="+mn-cs"/>
            </a:endParaRPr>
          </a:p>
        </p:txBody>
      </p:sp>
      <p:sp>
        <p:nvSpPr>
          <p:cNvPr id="65" name="Треугольник 206">
            <a:extLst>
              <a:ext uri="{FF2B5EF4-FFF2-40B4-BE49-F238E27FC236}">
                <a16:creationId xmlns:a16="http://schemas.microsoft.com/office/drawing/2014/main" id="{361EE1E4-499B-C5FE-72FF-39B5F89AB0E0}"/>
              </a:ext>
            </a:extLst>
          </p:cNvPr>
          <p:cNvSpPr/>
          <p:nvPr/>
        </p:nvSpPr>
        <p:spPr>
          <a:xfrm rot="10800000">
            <a:off x="10297542" y="3567172"/>
            <a:ext cx="210181" cy="200624"/>
          </a:xfrm>
          <a:prstGeom prst="triangle">
            <a:avLst/>
          </a:prstGeom>
          <a:solidFill>
            <a:schemeClr val="tx2">
              <a:lumMod val="25000"/>
              <a:lumOff val="75000"/>
            </a:schemeClr>
          </a:solidFill>
          <a:ln>
            <a:solidFill>
              <a:schemeClr val="tx2">
                <a:lumMod val="25000"/>
                <a:lumOff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cxnSp>
        <p:nvCxnSpPr>
          <p:cNvPr id="66" name="Прямая соединительная линия 65">
            <a:extLst>
              <a:ext uri="{FF2B5EF4-FFF2-40B4-BE49-F238E27FC236}">
                <a16:creationId xmlns:a16="http://schemas.microsoft.com/office/drawing/2014/main" id="{EE40FE03-C600-1145-50E3-34FEF04C8A23}"/>
              </a:ext>
            </a:extLst>
          </p:cNvPr>
          <p:cNvCxnSpPr>
            <a:cxnSpLocks/>
          </p:cNvCxnSpPr>
          <p:nvPr/>
        </p:nvCxnSpPr>
        <p:spPr>
          <a:xfrm>
            <a:off x="2122313" y="3156170"/>
            <a:ext cx="10585" cy="2174122"/>
          </a:xfrm>
          <a:prstGeom prst="line">
            <a:avLst/>
          </a:prstGeom>
        </p:spPr>
        <p:style>
          <a:lnRef idx="1">
            <a:schemeClr val="accent1"/>
          </a:lnRef>
          <a:fillRef idx="0">
            <a:schemeClr val="accent1"/>
          </a:fillRef>
          <a:effectRef idx="0">
            <a:schemeClr val="accent1"/>
          </a:effectRef>
          <a:fontRef idx="minor">
            <a:schemeClr val="tx1"/>
          </a:fontRef>
        </p:style>
      </p:cxnSp>
      <p:cxnSp>
        <p:nvCxnSpPr>
          <p:cNvPr id="67" name="Прямая соединительная линия 66">
            <a:extLst>
              <a:ext uri="{FF2B5EF4-FFF2-40B4-BE49-F238E27FC236}">
                <a16:creationId xmlns:a16="http://schemas.microsoft.com/office/drawing/2014/main" id="{F5F3A2BE-92B5-0411-C770-09FE5FB7971E}"/>
              </a:ext>
            </a:extLst>
          </p:cNvPr>
          <p:cNvCxnSpPr>
            <a:cxnSpLocks/>
          </p:cNvCxnSpPr>
          <p:nvPr/>
        </p:nvCxnSpPr>
        <p:spPr>
          <a:xfrm>
            <a:off x="1946693" y="4626527"/>
            <a:ext cx="181608" cy="0"/>
          </a:xfrm>
          <a:prstGeom prst="line">
            <a:avLst/>
          </a:prstGeom>
        </p:spPr>
        <p:style>
          <a:lnRef idx="1">
            <a:schemeClr val="accent1"/>
          </a:lnRef>
          <a:fillRef idx="0">
            <a:schemeClr val="accent1"/>
          </a:fillRef>
          <a:effectRef idx="0">
            <a:schemeClr val="accent1"/>
          </a:effectRef>
          <a:fontRef idx="minor">
            <a:schemeClr val="tx1"/>
          </a:fontRef>
        </p:style>
      </p:cxnSp>
      <p:sp>
        <p:nvSpPr>
          <p:cNvPr id="68" name="Прямоугольник: скругленные углы 10">
            <a:extLst>
              <a:ext uri="{FF2B5EF4-FFF2-40B4-BE49-F238E27FC236}">
                <a16:creationId xmlns:a16="http://schemas.microsoft.com/office/drawing/2014/main" id="{8BA38267-63B7-1BD1-CD9F-505D136A390B}"/>
              </a:ext>
            </a:extLst>
          </p:cNvPr>
          <p:cNvSpPr/>
          <p:nvPr/>
        </p:nvSpPr>
        <p:spPr>
          <a:xfrm>
            <a:off x="546256" y="5043710"/>
            <a:ext cx="1397016" cy="602231"/>
          </a:xfrm>
          <a:prstGeom prst="roundRect">
            <a:avLst/>
          </a:prstGeom>
          <a:noFill/>
          <a:ln>
            <a:solidFill>
              <a:schemeClr val="tx2">
                <a:lumMod val="75000"/>
                <a:lumOff val="2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Natural additives</a:t>
            </a:r>
            <a:endParaRPr kumimoji="0" lang="ru-RU" sz="9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69" name="Прямоугольник: скругленные углы 10">
            <a:extLst>
              <a:ext uri="{FF2B5EF4-FFF2-40B4-BE49-F238E27FC236}">
                <a16:creationId xmlns:a16="http://schemas.microsoft.com/office/drawing/2014/main" id="{5461FE5F-6727-F264-21EB-9EA3DD4EF55F}"/>
              </a:ext>
            </a:extLst>
          </p:cNvPr>
          <p:cNvSpPr/>
          <p:nvPr/>
        </p:nvSpPr>
        <p:spPr>
          <a:xfrm>
            <a:off x="546256" y="3631618"/>
            <a:ext cx="1397015" cy="613876"/>
          </a:xfrm>
          <a:prstGeom prst="roundRect">
            <a:avLst/>
          </a:prstGeom>
          <a:noFill/>
          <a:ln>
            <a:solidFill>
              <a:schemeClr val="tx2">
                <a:lumMod val="75000"/>
                <a:lumOff val="2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lant residues</a:t>
            </a:r>
            <a:endParaRPr kumimoji="0" lang="ru-RU" sz="10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cxnSp>
        <p:nvCxnSpPr>
          <p:cNvPr id="71" name="Прямая соединительная линия 70">
            <a:extLst>
              <a:ext uri="{FF2B5EF4-FFF2-40B4-BE49-F238E27FC236}">
                <a16:creationId xmlns:a16="http://schemas.microsoft.com/office/drawing/2014/main" id="{C2A99ACF-1CBE-100D-DBE9-53890BC5DD2C}"/>
              </a:ext>
            </a:extLst>
          </p:cNvPr>
          <p:cNvCxnSpPr>
            <a:cxnSpLocks/>
          </p:cNvCxnSpPr>
          <p:nvPr/>
        </p:nvCxnSpPr>
        <p:spPr>
          <a:xfrm>
            <a:off x="1946693" y="3910801"/>
            <a:ext cx="181608"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Прямоугольник: скругленные углы 10">
            <a:extLst>
              <a:ext uri="{FF2B5EF4-FFF2-40B4-BE49-F238E27FC236}">
                <a16:creationId xmlns:a16="http://schemas.microsoft.com/office/drawing/2014/main" id="{8BA38267-63B7-1BD1-CD9F-505D136A390B}"/>
              </a:ext>
            </a:extLst>
          </p:cNvPr>
          <p:cNvSpPr/>
          <p:nvPr/>
        </p:nvSpPr>
        <p:spPr>
          <a:xfrm>
            <a:off x="546257" y="4346875"/>
            <a:ext cx="1397014" cy="601239"/>
          </a:xfrm>
          <a:prstGeom prst="roundRect">
            <a:avLst/>
          </a:prstGeom>
          <a:noFill/>
          <a:ln>
            <a:solidFill>
              <a:schemeClr val="tx2">
                <a:lumMod val="75000"/>
                <a:lumOff val="2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Micro biological mass</a:t>
            </a:r>
            <a:endParaRPr kumimoji="0" lang="ru-RU" sz="9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cxnSp>
        <p:nvCxnSpPr>
          <p:cNvPr id="73" name="Прямая соединительная линия 72">
            <a:extLst>
              <a:ext uri="{FF2B5EF4-FFF2-40B4-BE49-F238E27FC236}">
                <a16:creationId xmlns:a16="http://schemas.microsoft.com/office/drawing/2014/main" id="{612C9011-EDEC-8E8E-4620-E269FB004F21}"/>
              </a:ext>
            </a:extLst>
          </p:cNvPr>
          <p:cNvCxnSpPr>
            <a:cxnSpLocks/>
          </p:cNvCxnSpPr>
          <p:nvPr/>
        </p:nvCxnSpPr>
        <p:spPr>
          <a:xfrm>
            <a:off x="1946693" y="3160504"/>
            <a:ext cx="171697" cy="280"/>
          </a:xfrm>
          <a:prstGeom prst="line">
            <a:avLst/>
          </a:prstGeom>
        </p:spPr>
        <p:style>
          <a:lnRef idx="1">
            <a:schemeClr val="accent1"/>
          </a:lnRef>
          <a:fillRef idx="0">
            <a:schemeClr val="accent1"/>
          </a:fillRef>
          <a:effectRef idx="0">
            <a:schemeClr val="accent1"/>
          </a:effectRef>
          <a:fontRef idx="minor">
            <a:schemeClr val="tx1"/>
          </a:fontRef>
        </p:style>
      </p:cxnSp>
      <p:cxnSp>
        <p:nvCxnSpPr>
          <p:cNvPr id="89" name="Прямая соединительная линия 88">
            <a:extLst>
              <a:ext uri="{FF2B5EF4-FFF2-40B4-BE49-F238E27FC236}">
                <a16:creationId xmlns:a16="http://schemas.microsoft.com/office/drawing/2014/main" id="{F5F3A2BE-92B5-0411-C770-09FE5FB7971E}"/>
              </a:ext>
            </a:extLst>
          </p:cNvPr>
          <p:cNvCxnSpPr>
            <a:cxnSpLocks/>
          </p:cNvCxnSpPr>
          <p:nvPr/>
        </p:nvCxnSpPr>
        <p:spPr>
          <a:xfrm>
            <a:off x="1946693" y="5327359"/>
            <a:ext cx="181608" cy="0"/>
          </a:xfrm>
          <a:prstGeom prst="line">
            <a:avLst/>
          </a:prstGeom>
        </p:spPr>
        <p:style>
          <a:lnRef idx="1">
            <a:schemeClr val="accent1"/>
          </a:lnRef>
          <a:fillRef idx="0">
            <a:schemeClr val="accent1"/>
          </a:fillRef>
          <a:effectRef idx="0">
            <a:schemeClr val="accent1"/>
          </a:effectRef>
          <a:fontRef idx="minor">
            <a:schemeClr val="tx1"/>
          </a:fontRef>
        </p:style>
      </p:cxnSp>
      <p:sp>
        <p:nvSpPr>
          <p:cNvPr id="92" name="Треугольник 181">
            <a:extLst>
              <a:ext uri="{FF2B5EF4-FFF2-40B4-BE49-F238E27FC236}">
                <a16:creationId xmlns:a16="http://schemas.microsoft.com/office/drawing/2014/main" id="{12D4B82B-D806-5ADE-C6D0-E6CEEEC4630E}"/>
              </a:ext>
            </a:extLst>
          </p:cNvPr>
          <p:cNvSpPr/>
          <p:nvPr/>
        </p:nvSpPr>
        <p:spPr>
          <a:xfrm rot="10800000">
            <a:off x="4196102" y="3523964"/>
            <a:ext cx="210181" cy="200624"/>
          </a:xfrm>
          <a:prstGeom prst="triangle">
            <a:avLst/>
          </a:prstGeom>
          <a:solidFill>
            <a:schemeClr val="tx2">
              <a:lumMod val="25000"/>
              <a:lumOff val="75000"/>
            </a:schemeClr>
          </a:solidFill>
          <a:ln>
            <a:solidFill>
              <a:schemeClr val="tx2">
                <a:lumMod val="25000"/>
                <a:lumOff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93" name="TextBox 92">
            <a:extLst>
              <a:ext uri="{FF2B5EF4-FFF2-40B4-BE49-F238E27FC236}">
                <a16:creationId xmlns:a16="http://schemas.microsoft.com/office/drawing/2014/main" id="{9A4731B7-6C1E-EA02-0AEA-2B4F3CDB48EC}"/>
              </a:ext>
            </a:extLst>
          </p:cNvPr>
          <p:cNvSpPr txBox="1"/>
          <p:nvPr/>
        </p:nvSpPr>
        <p:spPr>
          <a:xfrm>
            <a:off x="2986370" y="3744167"/>
            <a:ext cx="2519362" cy="246927"/>
          </a:xfrm>
          <a:prstGeom prst="rect">
            <a:avLst/>
          </a:prstGeom>
          <a:noFill/>
        </p:spPr>
        <p:txBody>
          <a:bodyPr wrap="square">
            <a:spAutoFit/>
          </a:bodyPr>
          <a:lstStyle/>
          <a:p>
            <a:pPr marL="0" marR="0" lvl="0" indent="0" algn="ctr" defTabSz="914400" rtl="0" eaLnBrk="1" fontAlgn="auto" latinLnBrk="0" hangingPunct="1">
              <a:lnSpc>
                <a:spcPts val="1236"/>
              </a:lnSpc>
              <a:spcBef>
                <a:spcPts val="0"/>
              </a:spcBef>
              <a:spcAft>
                <a:spcPts val="0"/>
              </a:spcAft>
              <a:buClrTx/>
              <a:buSzTx/>
              <a:buFontTx/>
              <a:buNone/>
              <a:tabLst/>
              <a:defRPr/>
            </a:pPr>
            <a:r>
              <a:rPr kumimoji="0" lang="en-US" sz="1400" b="1" i="0" u="none" strike="noStrike" kern="1200" cap="none" spc="-24" normalizeH="0" baseline="0" noProof="0" dirty="0">
                <a:ln>
                  <a:noFill/>
                </a:ln>
                <a:solidFill>
                  <a:srgbClr val="156082"/>
                </a:solidFill>
                <a:effectLst/>
                <a:uLnTx/>
                <a:uFillTx/>
                <a:latin typeface="Century Gothic" panose="020B0502020202020204" pitchFamily="34" charset="0"/>
                <a:ea typeface="+mn-ea"/>
                <a:cs typeface="+mn-cs"/>
              </a:rPr>
              <a:t>Key processes</a:t>
            </a:r>
          </a:p>
        </p:txBody>
      </p:sp>
      <p:sp>
        <p:nvSpPr>
          <p:cNvPr id="95" name="Прямоугольник 94">
            <a:extLst>
              <a:ext uri="{FF2B5EF4-FFF2-40B4-BE49-F238E27FC236}">
                <a16:creationId xmlns:a16="http://schemas.microsoft.com/office/drawing/2014/main" id="{AB916D10-D21D-DACB-94A2-2CE52933067F}"/>
              </a:ext>
            </a:extLst>
          </p:cNvPr>
          <p:cNvSpPr/>
          <p:nvPr/>
        </p:nvSpPr>
        <p:spPr>
          <a:xfrm>
            <a:off x="3194930" y="4001480"/>
            <a:ext cx="2022876" cy="2593719"/>
          </a:xfrm>
          <a:prstGeom prst="rect">
            <a:avLst/>
          </a:prstGeom>
          <a:ln>
            <a:solidFill>
              <a:srgbClr val="336699"/>
            </a:solidFill>
          </a:ln>
        </p:spPr>
        <p:style>
          <a:lnRef idx="2">
            <a:schemeClr val="accent6"/>
          </a:lnRef>
          <a:fillRef idx="1">
            <a:schemeClr val="lt1"/>
          </a:fillRef>
          <a:effectRef idx="0">
            <a:schemeClr val="accent6"/>
          </a:effectRef>
          <a:fontRef idx="minor">
            <a:schemeClr val="dk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Crushing and pre-treatment</a:t>
            </a:r>
            <a:endParaRPr kumimoji="0" lang="kk-KZ" sz="11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mj-lt"/>
              <a:buAutoNum type="arabicPeriod"/>
              <a:tabLst/>
              <a:defRPr/>
            </a:pPr>
            <a:endParaRPr kumimoji="0" lang="kk-KZ" sz="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Fermentation</a:t>
            </a:r>
            <a:endParaRPr kumimoji="0" lang="ru-RU" sz="11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mj-lt"/>
              <a:buAutoNum type="arabicPeriod"/>
              <a:tabLst/>
              <a:defRPr/>
            </a:pPr>
            <a:endParaRPr kumimoji="0" lang="ru-RU" sz="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Enzymatic hydrolysis </a:t>
            </a:r>
            <a:r>
              <a:rPr kumimoji="0" lang="en-US" sz="100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optional)</a:t>
            </a:r>
            <a:endParaRPr kumimoji="0" lang="ru-RU" sz="100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mj-lt"/>
              <a:buAutoNum type="arabicPeriod"/>
              <a:tabLst/>
              <a:defRPr/>
            </a:pPr>
            <a:endParaRPr kumimoji="0" lang="ru-RU" sz="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Separation and dewatering</a:t>
            </a:r>
            <a:endParaRPr kumimoji="0" lang="ru-RU" sz="11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mj-lt"/>
              <a:buAutoNum type="arabicPeriod"/>
              <a:tabLst/>
              <a:defRPr/>
            </a:pPr>
            <a:endParaRPr kumimoji="0" lang="ru-RU" sz="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Enrichment with active components                </a:t>
            </a:r>
            <a:r>
              <a:rPr kumimoji="0" lang="ru-RU" sz="100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t>
            </a:r>
            <a:r>
              <a:rPr kumimoji="0" lang="en-US" sz="100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if needed</a:t>
            </a:r>
            <a:r>
              <a:rPr kumimoji="0" lang="ru-RU" sz="100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t>
            </a:r>
          </a:p>
        </p:txBody>
      </p:sp>
      <p:cxnSp>
        <p:nvCxnSpPr>
          <p:cNvPr id="101" name="Прямая соединительная линия 100">
            <a:extLst>
              <a:ext uri="{FF2B5EF4-FFF2-40B4-BE49-F238E27FC236}">
                <a16:creationId xmlns:a16="http://schemas.microsoft.com/office/drawing/2014/main" id="{C2A99ACF-1CBE-100D-DBE9-53890BC5DD2C}"/>
              </a:ext>
            </a:extLst>
          </p:cNvPr>
          <p:cNvCxnSpPr>
            <a:cxnSpLocks/>
          </p:cNvCxnSpPr>
          <p:nvPr/>
        </p:nvCxnSpPr>
        <p:spPr>
          <a:xfrm flipV="1">
            <a:off x="8152592" y="3167777"/>
            <a:ext cx="239556" cy="1966"/>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267806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Box 2">
            <a:extLst>
              <a:ext uri="{FF2B5EF4-FFF2-40B4-BE49-F238E27FC236}">
                <a16:creationId xmlns:a16="http://schemas.microsoft.com/office/drawing/2014/main" id="{493053D4-364D-4A3B-8DB8-241E292A3827}"/>
              </a:ext>
            </a:extLst>
          </p:cNvPr>
          <p:cNvSpPr txBox="1"/>
          <p:nvPr/>
        </p:nvSpPr>
        <p:spPr>
          <a:xfrm>
            <a:off x="220563" y="186068"/>
            <a:ext cx="11781756" cy="371897"/>
          </a:xfrm>
          <a:prstGeom prst="rect">
            <a:avLst/>
          </a:prstGeom>
        </p:spPr>
        <p:txBody>
          <a:bodyPr wrap="square" lIns="0" tIns="0" rIns="0" bIns="0" rtlCol="0" anchor="t">
            <a:spAutoFit/>
          </a:bodyPr>
          <a:lstStyle/>
          <a:p>
            <a:pPr marL="0" marR="0" lvl="0" indent="0" algn="l" defTabSz="914400" rtl="0" eaLnBrk="1" fontAlgn="auto" latinLnBrk="0" hangingPunct="1">
              <a:lnSpc>
                <a:spcPts val="2946"/>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SUMMARY</a:t>
            </a:r>
            <a:endParaRPr kumimoji="0" lang="ru-RU" sz="30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endParaRPr>
          </a:p>
        </p:txBody>
      </p:sp>
      <p:sp>
        <p:nvSpPr>
          <p:cNvPr id="25" name="Прямоугольник: скругленные углы 3">
            <a:extLst>
              <a:ext uri="{FF2B5EF4-FFF2-40B4-BE49-F238E27FC236}">
                <a16:creationId xmlns:a16="http://schemas.microsoft.com/office/drawing/2014/main" id="{B2011272-A3EC-425B-BF6F-09602BC5D991}"/>
              </a:ext>
            </a:extLst>
          </p:cNvPr>
          <p:cNvSpPr/>
          <p:nvPr/>
        </p:nvSpPr>
        <p:spPr>
          <a:xfrm>
            <a:off x="220563" y="679787"/>
            <a:ext cx="2828929" cy="420501"/>
          </a:xfrm>
          <a:prstGeom prst="roundRect">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27" name="TextBox 26">
            <a:extLst>
              <a:ext uri="{FF2B5EF4-FFF2-40B4-BE49-F238E27FC236}">
                <a16:creationId xmlns:a16="http://schemas.microsoft.com/office/drawing/2014/main" id="{B0284213-9D01-4434-BF13-CAE731846D69}"/>
              </a:ext>
            </a:extLst>
          </p:cNvPr>
          <p:cNvSpPr txBox="1"/>
          <p:nvPr/>
        </p:nvSpPr>
        <p:spPr>
          <a:xfrm>
            <a:off x="871629" y="2766199"/>
            <a:ext cx="100540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VIETNAM</a:t>
            </a:r>
            <a:r>
              <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p>
        </p:txBody>
      </p:sp>
      <p:sp>
        <p:nvSpPr>
          <p:cNvPr id="29" name="TextBox 28">
            <a:extLst>
              <a:ext uri="{FF2B5EF4-FFF2-40B4-BE49-F238E27FC236}">
                <a16:creationId xmlns:a16="http://schemas.microsoft.com/office/drawing/2014/main" id="{CA6E4966-0956-4904-B4D3-5FF692831EDD}"/>
              </a:ext>
            </a:extLst>
          </p:cNvPr>
          <p:cNvSpPr txBox="1"/>
          <p:nvPr/>
        </p:nvSpPr>
        <p:spPr>
          <a:xfrm>
            <a:off x="6979115" y="2758515"/>
            <a:ext cx="106792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MALAYSIA</a:t>
            </a: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32" name="TextBox 31">
            <a:extLst>
              <a:ext uri="{FF2B5EF4-FFF2-40B4-BE49-F238E27FC236}">
                <a16:creationId xmlns:a16="http://schemas.microsoft.com/office/drawing/2014/main" id="{C1BC1AF5-985C-4A4B-A3BF-8C44B0FD1D94}"/>
              </a:ext>
            </a:extLst>
          </p:cNvPr>
          <p:cNvSpPr txBox="1"/>
          <p:nvPr/>
        </p:nvSpPr>
        <p:spPr>
          <a:xfrm>
            <a:off x="6979115" y="743815"/>
            <a:ext cx="118814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INDONESIA</a:t>
            </a:r>
            <a:r>
              <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p>
        </p:txBody>
      </p:sp>
      <p:sp>
        <p:nvSpPr>
          <p:cNvPr id="35" name="TextBox 34">
            <a:extLst>
              <a:ext uri="{FF2B5EF4-FFF2-40B4-BE49-F238E27FC236}">
                <a16:creationId xmlns:a16="http://schemas.microsoft.com/office/drawing/2014/main" id="{F37083B3-B423-48D7-9E25-033492A3617D}"/>
              </a:ext>
            </a:extLst>
          </p:cNvPr>
          <p:cNvSpPr txBox="1"/>
          <p:nvPr/>
        </p:nvSpPr>
        <p:spPr>
          <a:xfrm>
            <a:off x="871629" y="744043"/>
            <a:ext cx="120417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SINGAPORE</a:t>
            </a: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cxnSp>
        <p:nvCxnSpPr>
          <p:cNvPr id="37" name="Прямая соединительная линия 36">
            <a:extLst>
              <a:ext uri="{FF2B5EF4-FFF2-40B4-BE49-F238E27FC236}">
                <a16:creationId xmlns:a16="http://schemas.microsoft.com/office/drawing/2014/main" id="{C8D70BDE-7190-460F-9D8A-E670864A422A}"/>
              </a:ext>
            </a:extLst>
          </p:cNvPr>
          <p:cNvCxnSpPr>
            <a:cxnSpLocks/>
          </p:cNvCxnSpPr>
          <p:nvPr/>
        </p:nvCxnSpPr>
        <p:spPr>
          <a:xfrm>
            <a:off x="6062270" y="1182408"/>
            <a:ext cx="0" cy="5472000"/>
          </a:xfrm>
          <a:prstGeom prst="line">
            <a:avLst/>
          </a:prstGeom>
          <a:ln w="19050"/>
        </p:spPr>
        <p:style>
          <a:lnRef idx="1">
            <a:schemeClr val="accent4"/>
          </a:lnRef>
          <a:fillRef idx="0">
            <a:schemeClr val="accent4"/>
          </a:fillRef>
          <a:effectRef idx="0">
            <a:schemeClr val="accent4"/>
          </a:effectRef>
          <a:fontRef idx="minor">
            <a:schemeClr val="tx1"/>
          </a:fontRef>
        </p:style>
      </p:cxnSp>
      <p:sp>
        <p:nvSpPr>
          <p:cNvPr id="38" name="Прямоугольник: скругленные углы 3">
            <a:extLst>
              <a:ext uri="{FF2B5EF4-FFF2-40B4-BE49-F238E27FC236}">
                <a16:creationId xmlns:a16="http://schemas.microsoft.com/office/drawing/2014/main" id="{6057997B-AA6B-4C04-BCC0-DBE0F203946B}"/>
              </a:ext>
            </a:extLst>
          </p:cNvPr>
          <p:cNvSpPr/>
          <p:nvPr/>
        </p:nvSpPr>
        <p:spPr>
          <a:xfrm>
            <a:off x="6313581" y="679787"/>
            <a:ext cx="2828929" cy="420501"/>
          </a:xfrm>
          <a:prstGeom prst="roundRect">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41" name="Прямоугольник: скругленные углы 3">
            <a:extLst>
              <a:ext uri="{FF2B5EF4-FFF2-40B4-BE49-F238E27FC236}">
                <a16:creationId xmlns:a16="http://schemas.microsoft.com/office/drawing/2014/main" id="{7361557B-6BCE-4978-8FFA-EE4C00E63E2D}"/>
              </a:ext>
            </a:extLst>
          </p:cNvPr>
          <p:cNvSpPr/>
          <p:nvPr/>
        </p:nvSpPr>
        <p:spPr>
          <a:xfrm>
            <a:off x="220562" y="2703747"/>
            <a:ext cx="2828929" cy="420501"/>
          </a:xfrm>
          <a:prstGeom prst="roundRect">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42" name="Прямоугольник: скругленные углы 3">
            <a:extLst>
              <a:ext uri="{FF2B5EF4-FFF2-40B4-BE49-F238E27FC236}">
                <a16:creationId xmlns:a16="http://schemas.microsoft.com/office/drawing/2014/main" id="{81681314-2F9E-4AF3-98C4-0DE20E067546}"/>
              </a:ext>
            </a:extLst>
          </p:cNvPr>
          <p:cNvSpPr/>
          <p:nvPr/>
        </p:nvSpPr>
        <p:spPr>
          <a:xfrm>
            <a:off x="6313581" y="2701307"/>
            <a:ext cx="2828929" cy="420501"/>
          </a:xfrm>
          <a:prstGeom prst="roundRect">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43" name="TextBox 42">
            <a:extLst>
              <a:ext uri="{FF2B5EF4-FFF2-40B4-BE49-F238E27FC236}">
                <a16:creationId xmlns:a16="http://schemas.microsoft.com/office/drawing/2014/main" id="{0BBAECA1-E836-4F15-B303-C34BA39F0344}"/>
              </a:ext>
            </a:extLst>
          </p:cNvPr>
          <p:cNvSpPr txBox="1"/>
          <p:nvPr/>
        </p:nvSpPr>
        <p:spPr>
          <a:xfrm>
            <a:off x="162432" y="1189498"/>
            <a:ext cx="5836441" cy="1323439"/>
          </a:xfrm>
          <a:prstGeom prst="rect">
            <a:avLst/>
          </a:prstGeom>
          <a:noFill/>
        </p:spPr>
        <p:txBody>
          <a:bodyPr wrap="square">
            <a:spAutoFit/>
          </a:bodyPr>
          <a:lstStyle/>
          <a:p>
            <a:pPr marL="285750" marR="0" lvl="0" indent="-285750" algn="just" defTabSz="914400" rtl="0" eaLnBrk="1" fontAlgn="auto" latinLnBrk="0" hangingPunct="1">
              <a:lnSpc>
                <a:spcPct val="100000"/>
              </a:lnSpc>
              <a:spcBef>
                <a:spcPts val="300"/>
              </a:spcBef>
              <a:spcAft>
                <a:spcPts val="0"/>
              </a:spcAft>
              <a:buClrTx/>
              <a:buSzTx/>
              <a:buFont typeface="Wingdings" panose="05000000000000000000" pitchFamily="2" charset="2"/>
              <a:buChar char="ü"/>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Regional leader in GDP per capita – $67.7 thousand.</a:t>
            </a:r>
          </a:p>
          <a:p>
            <a:pPr marL="285750" marR="0" lvl="0" indent="-285750" algn="just" defTabSz="914400" rtl="0" eaLnBrk="1" fontAlgn="auto" latinLnBrk="0" hangingPunct="1">
              <a:lnSpc>
                <a:spcPct val="100000"/>
              </a:lnSpc>
              <a:spcBef>
                <a:spcPts val="300"/>
              </a:spcBef>
              <a:spcAft>
                <a:spcPts val="0"/>
              </a:spcAft>
              <a:buClrTx/>
              <a:buSzTx/>
              <a:buFont typeface="Wingdings" panose="05000000000000000000" pitchFamily="2" charset="2"/>
              <a:buChar char="ü"/>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op FDI recipient in Southeast Asia – $192 billion in 2024 (85% of total regional FDI).</a:t>
            </a:r>
          </a:p>
          <a:p>
            <a:pPr marL="285750" marR="0" lvl="0" indent="-285750" algn="just" defTabSz="914400" rtl="0" eaLnBrk="1" fontAlgn="auto" latinLnBrk="0" hangingPunct="1">
              <a:lnSpc>
                <a:spcPct val="100000"/>
              </a:lnSpc>
              <a:spcBef>
                <a:spcPts val="300"/>
              </a:spcBef>
              <a:spcAft>
                <a:spcPts val="0"/>
              </a:spcAft>
              <a:buClrTx/>
              <a:buSzTx/>
              <a:buFont typeface="Wingdings" panose="05000000000000000000" pitchFamily="2" charset="2"/>
              <a:buChar char="ü"/>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Global financial and logistics hub – ranked 4th in the Global Financial </a:t>
            </a:r>
            <a:r>
              <a:rPr kumimoji="0" lang="en-US" sz="10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Centres</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Index.</a:t>
            </a:r>
          </a:p>
          <a:p>
            <a:pPr marL="285750" marR="0" lvl="0" indent="-285750" algn="just" defTabSz="914400" rtl="0" eaLnBrk="1" fontAlgn="auto" latinLnBrk="0" hangingPunct="1">
              <a:lnSpc>
                <a:spcPct val="100000"/>
              </a:lnSpc>
              <a:spcBef>
                <a:spcPts val="300"/>
              </a:spcBef>
              <a:spcAft>
                <a:spcPts val="0"/>
              </a:spcAft>
              <a:buClrTx/>
              <a:buSzTx/>
              <a:buFont typeface="Wingdings" panose="05000000000000000000" pitchFamily="2" charset="2"/>
              <a:buChar char="ü"/>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Singapore Economy 2030 &amp; Smart Nation strategies – focused on </a:t>
            </a:r>
            <a:r>
              <a:rPr kumimoji="0" lang="en-US" sz="10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fintech</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IP and sustainable industry development.</a:t>
            </a:r>
          </a:p>
          <a:p>
            <a:pPr marL="285750" marR="0" lvl="0" indent="-285750" algn="just" defTabSz="914400" rtl="0" eaLnBrk="1" fontAlgn="auto" latinLnBrk="0" hangingPunct="1">
              <a:lnSpc>
                <a:spcPct val="100000"/>
              </a:lnSpc>
              <a:spcBef>
                <a:spcPts val="300"/>
              </a:spcBef>
              <a:spcAft>
                <a:spcPts val="0"/>
              </a:spcAft>
              <a:buClrTx/>
              <a:buSzTx/>
              <a:buFont typeface="Wingdings" panose="05000000000000000000" pitchFamily="2" charset="2"/>
              <a:buChar char="ü"/>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active investment policy – incentives, tax credits and ecosystems centered around IP, ESG, and digitalization.</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45" name="TextBox 44">
            <a:extLst>
              <a:ext uri="{FF2B5EF4-FFF2-40B4-BE49-F238E27FC236}">
                <a16:creationId xmlns:a16="http://schemas.microsoft.com/office/drawing/2014/main" id="{B550B567-482A-4D91-8847-1CAB28419BC6}"/>
              </a:ext>
            </a:extLst>
          </p:cNvPr>
          <p:cNvSpPr txBox="1"/>
          <p:nvPr/>
        </p:nvSpPr>
        <p:spPr>
          <a:xfrm>
            <a:off x="6199153" y="1189498"/>
            <a:ext cx="5664193" cy="1169551"/>
          </a:xfrm>
          <a:prstGeom prst="rect">
            <a:avLst/>
          </a:prstGeom>
          <a:noFill/>
        </p:spPr>
        <p:txBody>
          <a:bodyPr wrap="square">
            <a:spAutoFit/>
          </a:bodyPr>
          <a:lstStyle/>
          <a:p>
            <a:pPr marL="171450" marR="0" lvl="0" indent="-171450" algn="just" defTabSz="914400" rtl="0" eaLnBrk="1" fontAlgn="auto" latinLnBrk="0" hangingPunct="1">
              <a:lnSpc>
                <a:spcPct val="100000"/>
              </a:lnSpc>
              <a:spcBef>
                <a:spcPts val="300"/>
              </a:spcBef>
              <a:spcAft>
                <a:spcPts val="0"/>
              </a:spcAft>
              <a:buClrTx/>
              <a:buSzTx/>
              <a:buFont typeface="Wingdings" panose="05000000000000000000" pitchFamily="2" charset="2"/>
              <a:buChar char="ü"/>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Largest economy in Southeast Asia by GDP – $1.4 trillion.</a:t>
            </a:r>
          </a:p>
          <a:p>
            <a:pPr marL="171450" marR="0" lvl="0" indent="-171450" algn="just" defTabSz="914400" rtl="0" eaLnBrk="1" fontAlgn="auto" latinLnBrk="0" hangingPunct="1">
              <a:lnSpc>
                <a:spcPct val="100000"/>
              </a:lnSpc>
              <a:spcBef>
                <a:spcPts val="300"/>
              </a:spcBef>
              <a:spcAft>
                <a:spcPts val="0"/>
              </a:spcAft>
              <a:buClrTx/>
              <a:buSzTx/>
              <a:buFont typeface="Wingdings" panose="05000000000000000000" pitchFamily="2" charset="2"/>
              <a:buChar char="ü"/>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Rich in natural resources – including nickel, coal, oil, and gas.</a:t>
            </a:r>
          </a:p>
          <a:p>
            <a:pPr marL="171450" marR="0" lvl="0" indent="-171450" algn="just" defTabSz="914400" rtl="0" eaLnBrk="1" fontAlgn="auto" latinLnBrk="0" hangingPunct="1">
              <a:lnSpc>
                <a:spcPct val="100000"/>
              </a:lnSpc>
              <a:spcBef>
                <a:spcPts val="300"/>
              </a:spcBef>
              <a:spcAft>
                <a:spcPts val="0"/>
              </a:spcAft>
              <a:buClrTx/>
              <a:buSzTx/>
              <a:buFont typeface="Wingdings" panose="05000000000000000000" pitchFamily="2" charset="2"/>
              <a:buChar char="ü"/>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moting industrialization and domestic resource processing.</a:t>
            </a:r>
          </a:p>
          <a:p>
            <a:pPr marL="171450" marR="0" lvl="0" indent="-171450" algn="just" defTabSz="914400" rtl="0" eaLnBrk="1" fontAlgn="auto" latinLnBrk="0" hangingPunct="1">
              <a:lnSpc>
                <a:spcPct val="100000"/>
              </a:lnSpc>
              <a:spcBef>
                <a:spcPts val="300"/>
              </a:spcBef>
              <a:spcAft>
                <a:spcPts val="0"/>
              </a:spcAft>
              <a:buClrTx/>
              <a:buSzTx/>
              <a:buFont typeface="Wingdings" panose="05000000000000000000" pitchFamily="2" charset="2"/>
              <a:buChar char="ü"/>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Omnibus Law" program simplifies the investment climate.</a:t>
            </a:r>
          </a:p>
          <a:p>
            <a:pPr marL="171450" marR="0" lvl="0" indent="-171450" algn="just" defTabSz="914400" rtl="0" eaLnBrk="1" fontAlgn="auto" latinLnBrk="0" hangingPunct="1">
              <a:lnSpc>
                <a:spcPct val="100000"/>
              </a:lnSpc>
              <a:spcBef>
                <a:spcPts val="300"/>
              </a:spcBef>
              <a:spcAft>
                <a:spcPts val="0"/>
              </a:spcAft>
              <a:buClrTx/>
              <a:buSzTx/>
              <a:buFont typeface="Wingdings" panose="05000000000000000000" pitchFamily="2" charset="2"/>
              <a:buChar char="ü"/>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igh-potential market for green energy, infrastructure and Islamic finance investment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47" name="TextBox 46">
            <a:extLst>
              <a:ext uri="{FF2B5EF4-FFF2-40B4-BE49-F238E27FC236}">
                <a16:creationId xmlns:a16="http://schemas.microsoft.com/office/drawing/2014/main" id="{581695AC-FDF4-424C-B6F7-54170BF8D477}"/>
              </a:ext>
            </a:extLst>
          </p:cNvPr>
          <p:cNvSpPr txBox="1"/>
          <p:nvPr/>
        </p:nvSpPr>
        <p:spPr>
          <a:xfrm>
            <a:off x="165913" y="3207460"/>
            <a:ext cx="5832006" cy="1323439"/>
          </a:xfrm>
          <a:prstGeom prst="rect">
            <a:avLst/>
          </a:prstGeom>
          <a:noFill/>
        </p:spPr>
        <p:txBody>
          <a:bodyPr wrap="square">
            <a:spAutoFit/>
          </a:bodyPr>
          <a:lstStyle/>
          <a:p>
            <a:pPr marL="171450" marR="0" lvl="0" indent="-171450" algn="just" defTabSz="914400" rtl="0" eaLnBrk="1" fontAlgn="auto" latinLnBrk="0" hangingPunct="1">
              <a:lnSpc>
                <a:spcPct val="100000"/>
              </a:lnSpc>
              <a:spcBef>
                <a:spcPts val="300"/>
              </a:spcBef>
              <a:spcAft>
                <a:spcPts val="0"/>
              </a:spcAft>
              <a:buClrTx/>
              <a:buSzTx/>
              <a:buFont typeface="Wingdings" panose="05000000000000000000" pitchFamily="2" charset="2"/>
              <a:buChar char="ü"/>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One of the fastest-growing markets – GDP growth exceeds 6% annually.</a:t>
            </a:r>
          </a:p>
          <a:p>
            <a:pPr marL="171450" marR="0" lvl="0" indent="-171450" algn="just" defTabSz="914400" rtl="0" eaLnBrk="1" fontAlgn="auto" latinLnBrk="0" hangingPunct="1">
              <a:lnSpc>
                <a:spcPct val="100000"/>
              </a:lnSpc>
              <a:spcBef>
                <a:spcPts val="300"/>
              </a:spcBef>
              <a:spcAft>
                <a:spcPts val="0"/>
              </a:spcAft>
              <a:buClrTx/>
              <a:buSzTx/>
              <a:buFont typeface="Wingdings" panose="05000000000000000000" pitchFamily="2" charset="2"/>
              <a:buChar char="ü"/>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n alternative to China in global manufacturing chains – exports electronics, garments, and machinery.</a:t>
            </a:r>
          </a:p>
          <a:p>
            <a:pPr marL="171450" marR="0" lvl="0" indent="-171450" algn="just" defTabSz="914400" rtl="0" eaLnBrk="1" fontAlgn="auto" latinLnBrk="0" hangingPunct="1">
              <a:lnSpc>
                <a:spcPct val="100000"/>
              </a:lnSpc>
              <a:spcBef>
                <a:spcPts val="300"/>
              </a:spcBef>
              <a:spcAft>
                <a:spcPts val="0"/>
              </a:spcAft>
              <a:buClrTx/>
              <a:buSzTx/>
              <a:buFont typeface="Wingdings" panose="05000000000000000000" pitchFamily="2" charset="2"/>
              <a:buChar char="ü"/>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ttracts multinational corporations – through improved infrastructure and investor-friendly reforms.</a:t>
            </a:r>
          </a:p>
          <a:p>
            <a:pPr marL="171450" marR="0" lvl="0" indent="-171450" algn="just" defTabSz="914400" rtl="0" eaLnBrk="1" fontAlgn="auto" latinLnBrk="0" hangingPunct="1">
              <a:lnSpc>
                <a:spcPct val="100000"/>
              </a:lnSpc>
              <a:spcBef>
                <a:spcPts val="300"/>
              </a:spcBef>
              <a:spcAft>
                <a:spcPts val="0"/>
              </a:spcAft>
              <a:buClrTx/>
              <a:buSzTx/>
              <a:buFont typeface="Wingdings" panose="05000000000000000000" pitchFamily="2" charset="2"/>
              <a:buChar char="ü"/>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Member of RCEP, CPTPP, and FTA with the EU – ensuring access to global markets.</a:t>
            </a:r>
          </a:p>
          <a:p>
            <a:pPr marL="171450" marR="0" lvl="0" indent="-171450" algn="just" defTabSz="914400" rtl="0" eaLnBrk="1" fontAlgn="auto" latinLnBrk="0" hangingPunct="1">
              <a:lnSpc>
                <a:spcPct val="100000"/>
              </a:lnSpc>
              <a:spcBef>
                <a:spcPts val="300"/>
              </a:spcBef>
              <a:spcAft>
                <a:spcPts val="0"/>
              </a:spcAft>
              <a:buClrTx/>
              <a:buSzTx/>
              <a:buFont typeface="Wingdings" panose="05000000000000000000" pitchFamily="2" charset="2"/>
              <a:buChar char="ü"/>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Rapid development of the digital economy and industrial zone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49" name="TextBox 48">
            <a:extLst>
              <a:ext uri="{FF2B5EF4-FFF2-40B4-BE49-F238E27FC236}">
                <a16:creationId xmlns:a16="http://schemas.microsoft.com/office/drawing/2014/main" id="{8BAAC951-8F85-4430-9B8C-8939B79C8039}"/>
              </a:ext>
            </a:extLst>
          </p:cNvPr>
          <p:cNvSpPr txBox="1"/>
          <p:nvPr/>
        </p:nvSpPr>
        <p:spPr>
          <a:xfrm>
            <a:off x="6231913" y="3207460"/>
            <a:ext cx="5631433" cy="1169551"/>
          </a:xfrm>
          <a:prstGeom prst="rect">
            <a:avLst/>
          </a:prstGeom>
          <a:noFill/>
        </p:spPr>
        <p:txBody>
          <a:bodyPr wrap="square">
            <a:spAutoFit/>
          </a:bodyPr>
          <a:lstStyle/>
          <a:p>
            <a:pPr marL="171450" marR="0" lvl="0" indent="-171450" algn="just" defTabSz="914400" rtl="0" eaLnBrk="1" fontAlgn="auto" latinLnBrk="0" hangingPunct="1">
              <a:lnSpc>
                <a:spcPct val="100000"/>
              </a:lnSpc>
              <a:spcBef>
                <a:spcPts val="300"/>
              </a:spcBef>
              <a:spcAft>
                <a:spcPts val="0"/>
              </a:spcAft>
              <a:buClrTx/>
              <a:buSzTx/>
              <a:buFont typeface="Wingdings" panose="05000000000000000000" pitchFamily="2" charset="2"/>
              <a:buChar char="ü"/>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Developed economy with a strong manufacturing and logistics sector.</a:t>
            </a:r>
          </a:p>
          <a:p>
            <a:pPr marL="171450" marR="0" lvl="0" indent="-171450" algn="just" defTabSz="914400" rtl="0" eaLnBrk="1" fontAlgn="auto" latinLnBrk="0" hangingPunct="1">
              <a:lnSpc>
                <a:spcPct val="100000"/>
              </a:lnSpc>
              <a:spcBef>
                <a:spcPts val="300"/>
              </a:spcBef>
              <a:spcAft>
                <a:spcPts val="0"/>
              </a:spcAft>
              <a:buClrTx/>
              <a:buSzTx/>
              <a:buFont typeface="Wingdings" panose="05000000000000000000" pitchFamily="2" charset="2"/>
              <a:buChar char="ü"/>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Leader in the halal industry and Islamic finance.</a:t>
            </a:r>
          </a:p>
          <a:p>
            <a:pPr marL="171450" marR="0" lvl="0" indent="-171450" algn="just" defTabSz="914400" rtl="0" eaLnBrk="1" fontAlgn="auto" latinLnBrk="0" hangingPunct="1">
              <a:lnSpc>
                <a:spcPct val="100000"/>
              </a:lnSpc>
              <a:spcBef>
                <a:spcPts val="300"/>
              </a:spcBef>
              <a:spcAft>
                <a:spcPts val="0"/>
              </a:spcAft>
              <a:buClrTx/>
              <a:buSzTx/>
              <a:buFont typeface="Wingdings" panose="05000000000000000000" pitchFamily="2" charset="2"/>
              <a:buChar char="ü"/>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Focus on </a:t>
            </a:r>
            <a:r>
              <a:rPr kumimoji="0" lang="en-US" sz="10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decarbonization</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nd digital transformation.</a:t>
            </a:r>
          </a:p>
          <a:p>
            <a:pPr marL="171450" marR="0" lvl="0" indent="-171450" algn="just" defTabSz="914400" rtl="0" eaLnBrk="1" fontAlgn="auto" latinLnBrk="0" hangingPunct="1">
              <a:lnSpc>
                <a:spcPct val="100000"/>
              </a:lnSpc>
              <a:spcBef>
                <a:spcPts val="300"/>
              </a:spcBef>
              <a:spcAft>
                <a:spcPts val="0"/>
              </a:spcAft>
              <a:buClrTx/>
              <a:buSzTx/>
              <a:buFont typeface="Wingdings" panose="05000000000000000000" pitchFamily="2" charset="2"/>
              <a:buChar char="ü"/>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Ranked 33rd in the Global Innovation Index – advancing IP and intellectual capital.</a:t>
            </a:r>
          </a:p>
          <a:p>
            <a:pPr marL="171450" marR="0" lvl="0" indent="-171450" algn="just" defTabSz="914400" rtl="0" eaLnBrk="1" fontAlgn="auto" latinLnBrk="0" hangingPunct="1">
              <a:lnSpc>
                <a:spcPct val="100000"/>
              </a:lnSpc>
              <a:spcBef>
                <a:spcPts val="300"/>
              </a:spcBef>
              <a:spcAft>
                <a:spcPts val="0"/>
              </a:spcAft>
              <a:buClrTx/>
              <a:buSzTx/>
              <a:buFont typeface="Wingdings" panose="05000000000000000000" pitchFamily="2" charset="2"/>
              <a:buChar char="ü"/>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otential for cooperation in pharmaceuticals, </a:t>
            </a:r>
            <a:r>
              <a:rPr kumimoji="0" lang="en-US" sz="10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agri</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ech, and sustainable technologie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50" name="TextBox 49">
            <a:extLst>
              <a:ext uri="{FF2B5EF4-FFF2-40B4-BE49-F238E27FC236}">
                <a16:creationId xmlns:a16="http://schemas.microsoft.com/office/drawing/2014/main" id="{E6401602-A63E-49C5-AFB8-8FFE3DEE1422}"/>
              </a:ext>
            </a:extLst>
          </p:cNvPr>
          <p:cNvSpPr txBox="1"/>
          <p:nvPr/>
        </p:nvSpPr>
        <p:spPr>
          <a:xfrm>
            <a:off x="871629" y="4753005"/>
            <a:ext cx="109036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HAILAND</a:t>
            </a:r>
            <a:r>
              <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p>
        </p:txBody>
      </p:sp>
      <p:sp>
        <p:nvSpPr>
          <p:cNvPr id="52" name="TextBox 51">
            <a:extLst>
              <a:ext uri="{FF2B5EF4-FFF2-40B4-BE49-F238E27FC236}">
                <a16:creationId xmlns:a16="http://schemas.microsoft.com/office/drawing/2014/main" id="{ACAA7537-91EC-4848-8435-F55A5F9F8986}"/>
              </a:ext>
            </a:extLst>
          </p:cNvPr>
          <p:cNvSpPr txBox="1"/>
          <p:nvPr/>
        </p:nvSpPr>
        <p:spPr>
          <a:xfrm>
            <a:off x="6979115" y="4745321"/>
            <a:ext cx="114807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HILIPPINES</a:t>
            </a: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54" name="Прямоугольник: скругленные углы 3">
            <a:extLst>
              <a:ext uri="{FF2B5EF4-FFF2-40B4-BE49-F238E27FC236}">
                <a16:creationId xmlns:a16="http://schemas.microsoft.com/office/drawing/2014/main" id="{B89B99D7-5393-4343-AA99-F57E0902BB57}"/>
              </a:ext>
            </a:extLst>
          </p:cNvPr>
          <p:cNvSpPr/>
          <p:nvPr/>
        </p:nvSpPr>
        <p:spPr>
          <a:xfrm>
            <a:off x="220562" y="4690553"/>
            <a:ext cx="2828929" cy="420501"/>
          </a:xfrm>
          <a:prstGeom prst="roundRect">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55" name="Прямоугольник: скругленные углы 3">
            <a:extLst>
              <a:ext uri="{FF2B5EF4-FFF2-40B4-BE49-F238E27FC236}">
                <a16:creationId xmlns:a16="http://schemas.microsoft.com/office/drawing/2014/main" id="{CAF1F39B-6154-4502-AE5E-629F5C151923}"/>
              </a:ext>
            </a:extLst>
          </p:cNvPr>
          <p:cNvSpPr/>
          <p:nvPr/>
        </p:nvSpPr>
        <p:spPr>
          <a:xfrm>
            <a:off x="6313581" y="4688113"/>
            <a:ext cx="2828929" cy="420501"/>
          </a:xfrm>
          <a:prstGeom prst="roundRect">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7" name="Rectangle 1">
            <a:extLst>
              <a:ext uri="{FF2B5EF4-FFF2-40B4-BE49-F238E27FC236}">
                <a16:creationId xmlns:a16="http://schemas.microsoft.com/office/drawing/2014/main" id="{516DE3BD-4624-4A8B-9200-368BC8575A0B}"/>
              </a:ext>
            </a:extLst>
          </p:cNvPr>
          <p:cNvSpPr>
            <a:spLocks noChangeArrowheads="1"/>
          </p:cNvSpPr>
          <p:nvPr/>
        </p:nvSpPr>
        <p:spPr bwMode="auto">
          <a:xfrm>
            <a:off x="149172" y="5263337"/>
            <a:ext cx="5848747" cy="1015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171450" marR="0" lvl="0" indent="-171450" algn="just" defTabSz="914400" rtl="0" eaLnBrk="0" fontAlgn="base" latinLnBrk="0" hangingPunct="0">
              <a:lnSpc>
                <a:spcPct val="100000"/>
              </a:lnSpc>
              <a:spcBef>
                <a:spcPct val="0"/>
              </a:spcBef>
              <a:spcAft>
                <a:spcPct val="0"/>
              </a:spcAft>
              <a:buClrTx/>
              <a:buSzTx/>
              <a:buFont typeface="Wingdings" panose="05000000000000000000" pitchFamily="2" charset="2"/>
              <a:buChar char="ü"/>
              <a:tabLst/>
              <a:defRPr/>
            </a:pPr>
            <a:r>
              <a:rPr kumimoji="0" lang="en-US" alt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Major manufacturing and tourism hub – exports electronics, automobiles and agricultural products.</a:t>
            </a:r>
          </a:p>
          <a:p>
            <a:pPr marL="171450" marR="0" lvl="0" indent="-171450" algn="just" defTabSz="914400" rtl="0" eaLnBrk="0" fontAlgn="base" latinLnBrk="0" hangingPunct="0">
              <a:lnSpc>
                <a:spcPct val="100000"/>
              </a:lnSpc>
              <a:spcBef>
                <a:spcPct val="0"/>
              </a:spcBef>
              <a:spcAft>
                <a:spcPct val="0"/>
              </a:spcAft>
              <a:buClrTx/>
              <a:buSzTx/>
              <a:buFont typeface="Wingdings" panose="05000000000000000000" pitchFamily="2" charset="2"/>
              <a:buChar char="ü"/>
              <a:tabLst/>
              <a:defRPr/>
            </a:pPr>
            <a:r>
              <a:rPr kumimoji="0" lang="en-US" alt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hailand 4.0 strategy – focused on biotechnology, healthcare and smart agriculture.</a:t>
            </a:r>
          </a:p>
          <a:p>
            <a:pPr marL="171450" marR="0" lvl="0" indent="-171450" algn="just" defTabSz="914400" rtl="0" eaLnBrk="0" fontAlgn="base" latinLnBrk="0" hangingPunct="0">
              <a:lnSpc>
                <a:spcPct val="100000"/>
              </a:lnSpc>
              <a:spcBef>
                <a:spcPct val="0"/>
              </a:spcBef>
              <a:spcAft>
                <a:spcPct val="0"/>
              </a:spcAft>
              <a:buClrTx/>
              <a:buSzTx/>
              <a:buFont typeface="Wingdings" panose="05000000000000000000" pitchFamily="2" charset="2"/>
              <a:buChar char="ü"/>
              <a:tabLst/>
              <a:defRPr/>
            </a:pPr>
            <a:r>
              <a:rPr kumimoji="0" lang="en-US" alt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Developed logistics and infrastructure, though challenged by political instability.</a:t>
            </a:r>
          </a:p>
          <a:p>
            <a:pPr marL="171450" marR="0" lvl="0" indent="-171450" algn="just" defTabSz="914400" rtl="0" eaLnBrk="0" fontAlgn="base" latinLnBrk="0" hangingPunct="0">
              <a:lnSpc>
                <a:spcPct val="100000"/>
              </a:lnSpc>
              <a:spcBef>
                <a:spcPct val="0"/>
              </a:spcBef>
              <a:spcAft>
                <a:spcPct val="0"/>
              </a:spcAft>
              <a:buClrTx/>
              <a:buSzTx/>
              <a:buFont typeface="Wingdings" panose="05000000000000000000" pitchFamily="2" charset="2"/>
              <a:buChar char="ü"/>
              <a:tabLst/>
              <a:defRPr/>
            </a:pPr>
            <a:r>
              <a:rPr kumimoji="0" lang="en-US" alt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Investments flowing into pharmaceuticals, food processing, and digital agriculture.</a:t>
            </a:r>
          </a:p>
          <a:p>
            <a:pPr marL="171450" marR="0" lvl="0" indent="-171450" algn="just" defTabSz="914400" rtl="0" eaLnBrk="0" fontAlgn="base" latinLnBrk="0" hangingPunct="0">
              <a:lnSpc>
                <a:spcPct val="100000"/>
              </a:lnSpc>
              <a:spcBef>
                <a:spcPct val="0"/>
              </a:spcBef>
              <a:spcAft>
                <a:spcPct val="0"/>
              </a:spcAft>
              <a:buClrTx/>
              <a:buSzTx/>
              <a:buFont typeface="Wingdings" panose="05000000000000000000" pitchFamily="2" charset="2"/>
              <a:buChar char="ü"/>
              <a:tabLst/>
              <a:defRPr/>
            </a:pPr>
            <a:r>
              <a:rPr kumimoji="0" lang="en-US" alt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Strong potential in R&amp;D and collaborative </a:t>
            </a:r>
            <a:r>
              <a:rPr kumimoji="0" lang="en-US" altLang="ru-RU" sz="10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agri</a:t>
            </a:r>
            <a:r>
              <a:rPr kumimoji="0" lang="en-US" alt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innovation projects.</a:t>
            </a:r>
            <a:endParaRPr kumimoji="0" lang="ru-RU" alt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8" name="Rectangle 2">
            <a:extLst>
              <a:ext uri="{FF2B5EF4-FFF2-40B4-BE49-F238E27FC236}">
                <a16:creationId xmlns:a16="http://schemas.microsoft.com/office/drawing/2014/main" id="{BEDF2E45-8B35-454C-A0BD-118359E59B0E}"/>
              </a:ext>
            </a:extLst>
          </p:cNvPr>
          <p:cNvSpPr>
            <a:spLocks noChangeArrowheads="1"/>
          </p:cNvSpPr>
          <p:nvPr/>
        </p:nvSpPr>
        <p:spPr bwMode="auto">
          <a:xfrm>
            <a:off x="6199153" y="5259083"/>
            <a:ext cx="5664193"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171450" marR="0" lvl="0" indent="-171450" algn="just" defTabSz="914400" rtl="0" eaLnBrk="0" fontAlgn="base" latinLnBrk="0" hangingPunct="0">
              <a:lnSpc>
                <a:spcPct val="100000"/>
              </a:lnSpc>
              <a:spcBef>
                <a:spcPct val="0"/>
              </a:spcBef>
              <a:spcAft>
                <a:spcPct val="0"/>
              </a:spcAft>
              <a:buClrTx/>
              <a:buSzTx/>
              <a:buFont typeface="Wingdings" panose="05000000000000000000" pitchFamily="2" charset="2"/>
              <a:buChar char="ü"/>
              <a:tabLst/>
              <a:defRPr/>
            </a:pPr>
            <a:r>
              <a:rPr kumimoji="0" lang="en-US" alt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Young population – a key demographic advantage in Southeast Asia.</a:t>
            </a:r>
          </a:p>
          <a:p>
            <a:pPr marL="171450" marR="0" lvl="0" indent="-171450" algn="just" defTabSz="914400" rtl="0" eaLnBrk="0" fontAlgn="base" latinLnBrk="0" hangingPunct="0">
              <a:lnSpc>
                <a:spcPct val="100000"/>
              </a:lnSpc>
              <a:spcBef>
                <a:spcPct val="0"/>
              </a:spcBef>
              <a:spcAft>
                <a:spcPct val="0"/>
              </a:spcAft>
              <a:buClrTx/>
              <a:buSzTx/>
              <a:buFont typeface="Wingdings" panose="05000000000000000000" pitchFamily="2" charset="2"/>
              <a:buChar char="ü"/>
              <a:tabLst/>
              <a:defRPr/>
            </a:pPr>
            <a:r>
              <a:rPr kumimoji="0" lang="en-US" alt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One of the leaders in outsourcing (BPO) and digital platforms.</a:t>
            </a:r>
          </a:p>
          <a:p>
            <a:pPr marL="171450" marR="0" lvl="0" indent="-171450" algn="just" defTabSz="914400" rtl="0" eaLnBrk="0" fontAlgn="base" latinLnBrk="0" hangingPunct="0">
              <a:lnSpc>
                <a:spcPct val="100000"/>
              </a:lnSpc>
              <a:spcBef>
                <a:spcPct val="0"/>
              </a:spcBef>
              <a:spcAft>
                <a:spcPct val="0"/>
              </a:spcAft>
              <a:buClrTx/>
              <a:buSzTx/>
              <a:buFont typeface="Wingdings" panose="05000000000000000000" pitchFamily="2" charset="2"/>
              <a:buChar char="ü"/>
              <a:tabLst/>
              <a:defRPr/>
            </a:pPr>
            <a:r>
              <a:rPr kumimoji="0" lang="en-US" alt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ctive development of </a:t>
            </a:r>
            <a:r>
              <a:rPr kumimoji="0" lang="en-US" altLang="ru-RU" sz="10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EdTech</a:t>
            </a:r>
            <a:r>
              <a:rPr kumimoji="0" lang="en-US" alt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r>
              <a:rPr kumimoji="0" lang="en-US" altLang="ru-RU" sz="10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FinTech</a:t>
            </a:r>
            <a:r>
              <a:rPr kumimoji="0" lang="en-US" alt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nd microfinance.</a:t>
            </a:r>
          </a:p>
          <a:p>
            <a:pPr marL="171450" marR="0" lvl="0" indent="-171450" algn="just" defTabSz="914400" rtl="0" eaLnBrk="0" fontAlgn="base" latinLnBrk="0" hangingPunct="0">
              <a:lnSpc>
                <a:spcPct val="100000"/>
              </a:lnSpc>
              <a:spcBef>
                <a:spcPct val="0"/>
              </a:spcBef>
              <a:spcAft>
                <a:spcPct val="0"/>
              </a:spcAft>
              <a:buClrTx/>
              <a:buSzTx/>
              <a:buFont typeface="Wingdings" panose="05000000000000000000" pitchFamily="2" charset="2"/>
              <a:buChar char="ü"/>
              <a:tabLst/>
              <a:defRPr/>
            </a:pPr>
            <a:r>
              <a:rPr kumimoji="0" lang="en-US" alt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mising market for IT services, mobile solutions and online education.</a:t>
            </a:r>
          </a:p>
          <a:p>
            <a:pPr marL="171450" marR="0" lvl="0" indent="-171450" algn="just" defTabSz="914400" rtl="0" eaLnBrk="0" fontAlgn="base" latinLnBrk="0" hangingPunct="0">
              <a:lnSpc>
                <a:spcPct val="100000"/>
              </a:lnSpc>
              <a:spcBef>
                <a:spcPct val="0"/>
              </a:spcBef>
              <a:spcAft>
                <a:spcPct val="0"/>
              </a:spcAft>
              <a:buClrTx/>
              <a:buSzTx/>
              <a:buFont typeface="Wingdings" panose="05000000000000000000" pitchFamily="2" charset="2"/>
              <a:buChar char="ü"/>
              <a:tabLst/>
              <a:defRPr/>
            </a:pPr>
            <a:r>
              <a:rPr kumimoji="0" lang="en-US" alt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Internal challenges – infrastructure gaps, corruption and regional conflicts.</a:t>
            </a:r>
            <a:endParaRPr kumimoji="0" lang="ru-RU" alt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pic>
        <p:nvPicPr>
          <p:cNvPr id="36" name="Рисунок 3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9452" y="722766"/>
            <a:ext cx="493288" cy="329116"/>
          </a:xfrm>
          <a:prstGeom prst="rect">
            <a:avLst/>
          </a:prstGeom>
          <a:ln>
            <a:solidFill>
              <a:schemeClr val="bg2">
                <a:lumMod val="90000"/>
              </a:schemeClr>
            </a:solidFill>
          </a:ln>
        </p:spPr>
      </p:pic>
      <p:pic>
        <p:nvPicPr>
          <p:cNvPr id="39" name="Рисунок 38"/>
          <p:cNvPicPr>
            <a:picLocks noChangeAspect="1"/>
          </p:cNvPicPr>
          <p:nvPr/>
        </p:nvPicPr>
        <p:blipFill>
          <a:blip r:embed="rId4"/>
          <a:stretch>
            <a:fillRect/>
          </a:stretch>
        </p:blipFill>
        <p:spPr>
          <a:xfrm>
            <a:off x="6397772" y="730396"/>
            <a:ext cx="497153" cy="328105"/>
          </a:xfrm>
          <a:prstGeom prst="rect">
            <a:avLst/>
          </a:prstGeom>
          <a:ln>
            <a:solidFill>
              <a:schemeClr val="bg2">
                <a:lumMod val="90000"/>
              </a:schemeClr>
            </a:solidFill>
          </a:ln>
        </p:spPr>
      </p:pic>
      <p:pic>
        <p:nvPicPr>
          <p:cNvPr id="40" name="Рисунок 3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03246" y="2757863"/>
            <a:ext cx="485699" cy="324447"/>
          </a:xfrm>
          <a:prstGeom prst="rect">
            <a:avLst/>
          </a:prstGeom>
        </p:spPr>
      </p:pic>
      <p:pic>
        <p:nvPicPr>
          <p:cNvPr id="44" name="Рисунок 4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408756" y="2805789"/>
            <a:ext cx="486169" cy="243085"/>
          </a:xfrm>
          <a:prstGeom prst="rect">
            <a:avLst/>
          </a:prstGeom>
        </p:spPr>
      </p:pic>
      <p:pic>
        <p:nvPicPr>
          <p:cNvPr id="46" name="Рисунок 4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95940" y="4764676"/>
            <a:ext cx="500312" cy="281425"/>
          </a:xfrm>
          <a:prstGeom prst="rect">
            <a:avLst/>
          </a:prstGeom>
        </p:spPr>
      </p:pic>
      <p:pic>
        <p:nvPicPr>
          <p:cNvPr id="48" name="Рисунок 4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424911" y="4793292"/>
            <a:ext cx="470014" cy="235007"/>
          </a:xfrm>
          <a:prstGeom prst="rect">
            <a:avLst/>
          </a:prstGeom>
        </p:spPr>
      </p:pic>
    </p:spTree>
    <p:extLst>
      <p:ext uri="{BB962C8B-B14F-4D97-AF65-F5344CB8AC3E}">
        <p14:creationId xmlns:p14="http://schemas.microsoft.com/office/powerpoint/2010/main" val="31161015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A53621-89A9-5CB9-15CF-BCE35B57AB53}"/>
            </a:ext>
          </a:extLst>
        </p:cNvPr>
        <p:cNvGrpSpPr/>
        <p:nvPr/>
      </p:nvGrpSpPr>
      <p:grpSpPr>
        <a:xfrm>
          <a:off x="0" y="0"/>
          <a:ext cx="0" cy="0"/>
          <a:chOff x="0" y="0"/>
          <a:chExt cx="0" cy="0"/>
        </a:xfrm>
      </p:grpSpPr>
      <p:graphicFrame>
        <p:nvGraphicFramePr>
          <p:cNvPr id="165" name="think-cell data - do not delete" hidden="1">
            <a:extLst>
              <a:ext uri="{FF2B5EF4-FFF2-40B4-BE49-F238E27FC236}">
                <a16:creationId xmlns:a16="http://schemas.microsoft.com/office/drawing/2014/main" id="{57AD73EE-AE98-4190-F317-063FF48DB81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Слайд think-cell" r:id="rId8" imgW="7772400" imgH="10058400" progId="TCLayout.ActiveDocument.1">
                  <p:embed/>
                </p:oleObj>
              </mc:Choice>
              <mc:Fallback>
                <p:oleObj name="Слайд think-cell" r:id="rId8" imgW="7772400" imgH="10058400" progId="TCLayout.ActiveDocument.1">
                  <p:embed/>
                  <p:pic>
                    <p:nvPicPr>
                      <p:cNvPr id="165" name="think-cell data - do not delete" hidden="1">
                        <a:extLst>
                          <a:ext uri="{FF2B5EF4-FFF2-40B4-BE49-F238E27FC236}">
                            <a16:creationId xmlns:a16="http://schemas.microsoft.com/office/drawing/2014/main" id="{57AD73EE-AE98-4190-F317-063FF48DB817}"/>
                          </a:ext>
                        </a:extLst>
                      </p:cNvPr>
                      <p:cNvPicPr/>
                      <p:nvPr/>
                    </p:nvPicPr>
                    <p:blipFill>
                      <a:blip r:embed="rId9"/>
                      <a:stretch>
                        <a:fillRect/>
                      </a:stretch>
                    </p:blipFill>
                    <p:spPr>
                      <a:xfrm>
                        <a:off x="1588" y="1588"/>
                        <a:ext cx="1227" cy="1588"/>
                      </a:xfrm>
                      <a:prstGeom prst="rect">
                        <a:avLst/>
                      </a:prstGeom>
                    </p:spPr>
                  </p:pic>
                </p:oleObj>
              </mc:Fallback>
            </mc:AlternateContent>
          </a:graphicData>
        </a:graphic>
      </p:graphicFrame>
      <p:sp>
        <p:nvSpPr>
          <p:cNvPr id="196" name="Прямоугольник: скругленные углы 28">
            <a:extLst>
              <a:ext uri="{FF2B5EF4-FFF2-40B4-BE49-F238E27FC236}">
                <a16:creationId xmlns:a16="http://schemas.microsoft.com/office/drawing/2014/main" id="{D2A96CA0-587B-5674-E223-61FF9C49E85E}"/>
              </a:ext>
            </a:extLst>
          </p:cNvPr>
          <p:cNvSpPr/>
          <p:nvPr/>
        </p:nvSpPr>
        <p:spPr>
          <a:xfrm>
            <a:off x="9551406" y="3671840"/>
            <a:ext cx="1702454" cy="584147"/>
          </a:xfrm>
          <a:prstGeom prst="roundRect">
            <a:avLst/>
          </a:prstGeom>
          <a:ln>
            <a:solidFill>
              <a:schemeClr val="tx2">
                <a:lumMod val="75000"/>
                <a:lumOff val="25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Low-grade compost</a:t>
            </a:r>
            <a:endParaRPr kumimoji="0" lang="ru-RU"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193" name="Прямоугольник: скругленные углы 28">
            <a:extLst>
              <a:ext uri="{FF2B5EF4-FFF2-40B4-BE49-F238E27FC236}">
                <a16:creationId xmlns:a16="http://schemas.microsoft.com/office/drawing/2014/main" id="{0CD19A2D-0E43-ABA7-C0DD-C310F18BE03E}"/>
              </a:ext>
            </a:extLst>
          </p:cNvPr>
          <p:cNvSpPr/>
          <p:nvPr/>
        </p:nvSpPr>
        <p:spPr>
          <a:xfrm>
            <a:off x="9551406" y="2861118"/>
            <a:ext cx="1702454" cy="584146"/>
          </a:xfrm>
          <a:prstGeom prst="roundRect">
            <a:avLst/>
          </a:prstGeom>
          <a:ln>
            <a:solidFill>
              <a:schemeClr val="tx2">
                <a:lumMod val="75000"/>
                <a:lumOff val="25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ellets, powder, liquid additive</a:t>
            </a:r>
            <a:b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br>
            <a:endParaRPr kumimoji="0" lang="ru-RU"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169" name="Прямоугольник: скругленные углы 28">
            <a:extLst>
              <a:ext uri="{FF2B5EF4-FFF2-40B4-BE49-F238E27FC236}">
                <a16:creationId xmlns:a16="http://schemas.microsoft.com/office/drawing/2014/main" id="{DC4E72D5-9555-A785-916B-8F53ED3BB0E2}"/>
              </a:ext>
            </a:extLst>
          </p:cNvPr>
          <p:cNvSpPr/>
          <p:nvPr/>
        </p:nvSpPr>
        <p:spPr>
          <a:xfrm>
            <a:off x="6443760" y="2857835"/>
            <a:ext cx="1702454" cy="580737"/>
          </a:xfrm>
          <a:prstGeom prst="roundRect">
            <a:avLst/>
          </a:prstGeom>
          <a:ln>
            <a:solidFill>
              <a:schemeClr val="tx2">
                <a:lumMod val="75000"/>
                <a:lumOff val="25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Biofertilizer</a:t>
            </a: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intermediate product</a:t>
            </a:r>
            <a:b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br>
            <a:endParaRPr kumimoji="0" lang="ru-RU" sz="1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17" name="Прямоугольник: скругленные углы 16">
            <a:extLst>
              <a:ext uri="{FF2B5EF4-FFF2-40B4-BE49-F238E27FC236}">
                <a16:creationId xmlns:a16="http://schemas.microsoft.com/office/drawing/2014/main" id="{B2A9BFED-CB3C-44CA-8D2E-80576A74AB9F}"/>
              </a:ext>
            </a:extLst>
          </p:cNvPr>
          <p:cNvSpPr/>
          <p:nvPr/>
        </p:nvSpPr>
        <p:spPr>
          <a:xfrm>
            <a:off x="408931" y="692269"/>
            <a:ext cx="11395235" cy="813273"/>
          </a:xfrm>
          <a:prstGeom prst="roundRect">
            <a:avLst>
              <a:gd name="adj" fmla="val 4040"/>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2" name="TextBox 1">
            <a:extLst>
              <a:ext uri="{FF2B5EF4-FFF2-40B4-BE49-F238E27FC236}">
                <a16:creationId xmlns:a16="http://schemas.microsoft.com/office/drawing/2014/main" id="{4BC2F765-ED67-7659-8D37-9C30D01343C9}"/>
              </a:ext>
            </a:extLst>
          </p:cNvPr>
          <p:cNvSpPr txBox="1"/>
          <p:nvPr/>
        </p:nvSpPr>
        <p:spPr>
          <a:xfrm>
            <a:off x="375869" y="158751"/>
            <a:ext cx="6518131" cy="464230"/>
          </a:xfrm>
          <a:prstGeom prst="rect">
            <a:avLst/>
          </a:prstGeom>
          <a:noFill/>
        </p:spPr>
        <p:txBody>
          <a:bodyPr wrap="none" rtlCol="0">
            <a:spAutoFit/>
          </a:bodyPr>
          <a:lstStyle/>
          <a:p>
            <a:pPr marL="0" marR="0" lvl="0" indent="0" algn="l" defTabSz="914400" rtl="0" eaLnBrk="1" fontAlgn="auto" latinLnBrk="0" hangingPunct="1">
              <a:lnSpc>
                <a:spcPts val="2946"/>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Rubik Bold" panose="020B0604020202020204"/>
              </a:rPr>
              <a:t>BIOFERTILIZER PRODUCTION CHAIN</a:t>
            </a:r>
            <a:endParaRPr kumimoji="0" lang="ru-RU" sz="30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Rubik Bold" panose="020B0604020202020204"/>
            </a:endParaRPr>
          </a:p>
        </p:txBody>
      </p:sp>
      <p:cxnSp>
        <p:nvCxnSpPr>
          <p:cNvPr id="27" name="Прямая соединительная линия 26">
            <a:extLst>
              <a:ext uri="{FF2B5EF4-FFF2-40B4-BE49-F238E27FC236}">
                <a16:creationId xmlns:a16="http://schemas.microsoft.com/office/drawing/2014/main" id="{7609C373-7787-22A7-D8B2-5E89A359A7FC}"/>
              </a:ext>
            </a:extLst>
          </p:cNvPr>
          <p:cNvCxnSpPr>
            <a:cxnSpLocks/>
          </p:cNvCxnSpPr>
          <p:nvPr/>
        </p:nvCxnSpPr>
        <p:spPr>
          <a:xfrm flipV="1">
            <a:off x="0" y="2672058"/>
            <a:ext cx="12188086" cy="9016"/>
          </a:xfrm>
          <a:prstGeom prst="line">
            <a:avLst/>
          </a:prstGeom>
          <a:ln w="19050"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30" name="Группа 29">
            <a:extLst>
              <a:ext uri="{FF2B5EF4-FFF2-40B4-BE49-F238E27FC236}">
                <a16:creationId xmlns:a16="http://schemas.microsoft.com/office/drawing/2014/main" id="{F9453F51-6FCD-8880-B852-E3FF8F91DCB6}"/>
              </a:ext>
            </a:extLst>
          </p:cNvPr>
          <p:cNvGrpSpPr/>
          <p:nvPr/>
        </p:nvGrpSpPr>
        <p:grpSpPr>
          <a:xfrm>
            <a:off x="398937" y="1775899"/>
            <a:ext cx="294640" cy="294640"/>
            <a:chOff x="2501900" y="2336800"/>
            <a:chExt cx="294640" cy="294640"/>
          </a:xfrm>
        </p:grpSpPr>
        <p:sp>
          <p:nvSpPr>
            <p:cNvPr id="35" name="Овал 34">
              <a:extLst>
                <a:ext uri="{FF2B5EF4-FFF2-40B4-BE49-F238E27FC236}">
                  <a16:creationId xmlns:a16="http://schemas.microsoft.com/office/drawing/2014/main" id="{CB199040-E8AD-179D-4CD1-7FB15B97F8D3}"/>
                </a:ext>
              </a:extLst>
            </p:cNvPr>
            <p:cNvSpPr/>
            <p:nvPr/>
          </p:nvSpPr>
          <p:spPr>
            <a:xfrm>
              <a:off x="2501900" y="2336800"/>
              <a:ext cx="294640" cy="294640"/>
            </a:xfrm>
            <a:prstGeom prst="ellipse">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Rubik Bold" panose="020B0604020202020204"/>
              </a:endParaRPr>
            </a:p>
          </p:txBody>
        </p:sp>
        <p:sp>
          <p:nvSpPr>
            <p:cNvPr id="36" name="Овал 35">
              <a:extLst>
                <a:ext uri="{FF2B5EF4-FFF2-40B4-BE49-F238E27FC236}">
                  <a16:creationId xmlns:a16="http://schemas.microsoft.com/office/drawing/2014/main" id="{06423579-FCD2-8719-B880-F9ADA7198D21}"/>
                </a:ext>
              </a:extLst>
            </p:cNvPr>
            <p:cNvSpPr/>
            <p:nvPr/>
          </p:nvSpPr>
          <p:spPr>
            <a:xfrm>
              <a:off x="2593340" y="2420620"/>
              <a:ext cx="125222" cy="125222"/>
            </a:xfrm>
            <a:prstGeom prst="ellipse">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Rubik Bold" panose="020B0604020202020204"/>
              </a:endParaRPr>
            </a:p>
          </p:txBody>
        </p:sp>
      </p:grpSp>
      <p:grpSp>
        <p:nvGrpSpPr>
          <p:cNvPr id="53" name="Группа 52">
            <a:extLst>
              <a:ext uri="{FF2B5EF4-FFF2-40B4-BE49-F238E27FC236}">
                <a16:creationId xmlns:a16="http://schemas.microsoft.com/office/drawing/2014/main" id="{8EEDC711-C782-5DAB-FAA2-3CF4DB092853}"/>
              </a:ext>
            </a:extLst>
          </p:cNvPr>
          <p:cNvGrpSpPr/>
          <p:nvPr/>
        </p:nvGrpSpPr>
        <p:grpSpPr>
          <a:xfrm>
            <a:off x="9212811" y="1821681"/>
            <a:ext cx="294640" cy="294640"/>
            <a:chOff x="2501900" y="2336800"/>
            <a:chExt cx="294640" cy="294640"/>
          </a:xfrm>
        </p:grpSpPr>
        <p:sp>
          <p:nvSpPr>
            <p:cNvPr id="54" name="Овал 53">
              <a:extLst>
                <a:ext uri="{FF2B5EF4-FFF2-40B4-BE49-F238E27FC236}">
                  <a16:creationId xmlns:a16="http://schemas.microsoft.com/office/drawing/2014/main" id="{EB263377-90C3-342A-127F-E42296972F05}"/>
                </a:ext>
              </a:extLst>
            </p:cNvPr>
            <p:cNvSpPr/>
            <p:nvPr/>
          </p:nvSpPr>
          <p:spPr>
            <a:xfrm>
              <a:off x="2501900" y="2336800"/>
              <a:ext cx="294640" cy="294640"/>
            </a:xfrm>
            <a:prstGeom prst="ellipse">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Rubik Bold" panose="020B0604020202020204"/>
              </a:endParaRPr>
            </a:p>
          </p:txBody>
        </p:sp>
        <p:sp>
          <p:nvSpPr>
            <p:cNvPr id="57" name="Овал 56">
              <a:extLst>
                <a:ext uri="{FF2B5EF4-FFF2-40B4-BE49-F238E27FC236}">
                  <a16:creationId xmlns:a16="http://schemas.microsoft.com/office/drawing/2014/main" id="{BF5DED13-E59C-F97A-D673-028BA383E2E4}"/>
                </a:ext>
              </a:extLst>
            </p:cNvPr>
            <p:cNvSpPr/>
            <p:nvPr/>
          </p:nvSpPr>
          <p:spPr>
            <a:xfrm>
              <a:off x="2593340" y="2420620"/>
              <a:ext cx="125222" cy="125222"/>
            </a:xfrm>
            <a:prstGeom prst="ellipse">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Rubik Bold" panose="020B0604020202020204"/>
              </a:endParaRPr>
            </a:p>
          </p:txBody>
        </p:sp>
      </p:grpSp>
      <p:cxnSp>
        <p:nvCxnSpPr>
          <p:cNvPr id="61" name="Прямая соединительная линия 60">
            <a:extLst>
              <a:ext uri="{FF2B5EF4-FFF2-40B4-BE49-F238E27FC236}">
                <a16:creationId xmlns:a16="http://schemas.microsoft.com/office/drawing/2014/main" id="{E724A5A5-CC3D-3E74-6901-24C41236EC8B}"/>
              </a:ext>
            </a:extLst>
          </p:cNvPr>
          <p:cNvCxnSpPr>
            <a:cxnSpLocks/>
            <a:endCxn id="155" idx="4"/>
          </p:cNvCxnSpPr>
          <p:nvPr/>
        </p:nvCxnSpPr>
        <p:spPr>
          <a:xfrm>
            <a:off x="546257" y="1984941"/>
            <a:ext cx="0" cy="1435137"/>
          </a:xfrm>
          <a:prstGeom prst="line">
            <a:avLst/>
          </a:prstGeom>
          <a:ln w="50800">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40" name="Rectangle 286">
            <a:extLst>
              <a:ext uri="{FF2B5EF4-FFF2-40B4-BE49-F238E27FC236}">
                <a16:creationId xmlns:a16="http://schemas.microsoft.com/office/drawing/2014/main" id="{5FEF20A4-C49C-C1D0-E644-4107538D0FA0}"/>
              </a:ext>
            </a:extLst>
          </p:cNvPr>
          <p:cNvSpPr txBox="1">
            <a:spLocks noChangeArrowheads="1"/>
          </p:cNvSpPr>
          <p:nvPr>
            <p:custDataLst>
              <p:tags r:id="rId2"/>
            </p:custDataLst>
          </p:nvPr>
        </p:nvSpPr>
        <p:spPr bwMode="gray">
          <a:xfrm>
            <a:off x="785017" y="1770003"/>
            <a:ext cx="2080920" cy="378505"/>
          </a:xfrm>
          <a:prstGeom prst="roundRect">
            <a:avLst>
              <a:gd name="adj" fmla="val 0"/>
            </a:avLst>
          </a:prstGeom>
          <a:solidFill>
            <a:schemeClr val="tx2">
              <a:lumMod val="10000"/>
              <a:lumOff val="90000"/>
            </a:schemeClr>
          </a:solidFill>
          <a:ln w="9525" cap="flat" cmpd="sng" algn="ctr">
            <a:noFill/>
            <a:prstDash val="solid"/>
          </a:ln>
          <a:effectLst>
            <a:outerShdw blurRad="50800" dist="38100" dir="5400000" algn="t" rotWithShape="0">
              <a:schemeClr val="tx2">
                <a:lumMod val="60000"/>
                <a:lumOff val="40000"/>
                <a:alpha val="40000"/>
              </a:schemeClr>
            </a:outerShdw>
          </a:effectLst>
        </p:spPr>
        <p:txBody>
          <a:bodyPr anchor="ctr"/>
          <a:lstStyle>
            <a:defPPr>
              <a:defRPr lang="en-US"/>
            </a:defPPr>
            <a:lvl1pPr algn="ctr">
              <a:defRPr sz="11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FFFFFF"/>
              </a:solidFill>
              <a:effectLst/>
              <a:uLnTx/>
              <a:uFillTx/>
              <a:latin typeface="Century Gothic" panose="020B0502020202020204" pitchFamily="34" charset="0"/>
              <a:ea typeface="ＭＳ Ｐゴシック"/>
              <a:cs typeface="+mn-cs"/>
            </a:endParaRPr>
          </a:p>
        </p:txBody>
      </p:sp>
      <p:sp>
        <p:nvSpPr>
          <p:cNvPr id="147" name="TextBox 63">
            <a:extLst>
              <a:ext uri="{FF2B5EF4-FFF2-40B4-BE49-F238E27FC236}">
                <a16:creationId xmlns:a16="http://schemas.microsoft.com/office/drawing/2014/main" id="{690AA886-66EE-8994-F205-4E7856AE655A}"/>
              </a:ext>
            </a:extLst>
          </p:cNvPr>
          <p:cNvSpPr txBox="1"/>
          <p:nvPr/>
        </p:nvSpPr>
        <p:spPr>
          <a:xfrm>
            <a:off x="828536" y="1827217"/>
            <a:ext cx="1979473" cy="307777"/>
          </a:xfrm>
          <a:prstGeom prst="rect">
            <a:avLst/>
          </a:prstGeom>
        </p:spPr>
        <p:txBody>
          <a:bodyPr wrap="square" lIns="0" tIns="0" rIns="0" bIns="0" rtlCol="0" anchor="t">
            <a:spAutoFit/>
          </a:bodyPr>
          <a:lstStyle/>
          <a:p>
            <a:pPr marL="0" marR="0" lvl="0" indent="0" algn="l" defTabSz="914400" rtl="0" eaLnBrk="1" fontAlgn="auto" latinLnBrk="0" hangingPunct="1">
              <a:lnSpc>
                <a:spcPts val="1236"/>
              </a:lnSpc>
              <a:spcBef>
                <a:spcPts val="0"/>
              </a:spcBef>
              <a:spcAft>
                <a:spcPts val="0"/>
              </a:spcAft>
              <a:buClrTx/>
              <a:buSzTx/>
              <a:buFontTx/>
              <a:buNone/>
              <a:tabLst/>
              <a:defRPr/>
            </a:pPr>
            <a:r>
              <a:rPr kumimoji="0" lang="en-US" sz="1400" b="1" i="0" u="none" strike="noStrike" kern="1200" cap="none" spc="-24" normalizeH="0" baseline="0" noProof="0" dirty="0">
                <a:ln>
                  <a:noFill/>
                </a:ln>
                <a:solidFill>
                  <a:srgbClr val="156082"/>
                </a:solidFill>
                <a:effectLst/>
                <a:uLnTx/>
                <a:uFillTx/>
                <a:latin typeface="Century Gothic" panose="020B0502020202020204" pitchFamily="34" charset="0"/>
                <a:ea typeface="+mn-ea"/>
                <a:cs typeface="+mn-cs"/>
              </a:rPr>
              <a:t>Raw material collection and preparation</a:t>
            </a:r>
          </a:p>
        </p:txBody>
      </p:sp>
      <p:sp>
        <p:nvSpPr>
          <p:cNvPr id="154" name="Прямоугольник: скругленные углы 28">
            <a:extLst>
              <a:ext uri="{FF2B5EF4-FFF2-40B4-BE49-F238E27FC236}">
                <a16:creationId xmlns:a16="http://schemas.microsoft.com/office/drawing/2014/main" id="{EE86D06B-2105-9B07-F0FE-4CA2695C3EDF}"/>
              </a:ext>
            </a:extLst>
          </p:cNvPr>
          <p:cNvSpPr/>
          <p:nvPr/>
        </p:nvSpPr>
        <p:spPr>
          <a:xfrm>
            <a:off x="661619" y="2842468"/>
            <a:ext cx="1281652" cy="596769"/>
          </a:xfrm>
          <a:prstGeom prst="roundRect">
            <a:avLst/>
          </a:prstGeom>
          <a:ln>
            <a:solidFill>
              <a:schemeClr val="tx2">
                <a:lumMod val="75000"/>
                <a:lumOff val="25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Manure, straw, husks etc.</a:t>
            </a:r>
            <a:endParaRPr kumimoji="0" lang="ru-RU" sz="16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155" name="Овал 154">
            <a:extLst>
              <a:ext uri="{FF2B5EF4-FFF2-40B4-BE49-F238E27FC236}">
                <a16:creationId xmlns:a16="http://schemas.microsoft.com/office/drawing/2014/main" id="{9607050E-F114-31FC-578D-EE52062ED948}"/>
              </a:ext>
            </a:extLst>
          </p:cNvPr>
          <p:cNvSpPr/>
          <p:nvPr/>
        </p:nvSpPr>
        <p:spPr>
          <a:xfrm>
            <a:off x="286840" y="2873455"/>
            <a:ext cx="518834" cy="546623"/>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156" name="Rectangle 286">
            <a:extLst>
              <a:ext uri="{FF2B5EF4-FFF2-40B4-BE49-F238E27FC236}">
                <a16:creationId xmlns:a16="http://schemas.microsoft.com/office/drawing/2014/main" id="{F8FE1FC1-53AE-71DD-ACD7-BABA7132E90A}"/>
              </a:ext>
            </a:extLst>
          </p:cNvPr>
          <p:cNvSpPr txBox="1">
            <a:spLocks noChangeArrowheads="1"/>
          </p:cNvSpPr>
          <p:nvPr>
            <p:custDataLst>
              <p:tags r:id="rId3"/>
            </p:custDataLst>
          </p:nvPr>
        </p:nvSpPr>
        <p:spPr bwMode="gray">
          <a:xfrm>
            <a:off x="3538107" y="1787795"/>
            <a:ext cx="1907111" cy="335730"/>
          </a:xfrm>
          <a:prstGeom prst="roundRect">
            <a:avLst>
              <a:gd name="adj" fmla="val 0"/>
            </a:avLst>
          </a:prstGeom>
          <a:solidFill>
            <a:schemeClr val="tx2">
              <a:lumMod val="10000"/>
              <a:lumOff val="90000"/>
            </a:schemeClr>
          </a:solidFill>
          <a:ln w="9525" cap="flat" cmpd="sng" algn="ctr">
            <a:noFill/>
            <a:prstDash val="solid"/>
          </a:ln>
          <a:effectLst>
            <a:outerShdw blurRad="50800" dist="38100" dir="5400000" algn="t" rotWithShape="0">
              <a:schemeClr val="tx2">
                <a:lumMod val="60000"/>
                <a:lumOff val="40000"/>
                <a:alpha val="40000"/>
              </a:schemeClr>
            </a:outerShdw>
          </a:effectLst>
        </p:spPr>
        <p:txBody>
          <a:bodyPr anchor="ctr"/>
          <a:lstStyle>
            <a:defPPr>
              <a:defRPr lang="en-US"/>
            </a:defPPr>
            <a:lvl1pPr algn="ctr">
              <a:defRPr sz="11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FFFFFF"/>
              </a:solidFill>
              <a:effectLst/>
              <a:uLnTx/>
              <a:uFillTx/>
              <a:latin typeface="Century Gothic" panose="020B0502020202020204" pitchFamily="34" charset="0"/>
              <a:ea typeface="ＭＳ Ｐゴシック"/>
              <a:cs typeface="+mn-cs"/>
            </a:endParaRPr>
          </a:p>
        </p:txBody>
      </p:sp>
      <p:sp>
        <p:nvSpPr>
          <p:cNvPr id="159" name="TextBox 158">
            <a:extLst>
              <a:ext uri="{FF2B5EF4-FFF2-40B4-BE49-F238E27FC236}">
                <a16:creationId xmlns:a16="http://schemas.microsoft.com/office/drawing/2014/main" id="{EF2ADFC4-3607-B5D8-B1BA-E7FA1B6B6AD3}"/>
              </a:ext>
            </a:extLst>
          </p:cNvPr>
          <p:cNvSpPr txBox="1"/>
          <p:nvPr/>
        </p:nvSpPr>
        <p:spPr>
          <a:xfrm>
            <a:off x="3503852" y="1845890"/>
            <a:ext cx="1989494" cy="246221"/>
          </a:xfrm>
          <a:prstGeom prst="rect">
            <a:avLst/>
          </a:prstGeom>
          <a:noFill/>
        </p:spPr>
        <p:txBody>
          <a:bodyPr wrap="square">
            <a:spAutoFit/>
          </a:bodyPr>
          <a:lstStyle/>
          <a:p>
            <a:pPr marL="0" marR="0" lvl="0" indent="0" algn="l" defTabSz="914400" rtl="0" eaLnBrk="1" fontAlgn="auto" latinLnBrk="0" hangingPunct="1">
              <a:lnSpc>
                <a:spcPts val="1236"/>
              </a:lnSpc>
              <a:spcBef>
                <a:spcPts val="0"/>
              </a:spcBef>
              <a:spcAft>
                <a:spcPts val="0"/>
              </a:spcAft>
              <a:buClrTx/>
              <a:buSzTx/>
              <a:buFontTx/>
              <a:buNone/>
              <a:tabLst/>
              <a:defRPr/>
            </a:pPr>
            <a:r>
              <a:rPr kumimoji="0" lang="en-US" sz="1400" b="1" i="0" u="none" strike="noStrike" kern="1200" cap="none" spc="-24" normalizeH="0" baseline="0" noProof="0" dirty="0">
                <a:ln>
                  <a:noFill/>
                </a:ln>
                <a:solidFill>
                  <a:srgbClr val="156082"/>
                </a:solidFill>
                <a:effectLst/>
                <a:uLnTx/>
                <a:uFillTx/>
                <a:latin typeface="Century Gothic" panose="020B0502020202020204" pitchFamily="34" charset="0"/>
                <a:ea typeface="+mn-ea"/>
                <a:cs typeface="+mn-cs"/>
              </a:rPr>
              <a:t>Biological processing</a:t>
            </a:r>
          </a:p>
        </p:txBody>
      </p:sp>
      <p:cxnSp>
        <p:nvCxnSpPr>
          <p:cNvPr id="161" name="Прямая соединительная линия 160">
            <a:extLst>
              <a:ext uri="{FF2B5EF4-FFF2-40B4-BE49-F238E27FC236}">
                <a16:creationId xmlns:a16="http://schemas.microsoft.com/office/drawing/2014/main" id="{142DFB67-5E51-C282-A565-D91E9C787A15}"/>
              </a:ext>
            </a:extLst>
          </p:cNvPr>
          <p:cNvCxnSpPr>
            <a:cxnSpLocks/>
          </p:cNvCxnSpPr>
          <p:nvPr/>
        </p:nvCxnSpPr>
        <p:spPr>
          <a:xfrm flipH="1">
            <a:off x="3296187" y="2005643"/>
            <a:ext cx="8739" cy="1401894"/>
          </a:xfrm>
          <a:prstGeom prst="line">
            <a:avLst/>
          </a:prstGeom>
          <a:ln w="50800">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62" name="Прямоугольник: скругленные углы 28">
            <a:extLst>
              <a:ext uri="{FF2B5EF4-FFF2-40B4-BE49-F238E27FC236}">
                <a16:creationId xmlns:a16="http://schemas.microsoft.com/office/drawing/2014/main" id="{483D7D9D-4272-2D4E-764A-1CA97E278E48}"/>
              </a:ext>
            </a:extLst>
          </p:cNvPr>
          <p:cNvSpPr/>
          <p:nvPr/>
        </p:nvSpPr>
        <p:spPr>
          <a:xfrm>
            <a:off x="3488713" y="2847269"/>
            <a:ext cx="1723571" cy="584146"/>
          </a:xfrm>
          <a:prstGeom prst="roundRect">
            <a:avLst/>
          </a:prstGeom>
          <a:ln>
            <a:solidFill>
              <a:schemeClr val="tx2">
                <a:lumMod val="75000"/>
                <a:lumOff val="25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Biomass with active microflora</a:t>
            </a:r>
            <a:b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br>
            <a:endParaRPr kumimoji="0" lang="ru-RU" sz="1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163" name="Овал 162">
            <a:extLst>
              <a:ext uri="{FF2B5EF4-FFF2-40B4-BE49-F238E27FC236}">
                <a16:creationId xmlns:a16="http://schemas.microsoft.com/office/drawing/2014/main" id="{86410160-E564-C253-04BF-980C8890F4F8}"/>
              </a:ext>
            </a:extLst>
          </p:cNvPr>
          <p:cNvSpPr/>
          <p:nvPr/>
        </p:nvSpPr>
        <p:spPr>
          <a:xfrm>
            <a:off x="3036770" y="2879964"/>
            <a:ext cx="518834" cy="546623"/>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164" name="Rectangle 286">
            <a:extLst>
              <a:ext uri="{FF2B5EF4-FFF2-40B4-BE49-F238E27FC236}">
                <a16:creationId xmlns:a16="http://schemas.microsoft.com/office/drawing/2014/main" id="{22FF6593-DDF5-4992-F52C-0ADDB56C74A7}"/>
              </a:ext>
            </a:extLst>
          </p:cNvPr>
          <p:cNvSpPr txBox="1">
            <a:spLocks noChangeArrowheads="1"/>
          </p:cNvSpPr>
          <p:nvPr>
            <p:custDataLst>
              <p:tags r:id="rId4"/>
            </p:custDataLst>
          </p:nvPr>
        </p:nvSpPr>
        <p:spPr bwMode="gray">
          <a:xfrm>
            <a:off x="6495415" y="1787795"/>
            <a:ext cx="1907111" cy="335730"/>
          </a:xfrm>
          <a:prstGeom prst="roundRect">
            <a:avLst>
              <a:gd name="adj" fmla="val 0"/>
            </a:avLst>
          </a:prstGeom>
          <a:solidFill>
            <a:schemeClr val="tx2">
              <a:lumMod val="10000"/>
              <a:lumOff val="90000"/>
            </a:schemeClr>
          </a:solidFill>
          <a:ln w="9525" cap="flat" cmpd="sng" algn="ctr">
            <a:noFill/>
            <a:prstDash val="solid"/>
          </a:ln>
          <a:effectLst>
            <a:outerShdw blurRad="50800" dist="38100" dir="5400000" algn="t" rotWithShape="0">
              <a:schemeClr val="tx2">
                <a:lumMod val="60000"/>
                <a:lumOff val="40000"/>
                <a:alpha val="40000"/>
              </a:schemeClr>
            </a:outerShdw>
          </a:effectLst>
        </p:spPr>
        <p:txBody>
          <a:bodyPr anchor="ctr"/>
          <a:lstStyle>
            <a:defPPr>
              <a:defRPr lang="en-US"/>
            </a:defPPr>
            <a:lvl1pPr algn="ctr">
              <a:defRPr sz="11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FFFFFF"/>
              </a:solidFill>
              <a:effectLst/>
              <a:uLnTx/>
              <a:uFillTx/>
              <a:latin typeface="Century Gothic" panose="020B0502020202020204" pitchFamily="34" charset="0"/>
              <a:ea typeface="ＭＳ Ｐゴシック"/>
              <a:cs typeface="+mn-cs"/>
            </a:endParaRPr>
          </a:p>
        </p:txBody>
      </p:sp>
      <p:sp>
        <p:nvSpPr>
          <p:cNvPr id="160" name="TextBox 159">
            <a:extLst>
              <a:ext uri="{FF2B5EF4-FFF2-40B4-BE49-F238E27FC236}">
                <a16:creationId xmlns:a16="http://schemas.microsoft.com/office/drawing/2014/main" id="{6B5021C0-0860-5E13-F24B-AACBE9DB9183}"/>
              </a:ext>
            </a:extLst>
          </p:cNvPr>
          <p:cNvSpPr txBox="1"/>
          <p:nvPr/>
        </p:nvSpPr>
        <p:spPr>
          <a:xfrm>
            <a:off x="6473514" y="1782392"/>
            <a:ext cx="1964331" cy="400815"/>
          </a:xfrm>
          <a:prstGeom prst="rect">
            <a:avLst/>
          </a:prstGeom>
          <a:noFill/>
        </p:spPr>
        <p:txBody>
          <a:bodyPr wrap="square">
            <a:spAutoFit/>
          </a:bodyPr>
          <a:lstStyle/>
          <a:p>
            <a:pPr marL="0" marR="0" lvl="0" indent="0" algn="l" defTabSz="914400" rtl="0" eaLnBrk="1" fontAlgn="auto" latinLnBrk="0" hangingPunct="1">
              <a:lnSpc>
                <a:spcPts val="1236"/>
              </a:lnSpc>
              <a:spcBef>
                <a:spcPts val="0"/>
              </a:spcBef>
              <a:spcAft>
                <a:spcPts val="0"/>
              </a:spcAft>
              <a:buClrTx/>
              <a:buSzTx/>
              <a:buFontTx/>
              <a:buNone/>
              <a:tabLst/>
              <a:defRPr/>
            </a:pPr>
            <a:r>
              <a:rPr kumimoji="0" lang="en-US" sz="1400" b="1" i="0" u="none" strike="noStrike" kern="1200" cap="none" spc="-24" normalizeH="0" baseline="0" noProof="0" dirty="0">
                <a:ln>
                  <a:noFill/>
                </a:ln>
                <a:solidFill>
                  <a:srgbClr val="156082"/>
                </a:solidFill>
                <a:effectLst/>
                <a:uLnTx/>
                <a:uFillTx/>
                <a:latin typeface="Century Gothic" panose="020B0502020202020204" pitchFamily="34" charset="0"/>
                <a:ea typeface="+mn-ea"/>
                <a:cs typeface="+mn-cs"/>
              </a:rPr>
              <a:t>Enrichment and formulation</a:t>
            </a:r>
          </a:p>
        </p:txBody>
      </p:sp>
      <p:cxnSp>
        <p:nvCxnSpPr>
          <p:cNvPr id="166" name="Прямая соединительная линия 165">
            <a:extLst>
              <a:ext uri="{FF2B5EF4-FFF2-40B4-BE49-F238E27FC236}">
                <a16:creationId xmlns:a16="http://schemas.microsoft.com/office/drawing/2014/main" id="{B4241303-6A90-DD68-B133-D06614BA569E}"/>
              </a:ext>
            </a:extLst>
          </p:cNvPr>
          <p:cNvCxnSpPr>
            <a:cxnSpLocks/>
          </p:cNvCxnSpPr>
          <p:nvPr/>
        </p:nvCxnSpPr>
        <p:spPr>
          <a:xfrm flipH="1">
            <a:off x="6255503" y="2009771"/>
            <a:ext cx="1564" cy="1391257"/>
          </a:xfrm>
          <a:prstGeom prst="line">
            <a:avLst/>
          </a:prstGeom>
          <a:ln w="50800">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67" name="Овал 166">
            <a:extLst>
              <a:ext uri="{FF2B5EF4-FFF2-40B4-BE49-F238E27FC236}">
                <a16:creationId xmlns:a16="http://schemas.microsoft.com/office/drawing/2014/main" id="{7E76E639-3CF7-2E66-0084-3E5913CD310F}"/>
              </a:ext>
            </a:extLst>
          </p:cNvPr>
          <p:cNvSpPr/>
          <p:nvPr/>
        </p:nvSpPr>
        <p:spPr>
          <a:xfrm>
            <a:off x="5996086" y="2873455"/>
            <a:ext cx="518834" cy="546623"/>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cxnSp>
        <p:nvCxnSpPr>
          <p:cNvPr id="170" name="Прямая соединительная линия 169">
            <a:extLst>
              <a:ext uri="{FF2B5EF4-FFF2-40B4-BE49-F238E27FC236}">
                <a16:creationId xmlns:a16="http://schemas.microsoft.com/office/drawing/2014/main" id="{EE40FE03-C600-1145-50E3-34FEF04C8A23}"/>
              </a:ext>
            </a:extLst>
          </p:cNvPr>
          <p:cNvCxnSpPr>
            <a:cxnSpLocks/>
          </p:cNvCxnSpPr>
          <p:nvPr/>
        </p:nvCxnSpPr>
        <p:spPr>
          <a:xfrm flipH="1">
            <a:off x="8363877" y="3160784"/>
            <a:ext cx="1257" cy="1446041"/>
          </a:xfrm>
          <a:prstGeom prst="line">
            <a:avLst/>
          </a:prstGeom>
        </p:spPr>
        <p:style>
          <a:lnRef idx="1">
            <a:schemeClr val="accent1"/>
          </a:lnRef>
          <a:fillRef idx="0">
            <a:schemeClr val="accent1"/>
          </a:fillRef>
          <a:effectRef idx="0">
            <a:schemeClr val="accent1"/>
          </a:effectRef>
          <a:fontRef idx="minor">
            <a:schemeClr val="tx1"/>
          </a:fontRef>
        </p:style>
      </p:cxnSp>
      <p:cxnSp>
        <p:nvCxnSpPr>
          <p:cNvPr id="171" name="Прямая соединительная линия 170">
            <a:extLst>
              <a:ext uri="{FF2B5EF4-FFF2-40B4-BE49-F238E27FC236}">
                <a16:creationId xmlns:a16="http://schemas.microsoft.com/office/drawing/2014/main" id="{612C9011-EDEC-8E8E-4620-E269FB004F21}"/>
              </a:ext>
            </a:extLst>
          </p:cNvPr>
          <p:cNvCxnSpPr>
            <a:cxnSpLocks/>
          </p:cNvCxnSpPr>
          <p:nvPr/>
        </p:nvCxnSpPr>
        <p:spPr>
          <a:xfrm flipH="1" flipV="1">
            <a:off x="8204014" y="4206043"/>
            <a:ext cx="151746" cy="1544"/>
          </a:xfrm>
          <a:prstGeom prst="line">
            <a:avLst/>
          </a:prstGeom>
        </p:spPr>
        <p:style>
          <a:lnRef idx="1">
            <a:schemeClr val="accent1"/>
          </a:lnRef>
          <a:fillRef idx="0">
            <a:schemeClr val="accent1"/>
          </a:fillRef>
          <a:effectRef idx="0">
            <a:schemeClr val="accent1"/>
          </a:effectRef>
          <a:fontRef idx="minor">
            <a:schemeClr val="tx1"/>
          </a:fontRef>
        </p:style>
      </p:cxnSp>
      <p:cxnSp>
        <p:nvCxnSpPr>
          <p:cNvPr id="176" name="Прямая соединительная линия 175">
            <a:extLst>
              <a:ext uri="{FF2B5EF4-FFF2-40B4-BE49-F238E27FC236}">
                <a16:creationId xmlns:a16="http://schemas.microsoft.com/office/drawing/2014/main" id="{F5F3A2BE-92B5-0411-C770-09FE5FB7971E}"/>
              </a:ext>
            </a:extLst>
          </p:cNvPr>
          <p:cNvCxnSpPr>
            <a:cxnSpLocks/>
          </p:cNvCxnSpPr>
          <p:nvPr/>
        </p:nvCxnSpPr>
        <p:spPr>
          <a:xfrm>
            <a:off x="8182267" y="4606825"/>
            <a:ext cx="181608" cy="0"/>
          </a:xfrm>
          <a:prstGeom prst="line">
            <a:avLst/>
          </a:prstGeom>
        </p:spPr>
        <p:style>
          <a:lnRef idx="1">
            <a:schemeClr val="accent1"/>
          </a:lnRef>
          <a:fillRef idx="0">
            <a:schemeClr val="accent1"/>
          </a:fillRef>
          <a:effectRef idx="0">
            <a:schemeClr val="accent1"/>
          </a:effectRef>
          <a:fontRef idx="minor">
            <a:schemeClr val="tx1"/>
          </a:fontRef>
        </p:style>
      </p:cxnSp>
      <p:sp>
        <p:nvSpPr>
          <p:cNvPr id="177" name="Прямоугольник: скругленные углы 10">
            <a:extLst>
              <a:ext uri="{FF2B5EF4-FFF2-40B4-BE49-F238E27FC236}">
                <a16:creationId xmlns:a16="http://schemas.microsoft.com/office/drawing/2014/main" id="{8BA38267-63B7-1BD1-CD9F-505D136A390B}"/>
              </a:ext>
            </a:extLst>
          </p:cNvPr>
          <p:cNvSpPr/>
          <p:nvPr/>
        </p:nvSpPr>
        <p:spPr>
          <a:xfrm>
            <a:off x="6483687" y="4479926"/>
            <a:ext cx="1702575" cy="268440"/>
          </a:xfrm>
          <a:prstGeom prst="roundRect">
            <a:avLst/>
          </a:prstGeom>
          <a:noFill/>
          <a:ln>
            <a:solidFill>
              <a:schemeClr val="tx2">
                <a:lumMod val="75000"/>
                <a:lumOff val="2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Minerals</a:t>
            </a:r>
            <a:endParaRPr kumimoji="0" lang="ru-RU" sz="9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78" name="Прямоугольник: скругленные углы 10">
            <a:extLst>
              <a:ext uri="{FF2B5EF4-FFF2-40B4-BE49-F238E27FC236}">
                <a16:creationId xmlns:a16="http://schemas.microsoft.com/office/drawing/2014/main" id="{5461FE5F-6727-F264-21EB-9EA3DD4EF55F}"/>
              </a:ext>
            </a:extLst>
          </p:cNvPr>
          <p:cNvSpPr/>
          <p:nvPr/>
        </p:nvSpPr>
        <p:spPr>
          <a:xfrm>
            <a:off x="6483687" y="3549727"/>
            <a:ext cx="1702575" cy="363185"/>
          </a:xfrm>
          <a:prstGeom prst="roundRect">
            <a:avLst/>
          </a:prstGeom>
          <a:noFill/>
          <a:ln>
            <a:solidFill>
              <a:schemeClr val="tx2">
                <a:lumMod val="75000"/>
                <a:lumOff val="2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Organic base</a:t>
            </a:r>
            <a:endParaRPr kumimoji="0" lang="ru-RU" sz="10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cxnSp>
        <p:nvCxnSpPr>
          <p:cNvPr id="181" name="Прямая соединительная линия 180">
            <a:extLst>
              <a:ext uri="{FF2B5EF4-FFF2-40B4-BE49-F238E27FC236}">
                <a16:creationId xmlns:a16="http://schemas.microsoft.com/office/drawing/2014/main" id="{C2A99ACF-1CBE-100D-DBE9-53890BC5DD2C}"/>
              </a:ext>
            </a:extLst>
          </p:cNvPr>
          <p:cNvCxnSpPr>
            <a:cxnSpLocks/>
          </p:cNvCxnSpPr>
          <p:nvPr/>
        </p:nvCxnSpPr>
        <p:spPr>
          <a:xfrm>
            <a:off x="8182267" y="3753207"/>
            <a:ext cx="181608" cy="0"/>
          </a:xfrm>
          <a:prstGeom prst="line">
            <a:avLst/>
          </a:prstGeom>
        </p:spPr>
        <p:style>
          <a:lnRef idx="1">
            <a:schemeClr val="accent1"/>
          </a:lnRef>
          <a:fillRef idx="0">
            <a:schemeClr val="accent1"/>
          </a:fillRef>
          <a:effectRef idx="0">
            <a:schemeClr val="accent1"/>
          </a:effectRef>
          <a:fontRef idx="minor">
            <a:schemeClr val="tx1"/>
          </a:fontRef>
        </p:style>
      </p:cxnSp>
      <p:sp>
        <p:nvSpPr>
          <p:cNvPr id="182" name="Треугольник 181">
            <a:extLst>
              <a:ext uri="{FF2B5EF4-FFF2-40B4-BE49-F238E27FC236}">
                <a16:creationId xmlns:a16="http://schemas.microsoft.com/office/drawing/2014/main" id="{12D4B82B-D806-5ADE-C6D0-E6CEEEC4630E}"/>
              </a:ext>
            </a:extLst>
          </p:cNvPr>
          <p:cNvSpPr/>
          <p:nvPr/>
        </p:nvSpPr>
        <p:spPr>
          <a:xfrm rot="10800000">
            <a:off x="7229883" y="4833274"/>
            <a:ext cx="210181" cy="200624"/>
          </a:xfrm>
          <a:prstGeom prst="triangle">
            <a:avLst/>
          </a:prstGeom>
          <a:solidFill>
            <a:schemeClr val="tx2">
              <a:lumMod val="25000"/>
              <a:lumOff val="75000"/>
            </a:schemeClr>
          </a:solidFill>
          <a:ln>
            <a:solidFill>
              <a:schemeClr val="tx2">
                <a:lumMod val="25000"/>
                <a:lumOff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83" name="TextBox 182">
            <a:extLst>
              <a:ext uri="{FF2B5EF4-FFF2-40B4-BE49-F238E27FC236}">
                <a16:creationId xmlns:a16="http://schemas.microsoft.com/office/drawing/2014/main" id="{9A4731B7-6C1E-EA02-0AEA-2B4F3CDB48EC}"/>
              </a:ext>
            </a:extLst>
          </p:cNvPr>
          <p:cNvSpPr txBox="1"/>
          <p:nvPr/>
        </p:nvSpPr>
        <p:spPr>
          <a:xfrm>
            <a:off x="6160398" y="5053477"/>
            <a:ext cx="2519362" cy="246927"/>
          </a:xfrm>
          <a:prstGeom prst="rect">
            <a:avLst/>
          </a:prstGeom>
          <a:noFill/>
        </p:spPr>
        <p:txBody>
          <a:bodyPr wrap="square">
            <a:spAutoFit/>
          </a:bodyPr>
          <a:lstStyle/>
          <a:p>
            <a:pPr marL="0" marR="0" lvl="0" indent="0" algn="ctr" defTabSz="914400" rtl="0" eaLnBrk="1" fontAlgn="auto" latinLnBrk="0" hangingPunct="1">
              <a:lnSpc>
                <a:spcPts val="1236"/>
              </a:lnSpc>
              <a:spcBef>
                <a:spcPts val="0"/>
              </a:spcBef>
              <a:spcAft>
                <a:spcPts val="0"/>
              </a:spcAft>
              <a:buClrTx/>
              <a:buSzTx/>
              <a:buFontTx/>
              <a:buNone/>
              <a:tabLst/>
              <a:defRPr/>
            </a:pPr>
            <a:r>
              <a:rPr kumimoji="0" lang="en-US" sz="1400" b="1" i="0" u="none" strike="noStrike" kern="1200" cap="none" spc="-24" normalizeH="0" baseline="0" noProof="0" dirty="0">
                <a:ln>
                  <a:noFill/>
                </a:ln>
                <a:solidFill>
                  <a:srgbClr val="156082"/>
                </a:solidFill>
                <a:effectLst/>
                <a:uLnTx/>
                <a:uFillTx/>
                <a:latin typeface="Century Gothic" panose="020B0502020202020204" pitchFamily="34" charset="0"/>
                <a:ea typeface="+mn-ea"/>
                <a:cs typeface="+mn-cs"/>
              </a:rPr>
              <a:t>By-products</a:t>
            </a:r>
          </a:p>
        </p:txBody>
      </p:sp>
      <p:sp>
        <p:nvSpPr>
          <p:cNvPr id="184" name="Прямоугольник 183">
            <a:extLst>
              <a:ext uri="{FF2B5EF4-FFF2-40B4-BE49-F238E27FC236}">
                <a16:creationId xmlns:a16="http://schemas.microsoft.com/office/drawing/2014/main" id="{D4CAD42D-8E45-3B30-5716-2B8C9B958761}"/>
              </a:ext>
            </a:extLst>
          </p:cNvPr>
          <p:cNvSpPr/>
          <p:nvPr/>
        </p:nvSpPr>
        <p:spPr>
          <a:xfrm>
            <a:off x="6495414" y="5305437"/>
            <a:ext cx="1907111" cy="1094776"/>
          </a:xfrm>
          <a:prstGeom prst="rect">
            <a:avLst/>
          </a:prstGeom>
          <a:ln>
            <a:solidFill>
              <a:srgbClr val="336699"/>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Biogas</a:t>
            </a:r>
            <a:endParaRPr kumimoji="0" lang="ru-KZ" sz="12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200" b="1"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Used as an energy resource</a:t>
            </a:r>
            <a:endParaRPr kumimoji="0" lang="ru-RU" sz="11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cxnSp>
        <p:nvCxnSpPr>
          <p:cNvPr id="185" name="Прямая соединительная линия 184">
            <a:extLst>
              <a:ext uri="{FF2B5EF4-FFF2-40B4-BE49-F238E27FC236}">
                <a16:creationId xmlns:a16="http://schemas.microsoft.com/office/drawing/2014/main" id="{BCDCCABD-79AF-27D4-B12C-6F2AE74A449E}"/>
              </a:ext>
            </a:extLst>
          </p:cNvPr>
          <p:cNvCxnSpPr>
            <a:cxnSpLocks/>
            <a:endCxn id="195" idx="4"/>
          </p:cNvCxnSpPr>
          <p:nvPr/>
        </p:nvCxnSpPr>
        <p:spPr>
          <a:xfrm>
            <a:off x="9366862" y="2014098"/>
            <a:ext cx="0" cy="2217394"/>
          </a:xfrm>
          <a:prstGeom prst="line">
            <a:avLst/>
          </a:prstGeom>
          <a:ln w="50800">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86" name="Rectangle 286">
            <a:extLst>
              <a:ext uri="{FF2B5EF4-FFF2-40B4-BE49-F238E27FC236}">
                <a16:creationId xmlns:a16="http://schemas.microsoft.com/office/drawing/2014/main" id="{17CE03F0-E041-4641-5915-9668E07726AF}"/>
              </a:ext>
            </a:extLst>
          </p:cNvPr>
          <p:cNvSpPr txBox="1">
            <a:spLocks noChangeArrowheads="1"/>
          </p:cNvSpPr>
          <p:nvPr>
            <p:custDataLst>
              <p:tags r:id="rId5"/>
            </p:custDataLst>
          </p:nvPr>
        </p:nvSpPr>
        <p:spPr bwMode="gray">
          <a:xfrm>
            <a:off x="9600043" y="1812779"/>
            <a:ext cx="1653817" cy="335730"/>
          </a:xfrm>
          <a:prstGeom prst="roundRect">
            <a:avLst>
              <a:gd name="adj" fmla="val 0"/>
            </a:avLst>
          </a:prstGeom>
          <a:solidFill>
            <a:schemeClr val="tx2">
              <a:lumMod val="10000"/>
              <a:lumOff val="90000"/>
            </a:schemeClr>
          </a:solidFill>
          <a:ln w="9525" cap="flat" cmpd="sng" algn="ctr">
            <a:noFill/>
            <a:prstDash val="solid"/>
          </a:ln>
          <a:effectLst>
            <a:outerShdw blurRad="50800" dist="38100" dir="5400000" algn="t" rotWithShape="0">
              <a:schemeClr val="tx2">
                <a:lumMod val="60000"/>
                <a:lumOff val="40000"/>
                <a:alpha val="40000"/>
              </a:schemeClr>
            </a:outerShdw>
          </a:effectLst>
        </p:spPr>
        <p:txBody>
          <a:bodyPr anchor="ctr"/>
          <a:lstStyle>
            <a:defPPr>
              <a:defRPr lang="en-US"/>
            </a:defPPr>
            <a:lvl1pPr algn="ctr">
              <a:defRPr sz="11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FFFFFF"/>
              </a:solidFill>
              <a:effectLst/>
              <a:uLnTx/>
              <a:uFillTx/>
              <a:latin typeface="Century Gothic" panose="020B0502020202020204" pitchFamily="34" charset="0"/>
              <a:ea typeface="ＭＳ Ｐゴシック"/>
              <a:cs typeface="+mn-cs"/>
            </a:endParaRPr>
          </a:p>
        </p:txBody>
      </p:sp>
      <p:sp>
        <p:nvSpPr>
          <p:cNvPr id="187" name="TextBox 186">
            <a:extLst>
              <a:ext uri="{FF2B5EF4-FFF2-40B4-BE49-F238E27FC236}">
                <a16:creationId xmlns:a16="http://schemas.microsoft.com/office/drawing/2014/main" id="{CC675F86-F396-A475-1A1A-32C4A935B294}"/>
              </a:ext>
            </a:extLst>
          </p:cNvPr>
          <p:cNvSpPr txBox="1"/>
          <p:nvPr/>
        </p:nvSpPr>
        <p:spPr>
          <a:xfrm>
            <a:off x="9555994" y="1883411"/>
            <a:ext cx="1660882" cy="246927"/>
          </a:xfrm>
          <a:prstGeom prst="rect">
            <a:avLst/>
          </a:prstGeom>
          <a:noFill/>
        </p:spPr>
        <p:txBody>
          <a:bodyPr wrap="square">
            <a:spAutoFit/>
          </a:bodyPr>
          <a:lstStyle/>
          <a:p>
            <a:pPr marL="0" marR="0" lvl="0" indent="0" algn="l" defTabSz="914400" rtl="0" eaLnBrk="1" fontAlgn="auto" latinLnBrk="0" hangingPunct="1">
              <a:lnSpc>
                <a:spcPts val="1236"/>
              </a:lnSpc>
              <a:spcBef>
                <a:spcPts val="0"/>
              </a:spcBef>
              <a:spcAft>
                <a:spcPts val="0"/>
              </a:spcAft>
              <a:buClrTx/>
              <a:buSzTx/>
              <a:buFontTx/>
              <a:buNone/>
              <a:tabLst/>
              <a:defRPr/>
            </a:pPr>
            <a:r>
              <a:rPr kumimoji="0" lang="en-US" sz="1400" b="1" i="0" u="none" strike="noStrike" kern="1200" cap="none" spc="-24" normalizeH="0" baseline="0" noProof="0" dirty="0">
                <a:ln>
                  <a:noFill/>
                </a:ln>
                <a:solidFill>
                  <a:srgbClr val="156082"/>
                </a:solidFill>
                <a:effectLst/>
                <a:uLnTx/>
                <a:uFillTx/>
                <a:latin typeface="Century Gothic" panose="020B0502020202020204" pitchFamily="34" charset="0"/>
                <a:ea typeface="+mn-ea"/>
                <a:cs typeface="+mn-cs"/>
              </a:rPr>
              <a:t>Production</a:t>
            </a:r>
            <a:r>
              <a:rPr kumimoji="0" lang="ru-RU" sz="1400" b="1" i="0" u="none" strike="noStrike" kern="1200" cap="none" spc="-24" normalizeH="0" baseline="0" noProof="0" dirty="0">
                <a:ln>
                  <a:noFill/>
                </a:ln>
                <a:solidFill>
                  <a:srgbClr val="156082"/>
                </a:solidFill>
                <a:effectLst/>
                <a:uLnTx/>
                <a:uFillTx/>
                <a:latin typeface="Century Gothic" panose="020B0502020202020204" pitchFamily="34" charset="0"/>
                <a:ea typeface="+mn-ea"/>
                <a:cs typeface="+mn-cs"/>
              </a:rPr>
              <a:t> </a:t>
            </a:r>
            <a:endParaRPr kumimoji="0" lang="en-US" sz="1400" b="1" i="0" u="none" strike="noStrike" kern="1200" cap="none" spc="-24" normalizeH="0" baseline="0" noProof="0" dirty="0">
              <a:ln>
                <a:noFill/>
              </a:ln>
              <a:solidFill>
                <a:srgbClr val="156082"/>
              </a:solidFill>
              <a:effectLst/>
              <a:uLnTx/>
              <a:uFillTx/>
              <a:latin typeface="Century Gothic" panose="020B0502020202020204" pitchFamily="34" charset="0"/>
              <a:ea typeface="+mn-ea"/>
              <a:cs typeface="+mn-cs"/>
            </a:endParaRPr>
          </a:p>
        </p:txBody>
      </p:sp>
      <p:sp>
        <p:nvSpPr>
          <p:cNvPr id="192" name="Овал 191">
            <a:extLst>
              <a:ext uri="{FF2B5EF4-FFF2-40B4-BE49-F238E27FC236}">
                <a16:creationId xmlns:a16="http://schemas.microsoft.com/office/drawing/2014/main" id="{FB0F9A46-4BDC-0800-D73C-8A78B339569C}"/>
              </a:ext>
            </a:extLst>
          </p:cNvPr>
          <p:cNvSpPr/>
          <p:nvPr/>
        </p:nvSpPr>
        <p:spPr>
          <a:xfrm>
            <a:off x="9095680" y="2878351"/>
            <a:ext cx="518834" cy="546623"/>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195" name="Овал 194">
            <a:extLst>
              <a:ext uri="{FF2B5EF4-FFF2-40B4-BE49-F238E27FC236}">
                <a16:creationId xmlns:a16="http://schemas.microsoft.com/office/drawing/2014/main" id="{8C46CECE-4EFB-AC06-09E1-72CE8DA22814}"/>
              </a:ext>
            </a:extLst>
          </p:cNvPr>
          <p:cNvSpPr/>
          <p:nvPr/>
        </p:nvSpPr>
        <p:spPr>
          <a:xfrm>
            <a:off x="9107445" y="3684869"/>
            <a:ext cx="518834" cy="546623"/>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198" name="Треугольник 197">
            <a:extLst>
              <a:ext uri="{FF2B5EF4-FFF2-40B4-BE49-F238E27FC236}">
                <a16:creationId xmlns:a16="http://schemas.microsoft.com/office/drawing/2014/main" id="{24019F7C-19BE-2454-94A8-AECFCFAF3DF2}"/>
              </a:ext>
            </a:extLst>
          </p:cNvPr>
          <p:cNvSpPr/>
          <p:nvPr/>
        </p:nvSpPr>
        <p:spPr>
          <a:xfrm rot="5400000">
            <a:off x="8712940" y="3031409"/>
            <a:ext cx="210181" cy="200624"/>
          </a:xfrm>
          <a:prstGeom prst="triangle">
            <a:avLst/>
          </a:prstGeom>
          <a:solidFill>
            <a:schemeClr val="tx2">
              <a:lumMod val="25000"/>
              <a:lumOff val="75000"/>
            </a:schemeClr>
          </a:solidFill>
          <a:ln>
            <a:solidFill>
              <a:schemeClr val="tx2">
                <a:lumMod val="25000"/>
                <a:lumOff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03" name="Треугольник 202">
            <a:extLst>
              <a:ext uri="{FF2B5EF4-FFF2-40B4-BE49-F238E27FC236}">
                <a16:creationId xmlns:a16="http://schemas.microsoft.com/office/drawing/2014/main" id="{48D339C2-B42F-2DAB-DA6E-025B52079FE6}"/>
              </a:ext>
            </a:extLst>
          </p:cNvPr>
          <p:cNvSpPr/>
          <p:nvPr/>
        </p:nvSpPr>
        <p:spPr>
          <a:xfrm rot="5400000">
            <a:off x="5513618" y="3022483"/>
            <a:ext cx="210181" cy="200624"/>
          </a:xfrm>
          <a:prstGeom prst="triangle">
            <a:avLst/>
          </a:prstGeom>
          <a:solidFill>
            <a:schemeClr val="tx2">
              <a:lumMod val="25000"/>
              <a:lumOff val="75000"/>
            </a:schemeClr>
          </a:solidFill>
          <a:ln>
            <a:solidFill>
              <a:schemeClr val="tx2">
                <a:lumMod val="25000"/>
                <a:lumOff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04" name="Треугольник 203">
            <a:extLst>
              <a:ext uri="{FF2B5EF4-FFF2-40B4-BE49-F238E27FC236}">
                <a16:creationId xmlns:a16="http://schemas.microsoft.com/office/drawing/2014/main" id="{56C8F4BD-69E2-97C1-99AD-B2FF07599A56}"/>
              </a:ext>
            </a:extLst>
          </p:cNvPr>
          <p:cNvSpPr/>
          <p:nvPr/>
        </p:nvSpPr>
        <p:spPr>
          <a:xfrm rot="5400000">
            <a:off x="2426225" y="3031408"/>
            <a:ext cx="210181" cy="200624"/>
          </a:xfrm>
          <a:prstGeom prst="triangle">
            <a:avLst/>
          </a:prstGeom>
          <a:solidFill>
            <a:schemeClr val="tx2">
              <a:lumMod val="25000"/>
              <a:lumOff val="75000"/>
            </a:schemeClr>
          </a:solidFill>
          <a:ln>
            <a:solidFill>
              <a:schemeClr val="tx2">
                <a:lumMod val="25000"/>
                <a:lumOff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05" name="Прямоугольник 204">
            <a:extLst>
              <a:ext uri="{FF2B5EF4-FFF2-40B4-BE49-F238E27FC236}">
                <a16:creationId xmlns:a16="http://schemas.microsoft.com/office/drawing/2014/main" id="{AB916D10-D21D-DACB-94A2-2CE52933067F}"/>
              </a:ext>
            </a:extLst>
          </p:cNvPr>
          <p:cNvSpPr/>
          <p:nvPr/>
        </p:nvSpPr>
        <p:spPr>
          <a:xfrm>
            <a:off x="9484278" y="4955135"/>
            <a:ext cx="2022876" cy="1445078"/>
          </a:xfrm>
          <a:prstGeom prst="rect">
            <a:avLst/>
          </a:prstGeom>
          <a:ln>
            <a:solidFill>
              <a:srgbClr val="336699"/>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1"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v"/>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Landscaping</a:t>
            </a:r>
            <a:endParaRPr kumimoji="0" lang="kk-KZ"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kk-KZ"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v"/>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Reclamation</a:t>
            </a: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206" name="TextBox 205">
            <a:extLst>
              <a:ext uri="{FF2B5EF4-FFF2-40B4-BE49-F238E27FC236}">
                <a16:creationId xmlns:a16="http://schemas.microsoft.com/office/drawing/2014/main" id="{D1F5D829-AE4D-5F1E-423C-EECFF6315780}"/>
              </a:ext>
            </a:extLst>
          </p:cNvPr>
          <p:cNvSpPr txBox="1"/>
          <p:nvPr/>
        </p:nvSpPr>
        <p:spPr>
          <a:xfrm>
            <a:off x="9142951" y="4631577"/>
            <a:ext cx="2519362" cy="246927"/>
          </a:xfrm>
          <a:prstGeom prst="rect">
            <a:avLst/>
          </a:prstGeom>
          <a:noFill/>
        </p:spPr>
        <p:txBody>
          <a:bodyPr wrap="square">
            <a:spAutoFit/>
          </a:bodyPr>
          <a:lstStyle/>
          <a:p>
            <a:pPr marL="0" marR="0" lvl="0" indent="0" algn="ctr" defTabSz="914400" rtl="0" eaLnBrk="1" fontAlgn="auto" latinLnBrk="0" hangingPunct="1">
              <a:lnSpc>
                <a:spcPts val="1236"/>
              </a:lnSpc>
              <a:spcBef>
                <a:spcPts val="0"/>
              </a:spcBef>
              <a:spcAft>
                <a:spcPts val="0"/>
              </a:spcAft>
              <a:buClrTx/>
              <a:buSzTx/>
              <a:buFontTx/>
              <a:buNone/>
              <a:tabLst/>
              <a:defRPr/>
            </a:pPr>
            <a:r>
              <a:rPr kumimoji="0" lang="en-US" sz="1400" b="1" i="0" u="none" strike="noStrike" kern="1200" cap="none" spc="-24" normalizeH="0" baseline="0" noProof="0" dirty="0">
                <a:ln>
                  <a:noFill/>
                </a:ln>
                <a:solidFill>
                  <a:srgbClr val="156082"/>
                </a:solidFill>
                <a:effectLst/>
                <a:uLnTx/>
                <a:uFillTx/>
                <a:latin typeface="Century Gothic" panose="020B0502020202020204" pitchFamily="34" charset="0"/>
                <a:ea typeface="+mn-ea"/>
                <a:cs typeface="+mn-cs"/>
              </a:rPr>
              <a:t>Applications</a:t>
            </a:r>
            <a:r>
              <a:rPr kumimoji="0" lang="kk-KZ" sz="1400" b="0" i="0" u="none" strike="noStrike" kern="1200" cap="none" spc="-24" normalizeH="0" baseline="0" noProof="0" dirty="0">
                <a:ln>
                  <a:noFill/>
                </a:ln>
                <a:solidFill>
                  <a:srgbClr val="156082"/>
                </a:solidFill>
                <a:effectLst/>
                <a:uLnTx/>
                <a:uFillTx/>
                <a:latin typeface="Century Gothic" panose="020B0502020202020204" pitchFamily="34" charset="0"/>
                <a:ea typeface="+mn-ea"/>
                <a:cs typeface="+mn-cs"/>
              </a:rPr>
              <a:t> </a:t>
            </a:r>
            <a:endParaRPr kumimoji="0" lang="en-US" sz="1400" b="0" i="0" u="none" strike="noStrike" kern="1200" cap="none" spc="-24" normalizeH="0" baseline="0" noProof="0" dirty="0">
              <a:ln>
                <a:noFill/>
              </a:ln>
              <a:solidFill>
                <a:srgbClr val="156082"/>
              </a:solidFill>
              <a:effectLst/>
              <a:uLnTx/>
              <a:uFillTx/>
              <a:latin typeface="Century Gothic" panose="020B0502020202020204" pitchFamily="34" charset="0"/>
              <a:ea typeface="+mn-ea"/>
              <a:cs typeface="+mn-cs"/>
            </a:endParaRPr>
          </a:p>
        </p:txBody>
      </p:sp>
      <p:sp>
        <p:nvSpPr>
          <p:cNvPr id="207" name="Треугольник 206">
            <a:extLst>
              <a:ext uri="{FF2B5EF4-FFF2-40B4-BE49-F238E27FC236}">
                <a16:creationId xmlns:a16="http://schemas.microsoft.com/office/drawing/2014/main" id="{361EE1E4-499B-C5FE-72FF-39B5F89AB0E0}"/>
              </a:ext>
            </a:extLst>
          </p:cNvPr>
          <p:cNvSpPr/>
          <p:nvPr/>
        </p:nvSpPr>
        <p:spPr>
          <a:xfrm rot="10800000">
            <a:off x="10297542" y="4349685"/>
            <a:ext cx="210181" cy="200624"/>
          </a:xfrm>
          <a:prstGeom prst="triangle">
            <a:avLst/>
          </a:prstGeom>
          <a:solidFill>
            <a:schemeClr val="tx2">
              <a:lumMod val="25000"/>
              <a:lumOff val="75000"/>
            </a:schemeClr>
          </a:solidFill>
          <a:ln>
            <a:solidFill>
              <a:schemeClr val="tx2">
                <a:lumMod val="25000"/>
                <a:lumOff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22" name="TextBox 221">
            <a:extLst>
              <a:ext uri="{FF2B5EF4-FFF2-40B4-BE49-F238E27FC236}">
                <a16:creationId xmlns:a16="http://schemas.microsoft.com/office/drawing/2014/main" id="{E70ACA5D-CDD1-8F1D-8093-EBE99E062FD9}"/>
              </a:ext>
            </a:extLst>
          </p:cNvPr>
          <p:cNvSpPr txBox="1"/>
          <p:nvPr/>
        </p:nvSpPr>
        <p:spPr>
          <a:xfrm>
            <a:off x="509219" y="729277"/>
            <a:ext cx="11190173" cy="738664"/>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o assess the potential of the sector, it is essential to understand the structure of </a:t>
            </a:r>
            <a:r>
              <a:rPr kumimoji="0" lang="en-US" sz="1400" b="1" i="0" u="none" strike="noStrike" kern="1200" cap="none" spc="0" normalizeH="0" baseline="0" noProof="0" dirty="0" err="1">
                <a:ln>
                  <a:noFill/>
                </a:ln>
                <a:solidFill>
                  <a:srgbClr val="156082"/>
                </a:solidFill>
                <a:effectLst/>
                <a:uLnTx/>
                <a:uFillTx/>
                <a:latin typeface="Century Gothic" panose="020B0502020202020204" pitchFamily="34" charset="0"/>
                <a:ea typeface="+mn-ea"/>
                <a:cs typeface="+mn-cs"/>
              </a:rPr>
              <a:t>biofertilizer</a:t>
            </a:r>
            <a:r>
              <a:rPr kumimoji="0" lang="en-US" sz="1400" b="1" i="0" u="none" strike="noStrike" kern="1200" cap="none" spc="0" normalizeH="0" baseline="0" noProof="0" dirty="0">
                <a:ln>
                  <a:noFill/>
                </a:ln>
                <a:solidFill>
                  <a:srgbClr val="156082"/>
                </a:solidFill>
                <a:effectLst/>
                <a:uLnTx/>
                <a:uFillTx/>
                <a:latin typeface="Century Gothic" panose="020B0502020202020204" pitchFamily="34" charset="0"/>
                <a:ea typeface="+mn-ea"/>
                <a:cs typeface="+mn-cs"/>
              </a:rPr>
              <a:t> production</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he illustrated value chain helps visualize the </a:t>
            </a:r>
            <a:r>
              <a:rPr kumimoji="0" lang="en-US" sz="1400" b="1" i="0" u="none" strike="noStrike" kern="1200" cap="none" spc="0" normalizeH="0" baseline="0" noProof="0" dirty="0">
                <a:ln>
                  <a:noFill/>
                </a:ln>
                <a:solidFill>
                  <a:srgbClr val="156082"/>
                </a:solidFill>
                <a:effectLst/>
                <a:uLnTx/>
                <a:uFillTx/>
                <a:latin typeface="Century Gothic" panose="020B0502020202020204" pitchFamily="34" charset="0"/>
                <a:ea typeface="+mn-ea"/>
                <a:cs typeface="+mn-cs"/>
              </a:rPr>
              <a:t>key stages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of the process and identify </a:t>
            </a:r>
            <a:r>
              <a:rPr kumimoji="0" lang="en-US" sz="1400" b="1" i="0" u="none" strike="noStrike" kern="1200" cap="none" spc="0" normalizeH="0" baseline="0" noProof="0" dirty="0">
                <a:ln>
                  <a:noFill/>
                </a:ln>
                <a:solidFill>
                  <a:srgbClr val="156082"/>
                </a:solidFill>
                <a:effectLst/>
                <a:uLnTx/>
                <a:uFillTx/>
                <a:latin typeface="Century Gothic" panose="020B0502020202020204" pitchFamily="34" charset="0"/>
                <a:ea typeface="+mn-ea"/>
                <a:cs typeface="+mn-cs"/>
              </a:rPr>
              <a:t>value-added points that are attractive for localization and investment</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t>
            </a:r>
            <a:endParaRPr kumimoji="0" lang="ru-KZ" sz="1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229" name="Овал 228">
            <a:extLst>
              <a:ext uri="{FF2B5EF4-FFF2-40B4-BE49-F238E27FC236}">
                <a16:creationId xmlns:a16="http://schemas.microsoft.com/office/drawing/2014/main" id="{BFCC7E50-E002-F091-A067-19126793F5CC}"/>
              </a:ext>
            </a:extLst>
          </p:cNvPr>
          <p:cNvSpPr/>
          <p:nvPr/>
        </p:nvSpPr>
        <p:spPr>
          <a:xfrm>
            <a:off x="336583" y="2932653"/>
            <a:ext cx="419347" cy="430611"/>
          </a:xfrm>
          <a:prstGeom prst="ellipse">
            <a:avLst/>
          </a:prstGeom>
          <a:solidFill>
            <a:schemeClr val="bg1"/>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230" name="Овал 229">
            <a:extLst>
              <a:ext uri="{FF2B5EF4-FFF2-40B4-BE49-F238E27FC236}">
                <a16:creationId xmlns:a16="http://schemas.microsoft.com/office/drawing/2014/main" id="{32646263-F24B-A98C-DF78-0566971C3E1E}"/>
              </a:ext>
            </a:extLst>
          </p:cNvPr>
          <p:cNvSpPr/>
          <p:nvPr/>
        </p:nvSpPr>
        <p:spPr>
          <a:xfrm>
            <a:off x="3079302" y="2941493"/>
            <a:ext cx="419347" cy="430611"/>
          </a:xfrm>
          <a:prstGeom prst="ellipse">
            <a:avLst/>
          </a:prstGeom>
          <a:solidFill>
            <a:schemeClr val="bg1"/>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231" name="Овал 230">
            <a:extLst>
              <a:ext uri="{FF2B5EF4-FFF2-40B4-BE49-F238E27FC236}">
                <a16:creationId xmlns:a16="http://schemas.microsoft.com/office/drawing/2014/main" id="{4EC63E1C-88DB-A767-3121-4A57A2396A28}"/>
              </a:ext>
            </a:extLst>
          </p:cNvPr>
          <p:cNvSpPr/>
          <p:nvPr/>
        </p:nvSpPr>
        <p:spPr>
          <a:xfrm>
            <a:off x="6047154" y="2932701"/>
            <a:ext cx="419347" cy="430611"/>
          </a:xfrm>
          <a:prstGeom prst="ellipse">
            <a:avLst/>
          </a:prstGeom>
          <a:solidFill>
            <a:schemeClr val="bg1"/>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232" name="Овал 231">
            <a:extLst>
              <a:ext uri="{FF2B5EF4-FFF2-40B4-BE49-F238E27FC236}">
                <a16:creationId xmlns:a16="http://schemas.microsoft.com/office/drawing/2014/main" id="{F36CB1CF-8BD4-7554-8B57-31B3CAC55B2B}"/>
              </a:ext>
            </a:extLst>
          </p:cNvPr>
          <p:cNvSpPr/>
          <p:nvPr/>
        </p:nvSpPr>
        <p:spPr>
          <a:xfrm>
            <a:off x="9140308" y="2932122"/>
            <a:ext cx="419347" cy="430611"/>
          </a:xfrm>
          <a:prstGeom prst="ellipse">
            <a:avLst/>
          </a:prstGeom>
          <a:solidFill>
            <a:schemeClr val="bg1"/>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233" name="Овал 232">
            <a:extLst>
              <a:ext uri="{FF2B5EF4-FFF2-40B4-BE49-F238E27FC236}">
                <a16:creationId xmlns:a16="http://schemas.microsoft.com/office/drawing/2014/main" id="{13368B31-FD24-EE50-D022-66353A7DFA33}"/>
              </a:ext>
            </a:extLst>
          </p:cNvPr>
          <p:cNvSpPr/>
          <p:nvPr/>
        </p:nvSpPr>
        <p:spPr>
          <a:xfrm>
            <a:off x="9157188" y="3742874"/>
            <a:ext cx="419347" cy="430611"/>
          </a:xfrm>
          <a:prstGeom prst="ellipse">
            <a:avLst/>
          </a:prstGeom>
          <a:solidFill>
            <a:schemeClr val="bg1"/>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pic>
        <p:nvPicPr>
          <p:cNvPr id="4" name="Рисунок 3"/>
          <p:cNvPicPr>
            <a:picLocks noChangeAspect="1"/>
          </p:cNvPicPr>
          <p:nvPr/>
        </p:nvPicPr>
        <p:blipFill>
          <a:blip r:embed="rId10">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95670" y="3001508"/>
            <a:ext cx="314869" cy="314869"/>
          </a:xfrm>
          <a:prstGeom prst="rect">
            <a:avLst/>
          </a:prstGeom>
        </p:spPr>
      </p:pic>
      <p:pic>
        <p:nvPicPr>
          <p:cNvPr id="5" name="Рисунок 4"/>
          <p:cNvPicPr>
            <a:picLocks noChangeAspect="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119102" y="2997761"/>
            <a:ext cx="322447" cy="322447"/>
          </a:xfrm>
          <a:prstGeom prst="rect">
            <a:avLst/>
          </a:prstGeom>
        </p:spPr>
      </p:pic>
      <p:pic>
        <p:nvPicPr>
          <p:cNvPr id="6" name="Рисунок 5"/>
          <p:cNvPicPr>
            <a:picLocks noChangeAspect="1"/>
          </p:cNvPicPr>
          <p:nvPr/>
        </p:nvPicPr>
        <p:blipFill>
          <a:blip r:embed="rId12">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6116142" y="3008223"/>
            <a:ext cx="277086" cy="277086"/>
          </a:xfrm>
          <a:prstGeom prst="rect">
            <a:avLst/>
          </a:prstGeom>
        </p:spPr>
      </p:pic>
      <p:pic>
        <p:nvPicPr>
          <p:cNvPr id="7" name="Рисунок 6"/>
          <p:cNvPicPr>
            <a:picLocks noChangeAspect="1"/>
          </p:cNvPicPr>
          <p:nvPr/>
        </p:nvPicPr>
        <p:blipFill>
          <a:blip r:embed="rId13">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176238" y="2974995"/>
            <a:ext cx="361165" cy="361165"/>
          </a:xfrm>
          <a:prstGeom prst="rect">
            <a:avLst/>
          </a:prstGeom>
        </p:spPr>
      </p:pic>
      <p:sp>
        <p:nvSpPr>
          <p:cNvPr id="78" name="Прямоугольник: скругленные углы 10">
            <a:extLst>
              <a:ext uri="{FF2B5EF4-FFF2-40B4-BE49-F238E27FC236}">
                <a16:creationId xmlns:a16="http://schemas.microsoft.com/office/drawing/2014/main" id="{8BA38267-63B7-1BD1-CD9F-505D136A390B}"/>
              </a:ext>
            </a:extLst>
          </p:cNvPr>
          <p:cNvSpPr/>
          <p:nvPr/>
        </p:nvSpPr>
        <p:spPr>
          <a:xfrm>
            <a:off x="6483688" y="4005586"/>
            <a:ext cx="1723614" cy="363365"/>
          </a:xfrm>
          <a:prstGeom prst="roundRect">
            <a:avLst/>
          </a:prstGeom>
          <a:noFill/>
          <a:ln>
            <a:solidFill>
              <a:schemeClr val="tx2">
                <a:lumMod val="75000"/>
                <a:lumOff val="2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Activ</a:t>
            </a: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e microflora</a:t>
            </a:r>
            <a:endParaRPr kumimoji="0" lang="ru-RU" sz="9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pic>
        <p:nvPicPr>
          <p:cNvPr id="9" name="Рисунок 8"/>
          <p:cNvPicPr>
            <a:picLocks noChangeAspect="1"/>
          </p:cNvPicPr>
          <p:nvPr/>
        </p:nvPicPr>
        <p:blipFill>
          <a:blip r:embed="rId14">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209426" y="3791393"/>
            <a:ext cx="314869" cy="314869"/>
          </a:xfrm>
          <a:prstGeom prst="rect">
            <a:avLst/>
          </a:prstGeom>
        </p:spPr>
      </p:pic>
      <p:grpSp>
        <p:nvGrpSpPr>
          <p:cNvPr id="37" name="Группа 36">
            <a:extLst>
              <a:ext uri="{FF2B5EF4-FFF2-40B4-BE49-F238E27FC236}">
                <a16:creationId xmlns:a16="http://schemas.microsoft.com/office/drawing/2014/main" id="{E90901CE-DCA0-AA86-EE4B-A13D652621A3}"/>
              </a:ext>
            </a:extLst>
          </p:cNvPr>
          <p:cNvGrpSpPr/>
          <p:nvPr/>
        </p:nvGrpSpPr>
        <p:grpSpPr>
          <a:xfrm>
            <a:off x="3150875" y="1815651"/>
            <a:ext cx="294640" cy="294640"/>
            <a:chOff x="2501900" y="2336800"/>
            <a:chExt cx="294640" cy="294640"/>
          </a:xfrm>
        </p:grpSpPr>
        <p:sp>
          <p:nvSpPr>
            <p:cNvPr id="40" name="Овал 39">
              <a:extLst>
                <a:ext uri="{FF2B5EF4-FFF2-40B4-BE49-F238E27FC236}">
                  <a16:creationId xmlns:a16="http://schemas.microsoft.com/office/drawing/2014/main" id="{13C0C2F9-BF16-3B6C-4916-8A8838EA531C}"/>
                </a:ext>
              </a:extLst>
            </p:cNvPr>
            <p:cNvSpPr/>
            <p:nvPr/>
          </p:nvSpPr>
          <p:spPr>
            <a:xfrm>
              <a:off x="2501900" y="2336800"/>
              <a:ext cx="294640" cy="294640"/>
            </a:xfrm>
            <a:prstGeom prst="ellipse">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Rubik Bold" panose="020B0604020202020204"/>
              </a:endParaRPr>
            </a:p>
          </p:txBody>
        </p:sp>
        <p:sp>
          <p:nvSpPr>
            <p:cNvPr id="42" name="Овал 41">
              <a:extLst>
                <a:ext uri="{FF2B5EF4-FFF2-40B4-BE49-F238E27FC236}">
                  <a16:creationId xmlns:a16="http://schemas.microsoft.com/office/drawing/2014/main" id="{B37F1218-2B97-416E-FADE-D3A333AB9BA7}"/>
                </a:ext>
              </a:extLst>
            </p:cNvPr>
            <p:cNvSpPr/>
            <p:nvPr/>
          </p:nvSpPr>
          <p:spPr>
            <a:xfrm>
              <a:off x="2593340" y="2420620"/>
              <a:ext cx="125222" cy="125222"/>
            </a:xfrm>
            <a:prstGeom prst="ellipse">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Rubik Bold" panose="020B0604020202020204"/>
              </a:endParaRPr>
            </a:p>
          </p:txBody>
        </p:sp>
      </p:grpSp>
      <p:grpSp>
        <p:nvGrpSpPr>
          <p:cNvPr id="43" name="Группа 42">
            <a:extLst>
              <a:ext uri="{FF2B5EF4-FFF2-40B4-BE49-F238E27FC236}">
                <a16:creationId xmlns:a16="http://schemas.microsoft.com/office/drawing/2014/main" id="{137B337A-A1EA-77CB-2153-49C656B67E4A}"/>
              </a:ext>
            </a:extLst>
          </p:cNvPr>
          <p:cNvGrpSpPr/>
          <p:nvPr/>
        </p:nvGrpSpPr>
        <p:grpSpPr>
          <a:xfrm>
            <a:off x="6108183" y="1819779"/>
            <a:ext cx="294640" cy="294640"/>
            <a:chOff x="2501900" y="2336800"/>
            <a:chExt cx="294640" cy="294640"/>
          </a:xfrm>
        </p:grpSpPr>
        <p:sp>
          <p:nvSpPr>
            <p:cNvPr id="49" name="Овал 48">
              <a:extLst>
                <a:ext uri="{FF2B5EF4-FFF2-40B4-BE49-F238E27FC236}">
                  <a16:creationId xmlns:a16="http://schemas.microsoft.com/office/drawing/2014/main" id="{0A457375-A6EA-B747-A882-2215E98DD4CA}"/>
                </a:ext>
              </a:extLst>
            </p:cNvPr>
            <p:cNvSpPr/>
            <p:nvPr/>
          </p:nvSpPr>
          <p:spPr>
            <a:xfrm>
              <a:off x="2501900" y="2336800"/>
              <a:ext cx="294640" cy="294640"/>
            </a:xfrm>
            <a:prstGeom prst="ellipse">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Rubik Bold" panose="020B0604020202020204"/>
              </a:endParaRPr>
            </a:p>
          </p:txBody>
        </p:sp>
        <p:sp>
          <p:nvSpPr>
            <p:cNvPr id="51" name="Овал 50">
              <a:extLst>
                <a:ext uri="{FF2B5EF4-FFF2-40B4-BE49-F238E27FC236}">
                  <a16:creationId xmlns:a16="http://schemas.microsoft.com/office/drawing/2014/main" id="{588BA29E-BE47-08BB-38EA-FE47E6E29D12}"/>
                </a:ext>
              </a:extLst>
            </p:cNvPr>
            <p:cNvSpPr/>
            <p:nvPr/>
          </p:nvSpPr>
          <p:spPr>
            <a:xfrm>
              <a:off x="2593340" y="2420620"/>
              <a:ext cx="125222" cy="125222"/>
            </a:xfrm>
            <a:prstGeom prst="ellipse">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Rubik Bold" panose="020B0604020202020204"/>
              </a:endParaRPr>
            </a:p>
          </p:txBody>
        </p:sp>
      </p:grpSp>
      <p:cxnSp>
        <p:nvCxnSpPr>
          <p:cNvPr id="71" name="Прямая соединительная линия 70">
            <a:extLst>
              <a:ext uri="{FF2B5EF4-FFF2-40B4-BE49-F238E27FC236}">
                <a16:creationId xmlns:a16="http://schemas.microsoft.com/office/drawing/2014/main" id="{F5F3A2BE-92B5-0411-C770-09FE5FB7971E}"/>
              </a:ext>
            </a:extLst>
          </p:cNvPr>
          <p:cNvCxnSpPr>
            <a:cxnSpLocks/>
          </p:cNvCxnSpPr>
          <p:nvPr/>
        </p:nvCxnSpPr>
        <p:spPr>
          <a:xfrm>
            <a:off x="8146214" y="3159948"/>
            <a:ext cx="217661" cy="836"/>
          </a:xfrm>
          <a:prstGeom prst="line">
            <a:avLst/>
          </a:prstGeom>
        </p:spPr>
        <p:style>
          <a:lnRef idx="1">
            <a:schemeClr val="accent1"/>
          </a:lnRef>
          <a:fillRef idx="0">
            <a:schemeClr val="accent1"/>
          </a:fillRef>
          <a:effectRef idx="0">
            <a:schemeClr val="accent1"/>
          </a:effectRef>
          <a:fontRef idx="minor">
            <a:schemeClr val="tx1"/>
          </a:fontRef>
        </p:style>
      </p:cxnSp>
      <p:graphicFrame>
        <p:nvGraphicFramePr>
          <p:cNvPr id="70" name="Диаграмма 69"/>
          <p:cNvGraphicFramePr/>
          <p:nvPr/>
        </p:nvGraphicFramePr>
        <p:xfrm>
          <a:off x="309845" y="3760773"/>
          <a:ext cx="5806297" cy="2595495"/>
        </p:xfrm>
        <a:graphic>
          <a:graphicData uri="http://schemas.openxmlformats.org/drawingml/2006/chart">
            <c:chart xmlns:c="http://schemas.openxmlformats.org/drawingml/2006/chart" xmlns:r="http://schemas.openxmlformats.org/officeDocument/2006/relationships" r:id="rId15"/>
          </a:graphicData>
        </a:graphic>
      </p:graphicFrame>
      <p:sp>
        <p:nvSpPr>
          <p:cNvPr id="72" name="TextBox 71">
            <a:extLst>
              <a:ext uri="{FF2B5EF4-FFF2-40B4-BE49-F238E27FC236}">
                <a16:creationId xmlns:a16="http://schemas.microsoft.com/office/drawing/2014/main" id="{7CEDF362-60AD-11DB-C89D-2F2153DA57DD}"/>
              </a:ext>
            </a:extLst>
          </p:cNvPr>
          <p:cNvSpPr txBox="1"/>
          <p:nvPr/>
        </p:nvSpPr>
        <p:spPr>
          <a:xfrm>
            <a:off x="710539" y="3735924"/>
            <a:ext cx="5042602"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reas treated with organic fertilizers, million hectares</a:t>
            </a:r>
            <a:endParaRPr kumimoji="0" lang="ru-RU" sz="11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73" name="TextBox 72">
            <a:extLst>
              <a:ext uri="{FF2B5EF4-FFF2-40B4-BE49-F238E27FC236}">
                <a16:creationId xmlns:a16="http://schemas.microsoft.com/office/drawing/2014/main" id="{7CEDF362-60AD-11DB-C89D-2F2153DA57DD}"/>
              </a:ext>
            </a:extLst>
          </p:cNvPr>
          <p:cNvSpPr txBox="1"/>
          <p:nvPr/>
        </p:nvSpPr>
        <p:spPr>
          <a:xfrm>
            <a:off x="2970601" y="6375347"/>
            <a:ext cx="3079782" cy="21544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80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t>
            </a:r>
            <a:r>
              <a:rPr kumimoji="0" lang="en-US" sz="80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reas of application have increased 12 times since 2020</a:t>
            </a:r>
            <a:endParaRPr kumimoji="0" lang="ru-RU" sz="80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74" name="TextBox 73">
            <a:extLst>
              <a:ext uri="{FF2B5EF4-FFF2-40B4-BE49-F238E27FC236}">
                <a16:creationId xmlns:a16="http://schemas.microsoft.com/office/drawing/2014/main" id="{A196E4F8-8A51-4AE5-BF7E-4772E11CAEF3}"/>
              </a:ext>
            </a:extLst>
          </p:cNvPr>
          <p:cNvSpPr txBox="1"/>
          <p:nvPr/>
        </p:nvSpPr>
        <p:spPr>
          <a:xfrm>
            <a:off x="16218" y="6641124"/>
            <a:ext cx="11393321"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Times New Roman" panose="02020603050405020304" pitchFamily="18" charset="0"/>
              </a:rPr>
              <a:t>Source: The Bureau of National Statistics of the Agency for Strategic Planning and Reforms of the Republic of Kazakhstan</a:t>
            </a:r>
            <a:endParaRPr kumimoji="0" lang="en"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Times New Roman" panose="02020603050405020304" pitchFamily="18" charset="0"/>
            </a:endParaRPr>
          </a:p>
        </p:txBody>
      </p:sp>
    </p:spTree>
    <p:extLst>
      <p:ext uri="{BB962C8B-B14F-4D97-AF65-F5344CB8AC3E}">
        <p14:creationId xmlns:p14="http://schemas.microsoft.com/office/powerpoint/2010/main" val="29631859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5E6E48-62EF-5C36-1A32-B53F89F842FD}"/>
            </a:ext>
          </a:extLst>
        </p:cNvPr>
        <p:cNvGrpSpPr/>
        <p:nvPr/>
      </p:nvGrpSpPr>
      <p:grpSpPr>
        <a:xfrm>
          <a:off x="0" y="0"/>
          <a:ext cx="0" cy="0"/>
          <a:chOff x="0" y="0"/>
          <a:chExt cx="0" cy="0"/>
        </a:xfrm>
      </p:grpSpPr>
      <p:sp>
        <p:nvSpPr>
          <p:cNvPr id="3" name="Прямоугольник 2">
            <a:extLst>
              <a:ext uri="{FF2B5EF4-FFF2-40B4-BE49-F238E27FC236}">
                <a16:creationId xmlns:a16="http://schemas.microsoft.com/office/drawing/2014/main" id="{895D1ABD-7C20-80F6-07DB-99D52BAAC6A3}"/>
              </a:ext>
            </a:extLst>
          </p:cNvPr>
          <p:cNvSpPr/>
          <p:nvPr/>
        </p:nvSpPr>
        <p:spPr>
          <a:xfrm>
            <a:off x="297685" y="82544"/>
            <a:ext cx="11570465" cy="954107"/>
          </a:xfrm>
          <a:prstGeom prst="rect">
            <a:avLst/>
          </a:prstGeom>
        </p:spPr>
        <p:txBody>
          <a:bodyPr wrap="square">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US" sz="28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mn-cs"/>
              </a:rPr>
              <a:t>RAW MATERIAL POTENTIAL FOR THE PRODUCTION OF BIOFEED AND BIOFERTILIZERS IN KAZAKHSTAN</a:t>
            </a:r>
            <a:endParaRPr kumimoji="0" lang="ru-RU" sz="28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mn-cs"/>
            </a:endParaRPr>
          </a:p>
        </p:txBody>
      </p:sp>
      <p:graphicFrame>
        <p:nvGraphicFramePr>
          <p:cNvPr id="6" name="Диаграмма 5"/>
          <p:cNvGraphicFramePr/>
          <p:nvPr/>
        </p:nvGraphicFramePr>
        <p:xfrm>
          <a:off x="371794" y="1990691"/>
          <a:ext cx="5314522" cy="222411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Диаграмма 30"/>
          <p:cNvGraphicFramePr/>
          <p:nvPr/>
        </p:nvGraphicFramePr>
        <p:xfrm>
          <a:off x="401898" y="4280231"/>
          <a:ext cx="5242307" cy="2310876"/>
        </p:xfrm>
        <a:graphic>
          <a:graphicData uri="http://schemas.openxmlformats.org/drawingml/2006/chart">
            <c:chart xmlns:c="http://schemas.openxmlformats.org/drawingml/2006/chart" xmlns:r="http://schemas.openxmlformats.org/officeDocument/2006/relationships" r:id="rId4"/>
          </a:graphicData>
        </a:graphic>
      </p:graphicFrame>
      <p:sp>
        <p:nvSpPr>
          <p:cNvPr id="11" name="Прямоугольник 10">
            <a:extLst>
              <a:ext uri="{FF2B5EF4-FFF2-40B4-BE49-F238E27FC236}">
                <a16:creationId xmlns:a16="http://schemas.microsoft.com/office/drawing/2014/main" id="{0B6A52F8-EB3A-1A0D-E9B5-9FD074529C8F}"/>
              </a:ext>
            </a:extLst>
          </p:cNvPr>
          <p:cNvSpPr/>
          <p:nvPr/>
        </p:nvSpPr>
        <p:spPr>
          <a:xfrm>
            <a:off x="371794" y="1070970"/>
            <a:ext cx="11496356" cy="892552"/>
          </a:xfrm>
          <a:prstGeom prst="rect">
            <a:avLst/>
          </a:prstGeom>
          <a:noFill/>
          <a:ln w="19050">
            <a:solidFill>
              <a:schemeClr val="accent1"/>
            </a:solidFill>
            <a:prstDash val="sysDot"/>
          </a:ln>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On average, 1 ton of processed grain and oilseed crops yields up to 300–400 kg of plant residues (such as straw, husks, and oilseed meal) suitable for further processing.</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One ton of sugar beet produces approximately 30–50 kg of molasses.</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Annually, one head of cattle generates up to 8–10 tons of manure, while 1,000 poultry produce around 15 tons of litter.</a:t>
            </a:r>
            <a:endParaRPr kumimoji="0" lang="ru-RU" sz="13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grpSp>
        <p:nvGrpSpPr>
          <p:cNvPr id="12" name="Группа 11">
            <a:extLst>
              <a:ext uri="{FF2B5EF4-FFF2-40B4-BE49-F238E27FC236}">
                <a16:creationId xmlns:a16="http://schemas.microsoft.com/office/drawing/2014/main" id="{AC93AA9D-9A81-C19E-D936-7EFFBCF4E6F1}"/>
              </a:ext>
            </a:extLst>
          </p:cNvPr>
          <p:cNvGrpSpPr/>
          <p:nvPr/>
        </p:nvGrpSpPr>
        <p:grpSpPr>
          <a:xfrm>
            <a:off x="6148459" y="2509253"/>
            <a:ext cx="5424415" cy="3225869"/>
            <a:chOff x="135165" y="90519"/>
            <a:chExt cx="11892752" cy="6652893"/>
          </a:xfrm>
          <a:solidFill>
            <a:schemeClr val="bg2">
              <a:lumMod val="90000"/>
              <a:alpha val="83000"/>
            </a:schemeClr>
          </a:solidFill>
        </p:grpSpPr>
        <p:grpSp>
          <p:nvGrpSpPr>
            <p:cNvPr id="13" name="组合 99">
              <a:extLst>
                <a:ext uri="{FF2B5EF4-FFF2-40B4-BE49-F238E27FC236}">
                  <a16:creationId xmlns:a16="http://schemas.microsoft.com/office/drawing/2014/main" id="{6423A1D6-9B1A-3FFD-19DB-FD2F5294768B}"/>
                </a:ext>
              </a:extLst>
            </p:cNvPr>
            <p:cNvGrpSpPr/>
            <p:nvPr/>
          </p:nvGrpSpPr>
          <p:grpSpPr>
            <a:xfrm>
              <a:off x="135165" y="90519"/>
              <a:ext cx="11892752" cy="6652893"/>
              <a:chOff x="719138" y="2320925"/>
              <a:chExt cx="5994400" cy="3346451"/>
            </a:xfrm>
            <a:grpFill/>
          </p:grpSpPr>
          <p:sp>
            <p:nvSpPr>
              <p:cNvPr id="17" name="任意多边形 93">
                <a:extLst>
                  <a:ext uri="{FF2B5EF4-FFF2-40B4-BE49-F238E27FC236}">
                    <a16:creationId xmlns:a16="http://schemas.microsoft.com/office/drawing/2014/main" id="{51260313-D88E-EA19-B9F1-4F5DDE19C191}"/>
                  </a:ext>
                </a:extLst>
              </p:cNvPr>
              <p:cNvSpPr>
                <a:spLocks/>
              </p:cNvSpPr>
              <p:nvPr/>
            </p:nvSpPr>
            <p:spPr bwMode="auto">
              <a:xfrm>
                <a:off x="3622214" y="2320925"/>
                <a:ext cx="1061551" cy="680403"/>
              </a:xfrm>
              <a:custGeom>
                <a:avLst/>
                <a:gdLst/>
                <a:ahLst/>
                <a:cxnLst/>
                <a:rect l="0" t="0" r="r" b="b"/>
                <a:pathLst>
                  <a:path w="12998892" h="8330529">
                    <a:moveTo>
                      <a:pt x="56654" y="7407720"/>
                    </a:moveTo>
                    <a:lnTo>
                      <a:pt x="0" y="6577494"/>
                    </a:lnTo>
                    <a:lnTo>
                      <a:pt x="534863" y="6069743"/>
                    </a:lnTo>
                    <a:lnTo>
                      <a:pt x="401029" y="5783984"/>
                    </a:lnTo>
                    <a:lnTo>
                      <a:pt x="534867" y="5505456"/>
                    </a:lnTo>
                    <a:lnTo>
                      <a:pt x="390176" y="4955630"/>
                    </a:lnTo>
                    <a:lnTo>
                      <a:pt x="708496" y="4716894"/>
                    </a:lnTo>
                    <a:lnTo>
                      <a:pt x="136963" y="4120046"/>
                    </a:lnTo>
                    <a:lnTo>
                      <a:pt x="777226" y="3678742"/>
                    </a:lnTo>
                    <a:lnTo>
                      <a:pt x="263569" y="3411068"/>
                    </a:lnTo>
                    <a:lnTo>
                      <a:pt x="223777" y="3092748"/>
                    </a:lnTo>
                    <a:lnTo>
                      <a:pt x="650619" y="3027641"/>
                    </a:lnTo>
                    <a:lnTo>
                      <a:pt x="321446" y="2535692"/>
                    </a:lnTo>
                    <a:lnTo>
                      <a:pt x="419114" y="2268018"/>
                    </a:lnTo>
                    <a:lnTo>
                      <a:pt x="1099154" y="1909906"/>
                    </a:lnTo>
                    <a:lnTo>
                      <a:pt x="2083052" y="1555417"/>
                    </a:lnTo>
                    <a:lnTo>
                      <a:pt x="2958428" y="1229866"/>
                    </a:lnTo>
                    <a:lnTo>
                      <a:pt x="3435901" y="1327534"/>
                    </a:lnTo>
                    <a:lnTo>
                      <a:pt x="3511862" y="864523"/>
                    </a:lnTo>
                    <a:lnTo>
                      <a:pt x="4097856" y="314697"/>
                    </a:lnTo>
                    <a:lnTo>
                      <a:pt x="4752581" y="0"/>
                    </a:lnTo>
                    <a:lnTo>
                      <a:pt x="5728272" y="81578"/>
                    </a:lnTo>
                    <a:lnTo>
                      <a:pt x="6463541" y="694516"/>
                    </a:lnTo>
                    <a:lnTo>
                      <a:pt x="6987061" y="262437"/>
                    </a:lnTo>
                    <a:lnTo>
                      <a:pt x="7422109" y="231505"/>
                    </a:lnTo>
                    <a:lnTo>
                      <a:pt x="7816390" y="549826"/>
                    </a:lnTo>
                    <a:lnTo>
                      <a:pt x="7921289" y="1464994"/>
                    </a:lnTo>
                    <a:lnTo>
                      <a:pt x="8246840" y="1884590"/>
                    </a:lnTo>
                    <a:lnTo>
                      <a:pt x="8275778" y="2684005"/>
                    </a:lnTo>
                    <a:lnTo>
                      <a:pt x="7888728" y="3085517"/>
                    </a:lnTo>
                    <a:lnTo>
                      <a:pt x="8333655" y="3530443"/>
                    </a:lnTo>
                    <a:lnTo>
                      <a:pt x="8756874" y="3114455"/>
                    </a:lnTo>
                    <a:lnTo>
                      <a:pt x="8908795" y="3327876"/>
                    </a:lnTo>
                    <a:lnTo>
                      <a:pt x="9899924" y="2698467"/>
                    </a:lnTo>
                    <a:lnTo>
                      <a:pt x="10301436" y="3114455"/>
                    </a:lnTo>
                    <a:cubicBezTo>
                      <a:pt x="10303846" y="3332697"/>
                      <a:pt x="10306257" y="3550938"/>
                      <a:pt x="10308667" y="3769180"/>
                    </a:cubicBezTo>
                    <a:lnTo>
                      <a:pt x="10731886" y="3700450"/>
                    </a:lnTo>
                    <a:lnTo>
                      <a:pt x="10876577" y="3150624"/>
                    </a:lnTo>
                    <a:lnTo>
                      <a:pt x="11173189" y="3063810"/>
                    </a:lnTo>
                    <a:lnTo>
                      <a:pt x="11607262" y="3508736"/>
                    </a:lnTo>
                    <a:lnTo>
                      <a:pt x="12081127" y="3664281"/>
                    </a:lnTo>
                    <a:lnTo>
                      <a:pt x="12475408" y="3237439"/>
                    </a:lnTo>
                    <a:lnTo>
                      <a:pt x="12714144" y="3682365"/>
                    </a:lnTo>
                    <a:lnTo>
                      <a:pt x="12583930" y="3874079"/>
                    </a:lnTo>
                    <a:lnTo>
                      <a:pt x="12160711" y="4036854"/>
                    </a:lnTo>
                    <a:lnTo>
                      <a:pt x="11864098" y="4402197"/>
                    </a:lnTo>
                    <a:lnTo>
                      <a:pt x="11889413" y="4915838"/>
                    </a:lnTo>
                    <a:lnTo>
                      <a:pt x="11940051" y="5440349"/>
                    </a:lnTo>
                    <a:lnTo>
                      <a:pt x="12374124" y="5132875"/>
                    </a:lnTo>
                    <a:lnTo>
                      <a:pt x="12536899" y="5548867"/>
                    </a:lnTo>
                    <a:lnTo>
                      <a:pt x="12066654" y="5783984"/>
                    </a:lnTo>
                    <a:lnTo>
                      <a:pt x="12482642" y="6037197"/>
                    </a:lnTo>
                    <a:lnTo>
                      <a:pt x="12998892" y="6082556"/>
                    </a:lnTo>
                    <a:lnTo>
                      <a:pt x="12934799" y="6507438"/>
                    </a:lnTo>
                    <a:lnTo>
                      <a:pt x="12573072" y="6579784"/>
                    </a:lnTo>
                    <a:lnTo>
                      <a:pt x="12756883" y="7003998"/>
                    </a:lnTo>
                    <a:lnTo>
                      <a:pt x="12012393" y="6822136"/>
                    </a:lnTo>
                    <a:lnTo>
                      <a:pt x="11270854" y="6775113"/>
                    </a:lnTo>
                    <a:lnTo>
                      <a:pt x="10934449" y="6185496"/>
                    </a:lnTo>
                    <a:lnTo>
                      <a:pt x="9697353" y="6496585"/>
                    </a:lnTo>
                    <a:lnTo>
                      <a:pt x="9284988" y="6026343"/>
                    </a:lnTo>
                    <a:lnTo>
                      <a:pt x="8872623" y="5476518"/>
                    </a:lnTo>
                    <a:lnTo>
                      <a:pt x="8304713" y="5534394"/>
                    </a:lnTo>
                    <a:lnTo>
                      <a:pt x="7527005" y="5349911"/>
                    </a:lnTo>
                    <a:lnTo>
                      <a:pt x="7114639" y="5718877"/>
                    </a:lnTo>
                    <a:lnTo>
                      <a:pt x="6393600" y="5132882"/>
                    </a:lnTo>
                    <a:lnTo>
                      <a:pt x="6122302" y="4698810"/>
                    </a:lnTo>
                    <a:lnTo>
                      <a:pt x="5808813" y="4602349"/>
                    </a:lnTo>
                    <a:lnTo>
                      <a:pt x="5374740" y="4861585"/>
                    </a:lnTo>
                    <a:lnTo>
                      <a:pt x="4904499" y="4765124"/>
                    </a:lnTo>
                    <a:lnTo>
                      <a:pt x="4241336" y="4849523"/>
                    </a:lnTo>
                    <a:lnTo>
                      <a:pt x="3885624" y="5458414"/>
                    </a:lnTo>
                    <a:lnTo>
                      <a:pt x="4408942" y="6438708"/>
                    </a:lnTo>
                    <a:lnTo>
                      <a:pt x="4246166" y="6919804"/>
                    </a:lnTo>
                    <a:lnTo>
                      <a:pt x="3573357" y="7429837"/>
                    </a:lnTo>
                    <a:lnTo>
                      <a:pt x="2658189" y="8211168"/>
                    </a:lnTo>
                    <a:lnTo>
                      <a:pt x="2114648" y="7963508"/>
                    </a:lnTo>
                    <a:lnTo>
                      <a:pt x="1891335" y="8330529"/>
                    </a:lnTo>
                    <a:lnTo>
                      <a:pt x="1294486" y="8330529"/>
                    </a:lnTo>
                    <a:lnTo>
                      <a:pt x="668700" y="8185838"/>
                    </a:lnTo>
                    <a:lnTo>
                      <a:pt x="130594" y="8324958"/>
                    </a:lnTo>
                    <a:cubicBezTo>
                      <a:pt x="133152" y="8054892"/>
                      <a:pt x="54096" y="7677786"/>
                      <a:pt x="56654" y="7407720"/>
                    </a:cubicBez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18" name="任意多边形 92">
                <a:extLst>
                  <a:ext uri="{FF2B5EF4-FFF2-40B4-BE49-F238E27FC236}">
                    <a16:creationId xmlns:a16="http://schemas.microsoft.com/office/drawing/2014/main" id="{895AEC71-DAEC-3015-7246-479EDCC07A32}"/>
                  </a:ext>
                </a:extLst>
              </p:cNvPr>
              <p:cNvSpPr>
                <a:spLocks/>
              </p:cNvSpPr>
              <p:nvPr/>
            </p:nvSpPr>
            <p:spPr bwMode="auto">
              <a:xfrm>
                <a:off x="3513012" y="2697163"/>
                <a:ext cx="1196785" cy="801688"/>
              </a:xfrm>
              <a:custGeom>
                <a:avLst/>
                <a:gdLst/>
                <a:ahLst/>
                <a:cxnLst/>
                <a:rect l="0" t="0" r="r" b="b"/>
                <a:pathLst>
                  <a:path w="14655896" h="9814804">
                    <a:moveTo>
                      <a:pt x="405571" y="5899247"/>
                    </a:moveTo>
                    <a:lnTo>
                      <a:pt x="458180" y="7258616"/>
                    </a:lnTo>
                    <a:lnTo>
                      <a:pt x="1272065" y="7252586"/>
                    </a:lnTo>
                    <a:lnTo>
                      <a:pt x="1645846" y="7927810"/>
                    </a:lnTo>
                    <a:lnTo>
                      <a:pt x="2586337" y="7921779"/>
                    </a:lnTo>
                    <a:lnTo>
                      <a:pt x="2773228" y="8259392"/>
                    </a:lnTo>
                    <a:lnTo>
                      <a:pt x="3159070" y="8518628"/>
                    </a:lnTo>
                    <a:lnTo>
                      <a:pt x="3629312" y="8789925"/>
                    </a:lnTo>
                    <a:lnTo>
                      <a:pt x="4618282" y="8729735"/>
                    </a:lnTo>
                    <a:lnTo>
                      <a:pt x="5401768" y="8042348"/>
                    </a:lnTo>
                    <a:lnTo>
                      <a:pt x="5884064" y="7957948"/>
                    </a:lnTo>
                    <a:lnTo>
                      <a:pt x="6119185" y="8416136"/>
                    </a:lnTo>
                    <a:lnTo>
                      <a:pt x="6450766" y="8795948"/>
                    </a:lnTo>
                    <a:lnTo>
                      <a:pt x="7059919" y="8883564"/>
                    </a:lnTo>
                    <a:lnTo>
                      <a:pt x="7373165" y="9543518"/>
                    </a:lnTo>
                    <a:lnTo>
                      <a:pt x="7825322" y="9356616"/>
                    </a:lnTo>
                    <a:lnTo>
                      <a:pt x="8301595" y="9603798"/>
                    </a:lnTo>
                    <a:lnTo>
                      <a:pt x="8747721" y="9814804"/>
                    </a:lnTo>
                    <a:lnTo>
                      <a:pt x="9175763" y="9519391"/>
                    </a:lnTo>
                    <a:lnTo>
                      <a:pt x="9314424" y="8946658"/>
                    </a:lnTo>
                    <a:lnTo>
                      <a:pt x="9947441" y="8301587"/>
                    </a:lnTo>
                    <a:lnTo>
                      <a:pt x="10839702" y="7740908"/>
                    </a:lnTo>
                    <a:lnTo>
                      <a:pt x="11086876" y="8235273"/>
                    </a:lnTo>
                    <a:lnTo>
                      <a:pt x="11075024" y="8696571"/>
                    </a:lnTo>
                    <a:lnTo>
                      <a:pt x="11611379" y="8801975"/>
                    </a:lnTo>
                    <a:lnTo>
                      <a:pt x="11912815" y="8295557"/>
                    </a:lnTo>
                    <a:lnTo>
                      <a:pt x="12461432" y="7957945"/>
                    </a:lnTo>
                    <a:lnTo>
                      <a:pt x="12690522" y="7409327"/>
                    </a:lnTo>
                    <a:lnTo>
                      <a:pt x="13184879" y="7373158"/>
                    </a:lnTo>
                    <a:lnTo>
                      <a:pt x="13263248" y="7089807"/>
                    </a:lnTo>
                    <a:lnTo>
                      <a:pt x="13817896" y="6655734"/>
                    </a:lnTo>
                    <a:lnTo>
                      <a:pt x="14523274" y="6535166"/>
                    </a:lnTo>
                    <a:lnTo>
                      <a:pt x="14149478" y="6101093"/>
                    </a:lnTo>
                    <a:lnTo>
                      <a:pt x="14276084" y="5558506"/>
                    </a:lnTo>
                    <a:lnTo>
                      <a:pt x="14655896" y="5383676"/>
                    </a:lnTo>
                    <a:lnTo>
                      <a:pt x="14270054" y="4714483"/>
                    </a:lnTo>
                    <a:lnTo>
                      <a:pt x="14541351" y="4171895"/>
                    </a:lnTo>
                    <a:lnTo>
                      <a:pt x="14462975" y="3116859"/>
                    </a:lnTo>
                    <a:lnTo>
                      <a:pt x="14092141" y="2401649"/>
                    </a:lnTo>
                    <a:lnTo>
                      <a:pt x="13347651" y="2219787"/>
                    </a:lnTo>
                    <a:lnTo>
                      <a:pt x="12606112" y="2172764"/>
                    </a:lnTo>
                    <a:lnTo>
                      <a:pt x="12269707" y="1583147"/>
                    </a:lnTo>
                    <a:lnTo>
                      <a:pt x="11032611" y="1894236"/>
                    </a:lnTo>
                    <a:lnTo>
                      <a:pt x="10620246" y="1423994"/>
                    </a:lnTo>
                    <a:lnTo>
                      <a:pt x="10207881" y="874169"/>
                    </a:lnTo>
                    <a:lnTo>
                      <a:pt x="9639971" y="932045"/>
                    </a:lnTo>
                    <a:lnTo>
                      <a:pt x="8862263" y="747562"/>
                    </a:lnTo>
                    <a:lnTo>
                      <a:pt x="8449897" y="1116528"/>
                    </a:lnTo>
                    <a:lnTo>
                      <a:pt x="7728858" y="530533"/>
                    </a:lnTo>
                    <a:lnTo>
                      <a:pt x="7457560" y="96461"/>
                    </a:lnTo>
                    <a:lnTo>
                      <a:pt x="7144071" y="0"/>
                    </a:lnTo>
                    <a:lnTo>
                      <a:pt x="6709998" y="259236"/>
                    </a:lnTo>
                    <a:lnTo>
                      <a:pt x="6239757" y="162775"/>
                    </a:lnTo>
                    <a:lnTo>
                      <a:pt x="5576594" y="247174"/>
                    </a:lnTo>
                    <a:lnTo>
                      <a:pt x="5220882" y="856065"/>
                    </a:lnTo>
                    <a:lnTo>
                      <a:pt x="5744200" y="1836359"/>
                    </a:lnTo>
                    <a:lnTo>
                      <a:pt x="5581424" y="2317455"/>
                    </a:lnTo>
                    <a:lnTo>
                      <a:pt x="4908615" y="2827488"/>
                    </a:lnTo>
                    <a:lnTo>
                      <a:pt x="3993447" y="3608819"/>
                    </a:lnTo>
                    <a:lnTo>
                      <a:pt x="3449906" y="3361159"/>
                    </a:lnTo>
                    <a:lnTo>
                      <a:pt x="3226593" y="3728180"/>
                    </a:lnTo>
                    <a:lnTo>
                      <a:pt x="2629744" y="3728180"/>
                    </a:lnTo>
                    <a:lnTo>
                      <a:pt x="2003958" y="3583489"/>
                    </a:lnTo>
                    <a:lnTo>
                      <a:pt x="1465852" y="3722609"/>
                    </a:lnTo>
                    <a:lnTo>
                      <a:pt x="753604" y="4804916"/>
                    </a:lnTo>
                    <a:lnTo>
                      <a:pt x="0" y="5443964"/>
                    </a:lnTo>
                    <a:lnTo>
                      <a:pt x="405571" y="5899247"/>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19" name="任意多边形 94">
                <a:extLst>
                  <a:ext uri="{FF2B5EF4-FFF2-40B4-BE49-F238E27FC236}">
                    <a16:creationId xmlns:a16="http://schemas.microsoft.com/office/drawing/2014/main" id="{8596B492-1B3C-1ACE-B20E-93894165D8F8}"/>
                  </a:ext>
                </a:extLst>
              </p:cNvPr>
              <p:cNvSpPr>
                <a:spLocks/>
              </p:cNvSpPr>
              <p:nvPr/>
            </p:nvSpPr>
            <p:spPr bwMode="auto">
              <a:xfrm>
                <a:off x="771835" y="3539490"/>
                <a:ext cx="1323130" cy="793750"/>
              </a:xfrm>
              <a:custGeom>
                <a:avLst/>
                <a:gdLst/>
                <a:ahLst/>
                <a:cxnLst/>
                <a:rect l="0" t="0" r="r" b="b"/>
                <a:pathLst>
                  <a:path w="16203348" h="9718224">
                    <a:moveTo>
                      <a:pt x="375091" y="608910"/>
                    </a:moveTo>
                    <a:lnTo>
                      <a:pt x="39792" y="995215"/>
                    </a:lnTo>
                    <a:lnTo>
                      <a:pt x="0" y="1552271"/>
                    </a:lnTo>
                    <a:lnTo>
                      <a:pt x="202567" y="1743985"/>
                    </a:lnTo>
                    <a:lnTo>
                      <a:pt x="694516" y="1396727"/>
                    </a:lnTo>
                    <a:lnTo>
                      <a:pt x="962191" y="1830800"/>
                    </a:lnTo>
                    <a:lnTo>
                      <a:pt x="1569893" y="1762069"/>
                    </a:lnTo>
                    <a:lnTo>
                      <a:pt x="1975027" y="2282957"/>
                    </a:lnTo>
                    <a:lnTo>
                      <a:pt x="2040134" y="2789367"/>
                    </a:lnTo>
                    <a:lnTo>
                      <a:pt x="2387392" y="3223440"/>
                    </a:lnTo>
                    <a:lnTo>
                      <a:pt x="2329516" y="3646659"/>
                    </a:lnTo>
                    <a:lnTo>
                      <a:pt x="2376539" y="4243507"/>
                    </a:lnTo>
                    <a:lnTo>
                      <a:pt x="2890195" y="5100799"/>
                    </a:lnTo>
                    <a:lnTo>
                      <a:pt x="2405477" y="5270805"/>
                    </a:lnTo>
                    <a:lnTo>
                      <a:pt x="2003965" y="4869294"/>
                    </a:lnTo>
                    <a:lnTo>
                      <a:pt x="1598831" y="4887378"/>
                    </a:lnTo>
                    <a:lnTo>
                      <a:pt x="1663938" y="5252721"/>
                    </a:lnTo>
                    <a:lnTo>
                      <a:pt x="2603631" y="6079544"/>
                    </a:lnTo>
                    <a:lnTo>
                      <a:pt x="3248292" y="5853177"/>
                    </a:lnTo>
                    <a:lnTo>
                      <a:pt x="4047708" y="5921907"/>
                    </a:lnTo>
                    <a:lnTo>
                      <a:pt x="5161820" y="5419104"/>
                    </a:lnTo>
                    <a:lnTo>
                      <a:pt x="6362747" y="5006739"/>
                    </a:lnTo>
                    <a:lnTo>
                      <a:pt x="7006618" y="4970570"/>
                    </a:lnTo>
                    <a:lnTo>
                      <a:pt x="7513029" y="5346766"/>
                    </a:lnTo>
                    <a:lnTo>
                      <a:pt x="8406489" y="6019575"/>
                    </a:lnTo>
                    <a:lnTo>
                      <a:pt x="8974399" y="5939991"/>
                    </a:lnTo>
                    <a:lnTo>
                      <a:pt x="9364309" y="5717573"/>
                    </a:lnTo>
                    <a:lnTo>
                      <a:pt x="10280226" y="6171497"/>
                    </a:lnTo>
                    <a:lnTo>
                      <a:pt x="10229580" y="6941974"/>
                    </a:lnTo>
                    <a:lnTo>
                      <a:pt x="10421293" y="7922249"/>
                    </a:lnTo>
                    <a:lnTo>
                      <a:pt x="10102973" y="8468451"/>
                    </a:lnTo>
                    <a:lnTo>
                      <a:pt x="10808344" y="8573351"/>
                    </a:lnTo>
                    <a:lnTo>
                      <a:pt x="11423276" y="8244177"/>
                    </a:lnTo>
                    <a:lnTo>
                      <a:pt x="11958625" y="8475682"/>
                    </a:lnTo>
                    <a:lnTo>
                      <a:pt x="12237153" y="8215239"/>
                    </a:lnTo>
                    <a:lnTo>
                      <a:pt x="13054653" y="8226092"/>
                    </a:lnTo>
                    <a:lnTo>
                      <a:pt x="13564687" y="8631227"/>
                    </a:lnTo>
                    <a:lnTo>
                      <a:pt x="13973429" y="8135655"/>
                    </a:lnTo>
                    <a:lnTo>
                      <a:pt x="15282878" y="9275098"/>
                    </a:lnTo>
                    <a:lnTo>
                      <a:pt x="16203348" y="9718224"/>
                    </a:lnTo>
                    <a:lnTo>
                      <a:pt x="16024417" y="8265884"/>
                    </a:lnTo>
                    <a:lnTo>
                      <a:pt x="15677159" y="7893311"/>
                    </a:lnTo>
                    <a:lnTo>
                      <a:pt x="15206917" y="7770327"/>
                    </a:lnTo>
                    <a:lnTo>
                      <a:pt x="14320687" y="7249440"/>
                    </a:lnTo>
                    <a:lnTo>
                      <a:pt x="14353249" y="6547693"/>
                    </a:lnTo>
                    <a:lnTo>
                      <a:pt x="14005990" y="5856800"/>
                    </a:lnTo>
                    <a:lnTo>
                      <a:pt x="14277288" y="5183991"/>
                    </a:lnTo>
                    <a:lnTo>
                      <a:pt x="14758383" y="4326699"/>
                    </a:lnTo>
                    <a:lnTo>
                      <a:pt x="14429209" y="3889018"/>
                    </a:lnTo>
                    <a:lnTo>
                      <a:pt x="14382187" y="2395087"/>
                    </a:lnTo>
                    <a:lnTo>
                      <a:pt x="14584754" y="1877822"/>
                    </a:lnTo>
                    <a:lnTo>
                      <a:pt x="14139828" y="1570356"/>
                    </a:lnTo>
                    <a:lnTo>
                      <a:pt x="13467019" y="1754839"/>
                    </a:lnTo>
                    <a:lnTo>
                      <a:pt x="13177637" y="1425665"/>
                    </a:lnTo>
                    <a:lnTo>
                      <a:pt x="13004008" y="948193"/>
                    </a:lnTo>
                    <a:lnTo>
                      <a:pt x="13344035" y="398367"/>
                    </a:lnTo>
                    <a:lnTo>
                      <a:pt x="12534905" y="0"/>
                    </a:lnTo>
                    <a:lnTo>
                      <a:pt x="12027355" y="479159"/>
                    </a:lnTo>
                    <a:lnTo>
                      <a:pt x="11141125" y="177715"/>
                    </a:lnTo>
                    <a:lnTo>
                      <a:pt x="10652799" y="1082030"/>
                    </a:lnTo>
                    <a:lnTo>
                      <a:pt x="10146388" y="1654770"/>
                    </a:lnTo>
                    <a:lnTo>
                      <a:pt x="9019466" y="675175"/>
                    </a:lnTo>
                    <a:lnTo>
                      <a:pt x="7994124" y="340491"/>
                    </a:lnTo>
                    <a:lnTo>
                      <a:pt x="7608756" y="988664"/>
                    </a:lnTo>
                    <a:lnTo>
                      <a:pt x="6306078" y="907193"/>
                    </a:lnTo>
                    <a:lnTo>
                      <a:pt x="5226927" y="1437726"/>
                    </a:lnTo>
                    <a:lnTo>
                      <a:pt x="4618018" y="1389496"/>
                    </a:lnTo>
                    <a:lnTo>
                      <a:pt x="4214091" y="1624625"/>
                    </a:lnTo>
                    <a:lnTo>
                      <a:pt x="2984241" y="744418"/>
                    </a:lnTo>
                    <a:lnTo>
                      <a:pt x="375091" y="608910"/>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0" name="任意多边形 98">
                <a:extLst>
                  <a:ext uri="{FF2B5EF4-FFF2-40B4-BE49-F238E27FC236}">
                    <a16:creationId xmlns:a16="http://schemas.microsoft.com/office/drawing/2014/main" id="{E146A752-8843-B6CF-83DE-955C55ECBB02}"/>
                  </a:ext>
                </a:extLst>
              </p:cNvPr>
              <p:cNvSpPr>
                <a:spLocks/>
              </p:cNvSpPr>
              <p:nvPr/>
            </p:nvSpPr>
            <p:spPr bwMode="auto">
              <a:xfrm>
                <a:off x="719138" y="2930525"/>
                <a:ext cx="1264719" cy="744538"/>
              </a:xfrm>
              <a:custGeom>
                <a:avLst/>
                <a:gdLst>
                  <a:gd name="T0" fmla="*/ 268633 w 2569"/>
                  <a:gd name="T1" fmla="*/ 2124829 h 1512"/>
                  <a:gd name="T2" fmla="*/ 228602 w 2569"/>
                  <a:gd name="T3" fmla="*/ 1992205 h 1512"/>
                  <a:gd name="T4" fmla="*/ 0 w 2569"/>
                  <a:gd name="T5" fmla="*/ 1788951 h 1512"/>
                  <a:gd name="T6" fmla="*/ 186057 w 2569"/>
                  <a:gd name="T7" fmla="*/ 1506302 h 1512"/>
                  <a:gd name="T8" fmla="*/ 376558 w 2569"/>
                  <a:gd name="T9" fmla="*/ 1437704 h 1512"/>
                  <a:gd name="T10" fmla="*/ 406085 w 2569"/>
                  <a:gd name="T11" fmla="*/ 1350051 h 1512"/>
                  <a:gd name="T12" fmla="*/ 307024 w 2569"/>
                  <a:gd name="T13" fmla="*/ 1246201 h 1512"/>
                  <a:gd name="T14" fmla="*/ 430849 w 2569"/>
                  <a:gd name="T15" fmla="*/ 883201 h 1512"/>
                  <a:gd name="T16" fmla="*/ 572771 w 2569"/>
                  <a:gd name="T17" fmla="*/ 868912 h 1512"/>
                  <a:gd name="T18" fmla="*/ 699454 w 2569"/>
                  <a:gd name="T19" fmla="*/ 780305 h 1512"/>
                  <a:gd name="T20" fmla="*/ 681356 w 2569"/>
                  <a:gd name="T21" fmla="*/ 676455 h 1512"/>
                  <a:gd name="T22" fmla="*/ 819392 w 2569"/>
                  <a:gd name="T23" fmla="*/ 496787 h 1512"/>
                  <a:gd name="T24" fmla="*/ 947104 w 2569"/>
                  <a:gd name="T25" fmla="*/ 583086 h 1512"/>
                  <a:gd name="T26" fmla="*/ 1032828 w 2569"/>
                  <a:gd name="T27" fmla="*/ 717424 h 1512"/>
                  <a:gd name="T28" fmla="*/ 1063309 w 2569"/>
                  <a:gd name="T29" fmla="*/ 826038 h 1512"/>
                  <a:gd name="T30" fmla="*/ 1029970 w 2569"/>
                  <a:gd name="T31" fmla="*/ 990864 h 1512"/>
                  <a:gd name="T32" fmla="*/ 1106171 w 2569"/>
                  <a:gd name="T33" fmla="*/ 1091856 h 1512"/>
                  <a:gd name="T34" fmla="*/ 1263334 w 2569"/>
                  <a:gd name="T35" fmla="*/ 1028020 h 1512"/>
                  <a:gd name="T36" fmla="*/ 1405257 w 2569"/>
                  <a:gd name="T37" fmla="*/ 1043264 h 1512"/>
                  <a:gd name="T38" fmla="*/ 1427163 w 2569"/>
                  <a:gd name="T39" fmla="*/ 913690 h 1512"/>
                  <a:gd name="T40" fmla="*/ 1338391 w 2569"/>
                  <a:gd name="T41" fmla="*/ 826543 h 1512"/>
                  <a:gd name="T42" fmla="*/ 1369061 w 2569"/>
                  <a:gd name="T43" fmla="*/ 533541 h 1512"/>
                  <a:gd name="T44" fmla="*/ 1457643 w 2569"/>
                  <a:gd name="T45" fmla="*/ 567842 h 1512"/>
                  <a:gd name="T46" fmla="*/ 1599566 w 2569"/>
                  <a:gd name="T47" fmla="*/ 496385 h 1512"/>
                  <a:gd name="T48" fmla="*/ 1728152 w 2569"/>
                  <a:gd name="T49" fmla="*/ 453511 h 1512"/>
                  <a:gd name="T50" fmla="*/ 1748155 w 2569"/>
                  <a:gd name="T51" fmla="*/ 258196 h 1512"/>
                  <a:gd name="T52" fmla="*/ 1996758 w 2569"/>
                  <a:gd name="T53" fmla="*/ 309646 h 1512"/>
                  <a:gd name="T54" fmla="*/ 2018664 w 2569"/>
                  <a:gd name="T55" fmla="*/ 248670 h 1512"/>
                  <a:gd name="T56" fmla="*/ 2209165 w 2569"/>
                  <a:gd name="T57" fmla="*/ 233425 h 1512"/>
                  <a:gd name="T58" fmla="*/ 2458718 w 2569"/>
                  <a:gd name="T59" fmla="*/ 0 h 1512"/>
                  <a:gd name="T60" fmla="*/ 2649220 w 2569"/>
                  <a:gd name="T61" fmla="*/ 20962 h 1512"/>
                  <a:gd name="T62" fmla="*/ 2726371 w 2569"/>
                  <a:gd name="T63" fmla="*/ 208655 h 1512"/>
                  <a:gd name="T64" fmla="*/ 2861428 w 2569"/>
                  <a:gd name="T65" fmla="*/ 217740 h 1512"/>
                  <a:gd name="T66" fmla="*/ 3020695 w 2569"/>
                  <a:gd name="T67" fmla="*/ 68599 h 1512"/>
                  <a:gd name="T68" fmla="*/ 3157538 w 2569"/>
                  <a:gd name="T69" fmla="*/ 107341 h 1512"/>
                  <a:gd name="T70" fmla="*/ 3279772 w 2569"/>
                  <a:gd name="T71" fmla="*/ 262959 h 1512"/>
                  <a:gd name="T72" fmla="*/ 3495674 w 2569"/>
                  <a:gd name="T73" fmla="*/ 305833 h 1512"/>
                  <a:gd name="T74" fmla="*/ 3678236 w 2569"/>
                  <a:gd name="T75" fmla="*/ 420164 h 1512"/>
                  <a:gd name="T76" fmla="*/ 3708398 w 2569"/>
                  <a:gd name="T77" fmla="*/ 595471 h 1512"/>
                  <a:gd name="T78" fmla="*/ 3835399 w 2569"/>
                  <a:gd name="T79" fmla="*/ 663116 h 1512"/>
                  <a:gd name="T80" fmla="*/ 3913618 w 2569"/>
                  <a:gd name="T81" fmla="*/ 717293 h 1512"/>
                  <a:gd name="T82" fmla="*/ 3920806 w 2569"/>
                  <a:gd name="T83" fmla="*/ 843186 h 1512"/>
                  <a:gd name="T84" fmla="*/ 4030664 w 2569"/>
                  <a:gd name="T85" fmla="*/ 890187 h 1512"/>
                  <a:gd name="T86" fmla="*/ 4076701 w 2569"/>
                  <a:gd name="T87" fmla="*/ 1123613 h 1512"/>
                  <a:gd name="T88" fmla="*/ 3982318 w 2569"/>
                  <a:gd name="T89" fmla="*/ 1208414 h 1512"/>
                  <a:gd name="T90" fmla="*/ 4078287 w 2569"/>
                  <a:gd name="T91" fmla="*/ 1514242 h 1512"/>
                  <a:gd name="T92" fmla="*/ 3890962 w 2569"/>
                  <a:gd name="T93" fmla="*/ 1714320 h 1512"/>
                  <a:gd name="T94" fmla="*/ 3551235 w 2569"/>
                  <a:gd name="T95" fmla="*/ 1787364 h 1512"/>
                  <a:gd name="T96" fmla="*/ 3470575 w 2569"/>
                  <a:gd name="T97" fmla="*/ 1964448 h 1512"/>
                  <a:gd name="T98" fmla="*/ 3336925 w 2569"/>
                  <a:gd name="T99" fmla="*/ 2090655 h 1512"/>
                  <a:gd name="T100" fmla="*/ 3103561 w 2569"/>
                  <a:gd name="T101" fmla="*/ 2011257 h 1512"/>
                  <a:gd name="T102" fmla="*/ 2974974 w 2569"/>
                  <a:gd name="T103" fmla="*/ 2249444 h 1512"/>
                  <a:gd name="T104" fmla="*/ 2841626 w 2569"/>
                  <a:gd name="T105" fmla="*/ 2400300 h 1512"/>
                  <a:gd name="T106" fmla="*/ 2544884 w 2569"/>
                  <a:gd name="T107" fmla="*/ 2142284 h 1512"/>
                  <a:gd name="T108" fmla="*/ 2274888 w 2569"/>
                  <a:gd name="T109" fmla="*/ 2054131 h 1512"/>
                  <a:gd name="T110" fmla="*/ 2173412 w 2569"/>
                  <a:gd name="T111" fmla="*/ 2224854 h 1512"/>
                  <a:gd name="T112" fmla="*/ 1830390 w 2569"/>
                  <a:gd name="T113" fmla="*/ 2203395 h 1512"/>
                  <a:gd name="T114" fmla="*/ 1546226 w 2569"/>
                  <a:gd name="T115" fmla="*/ 2343131 h 1512"/>
                  <a:gd name="T116" fmla="*/ 1385887 w 2569"/>
                  <a:gd name="T117" fmla="*/ 2330430 h 1512"/>
                  <a:gd name="T118" fmla="*/ 1279524 w 2569"/>
                  <a:gd name="T119" fmla="*/ 2392360 h 1512"/>
                  <a:gd name="T120" fmla="*/ 955678 w 2569"/>
                  <a:gd name="T121" fmla="*/ 2160521 h 1512"/>
                  <a:gd name="T122" fmla="*/ 268633 w 2569"/>
                  <a:gd name="T123" fmla="*/ 2124829 h 151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569" h="1512">
                    <a:moveTo>
                      <a:pt x="169" y="1338"/>
                    </a:moveTo>
                    <a:lnTo>
                      <a:pt x="144" y="1255"/>
                    </a:lnTo>
                    <a:lnTo>
                      <a:pt x="0" y="1127"/>
                    </a:lnTo>
                    <a:lnTo>
                      <a:pt x="117" y="949"/>
                    </a:lnTo>
                    <a:lnTo>
                      <a:pt x="237" y="906"/>
                    </a:lnTo>
                    <a:lnTo>
                      <a:pt x="256" y="850"/>
                    </a:lnTo>
                    <a:lnTo>
                      <a:pt x="193" y="785"/>
                    </a:lnTo>
                    <a:lnTo>
                      <a:pt x="271" y="556"/>
                    </a:lnTo>
                    <a:lnTo>
                      <a:pt x="361" y="547"/>
                    </a:lnTo>
                    <a:lnTo>
                      <a:pt x="441" y="492"/>
                    </a:lnTo>
                    <a:lnTo>
                      <a:pt x="429" y="426"/>
                    </a:lnTo>
                    <a:lnTo>
                      <a:pt x="516" y="313"/>
                    </a:lnTo>
                    <a:lnTo>
                      <a:pt x="597" y="367"/>
                    </a:lnTo>
                    <a:lnTo>
                      <a:pt x="651" y="452"/>
                    </a:lnTo>
                    <a:lnTo>
                      <a:pt x="670" y="520"/>
                    </a:lnTo>
                    <a:lnTo>
                      <a:pt x="649" y="624"/>
                    </a:lnTo>
                    <a:lnTo>
                      <a:pt x="697" y="688"/>
                    </a:lnTo>
                    <a:lnTo>
                      <a:pt x="796" y="648"/>
                    </a:lnTo>
                    <a:lnTo>
                      <a:pt x="885" y="657"/>
                    </a:lnTo>
                    <a:lnTo>
                      <a:pt x="899" y="576"/>
                    </a:lnTo>
                    <a:lnTo>
                      <a:pt x="843" y="521"/>
                    </a:lnTo>
                    <a:lnTo>
                      <a:pt x="862" y="336"/>
                    </a:lnTo>
                    <a:lnTo>
                      <a:pt x="918" y="358"/>
                    </a:lnTo>
                    <a:lnTo>
                      <a:pt x="1008" y="313"/>
                    </a:lnTo>
                    <a:lnTo>
                      <a:pt x="1089" y="286"/>
                    </a:lnTo>
                    <a:lnTo>
                      <a:pt x="1101" y="163"/>
                    </a:lnTo>
                    <a:lnTo>
                      <a:pt x="1258" y="195"/>
                    </a:lnTo>
                    <a:lnTo>
                      <a:pt x="1272" y="157"/>
                    </a:lnTo>
                    <a:lnTo>
                      <a:pt x="1392" y="147"/>
                    </a:lnTo>
                    <a:lnTo>
                      <a:pt x="1549" y="0"/>
                    </a:lnTo>
                    <a:lnTo>
                      <a:pt x="1669" y="13"/>
                    </a:lnTo>
                    <a:lnTo>
                      <a:pt x="1717" y="131"/>
                    </a:lnTo>
                    <a:lnTo>
                      <a:pt x="1802" y="137"/>
                    </a:lnTo>
                    <a:lnTo>
                      <a:pt x="1903" y="43"/>
                    </a:lnTo>
                    <a:lnTo>
                      <a:pt x="1989" y="68"/>
                    </a:lnTo>
                    <a:lnTo>
                      <a:pt x="2066" y="166"/>
                    </a:lnTo>
                    <a:lnTo>
                      <a:pt x="2202" y="193"/>
                    </a:lnTo>
                    <a:lnTo>
                      <a:pt x="2317" y="265"/>
                    </a:lnTo>
                    <a:lnTo>
                      <a:pt x="2336" y="375"/>
                    </a:lnTo>
                    <a:lnTo>
                      <a:pt x="2416" y="418"/>
                    </a:lnTo>
                    <a:lnTo>
                      <a:pt x="2465" y="452"/>
                    </a:lnTo>
                    <a:lnTo>
                      <a:pt x="2470" y="531"/>
                    </a:lnTo>
                    <a:lnTo>
                      <a:pt x="2539" y="561"/>
                    </a:lnTo>
                    <a:lnTo>
                      <a:pt x="2568" y="708"/>
                    </a:lnTo>
                    <a:lnTo>
                      <a:pt x="2509" y="761"/>
                    </a:lnTo>
                    <a:lnTo>
                      <a:pt x="2569" y="954"/>
                    </a:lnTo>
                    <a:lnTo>
                      <a:pt x="2451" y="1080"/>
                    </a:lnTo>
                    <a:lnTo>
                      <a:pt x="2237" y="1126"/>
                    </a:lnTo>
                    <a:lnTo>
                      <a:pt x="2186" y="1237"/>
                    </a:lnTo>
                    <a:lnTo>
                      <a:pt x="2102" y="1317"/>
                    </a:lnTo>
                    <a:lnTo>
                      <a:pt x="1955" y="1267"/>
                    </a:lnTo>
                    <a:lnTo>
                      <a:pt x="1874" y="1417"/>
                    </a:lnTo>
                    <a:lnTo>
                      <a:pt x="1790" y="1512"/>
                    </a:lnTo>
                    <a:lnTo>
                      <a:pt x="1603" y="1349"/>
                    </a:lnTo>
                    <a:lnTo>
                      <a:pt x="1433" y="1294"/>
                    </a:lnTo>
                    <a:lnTo>
                      <a:pt x="1369" y="1401"/>
                    </a:lnTo>
                    <a:lnTo>
                      <a:pt x="1153" y="1388"/>
                    </a:lnTo>
                    <a:lnTo>
                      <a:pt x="974" y="1476"/>
                    </a:lnTo>
                    <a:lnTo>
                      <a:pt x="873" y="1468"/>
                    </a:lnTo>
                    <a:lnTo>
                      <a:pt x="806" y="1507"/>
                    </a:lnTo>
                    <a:lnTo>
                      <a:pt x="602" y="1361"/>
                    </a:lnTo>
                    <a:lnTo>
                      <a:pt x="169" y="1338"/>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1" name="任意多边形 100">
                <a:extLst>
                  <a:ext uri="{FF2B5EF4-FFF2-40B4-BE49-F238E27FC236}">
                    <a16:creationId xmlns:a16="http://schemas.microsoft.com/office/drawing/2014/main" id="{0E29460C-C2E5-677A-2C07-BEF1373C621D}"/>
                  </a:ext>
                </a:extLst>
              </p:cNvPr>
              <p:cNvSpPr>
                <a:spLocks/>
              </p:cNvSpPr>
              <p:nvPr/>
            </p:nvSpPr>
            <p:spPr bwMode="auto">
              <a:xfrm>
                <a:off x="5207240" y="2977198"/>
                <a:ext cx="1506298" cy="1302385"/>
              </a:xfrm>
              <a:custGeom>
                <a:avLst/>
                <a:gdLst/>
                <a:ahLst/>
                <a:cxnLst/>
                <a:rect l="0" t="0" r="r" b="b"/>
                <a:pathLst>
                  <a:path w="18447968" h="15946069">
                    <a:moveTo>
                      <a:pt x="477776" y="7436569"/>
                    </a:moveTo>
                    <a:lnTo>
                      <a:pt x="271294" y="8060457"/>
                    </a:lnTo>
                    <a:lnTo>
                      <a:pt x="379812" y="8675382"/>
                    </a:lnTo>
                    <a:lnTo>
                      <a:pt x="759624" y="9217969"/>
                    </a:lnTo>
                    <a:lnTo>
                      <a:pt x="687278" y="9670126"/>
                    </a:lnTo>
                    <a:lnTo>
                      <a:pt x="144687" y="9941420"/>
                    </a:lnTo>
                    <a:lnTo>
                      <a:pt x="343643" y="10592536"/>
                    </a:lnTo>
                    <a:lnTo>
                      <a:pt x="940487" y="10954252"/>
                    </a:lnTo>
                    <a:lnTo>
                      <a:pt x="596844" y="11786221"/>
                    </a:lnTo>
                    <a:lnTo>
                      <a:pt x="633017" y="12780969"/>
                    </a:lnTo>
                    <a:lnTo>
                      <a:pt x="198944" y="13341645"/>
                    </a:lnTo>
                    <a:lnTo>
                      <a:pt x="723451" y="13757629"/>
                    </a:lnTo>
                    <a:lnTo>
                      <a:pt x="1640036" y="13197151"/>
                    </a:lnTo>
                    <a:lnTo>
                      <a:pt x="1880971" y="13395906"/>
                    </a:lnTo>
                    <a:lnTo>
                      <a:pt x="2930086" y="12952832"/>
                    </a:lnTo>
                    <a:lnTo>
                      <a:pt x="3828256" y="13245188"/>
                    </a:lnTo>
                    <a:lnTo>
                      <a:pt x="4768739" y="13040205"/>
                    </a:lnTo>
                    <a:lnTo>
                      <a:pt x="5190751" y="13649115"/>
                    </a:lnTo>
                    <a:lnTo>
                      <a:pt x="5932290" y="13444132"/>
                    </a:lnTo>
                    <a:lnTo>
                      <a:pt x="6498992" y="12991975"/>
                    </a:lnTo>
                    <a:lnTo>
                      <a:pt x="7373161" y="13582800"/>
                    </a:lnTo>
                    <a:lnTo>
                      <a:pt x="8512588" y="13570738"/>
                    </a:lnTo>
                    <a:lnTo>
                      <a:pt x="9416903" y="13281357"/>
                    </a:lnTo>
                    <a:lnTo>
                      <a:pt x="9742454" y="14004811"/>
                    </a:lnTo>
                    <a:lnTo>
                      <a:pt x="10080066" y="14716204"/>
                    </a:lnTo>
                    <a:lnTo>
                      <a:pt x="10616683" y="15358294"/>
                    </a:lnTo>
                    <a:lnTo>
                      <a:pt x="11117010" y="15946069"/>
                    </a:lnTo>
                    <a:lnTo>
                      <a:pt x="11593335" y="15822497"/>
                    </a:lnTo>
                    <a:lnTo>
                      <a:pt x="11780218" y="13579811"/>
                    </a:lnTo>
                    <a:lnTo>
                      <a:pt x="11954994" y="12135890"/>
                    </a:lnTo>
                    <a:lnTo>
                      <a:pt x="12196146" y="11388328"/>
                    </a:lnTo>
                    <a:lnTo>
                      <a:pt x="13166775" y="11707856"/>
                    </a:lnTo>
                    <a:lnTo>
                      <a:pt x="14004775" y="11611395"/>
                    </a:lnTo>
                    <a:lnTo>
                      <a:pt x="14939235" y="11322014"/>
                    </a:lnTo>
                    <a:lnTo>
                      <a:pt x="15409477" y="11882693"/>
                    </a:lnTo>
                    <a:lnTo>
                      <a:pt x="15861634" y="11273783"/>
                    </a:lnTo>
                    <a:lnTo>
                      <a:pt x="16413199" y="10920339"/>
                    </a:lnTo>
                    <a:lnTo>
                      <a:pt x="16765948" y="10200671"/>
                    </a:lnTo>
                    <a:lnTo>
                      <a:pt x="16428336" y="9374732"/>
                    </a:lnTo>
                    <a:lnTo>
                      <a:pt x="15946033" y="8440272"/>
                    </a:lnTo>
                    <a:lnTo>
                      <a:pt x="16024409" y="7433474"/>
                    </a:lnTo>
                    <a:lnTo>
                      <a:pt x="16958870" y="6776350"/>
                    </a:lnTo>
                    <a:lnTo>
                      <a:pt x="17911414" y="6083041"/>
                    </a:lnTo>
                    <a:lnTo>
                      <a:pt x="17694370" y="5570592"/>
                    </a:lnTo>
                    <a:lnTo>
                      <a:pt x="17385711" y="5219213"/>
                    </a:lnTo>
                    <a:lnTo>
                      <a:pt x="17637701" y="4819407"/>
                    </a:lnTo>
                    <a:lnTo>
                      <a:pt x="18171858" y="4701949"/>
                    </a:lnTo>
                    <a:lnTo>
                      <a:pt x="18447970" y="4316604"/>
                    </a:lnTo>
                    <a:lnTo>
                      <a:pt x="17814953" y="4117660"/>
                    </a:lnTo>
                    <a:lnTo>
                      <a:pt x="17067422" y="3472551"/>
                    </a:lnTo>
                    <a:lnTo>
                      <a:pt x="16852763" y="3282076"/>
                    </a:lnTo>
                    <a:lnTo>
                      <a:pt x="16161870" y="4063407"/>
                    </a:lnTo>
                    <a:lnTo>
                      <a:pt x="14429201" y="4027238"/>
                    </a:lnTo>
                    <a:lnTo>
                      <a:pt x="13854061" y="3658272"/>
                    </a:lnTo>
                    <a:lnTo>
                      <a:pt x="13383819" y="2963756"/>
                    </a:lnTo>
                    <a:lnTo>
                      <a:pt x="12493981" y="2927587"/>
                    </a:lnTo>
                    <a:lnTo>
                      <a:pt x="11976717" y="2139025"/>
                    </a:lnTo>
                    <a:lnTo>
                      <a:pt x="11484768" y="1495155"/>
                    </a:lnTo>
                    <a:lnTo>
                      <a:pt x="10830043" y="1256418"/>
                    </a:lnTo>
                    <a:lnTo>
                      <a:pt x="10323633" y="1220249"/>
                    </a:lnTo>
                    <a:lnTo>
                      <a:pt x="9802745" y="1603676"/>
                    </a:lnTo>
                    <a:lnTo>
                      <a:pt x="9223982" y="1621761"/>
                    </a:lnTo>
                    <a:lnTo>
                      <a:pt x="8782678" y="2171586"/>
                    </a:lnTo>
                    <a:lnTo>
                      <a:pt x="8272645" y="2102856"/>
                    </a:lnTo>
                    <a:lnTo>
                      <a:pt x="7853048" y="2526075"/>
                    </a:lnTo>
                    <a:lnTo>
                      <a:pt x="7323799" y="2632907"/>
                    </a:lnTo>
                    <a:lnTo>
                      <a:pt x="6977672" y="2178817"/>
                    </a:lnTo>
                    <a:lnTo>
                      <a:pt x="6594245" y="2055834"/>
                    </a:lnTo>
                    <a:lnTo>
                      <a:pt x="6431470" y="1314295"/>
                    </a:lnTo>
                    <a:lnTo>
                      <a:pt x="5642908" y="1343233"/>
                    </a:lnTo>
                    <a:lnTo>
                      <a:pt x="5150959" y="1610907"/>
                    </a:lnTo>
                    <a:lnTo>
                      <a:pt x="5480133" y="2167963"/>
                    </a:lnTo>
                    <a:lnTo>
                      <a:pt x="4742216" y="2862495"/>
                    </a:lnTo>
                    <a:lnTo>
                      <a:pt x="2658667" y="0"/>
                    </a:lnTo>
                    <a:lnTo>
                      <a:pt x="2658682" y="1018890"/>
                    </a:lnTo>
                    <a:lnTo>
                      <a:pt x="1850829" y="1730283"/>
                    </a:lnTo>
                    <a:lnTo>
                      <a:pt x="1404694" y="2272862"/>
                    </a:lnTo>
                    <a:lnTo>
                      <a:pt x="2351216" y="3388182"/>
                    </a:lnTo>
                    <a:lnTo>
                      <a:pt x="2658682" y="4286458"/>
                    </a:lnTo>
                    <a:lnTo>
                      <a:pt x="1935228" y="5220918"/>
                    </a:lnTo>
                    <a:lnTo>
                      <a:pt x="875281" y="5166646"/>
                    </a:lnTo>
                    <a:lnTo>
                      <a:pt x="0" y="5890112"/>
                    </a:lnTo>
                    <a:lnTo>
                      <a:pt x="72345" y="6921032"/>
                    </a:lnTo>
                    <a:lnTo>
                      <a:pt x="477776" y="7436569"/>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2" name="任意多边形 101">
                <a:extLst>
                  <a:ext uri="{FF2B5EF4-FFF2-40B4-BE49-F238E27FC236}">
                    <a16:creationId xmlns:a16="http://schemas.microsoft.com/office/drawing/2014/main" id="{FCC6F9BF-DAD3-E9B2-E509-B8A6508D9F61}"/>
                  </a:ext>
                </a:extLst>
              </p:cNvPr>
              <p:cNvSpPr>
                <a:spLocks/>
              </p:cNvSpPr>
              <p:nvPr/>
            </p:nvSpPr>
            <p:spPr bwMode="auto">
              <a:xfrm>
                <a:off x="1796244" y="3167380"/>
                <a:ext cx="1550424" cy="1358583"/>
              </a:xfrm>
              <a:custGeom>
                <a:avLst/>
                <a:gdLst/>
                <a:ahLst/>
                <a:cxnLst/>
                <a:rect l="0" t="0" r="r" b="b"/>
                <a:pathLst>
                  <a:path w="4884" h="4279">
                    <a:moveTo>
                      <a:pt x="544" y="127"/>
                    </a:moveTo>
                    <a:lnTo>
                      <a:pt x="590" y="351"/>
                    </a:lnTo>
                    <a:lnTo>
                      <a:pt x="499" y="437"/>
                    </a:lnTo>
                    <a:lnTo>
                      <a:pt x="590" y="732"/>
                    </a:lnTo>
                    <a:lnTo>
                      <a:pt x="403" y="934"/>
                    </a:lnTo>
                    <a:lnTo>
                      <a:pt x="79" y="1000"/>
                    </a:lnTo>
                    <a:lnTo>
                      <a:pt x="0" y="1172"/>
                    </a:lnTo>
                    <a:lnTo>
                      <a:pt x="204" y="1276"/>
                    </a:lnTo>
                    <a:lnTo>
                      <a:pt x="120" y="1417"/>
                    </a:lnTo>
                    <a:lnTo>
                      <a:pt x="161" y="1538"/>
                    </a:lnTo>
                    <a:lnTo>
                      <a:pt x="239" y="1624"/>
                    </a:lnTo>
                    <a:lnTo>
                      <a:pt x="410" y="1577"/>
                    </a:lnTo>
                    <a:lnTo>
                      <a:pt x="523" y="1653"/>
                    </a:lnTo>
                    <a:lnTo>
                      <a:pt x="476" y="1787"/>
                    </a:lnTo>
                    <a:lnTo>
                      <a:pt x="486" y="2172"/>
                    </a:lnTo>
                    <a:lnTo>
                      <a:pt x="568" y="2287"/>
                    </a:lnTo>
                    <a:lnTo>
                      <a:pt x="448" y="2508"/>
                    </a:lnTo>
                    <a:lnTo>
                      <a:pt x="377" y="2683"/>
                    </a:lnTo>
                    <a:lnTo>
                      <a:pt x="464" y="2859"/>
                    </a:lnTo>
                    <a:lnTo>
                      <a:pt x="457" y="3038"/>
                    </a:lnTo>
                    <a:lnTo>
                      <a:pt x="685" y="3172"/>
                    </a:lnTo>
                    <a:lnTo>
                      <a:pt x="811" y="3206"/>
                    </a:lnTo>
                    <a:lnTo>
                      <a:pt x="898" y="3302"/>
                    </a:lnTo>
                    <a:lnTo>
                      <a:pt x="943" y="3673"/>
                    </a:lnTo>
                    <a:lnTo>
                      <a:pt x="1043" y="4279"/>
                    </a:lnTo>
                    <a:lnTo>
                      <a:pt x="1904" y="4098"/>
                    </a:lnTo>
                    <a:lnTo>
                      <a:pt x="2021" y="4051"/>
                    </a:lnTo>
                    <a:lnTo>
                      <a:pt x="1989" y="3979"/>
                    </a:lnTo>
                    <a:lnTo>
                      <a:pt x="2056" y="3893"/>
                    </a:lnTo>
                    <a:lnTo>
                      <a:pt x="2060" y="3814"/>
                    </a:lnTo>
                    <a:lnTo>
                      <a:pt x="2224" y="3774"/>
                    </a:lnTo>
                    <a:lnTo>
                      <a:pt x="2369" y="3651"/>
                    </a:lnTo>
                    <a:lnTo>
                      <a:pt x="2705" y="3438"/>
                    </a:lnTo>
                    <a:lnTo>
                      <a:pt x="2798" y="3396"/>
                    </a:lnTo>
                    <a:lnTo>
                      <a:pt x="2854" y="3305"/>
                    </a:lnTo>
                    <a:lnTo>
                      <a:pt x="2914" y="3215"/>
                    </a:lnTo>
                    <a:lnTo>
                      <a:pt x="3007" y="3248"/>
                    </a:lnTo>
                    <a:lnTo>
                      <a:pt x="3139" y="3230"/>
                    </a:lnTo>
                    <a:lnTo>
                      <a:pt x="3218" y="3147"/>
                    </a:lnTo>
                    <a:lnTo>
                      <a:pt x="3406" y="2847"/>
                    </a:lnTo>
                    <a:lnTo>
                      <a:pt x="3620" y="2846"/>
                    </a:lnTo>
                    <a:lnTo>
                      <a:pt x="3751" y="2933"/>
                    </a:lnTo>
                    <a:lnTo>
                      <a:pt x="3818" y="3038"/>
                    </a:lnTo>
                    <a:lnTo>
                      <a:pt x="3991" y="3096"/>
                    </a:lnTo>
                    <a:lnTo>
                      <a:pt x="4140" y="3230"/>
                    </a:lnTo>
                    <a:lnTo>
                      <a:pt x="4400" y="3032"/>
                    </a:lnTo>
                    <a:lnTo>
                      <a:pt x="4884" y="2731"/>
                    </a:lnTo>
                    <a:lnTo>
                      <a:pt x="4794" y="2593"/>
                    </a:lnTo>
                    <a:lnTo>
                      <a:pt x="4755" y="2422"/>
                    </a:lnTo>
                    <a:lnTo>
                      <a:pt x="4673" y="2234"/>
                    </a:lnTo>
                    <a:lnTo>
                      <a:pt x="4452" y="2187"/>
                    </a:lnTo>
                    <a:lnTo>
                      <a:pt x="4314" y="2026"/>
                    </a:lnTo>
                    <a:lnTo>
                      <a:pt x="4318" y="1915"/>
                    </a:lnTo>
                    <a:lnTo>
                      <a:pt x="4274" y="1878"/>
                    </a:lnTo>
                    <a:lnTo>
                      <a:pt x="4179" y="2007"/>
                    </a:lnTo>
                    <a:lnTo>
                      <a:pt x="4021" y="1780"/>
                    </a:lnTo>
                    <a:lnTo>
                      <a:pt x="4065" y="1572"/>
                    </a:lnTo>
                    <a:lnTo>
                      <a:pt x="3994" y="1448"/>
                    </a:lnTo>
                    <a:lnTo>
                      <a:pt x="4140" y="1294"/>
                    </a:lnTo>
                    <a:lnTo>
                      <a:pt x="4322" y="1231"/>
                    </a:lnTo>
                    <a:lnTo>
                      <a:pt x="4284" y="1073"/>
                    </a:lnTo>
                    <a:lnTo>
                      <a:pt x="4242" y="877"/>
                    </a:lnTo>
                    <a:lnTo>
                      <a:pt x="4159" y="719"/>
                    </a:lnTo>
                    <a:lnTo>
                      <a:pt x="4032" y="548"/>
                    </a:lnTo>
                    <a:lnTo>
                      <a:pt x="4153" y="494"/>
                    </a:lnTo>
                    <a:lnTo>
                      <a:pt x="4003" y="289"/>
                    </a:lnTo>
                    <a:lnTo>
                      <a:pt x="3896" y="364"/>
                    </a:lnTo>
                    <a:lnTo>
                      <a:pt x="3946" y="187"/>
                    </a:lnTo>
                    <a:lnTo>
                      <a:pt x="3763" y="204"/>
                    </a:lnTo>
                    <a:lnTo>
                      <a:pt x="3711" y="337"/>
                    </a:lnTo>
                    <a:lnTo>
                      <a:pt x="3647" y="498"/>
                    </a:lnTo>
                    <a:lnTo>
                      <a:pt x="3455" y="547"/>
                    </a:lnTo>
                    <a:lnTo>
                      <a:pt x="3142" y="565"/>
                    </a:lnTo>
                    <a:lnTo>
                      <a:pt x="3095" y="451"/>
                    </a:lnTo>
                    <a:lnTo>
                      <a:pt x="2977" y="482"/>
                    </a:lnTo>
                    <a:lnTo>
                      <a:pt x="2950" y="569"/>
                    </a:lnTo>
                    <a:lnTo>
                      <a:pt x="2906" y="668"/>
                    </a:lnTo>
                    <a:lnTo>
                      <a:pt x="2733" y="567"/>
                    </a:lnTo>
                    <a:lnTo>
                      <a:pt x="2545" y="570"/>
                    </a:lnTo>
                    <a:lnTo>
                      <a:pt x="2411" y="407"/>
                    </a:lnTo>
                    <a:lnTo>
                      <a:pt x="2357" y="213"/>
                    </a:lnTo>
                    <a:lnTo>
                      <a:pt x="2071" y="181"/>
                    </a:lnTo>
                    <a:lnTo>
                      <a:pt x="1947" y="285"/>
                    </a:lnTo>
                    <a:lnTo>
                      <a:pt x="1819" y="280"/>
                    </a:lnTo>
                    <a:lnTo>
                      <a:pt x="1769" y="164"/>
                    </a:lnTo>
                    <a:lnTo>
                      <a:pt x="1490" y="146"/>
                    </a:lnTo>
                    <a:lnTo>
                      <a:pt x="1403" y="221"/>
                    </a:lnTo>
                    <a:lnTo>
                      <a:pt x="1275" y="237"/>
                    </a:lnTo>
                    <a:lnTo>
                      <a:pt x="1211" y="354"/>
                    </a:lnTo>
                    <a:lnTo>
                      <a:pt x="1021" y="417"/>
                    </a:lnTo>
                    <a:lnTo>
                      <a:pt x="796" y="140"/>
                    </a:lnTo>
                    <a:lnTo>
                      <a:pt x="615" y="0"/>
                    </a:lnTo>
                    <a:lnTo>
                      <a:pt x="544" y="127"/>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3" name="任意多边形 109">
                <a:extLst>
                  <a:ext uri="{FF2B5EF4-FFF2-40B4-BE49-F238E27FC236}">
                    <a16:creationId xmlns:a16="http://schemas.microsoft.com/office/drawing/2014/main" id="{90135311-AA72-4856-EFC0-9A103F04113D}"/>
                  </a:ext>
                </a:extLst>
              </p:cNvPr>
              <p:cNvSpPr>
                <a:spLocks/>
              </p:cNvSpPr>
              <p:nvPr/>
            </p:nvSpPr>
            <p:spPr bwMode="auto">
              <a:xfrm>
                <a:off x="2788274" y="2490788"/>
                <a:ext cx="1112343" cy="1445260"/>
              </a:xfrm>
              <a:custGeom>
                <a:avLst/>
                <a:gdLst/>
                <a:ahLst/>
                <a:cxnLst/>
                <a:rect l="0" t="0" r="r" b="b"/>
                <a:pathLst>
                  <a:path w="13622565" h="17699749">
                    <a:moveTo>
                      <a:pt x="10642295" y="190148"/>
                    </a:moveTo>
                    <a:lnTo>
                      <a:pt x="10541327" y="440405"/>
                    </a:lnTo>
                    <a:lnTo>
                      <a:pt x="10876011" y="946970"/>
                    </a:lnTo>
                    <a:lnTo>
                      <a:pt x="10454429" y="1010619"/>
                    </a:lnTo>
                    <a:lnTo>
                      <a:pt x="10487052" y="1326891"/>
                    </a:lnTo>
                    <a:lnTo>
                      <a:pt x="11002646" y="1598265"/>
                    </a:lnTo>
                    <a:lnTo>
                      <a:pt x="10369457" y="2041512"/>
                    </a:lnTo>
                    <a:lnTo>
                      <a:pt x="10948375" y="2647578"/>
                    </a:lnTo>
                    <a:lnTo>
                      <a:pt x="10622736" y="2882765"/>
                    </a:lnTo>
                    <a:lnTo>
                      <a:pt x="10752935" y="3452960"/>
                    </a:lnTo>
                    <a:lnTo>
                      <a:pt x="10626295" y="3697184"/>
                    </a:lnTo>
                    <a:lnTo>
                      <a:pt x="10758424" y="4004449"/>
                    </a:lnTo>
                    <a:lnTo>
                      <a:pt x="10215688" y="4529111"/>
                    </a:lnTo>
                    <a:lnTo>
                      <a:pt x="10282575" y="5542511"/>
                    </a:lnTo>
                    <a:lnTo>
                      <a:pt x="10362483" y="6248949"/>
                    </a:lnTo>
                    <a:lnTo>
                      <a:pt x="9654875" y="7324261"/>
                    </a:lnTo>
                    <a:lnTo>
                      <a:pt x="8885999" y="7975560"/>
                    </a:lnTo>
                    <a:lnTo>
                      <a:pt x="9293054" y="8427848"/>
                    </a:lnTo>
                    <a:lnTo>
                      <a:pt x="9342463" y="9786535"/>
                    </a:lnTo>
                    <a:lnTo>
                      <a:pt x="10161417" y="9793764"/>
                    </a:lnTo>
                    <a:lnTo>
                      <a:pt x="10532279" y="10454115"/>
                    </a:lnTo>
                    <a:lnTo>
                      <a:pt x="11482058" y="10463152"/>
                    </a:lnTo>
                    <a:lnTo>
                      <a:pt x="11653917" y="10779759"/>
                    </a:lnTo>
                    <a:lnTo>
                      <a:pt x="12033827" y="11051133"/>
                    </a:lnTo>
                    <a:lnTo>
                      <a:pt x="12531328" y="11331556"/>
                    </a:lnTo>
                    <a:lnTo>
                      <a:pt x="13525033" y="11264884"/>
                    </a:lnTo>
                    <a:lnTo>
                      <a:pt x="13622565" y="11784996"/>
                    </a:lnTo>
                    <a:lnTo>
                      <a:pt x="13072739" y="12075586"/>
                    </a:lnTo>
                    <a:lnTo>
                      <a:pt x="12397515" y="12497597"/>
                    </a:lnTo>
                    <a:lnTo>
                      <a:pt x="12090048" y="13287367"/>
                    </a:lnTo>
                    <a:lnTo>
                      <a:pt x="11571576" y="13691294"/>
                    </a:lnTo>
                    <a:lnTo>
                      <a:pt x="10824014" y="14318273"/>
                    </a:lnTo>
                    <a:lnTo>
                      <a:pt x="10691385" y="15186418"/>
                    </a:lnTo>
                    <a:lnTo>
                      <a:pt x="10076452" y="15753121"/>
                    </a:lnTo>
                    <a:lnTo>
                      <a:pt x="9690609" y="15897811"/>
                    </a:lnTo>
                    <a:lnTo>
                      <a:pt x="9316828" y="16253508"/>
                    </a:lnTo>
                    <a:lnTo>
                      <a:pt x="8762187" y="16349969"/>
                    </a:lnTo>
                    <a:lnTo>
                      <a:pt x="8117109" y="15867666"/>
                    </a:lnTo>
                    <a:lnTo>
                      <a:pt x="7616721" y="15873689"/>
                    </a:lnTo>
                    <a:lnTo>
                      <a:pt x="7435861" y="16741834"/>
                    </a:lnTo>
                    <a:lnTo>
                      <a:pt x="6887243" y="17181930"/>
                    </a:lnTo>
                    <a:lnTo>
                      <a:pt x="6676238" y="17664233"/>
                    </a:lnTo>
                    <a:lnTo>
                      <a:pt x="6335576" y="17699749"/>
                    </a:lnTo>
                    <a:lnTo>
                      <a:pt x="6015490" y="16968505"/>
                    </a:lnTo>
                    <a:lnTo>
                      <a:pt x="5158198" y="16787645"/>
                    </a:lnTo>
                    <a:lnTo>
                      <a:pt x="4619226" y="16161859"/>
                    </a:lnTo>
                    <a:lnTo>
                      <a:pt x="4637311" y="15727786"/>
                    </a:lnTo>
                    <a:lnTo>
                      <a:pt x="4467305" y="15583095"/>
                    </a:lnTo>
                    <a:lnTo>
                      <a:pt x="4097454" y="16087770"/>
                    </a:lnTo>
                    <a:lnTo>
                      <a:pt x="3482522" y="15203956"/>
                    </a:lnTo>
                    <a:lnTo>
                      <a:pt x="3653428" y="14396645"/>
                    </a:lnTo>
                    <a:lnTo>
                      <a:pt x="3378507" y="13914342"/>
                    </a:lnTo>
                    <a:lnTo>
                      <a:pt x="3945210" y="13317494"/>
                    </a:lnTo>
                    <a:lnTo>
                      <a:pt x="4650580" y="13070319"/>
                    </a:lnTo>
                    <a:lnTo>
                      <a:pt x="4505889" y="12455386"/>
                    </a:lnTo>
                    <a:lnTo>
                      <a:pt x="4343114" y="11695763"/>
                    </a:lnTo>
                    <a:lnTo>
                      <a:pt x="4017563" y="11080830"/>
                    </a:lnTo>
                    <a:lnTo>
                      <a:pt x="3523198" y="10417667"/>
                    </a:lnTo>
                    <a:lnTo>
                      <a:pt x="3996178" y="10206164"/>
                    </a:lnTo>
                    <a:lnTo>
                      <a:pt x="3411391" y="9409164"/>
                    </a:lnTo>
                    <a:lnTo>
                      <a:pt x="2997818" y="9699753"/>
                    </a:lnTo>
                    <a:lnTo>
                      <a:pt x="3191625" y="9012965"/>
                    </a:lnTo>
                    <a:lnTo>
                      <a:pt x="2481120" y="9079257"/>
                    </a:lnTo>
                    <a:lnTo>
                      <a:pt x="2307810" y="8862270"/>
                    </a:lnTo>
                    <a:lnTo>
                      <a:pt x="1902675" y="8435428"/>
                    </a:lnTo>
                    <a:lnTo>
                      <a:pt x="1461371" y="8522243"/>
                    </a:lnTo>
                    <a:lnTo>
                      <a:pt x="1211781" y="8156900"/>
                    </a:lnTo>
                    <a:lnTo>
                      <a:pt x="528118" y="8099024"/>
                    </a:lnTo>
                    <a:lnTo>
                      <a:pt x="549825" y="7444299"/>
                    </a:lnTo>
                    <a:lnTo>
                      <a:pt x="0" y="7252585"/>
                    </a:lnTo>
                    <a:lnTo>
                      <a:pt x="79584" y="6858305"/>
                    </a:lnTo>
                    <a:lnTo>
                      <a:pt x="745162" y="6648506"/>
                    </a:lnTo>
                    <a:lnTo>
                      <a:pt x="1291365" y="6409770"/>
                    </a:lnTo>
                    <a:lnTo>
                      <a:pt x="1645854" y="6207203"/>
                    </a:lnTo>
                    <a:lnTo>
                      <a:pt x="1663938" y="5650147"/>
                    </a:lnTo>
                    <a:lnTo>
                      <a:pt x="1171989" y="5140113"/>
                    </a:lnTo>
                    <a:lnTo>
                      <a:pt x="1848421" y="4217714"/>
                    </a:lnTo>
                    <a:lnTo>
                      <a:pt x="2492292" y="4441989"/>
                    </a:lnTo>
                    <a:lnTo>
                      <a:pt x="3280854" y="4470927"/>
                    </a:lnTo>
                    <a:lnTo>
                      <a:pt x="3761949" y="4152607"/>
                    </a:lnTo>
                    <a:lnTo>
                      <a:pt x="3114455" y="3606404"/>
                    </a:lnTo>
                    <a:lnTo>
                      <a:pt x="2673152" y="3541297"/>
                    </a:lnTo>
                    <a:lnTo>
                      <a:pt x="1989489" y="3570235"/>
                    </a:lnTo>
                    <a:lnTo>
                      <a:pt x="2018427" y="3063810"/>
                    </a:lnTo>
                    <a:lnTo>
                      <a:pt x="2831435" y="3080250"/>
                    </a:lnTo>
                    <a:lnTo>
                      <a:pt x="2904657" y="2857635"/>
                    </a:lnTo>
                    <a:lnTo>
                      <a:pt x="2307809" y="2694859"/>
                    </a:lnTo>
                    <a:lnTo>
                      <a:pt x="1757984" y="2579106"/>
                    </a:lnTo>
                    <a:lnTo>
                      <a:pt x="2376539" y="2040135"/>
                    </a:lnTo>
                    <a:lnTo>
                      <a:pt x="1786922" y="1692876"/>
                    </a:lnTo>
                    <a:lnTo>
                      <a:pt x="2353928" y="1376505"/>
                    </a:lnTo>
                    <a:lnTo>
                      <a:pt x="3392984" y="1616916"/>
                    </a:lnTo>
                    <a:lnTo>
                      <a:pt x="4807332" y="1461371"/>
                    </a:lnTo>
                    <a:lnTo>
                      <a:pt x="5613078" y="1412704"/>
                    </a:lnTo>
                    <a:lnTo>
                      <a:pt x="6427855" y="1211781"/>
                    </a:lnTo>
                    <a:lnTo>
                      <a:pt x="7110603" y="895439"/>
                    </a:lnTo>
                    <a:lnTo>
                      <a:pt x="8674165" y="1059859"/>
                    </a:lnTo>
                    <a:lnTo>
                      <a:pt x="8850487" y="790540"/>
                    </a:lnTo>
                    <a:lnTo>
                      <a:pt x="8804379" y="405135"/>
                    </a:lnTo>
                    <a:lnTo>
                      <a:pt x="9412081" y="144691"/>
                    </a:lnTo>
                    <a:lnTo>
                      <a:pt x="10153621" y="0"/>
                    </a:lnTo>
                    <a:lnTo>
                      <a:pt x="10642295" y="190148"/>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4" name="任意多边形 110">
                <a:extLst>
                  <a:ext uri="{FF2B5EF4-FFF2-40B4-BE49-F238E27FC236}">
                    <a16:creationId xmlns:a16="http://schemas.microsoft.com/office/drawing/2014/main" id="{FE263F98-CB3B-8CA8-A619-8FDAA391B377}"/>
                  </a:ext>
                </a:extLst>
              </p:cNvPr>
              <p:cNvSpPr>
                <a:spLocks/>
              </p:cNvSpPr>
              <p:nvPr/>
            </p:nvSpPr>
            <p:spPr bwMode="auto">
              <a:xfrm>
                <a:off x="3109851" y="3231198"/>
                <a:ext cx="2250717" cy="1237933"/>
              </a:xfrm>
              <a:custGeom>
                <a:avLst/>
                <a:gdLst/>
                <a:ahLst/>
                <a:cxnLst/>
                <a:rect l="0" t="0" r="r" b="b"/>
                <a:pathLst>
                  <a:path w="27560432" h="15152939">
                    <a:moveTo>
                      <a:pt x="26157237" y="4322377"/>
                    </a:moveTo>
                    <a:lnTo>
                      <a:pt x="25950755" y="4946265"/>
                    </a:lnTo>
                    <a:lnTo>
                      <a:pt x="26059273" y="5561190"/>
                    </a:lnTo>
                    <a:lnTo>
                      <a:pt x="26439085" y="6103777"/>
                    </a:lnTo>
                    <a:lnTo>
                      <a:pt x="26366739" y="6555934"/>
                    </a:lnTo>
                    <a:lnTo>
                      <a:pt x="25824148" y="6827228"/>
                    </a:lnTo>
                    <a:lnTo>
                      <a:pt x="26023104" y="7478344"/>
                    </a:lnTo>
                    <a:lnTo>
                      <a:pt x="26619948" y="7840060"/>
                    </a:lnTo>
                    <a:lnTo>
                      <a:pt x="26276305" y="8672029"/>
                    </a:lnTo>
                    <a:lnTo>
                      <a:pt x="26312478" y="9666777"/>
                    </a:lnTo>
                    <a:lnTo>
                      <a:pt x="25878405" y="10227453"/>
                    </a:lnTo>
                    <a:lnTo>
                      <a:pt x="26402912" y="10643437"/>
                    </a:lnTo>
                    <a:lnTo>
                      <a:pt x="27319497" y="10082959"/>
                    </a:lnTo>
                    <a:lnTo>
                      <a:pt x="27560432" y="10281714"/>
                    </a:lnTo>
                    <a:lnTo>
                      <a:pt x="27325315" y="10860465"/>
                    </a:lnTo>
                    <a:lnTo>
                      <a:pt x="27542355" y="12005935"/>
                    </a:lnTo>
                    <a:lnTo>
                      <a:pt x="26089423" y="11975789"/>
                    </a:lnTo>
                    <a:lnTo>
                      <a:pt x="24473715" y="12090334"/>
                    </a:lnTo>
                    <a:lnTo>
                      <a:pt x="23135328" y="12222964"/>
                    </a:lnTo>
                    <a:lnTo>
                      <a:pt x="22261159" y="12934357"/>
                    </a:lnTo>
                    <a:lnTo>
                      <a:pt x="20826342" y="14369204"/>
                    </a:lnTo>
                    <a:lnTo>
                      <a:pt x="12952786" y="14960014"/>
                    </a:lnTo>
                    <a:lnTo>
                      <a:pt x="11934663" y="15008264"/>
                    </a:lnTo>
                    <a:lnTo>
                      <a:pt x="8506848" y="15152939"/>
                    </a:lnTo>
                    <a:lnTo>
                      <a:pt x="7985095" y="14507857"/>
                    </a:lnTo>
                    <a:lnTo>
                      <a:pt x="7400308" y="14477712"/>
                    </a:lnTo>
                    <a:lnTo>
                      <a:pt x="6972273" y="14749009"/>
                    </a:lnTo>
                    <a:lnTo>
                      <a:pt x="5181729" y="14664610"/>
                    </a:lnTo>
                    <a:lnTo>
                      <a:pt x="4397998" y="14031593"/>
                    </a:lnTo>
                    <a:lnTo>
                      <a:pt x="2908896" y="13223739"/>
                    </a:lnTo>
                    <a:lnTo>
                      <a:pt x="1263043" y="12512346"/>
                    </a:lnTo>
                    <a:lnTo>
                      <a:pt x="485320" y="12060189"/>
                    </a:lnTo>
                    <a:lnTo>
                      <a:pt x="0" y="11767077"/>
                    </a:lnTo>
                    <a:lnTo>
                      <a:pt x="1003686" y="11021112"/>
                    </a:lnTo>
                    <a:lnTo>
                      <a:pt x="2902551" y="9836713"/>
                    </a:lnTo>
                    <a:lnTo>
                      <a:pt x="2558940" y="9303282"/>
                    </a:lnTo>
                    <a:lnTo>
                      <a:pt x="2402508" y="8616199"/>
                    </a:lnTo>
                    <a:lnTo>
                      <a:pt x="2730740" y="8589028"/>
                    </a:lnTo>
                    <a:lnTo>
                      <a:pt x="2947754" y="8118883"/>
                    </a:lnTo>
                    <a:lnTo>
                      <a:pt x="3499325" y="7675866"/>
                    </a:lnTo>
                    <a:lnTo>
                      <a:pt x="3680166" y="6798868"/>
                    </a:lnTo>
                    <a:lnTo>
                      <a:pt x="4186528" y="6807904"/>
                    </a:lnTo>
                    <a:lnTo>
                      <a:pt x="4837569" y="7278054"/>
                    </a:lnTo>
                    <a:lnTo>
                      <a:pt x="5352976" y="7196687"/>
                    </a:lnTo>
                    <a:lnTo>
                      <a:pt x="5741786" y="6825992"/>
                    </a:lnTo>
                    <a:lnTo>
                      <a:pt x="6157723" y="6663251"/>
                    </a:lnTo>
                    <a:lnTo>
                      <a:pt x="6745471" y="6093658"/>
                    </a:lnTo>
                    <a:lnTo>
                      <a:pt x="6890140" y="5243782"/>
                    </a:lnTo>
                    <a:lnTo>
                      <a:pt x="7568305" y="4674188"/>
                    </a:lnTo>
                    <a:lnTo>
                      <a:pt x="8137967" y="4231167"/>
                    </a:lnTo>
                    <a:lnTo>
                      <a:pt x="8463480" y="3426500"/>
                    </a:lnTo>
                    <a:lnTo>
                      <a:pt x="9024093" y="3073893"/>
                    </a:lnTo>
                    <a:lnTo>
                      <a:pt x="9675138" y="2721291"/>
                    </a:lnTo>
                    <a:lnTo>
                      <a:pt x="9558580" y="2173007"/>
                    </a:lnTo>
                    <a:lnTo>
                      <a:pt x="10353296" y="1500723"/>
                    </a:lnTo>
                    <a:lnTo>
                      <a:pt x="10832530" y="1428389"/>
                    </a:lnTo>
                    <a:lnTo>
                      <a:pt x="11058585" y="1880458"/>
                    </a:lnTo>
                    <a:lnTo>
                      <a:pt x="11411229" y="2260189"/>
                    </a:lnTo>
                    <a:lnTo>
                      <a:pt x="11998974" y="2341559"/>
                    </a:lnTo>
                    <a:lnTo>
                      <a:pt x="12315449" y="3001571"/>
                    </a:lnTo>
                    <a:lnTo>
                      <a:pt x="12785642" y="2820742"/>
                    </a:lnTo>
                    <a:lnTo>
                      <a:pt x="13671776" y="3272803"/>
                    </a:lnTo>
                    <a:lnTo>
                      <a:pt x="14123886" y="2974450"/>
                    </a:lnTo>
                    <a:lnTo>
                      <a:pt x="14259509" y="2404849"/>
                    </a:lnTo>
                    <a:lnTo>
                      <a:pt x="14892468" y="1762918"/>
                    </a:lnTo>
                    <a:lnTo>
                      <a:pt x="15778605" y="1211398"/>
                    </a:lnTo>
                    <a:lnTo>
                      <a:pt x="16022739" y="1681548"/>
                    </a:lnTo>
                    <a:lnTo>
                      <a:pt x="16013694" y="2169778"/>
                    </a:lnTo>
                    <a:lnTo>
                      <a:pt x="16556232" y="2260200"/>
                    </a:lnTo>
                    <a:lnTo>
                      <a:pt x="16863663" y="1744834"/>
                    </a:lnTo>
                    <a:lnTo>
                      <a:pt x="17406193" y="1410312"/>
                    </a:lnTo>
                    <a:lnTo>
                      <a:pt x="17623203" y="867840"/>
                    </a:lnTo>
                    <a:lnTo>
                      <a:pt x="18120524" y="831675"/>
                    </a:lnTo>
                    <a:lnTo>
                      <a:pt x="18201903" y="542358"/>
                    </a:lnTo>
                    <a:lnTo>
                      <a:pt x="18744437" y="117414"/>
                    </a:lnTo>
                    <a:lnTo>
                      <a:pt x="19443290" y="0"/>
                    </a:lnTo>
                    <a:lnTo>
                      <a:pt x="19982300" y="460880"/>
                    </a:lnTo>
                    <a:lnTo>
                      <a:pt x="19530143" y="913038"/>
                    </a:lnTo>
                    <a:lnTo>
                      <a:pt x="19837609" y="1238588"/>
                    </a:lnTo>
                    <a:lnTo>
                      <a:pt x="20886614" y="1546055"/>
                    </a:lnTo>
                    <a:lnTo>
                      <a:pt x="21881359" y="1889694"/>
                    </a:lnTo>
                    <a:lnTo>
                      <a:pt x="21772837" y="2269505"/>
                    </a:lnTo>
                    <a:lnTo>
                      <a:pt x="21537712" y="2884438"/>
                    </a:lnTo>
                    <a:lnTo>
                      <a:pt x="21996067" y="2911656"/>
                    </a:lnTo>
                    <a:lnTo>
                      <a:pt x="22478203" y="2414189"/>
                    </a:lnTo>
                    <a:lnTo>
                      <a:pt x="23292084" y="2016293"/>
                    </a:lnTo>
                    <a:lnTo>
                      <a:pt x="23888932" y="1998212"/>
                    </a:lnTo>
                    <a:lnTo>
                      <a:pt x="24612383" y="1582227"/>
                    </a:lnTo>
                    <a:lnTo>
                      <a:pt x="25010275" y="695990"/>
                    </a:lnTo>
                    <a:lnTo>
                      <a:pt x="25769899" y="840685"/>
                    </a:lnTo>
                    <a:lnTo>
                      <a:pt x="26402920" y="876857"/>
                    </a:lnTo>
                    <a:lnTo>
                      <a:pt x="26240141" y="1491794"/>
                    </a:lnTo>
                    <a:lnTo>
                      <a:pt x="26554742" y="2052454"/>
                    </a:lnTo>
                    <a:lnTo>
                      <a:pt x="25679461" y="2775920"/>
                    </a:lnTo>
                    <a:lnTo>
                      <a:pt x="25751806" y="3806840"/>
                    </a:lnTo>
                    <a:lnTo>
                      <a:pt x="26157237" y="4322377"/>
                    </a:lnTo>
                    <a:close/>
                  </a:path>
                </a:pathLst>
              </a:custGeom>
              <a:grpFill/>
              <a:ln w="12700" cap="flat">
                <a:solidFill>
                  <a:schemeClr val="bg1"/>
                </a:solidFill>
                <a:prstDash val="solid"/>
                <a:miter/>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5" name="任意多边形 111">
                <a:extLst>
                  <a:ext uri="{FF2B5EF4-FFF2-40B4-BE49-F238E27FC236}">
                    <a16:creationId xmlns:a16="http://schemas.microsoft.com/office/drawing/2014/main" id="{22788162-0B7B-89BA-1A59-1167EE61430C}"/>
                  </a:ext>
                </a:extLst>
              </p:cNvPr>
              <p:cNvSpPr>
                <a:spLocks/>
              </p:cNvSpPr>
              <p:nvPr/>
            </p:nvSpPr>
            <p:spPr bwMode="auto">
              <a:xfrm>
                <a:off x="4595197" y="2461260"/>
                <a:ext cx="830131" cy="1007110"/>
              </a:xfrm>
              <a:custGeom>
                <a:avLst/>
                <a:gdLst>
                  <a:gd name="T0" fmla="*/ 0 w 2615"/>
                  <a:gd name="T1" fmla="*/ 877971 h 3172"/>
                  <a:gd name="T2" fmla="*/ 9526 w 2615"/>
                  <a:gd name="T3" fmla="*/ 982701 h 3172"/>
                  <a:gd name="T4" fmla="*/ 123826 w 2615"/>
                  <a:gd name="T5" fmla="*/ 901738 h 3172"/>
                  <a:gd name="T6" fmla="*/ 164307 w 2615"/>
                  <a:gd name="T7" fmla="*/ 1013658 h 3172"/>
                  <a:gd name="T8" fmla="*/ 45243 w 2615"/>
                  <a:gd name="T9" fmla="*/ 1070806 h 3172"/>
                  <a:gd name="T10" fmla="*/ 150019 w 2615"/>
                  <a:gd name="T11" fmla="*/ 1139863 h 3172"/>
                  <a:gd name="T12" fmla="*/ 288132 w 2615"/>
                  <a:gd name="T13" fmla="*/ 1149388 h 3172"/>
                  <a:gd name="T14" fmla="*/ 269080 w 2615"/>
                  <a:gd name="T15" fmla="*/ 1258924 h 3172"/>
                  <a:gd name="T16" fmla="*/ 178593 w 2615"/>
                  <a:gd name="T17" fmla="*/ 1282737 h 3172"/>
                  <a:gd name="T18" fmla="*/ 228600 w 2615"/>
                  <a:gd name="T19" fmla="*/ 1401799 h 3172"/>
                  <a:gd name="T20" fmla="*/ 319086 w 2615"/>
                  <a:gd name="T21" fmla="*/ 1589915 h 3172"/>
                  <a:gd name="T22" fmla="*/ 340517 w 2615"/>
                  <a:gd name="T23" fmla="*/ 1861376 h 3172"/>
                  <a:gd name="T24" fmla="*/ 269079 w 2615"/>
                  <a:gd name="T25" fmla="*/ 2001869 h 3172"/>
                  <a:gd name="T26" fmla="*/ 371473 w 2615"/>
                  <a:gd name="T27" fmla="*/ 2180463 h 3172"/>
                  <a:gd name="T28" fmla="*/ 271460 w 2615"/>
                  <a:gd name="T29" fmla="*/ 2225705 h 3172"/>
                  <a:gd name="T30" fmla="*/ 238123 w 2615"/>
                  <a:gd name="T31" fmla="*/ 2368579 h 3172"/>
                  <a:gd name="T32" fmla="*/ 334487 w 2615"/>
                  <a:gd name="T33" fmla="*/ 2484765 h 3172"/>
                  <a:gd name="T34" fmla="*/ 471485 w 2615"/>
                  <a:gd name="T35" fmla="*/ 2606703 h 3172"/>
                  <a:gd name="T36" fmla="*/ 357185 w 2615"/>
                  <a:gd name="T37" fmla="*/ 2723382 h 3172"/>
                  <a:gd name="T38" fmla="*/ 440527 w 2615"/>
                  <a:gd name="T39" fmla="*/ 2811489 h 3172"/>
                  <a:gd name="T40" fmla="*/ 769139 w 2615"/>
                  <a:gd name="T41" fmla="*/ 2906739 h 3172"/>
                  <a:gd name="T42" fmla="*/ 973926 w 2615"/>
                  <a:gd name="T43" fmla="*/ 2985319 h 3172"/>
                  <a:gd name="T44" fmla="*/ 950112 w 2615"/>
                  <a:gd name="T45" fmla="*/ 3075806 h 3172"/>
                  <a:gd name="T46" fmla="*/ 885818 w 2615"/>
                  <a:gd name="T47" fmla="*/ 3242493 h 3172"/>
                  <a:gd name="T48" fmla="*/ 1007259 w 2615"/>
                  <a:gd name="T49" fmla="*/ 3249638 h 3172"/>
                  <a:gd name="T50" fmla="*/ 1131085 w 2615"/>
                  <a:gd name="T51" fmla="*/ 3121049 h 3172"/>
                  <a:gd name="T52" fmla="*/ 1345398 w 2615"/>
                  <a:gd name="T53" fmla="*/ 3013894 h 3172"/>
                  <a:gd name="T54" fmla="*/ 1502558 w 2615"/>
                  <a:gd name="T55" fmla="*/ 3009131 h 3172"/>
                  <a:gd name="T56" fmla="*/ 1697821 w 2615"/>
                  <a:gd name="T57" fmla="*/ 2899594 h 3172"/>
                  <a:gd name="T58" fmla="*/ 1800212 w 2615"/>
                  <a:gd name="T59" fmla="*/ 2668613 h 3172"/>
                  <a:gd name="T60" fmla="*/ 2016905 w 2615"/>
                  <a:gd name="T61" fmla="*/ 2709095 h 3172"/>
                  <a:gd name="T62" fmla="*/ 2164543 w 2615"/>
                  <a:gd name="T63" fmla="*/ 2713858 h 3172"/>
                  <a:gd name="T64" fmla="*/ 2121679 w 2615"/>
                  <a:gd name="T65" fmla="*/ 2871020 h 3172"/>
                  <a:gd name="T66" fmla="*/ 2207907 w 2615"/>
                  <a:gd name="T67" fmla="*/ 3025008 h 3172"/>
                  <a:gd name="T68" fmla="*/ 2488389 w 2615"/>
                  <a:gd name="T69" fmla="*/ 3037709 h 3172"/>
                  <a:gd name="T70" fmla="*/ 2676509 w 2615"/>
                  <a:gd name="T71" fmla="*/ 2792441 h 3172"/>
                  <a:gd name="T72" fmla="*/ 2595546 w 2615"/>
                  <a:gd name="T73" fmla="*/ 2559078 h 3172"/>
                  <a:gd name="T74" fmla="*/ 2347133 w 2615"/>
                  <a:gd name="T75" fmla="*/ 2261454 h 3172"/>
                  <a:gd name="T76" fmla="*/ 2464577 w 2615"/>
                  <a:gd name="T77" fmla="*/ 2116168 h 3172"/>
                  <a:gd name="T78" fmla="*/ 2678889 w 2615"/>
                  <a:gd name="T79" fmla="*/ 1930432 h 3172"/>
                  <a:gd name="T80" fmla="*/ 2678093 w 2615"/>
                  <a:gd name="T81" fmla="*/ 1666453 h 3172"/>
                  <a:gd name="T82" fmla="*/ 2048418 w 2615"/>
                  <a:gd name="T83" fmla="*/ 889742 h 3172"/>
                  <a:gd name="T84" fmla="*/ 1796250 w 2615"/>
                  <a:gd name="T85" fmla="*/ 626836 h 3172"/>
                  <a:gd name="T86" fmla="*/ 1502649 w 2615"/>
                  <a:gd name="T87" fmla="*/ 460378 h 3172"/>
                  <a:gd name="T88" fmla="*/ 1364578 w 2615"/>
                  <a:gd name="T89" fmla="*/ 395289 h 3172"/>
                  <a:gd name="T90" fmla="*/ 1264594 w 2615"/>
                  <a:gd name="T91" fmla="*/ 266701 h 3172"/>
                  <a:gd name="T92" fmla="*/ 1435995 w 2615"/>
                  <a:gd name="T93" fmla="*/ 190501 h 3172"/>
                  <a:gd name="T94" fmla="*/ 1469322 w 2615"/>
                  <a:gd name="T95" fmla="*/ 0 h 3172"/>
                  <a:gd name="T96" fmla="*/ 1231267 w 2615"/>
                  <a:gd name="T97" fmla="*/ 104775 h 3172"/>
                  <a:gd name="T98" fmla="*/ 1144255 w 2615"/>
                  <a:gd name="T99" fmla="*/ 92908 h 3172"/>
                  <a:gd name="T100" fmla="*/ 1102720 w 2615"/>
                  <a:gd name="T101" fmla="*/ 257179 h 3172"/>
                  <a:gd name="T102" fmla="*/ 888470 w 2615"/>
                  <a:gd name="T103" fmla="*/ 357191 h 3172"/>
                  <a:gd name="T104" fmla="*/ 755159 w 2615"/>
                  <a:gd name="T105" fmla="*/ 528641 h 3172"/>
                  <a:gd name="T106" fmla="*/ 531389 w 2615"/>
                  <a:gd name="T107" fmla="*/ 623889 h 3172"/>
                  <a:gd name="T108" fmla="*/ 459972 w 2615"/>
                  <a:gd name="T109" fmla="*/ 766766 h 3172"/>
                  <a:gd name="T110" fmla="*/ 264769 w 2615"/>
                  <a:gd name="T111" fmla="*/ 728663 h 3172"/>
                  <a:gd name="T112" fmla="*/ 0 w 2615"/>
                  <a:gd name="T113" fmla="*/ 877971 h 31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615" h="3172">
                    <a:moveTo>
                      <a:pt x="0" y="858"/>
                    </a:moveTo>
                    <a:lnTo>
                      <a:pt x="7" y="955"/>
                    </a:lnTo>
                    <a:lnTo>
                      <a:pt x="119" y="880"/>
                    </a:lnTo>
                    <a:lnTo>
                      <a:pt x="160" y="990"/>
                    </a:lnTo>
                    <a:lnTo>
                      <a:pt x="44" y="1046"/>
                    </a:lnTo>
                    <a:lnTo>
                      <a:pt x="146" y="1114"/>
                    </a:lnTo>
                    <a:lnTo>
                      <a:pt x="281" y="1123"/>
                    </a:lnTo>
                    <a:lnTo>
                      <a:pt x="263" y="1230"/>
                    </a:lnTo>
                    <a:lnTo>
                      <a:pt x="174" y="1253"/>
                    </a:lnTo>
                    <a:lnTo>
                      <a:pt x="223" y="1370"/>
                    </a:lnTo>
                    <a:lnTo>
                      <a:pt x="312" y="1553"/>
                    </a:lnTo>
                    <a:lnTo>
                      <a:pt x="333" y="1819"/>
                    </a:lnTo>
                    <a:lnTo>
                      <a:pt x="263" y="1956"/>
                    </a:lnTo>
                    <a:lnTo>
                      <a:pt x="363" y="2130"/>
                    </a:lnTo>
                    <a:lnTo>
                      <a:pt x="265" y="2175"/>
                    </a:lnTo>
                    <a:lnTo>
                      <a:pt x="233" y="2314"/>
                    </a:lnTo>
                    <a:lnTo>
                      <a:pt x="327" y="2428"/>
                    </a:lnTo>
                    <a:lnTo>
                      <a:pt x="460" y="2547"/>
                    </a:lnTo>
                    <a:lnTo>
                      <a:pt x="349" y="2661"/>
                    </a:lnTo>
                    <a:lnTo>
                      <a:pt x="430" y="2747"/>
                    </a:lnTo>
                    <a:lnTo>
                      <a:pt x="751" y="2840"/>
                    </a:lnTo>
                    <a:lnTo>
                      <a:pt x="952" y="2913"/>
                    </a:lnTo>
                    <a:lnTo>
                      <a:pt x="922" y="3013"/>
                    </a:lnTo>
                    <a:lnTo>
                      <a:pt x="863" y="3165"/>
                    </a:lnTo>
                    <a:lnTo>
                      <a:pt x="977" y="3172"/>
                    </a:lnTo>
                    <a:lnTo>
                      <a:pt x="1105" y="3049"/>
                    </a:lnTo>
                    <a:lnTo>
                      <a:pt x="1314" y="2945"/>
                    </a:lnTo>
                    <a:lnTo>
                      <a:pt x="1467" y="2940"/>
                    </a:lnTo>
                    <a:lnTo>
                      <a:pt x="1651" y="2835"/>
                    </a:lnTo>
                    <a:lnTo>
                      <a:pt x="1756" y="2602"/>
                    </a:lnTo>
                    <a:lnTo>
                      <a:pt x="1948" y="2641"/>
                    </a:lnTo>
                    <a:lnTo>
                      <a:pt x="2114" y="2652"/>
                    </a:lnTo>
                    <a:lnTo>
                      <a:pt x="2072" y="2805"/>
                    </a:lnTo>
                    <a:lnTo>
                      <a:pt x="2156" y="2956"/>
                    </a:lnTo>
                    <a:lnTo>
                      <a:pt x="2430" y="2968"/>
                    </a:lnTo>
                    <a:lnTo>
                      <a:pt x="2614" y="2728"/>
                    </a:lnTo>
                    <a:lnTo>
                      <a:pt x="2535" y="2500"/>
                    </a:lnTo>
                    <a:lnTo>
                      <a:pt x="2292" y="2210"/>
                    </a:lnTo>
                    <a:lnTo>
                      <a:pt x="2407" y="2068"/>
                    </a:lnTo>
                    <a:lnTo>
                      <a:pt x="2609" y="1891"/>
                    </a:lnTo>
                    <a:lnTo>
                      <a:pt x="2615" y="1628"/>
                    </a:lnTo>
                    <a:lnTo>
                      <a:pt x="2000" y="869"/>
                    </a:lnTo>
                    <a:lnTo>
                      <a:pt x="1754" y="612"/>
                    </a:lnTo>
                    <a:lnTo>
                      <a:pt x="1467" y="450"/>
                    </a:lnTo>
                    <a:lnTo>
                      <a:pt x="1333" y="386"/>
                    </a:lnTo>
                    <a:lnTo>
                      <a:pt x="1235" y="261"/>
                    </a:lnTo>
                    <a:lnTo>
                      <a:pt x="1402" y="186"/>
                    </a:lnTo>
                    <a:lnTo>
                      <a:pt x="1435" y="0"/>
                    </a:lnTo>
                    <a:lnTo>
                      <a:pt x="1207" y="97"/>
                    </a:lnTo>
                    <a:lnTo>
                      <a:pt x="1123" y="94"/>
                    </a:lnTo>
                    <a:lnTo>
                      <a:pt x="1077" y="251"/>
                    </a:lnTo>
                    <a:lnTo>
                      <a:pt x="868" y="349"/>
                    </a:lnTo>
                    <a:lnTo>
                      <a:pt x="737" y="516"/>
                    </a:lnTo>
                    <a:lnTo>
                      <a:pt x="519" y="610"/>
                    </a:lnTo>
                    <a:lnTo>
                      <a:pt x="449" y="749"/>
                    </a:lnTo>
                    <a:lnTo>
                      <a:pt x="259" y="712"/>
                    </a:lnTo>
                    <a:lnTo>
                      <a:pt x="0" y="858"/>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6" name="任意多边形 112">
                <a:extLst>
                  <a:ext uri="{FF2B5EF4-FFF2-40B4-BE49-F238E27FC236}">
                    <a16:creationId xmlns:a16="http://schemas.microsoft.com/office/drawing/2014/main" id="{42B32FFC-957B-EB8E-0142-5ED1469CD26C}"/>
                  </a:ext>
                </a:extLst>
              </p:cNvPr>
              <p:cNvSpPr>
                <a:spLocks/>
              </p:cNvSpPr>
              <p:nvPr/>
            </p:nvSpPr>
            <p:spPr bwMode="auto">
              <a:xfrm>
                <a:off x="4082516" y="4405630"/>
                <a:ext cx="1070440" cy="855980"/>
              </a:xfrm>
              <a:custGeom>
                <a:avLst/>
                <a:gdLst>
                  <a:gd name="T0" fmla="*/ 215558 w 13103724"/>
                  <a:gd name="T1" fmla="*/ 1849899 h 10479261"/>
                  <a:gd name="T2" fmla="*/ 264663 w 13103724"/>
                  <a:gd name="T3" fmla="*/ 2011576 h 10479261"/>
                  <a:gd name="T4" fmla="*/ 339518 w 13103724"/>
                  <a:gd name="T5" fmla="*/ 2103213 h 10479261"/>
                  <a:gd name="T6" fmla="*/ 499210 w 13103724"/>
                  <a:gd name="T7" fmla="*/ 2104344 h 10479261"/>
                  <a:gd name="T8" fmla="*/ 617617 w 13103724"/>
                  <a:gd name="T9" fmla="*/ 2307580 h 10479261"/>
                  <a:gd name="T10" fmla="*/ 633269 w 13103724"/>
                  <a:gd name="T11" fmla="*/ 2513082 h 10479261"/>
                  <a:gd name="T12" fmla="*/ 773543 w 13103724"/>
                  <a:gd name="T13" fmla="*/ 2644339 h 10479261"/>
                  <a:gd name="T14" fmla="*/ 1027507 w 13103724"/>
                  <a:gd name="T15" fmla="*/ 2759865 h 10479261"/>
                  <a:gd name="T16" fmla="*/ 1051685 w 13103724"/>
                  <a:gd name="T17" fmla="*/ 2610750 h 10479261"/>
                  <a:gd name="T18" fmla="*/ 1166964 w 13103724"/>
                  <a:gd name="T19" fmla="*/ 2547876 h 10479261"/>
                  <a:gd name="T20" fmla="*/ 1146003 w 13103724"/>
                  <a:gd name="T21" fmla="*/ 2436415 h 10479261"/>
                  <a:gd name="T22" fmla="*/ 1506126 w 13103724"/>
                  <a:gd name="T23" fmla="*/ 2365920 h 10479261"/>
                  <a:gd name="T24" fmla="*/ 1740489 w 13103724"/>
                  <a:gd name="T25" fmla="*/ 2396405 h 10479261"/>
                  <a:gd name="T26" fmla="*/ 1973903 w 13103724"/>
                  <a:gd name="T27" fmla="*/ 2426890 h 10479261"/>
                  <a:gd name="T28" fmla="*/ 2112996 w 13103724"/>
                  <a:gd name="T29" fmla="*/ 2515488 h 10479261"/>
                  <a:gd name="T30" fmla="*/ 2225144 w 13103724"/>
                  <a:gd name="T31" fmla="*/ 2500704 h 10479261"/>
                  <a:gd name="T32" fmla="*/ 2314968 w 13103724"/>
                  <a:gd name="T33" fmla="*/ 2588842 h 10479261"/>
                  <a:gd name="T34" fmla="*/ 2423577 w 13103724"/>
                  <a:gd name="T35" fmla="*/ 2555498 h 10479261"/>
                  <a:gd name="T36" fmla="*/ 2370225 w 13103724"/>
                  <a:gd name="T37" fmla="*/ 2466900 h 10479261"/>
                  <a:gd name="T38" fmla="*/ 2377846 w 13103724"/>
                  <a:gd name="T39" fmla="*/ 2324955 h 10479261"/>
                  <a:gd name="T40" fmla="*/ 2454063 w 13103724"/>
                  <a:gd name="T41" fmla="*/ 2147761 h 10479261"/>
                  <a:gd name="T42" fmla="*/ 2550287 w 13103724"/>
                  <a:gd name="T43" fmla="*/ 2046780 h 10479261"/>
                  <a:gd name="T44" fmla="*/ 2727489 w 13103724"/>
                  <a:gd name="T45" fmla="*/ 1942940 h 10479261"/>
                  <a:gd name="T46" fmla="*/ 2885636 w 13103724"/>
                  <a:gd name="T47" fmla="*/ 2026775 h 10479261"/>
                  <a:gd name="T48" fmla="*/ 3164778 w 13103724"/>
                  <a:gd name="T49" fmla="*/ 2145856 h 10479261"/>
                  <a:gd name="T50" fmla="*/ 3450477 w 13103724"/>
                  <a:gd name="T51" fmla="*/ 2203796 h 10479261"/>
                  <a:gd name="T52" fmla="*/ 3451225 w 13103724"/>
                  <a:gd name="T53" fmla="*/ 1928333 h 10479261"/>
                  <a:gd name="T54" fmla="*/ 3260683 w 13103724"/>
                  <a:gd name="T55" fmla="*/ 1567910 h 10479261"/>
                  <a:gd name="T56" fmla="*/ 3182087 w 13103724"/>
                  <a:gd name="T57" fmla="*/ 1211289 h 10479261"/>
                  <a:gd name="T58" fmla="*/ 2804975 w 13103724"/>
                  <a:gd name="T59" fmla="*/ 1066182 h 10479261"/>
                  <a:gd name="T60" fmla="*/ 2749400 w 13103724"/>
                  <a:gd name="T61" fmla="*/ 853422 h 10479261"/>
                  <a:gd name="T62" fmla="*/ 2511225 w 13103724"/>
                  <a:gd name="T63" fmla="*/ 615257 h 10479261"/>
                  <a:gd name="T64" fmla="*/ 2442947 w 13103724"/>
                  <a:gd name="T65" fmla="*/ 336606 h 10479261"/>
                  <a:gd name="T66" fmla="*/ 2352490 w 13103724"/>
                  <a:gd name="T67" fmla="*/ 0 h 10479261"/>
                  <a:gd name="T68" fmla="*/ 420012 w 13103724"/>
                  <a:gd name="T69" fmla="*/ 146051 h 10479261"/>
                  <a:gd name="T70" fmla="*/ 0 w 13103724"/>
                  <a:gd name="T71" fmla="*/ 165957 h 10479261"/>
                  <a:gd name="T72" fmla="*/ 420954 w 13103724"/>
                  <a:gd name="T73" fmla="*/ 1212935 h 10479261"/>
                  <a:gd name="T74" fmla="*/ 391919 w 13103724"/>
                  <a:gd name="T75" fmla="*/ 1419571 h 10479261"/>
                  <a:gd name="T76" fmla="*/ 331583 w 13103724"/>
                  <a:gd name="T77" fmla="*/ 1649571 h 10479261"/>
                  <a:gd name="T78" fmla="*/ 215558 w 13103724"/>
                  <a:gd name="T79" fmla="*/ 1849899 h 1047926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3103724" h="10479261">
                    <a:moveTo>
                      <a:pt x="818438" y="7024103"/>
                    </a:moveTo>
                    <a:lnTo>
                      <a:pt x="1004880" y="7637995"/>
                    </a:lnTo>
                    <a:lnTo>
                      <a:pt x="1289094" y="7985936"/>
                    </a:lnTo>
                    <a:lnTo>
                      <a:pt x="1895417" y="7990235"/>
                    </a:lnTo>
                    <a:lnTo>
                      <a:pt x="2344988" y="8761920"/>
                    </a:lnTo>
                    <a:lnTo>
                      <a:pt x="2404414" y="9542218"/>
                    </a:lnTo>
                    <a:lnTo>
                      <a:pt x="2937013" y="10040601"/>
                    </a:lnTo>
                    <a:lnTo>
                      <a:pt x="3901270" y="10479261"/>
                    </a:lnTo>
                    <a:lnTo>
                      <a:pt x="3993071" y="9913071"/>
                    </a:lnTo>
                    <a:lnTo>
                      <a:pt x="4430767" y="9674335"/>
                    </a:lnTo>
                    <a:lnTo>
                      <a:pt x="4351183" y="9251116"/>
                    </a:lnTo>
                    <a:lnTo>
                      <a:pt x="5718509" y="8983442"/>
                    </a:lnTo>
                    <a:lnTo>
                      <a:pt x="6608347" y="9099194"/>
                    </a:lnTo>
                    <a:lnTo>
                      <a:pt x="7494577" y="9214947"/>
                    </a:lnTo>
                    <a:lnTo>
                      <a:pt x="8022695" y="9551352"/>
                    </a:lnTo>
                    <a:lnTo>
                      <a:pt x="8448500" y="9495222"/>
                    </a:lnTo>
                    <a:lnTo>
                      <a:pt x="8789549" y="9829880"/>
                    </a:lnTo>
                    <a:lnTo>
                      <a:pt x="9201915" y="9703273"/>
                    </a:lnTo>
                    <a:lnTo>
                      <a:pt x="8999347" y="9366869"/>
                    </a:lnTo>
                    <a:lnTo>
                      <a:pt x="9028285" y="8827897"/>
                    </a:lnTo>
                    <a:lnTo>
                      <a:pt x="9317667" y="8155088"/>
                    </a:lnTo>
                    <a:lnTo>
                      <a:pt x="9683010" y="7771661"/>
                    </a:lnTo>
                    <a:lnTo>
                      <a:pt x="10355819" y="7377380"/>
                    </a:lnTo>
                    <a:lnTo>
                      <a:pt x="10956275" y="7695700"/>
                    </a:lnTo>
                    <a:lnTo>
                      <a:pt x="12016134" y="8147857"/>
                    </a:lnTo>
                    <a:lnTo>
                      <a:pt x="13100884" y="8367852"/>
                    </a:lnTo>
                    <a:cubicBezTo>
                      <a:pt x="13101831" y="8019208"/>
                      <a:pt x="13102777" y="7670563"/>
                      <a:pt x="13103724" y="7321919"/>
                    </a:cubicBezTo>
                    <a:lnTo>
                      <a:pt x="12380269" y="5953386"/>
                    </a:lnTo>
                    <a:lnTo>
                      <a:pt x="12081849" y="4599284"/>
                    </a:lnTo>
                    <a:lnTo>
                      <a:pt x="10650016" y="4048312"/>
                    </a:lnTo>
                    <a:lnTo>
                      <a:pt x="10439011" y="3240458"/>
                    </a:lnTo>
                    <a:lnTo>
                      <a:pt x="9534696" y="2336143"/>
                    </a:lnTo>
                    <a:lnTo>
                      <a:pt x="9275460" y="1278099"/>
                    </a:lnTo>
                    <a:lnTo>
                      <a:pt x="8932015" y="0"/>
                    </a:lnTo>
                    <a:lnTo>
                      <a:pt x="1594715" y="554558"/>
                    </a:lnTo>
                    <a:lnTo>
                      <a:pt x="0" y="630142"/>
                    </a:lnTo>
                    <a:lnTo>
                      <a:pt x="1598292" y="4605539"/>
                    </a:lnTo>
                    <a:lnTo>
                      <a:pt x="1488049" y="5390136"/>
                    </a:lnTo>
                    <a:lnTo>
                      <a:pt x="1258963" y="6263454"/>
                    </a:lnTo>
                    <a:lnTo>
                      <a:pt x="818438" y="7024103"/>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7" name="任意多边形 113">
                <a:extLst>
                  <a:ext uri="{FF2B5EF4-FFF2-40B4-BE49-F238E27FC236}">
                    <a16:creationId xmlns:a16="http://schemas.microsoft.com/office/drawing/2014/main" id="{56D0F0CA-2EFC-BB34-C11F-6AA777733070}"/>
                  </a:ext>
                </a:extLst>
              </p:cNvPr>
              <p:cNvSpPr>
                <a:spLocks/>
              </p:cNvSpPr>
              <p:nvPr/>
            </p:nvSpPr>
            <p:spPr bwMode="auto">
              <a:xfrm>
                <a:off x="3578406" y="4457383"/>
                <a:ext cx="830765" cy="1209993"/>
              </a:xfrm>
              <a:custGeom>
                <a:avLst/>
                <a:gdLst>
                  <a:gd name="T0" fmla="*/ 1841986 w 10172266"/>
                  <a:gd name="T1" fmla="*/ 1683352 h 14815417"/>
                  <a:gd name="T2" fmla="*/ 1891073 w 10172266"/>
                  <a:gd name="T3" fmla="*/ 1844973 h 14815417"/>
                  <a:gd name="T4" fmla="*/ 1965899 w 10172266"/>
                  <a:gd name="T5" fmla="*/ 1936575 h 14815417"/>
                  <a:gd name="T6" fmla="*/ 2125529 w 10172266"/>
                  <a:gd name="T7" fmla="*/ 1937708 h 14815417"/>
                  <a:gd name="T8" fmla="*/ 2243890 w 10172266"/>
                  <a:gd name="T9" fmla="*/ 2140870 h 14815417"/>
                  <a:gd name="T10" fmla="*/ 2259535 w 10172266"/>
                  <a:gd name="T11" fmla="*/ 2346301 h 14815417"/>
                  <a:gd name="T12" fmla="*/ 2399756 w 10172266"/>
                  <a:gd name="T13" fmla="*/ 2477512 h 14815417"/>
                  <a:gd name="T14" fmla="*/ 2653621 w 10172266"/>
                  <a:gd name="T15" fmla="*/ 2592998 h 14815417"/>
                  <a:gd name="T16" fmla="*/ 2678112 w 10172266"/>
                  <a:gd name="T17" fmla="*/ 2693443 h 14815417"/>
                  <a:gd name="T18" fmla="*/ 2565419 w 10172266"/>
                  <a:gd name="T19" fmla="*/ 2728360 h 14815417"/>
                  <a:gd name="T20" fmla="*/ 2479707 w 10172266"/>
                  <a:gd name="T21" fmla="*/ 2874385 h 14815417"/>
                  <a:gd name="T22" fmla="*/ 2355905 w 10172266"/>
                  <a:gd name="T23" fmla="*/ 2798198 h 14815417"/>
                  <a:gd name="T24" fmla="*/ 2194007 w 10172266"/>
                  <a:gd name="T25" fmla="*/ 3021994 h 14815417"/>
                  <a:gd name="T26" fmla="*/ 1917831 w 10172266"/>
                  <a:gd name="T27" fmla="*/ 3136271 h 14815417"/>
                  <a:gd name="T28" fmla="*/ 1746412 w 10172266"/>
                  <a:gd name="T29" fmla="*/ 3312451 h 14815417"/>
                  <a:gd name="T30" fmla="*/ 1427378 w 10172266"/>
                  <a:gd name="T31" fmla="*/ 3664810 h 14815417"/>
                  <a:gd name="T32" fmla="*/ 1451188 w 10172266"/>
                  <a:gd name="T33" fmla="*/ 3850512 h 14815417"/>
                  <a:gd name="T34" fmla="*/ 1243325 w 10172266"/>
                  <a:gd name="T35" fmla="*/ 3900487 h 14815417"/>
                  <a:gd name="T36" fmla="*/ 1103584 w 10172266"/>
                  <a:gd name="T37" fmla="*/ 3764805 h 14815417"/>
                  <a:gd name="T38" fmla="*/ 1203582 w 10172266"/>
                  <a:gd name="T39" fmla="*/ 3588625 h 14815417"/>
                  <a:gd name="T40" fmla="*/ 998830 w 10172266"/>
                  <a:gd name="T41" fmla="*/ 3464824 h 14815417"/>
                  <a:gd name="T42" fmla="*/ 379810 w 10172266"/>
                  <a:gd name="T43" fmla="*/ 3493399 h 14815417"/>
                  <a:gd name="T44" fmla="*/ 256009 w 10172266"/>
                  <a:gd name="T45" fmla="*/ 2874383 h 14815417"/>
                  <a:gd name="T46" fmla="*/ 0 w 10172266"/>
                  <a:gd name="T47" fmla="*/ 2870986 h 14815417"/>
                  <a:gd name="T48" fmla="*/ 21025 w 10172266"/>
                  <a:gd name="T49" fmla="*/ 2662512 h 14815417"/>
                  <a:gd name="T50" fmla="*/ 189345 w 10172266"/>
                  <a:gd name="T51" fmla="*/ 2512504 h 14815417"/>
                  <a:gd name="T52" fmla="*/ 379813 w 10172266"/>
                  <a:gd name="T53" fmla="*/ 2369657 h 14815417"/>
                  <a:gd name="T54" fmla="*/ 598850 w 10172266"/>
                  <a:gd name="T55" fmla="*/ 2217285 h 14815417"/>
                  <a:gd name="T56" fmla="*/ 770270 w 10172266"/>
                  <a:gd name="T57" fmla="*/ 2164907 h 14815417"/>
                  <a:gd name="T58" fmla="*/ 967152 w 10172266"/>
                  <a:gd name="T59" fmla="*/ 2010141 h 14815417"/>
                  <a:gd name="T60" fmla="*/ 865501 w 10172266"/>
                  <a:gd name="T61" fmla="*/ 1864925 h 14815417"/>
                  <a:gd name="T62" fmla="*/ 1046447 w 10172266"/>
                  <a:gd name="T63" fmla="*/ 1669700 h 14815417"/>
                  <a:gd name="T64" fmla="*/ 1003590 w 10172266"/>
                  <a:gd name="T65" fmla="*/ 1550660 h 14815417"/>
                  <a:gd name="T66" fmla="*/ 1070254 w 10172266"/>
                  <a:gd name="T67" fmla="*/ 1379243 h 14815417"/>
                  <a:gd name="T68" fmla="*/ 832169 w 10172266"/>
                  <a:gd name="T69" fmla="*/ 1160207 h 14815417"/>
                  <a:gd name="T70" fmla="*/ 813123 w 10172266"/>
                  <a:gd name="T71" fmla="*/ 712616 h 14815417"/>
                  <a:gd name="T72" fmla="*/ 675034 w 10172266"/>
                  <a:gd name="T73" fmla="*/ 455490 h 14815417"/>
                  <a:gd name="T74" fmla="*/ 703605 w 10172266"/>
                  <a:gd name="T75" fmla="*/ 322166 h 14815417"/>
                  <a:gd name="T76" fmla="*/ 732174 w 10172266"/>
                  <a:gd name="T77" fmla="*/ 40437 h 14815417"/>
                  <a:gd name="T78" fmla="*/ 1626512 w 10172266"/>
                  <a:gd name="T79" fmla="*/ 0 h 14815417"/>
                  <a:gd name="T80" fmla="*/ 2047304 w 10172266"/>
                  <a:gd name="T81" fmla="*/ 1046611 h 14815417"/>
                  <a:gd name="T82" fmla="*/ 2018279 w 10172266"/>
                  <a:gd name="T83" fmla="*/ 1253174 h 14815417"/>
                  <a:gd name="T84" fmla="*/ 1957966 w 10172266"/>
                  <a:gd name="T85" fmla="*/ 1483095 h 14815417"/>
                  <a:gd name="T86" fmla="*/ 1841986 w 10172266"/>
                  <a:gd name="T87" fmla="*/ 1683352 h 1481541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0172266" h="14815417">
                    <a:moveTo>
                      <a:pt x="6996414" y="6393961"/>
                    </a:moveTo>
                    <a:lnTo>
                      <a:pt x="7182856" y="7007853"/>
                    </a:lnTo>
                    <a:lnTo>
                      <a:pt x="7467070" y="7355794"/>
                    </a:lnTo>
                    <a:lnTo>
                      <a:pt x="8073393" y="7360093"/>
                    </a:lnTo>
                    <a:lnTo>
                      <a:pt x="8522964" y="8131778"/>
                    </a:lnTo>
                    <a:lnTo>
                      <a:pt x="8582390" y="8912076"/>
                    </a:lnTo>
                    <a:lnTo>
                      <a:pt x="9114989" y="9410459"/>
                    </a:lnTo>
                    <a:lnTo>
                      <a:pt x="10079246" y="9849119"/>
                    </a:lnTo>
                    <a:lnTo>
                      <a:pt x="10172266" y="10230640"/>
                    </a:lnTo>
                    <a:lnTo>
                      <a:pt x="9744224" y="10363269"/>
                    </a:lnTo>
                    <a:lnTo>
                      <a:pt x="9418669" y="10917922"/>
                    </a:lnTo>
                    <a:lnTo>
                      <a:pt x="8948428" y="10628536"/>
                    </a:lnTo>
                    <a:lnTo>
                      <a:pt x="8333495" y="11478594"/>
                    </a:lnTo>
                    <a:lnTo>
                      <a:pt x="7284493" y="11912659"/>
                    </a:lnTo>
                    <a:lnTo>
                      <a:pt x="6633392" y="12581849"/>
                    </a:lnTo>
                    <a:lnTo>
                      <a:pt x="5421607" y="13920232"/>
                    </a:lnTo>
                    <a:lnTo>
                      <a:pt x="5512045" y="14625598"/>
                    </a:lnTo>
                    <a:lnTo>
                      <a:pt x="4722518" y="14815417"/>
                    </a:lnTo>
                    <a:lnTo>
                      <a:pt x="4191742" y="14300055"/>
                    </a:lnTo>
                    <a:lnTo>
                      <a:pt x="4571561" y="13630861"/>
                    </a:lnTo>
                    <a:lnTo>
                      <a:pt x="3793853" y="13160620"/>
                    </a:lnTo>
                    <a:lnTo>
                      <a:pt x="1442633" y="13269153"/>
                    </a:lnTo>
                    <a:lnTo>
                      <a:pt x="972399" y="10917914"/>
                    </a:lnTo>
                    <a:lnTo>
                      <a:pt x="0" y="10905013"/>
                    </a:lnTo>
                    <a:lnTo>
                      <a:pt x="79861" y="10113155"/>
                    </a:lnTo>
                    <a:lnTo>
                      <a:pt x="719190" y="9543373"/>
                    </a:lnTo>
                    <a:lnTo>
                      <a:pt x="1442641" y="9000786"/>
                    </a:lnTo>
                    <a:lnTo>
                      <a:pt x="2274610" y="8422026"/>
                    </a:lnTo>
                    <a:lnTo>
                      <a:pt x="2925715" y="8223078"/>
                    </a:lnTo>
                    <a:lnTo>
                      <a:pt x="3673532" y="7635222"/>
                    </a:lnTo>
                    <a:lnTo>
                      <a:pt x="3287431" y="7083642"/>
                    </a:lnTo>
                    <a:lnTo>
                      <a:pt x="3974717" y="6342107"/>
                    </a:lnTo>
                    <a:lnTo>
                      <a:pt x="3811934" y="5889950"/>
                    </a:lnTo>
                    <a:lnTo>
                      <a:pt x="4065143" y="5238848"/>
                    </a:lnTo>
                    <a:lnTo>
                      <a:pt x="3160825" y="4406875"/>
                    </a:lnTo>
                    <a:lnTo>
                      <a:pt x="3088483" y="2706765"/>
                    </a:lnTo>
                    <a:lnTo>
                      <a:pt x="2563980" y="1730112"/>
                    </a:lnTo>
                    <a:lnTo>
                      <a:pt x="2672502" y="1223698"/>
                    </a:lnTo>
                    <a:lnTo>
                      <a:pt x="2781017" y="153593"/>
                    </a:lnTo>
                    <a:lnTo>
                      <a:pt x="6177976" y="0"/>
                    </a:lnTo>
                    <a:lnTo>
                      <a:pt x="7776268" y="3975397"/>
                    </a:lnTo>
                    <a:lnTo>
                      <a:pt x="7666025" y="4759994"/>
                    </a:lnTo>
                    <a:lnTo>
                      <a:pt x="7436939" y="5633312"/>
                    </a:lnTo>
                    <a:lnTo>
                      <a:pt x="6996414" y="6393961"/>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8" name="任意多边形 114">
                <a:extLst>
                  <a:ext uri="{FF2B5EF4-FFF2-40B4-BE49-F238E27FC236}">
                    <a16:creationId xmlns:a16="http://schemas.microsoft.com/office/drawing/2014/main" id="{E7D35882-D881-99BD-BF8F-A520A332374F}"/>
                  </a:ext>
                </a:extLst>
              </p:cNvPr>
              <p:cNvSpPr>
                <a:spLocks/>
              </p:cNvSpPr>
              <p:nvPr/>
            </p:nvSpPr>
            <p:spPr bwMode="auto">
              <a:xfrm>
                <a:off x="4812333" y="4036060"/>
                <a:ext cx="1400587" cy="1052195"/>
              </a:xfrm>
              <a:custGeom>
                <a:avLst/>
                <a:gdLst/>
                <a:ahLst/>
                <a:cxnLst/>
                <a:rect l="0" t="0" r="r" b="b"/>
                <a:pathLst>
                  <a:path w="17157070" h="12886678">
                    <a:moveTo>
                      <a:pt x="0" y="4521645"/>
                    </a:moveTo>
                    <a:lnTo>
                      <a:pt x="613837" y="6900003"/>
                    </a:lnTo>
                    <a:lnTo>
                      <a:pt x="1518338" y="7768153"/>
                    </a:lnTo>
                    <a:lnTo>
                      <a:pt x="1735898" y="8600077"/>
                    </a:lnTo>
                    <a:lnTo>
                      <a:pt x="3137400" y="9124637"/>
                    </a:lnTo>
                    <a:lnTo>
                      <a:pt x="3453963" y="10481128"/>
                    </a:lnTo>
                    <a:lnTo>
                      <a:pt x="4168520" y="11855697"/>
                    </a:lnTo>
                    <a:lnTo>
                      <a:pt x="4162343" y="12886678"/>
                    </a:lnTo>
                    <a:lnTo>
                      <a:pt x="4605215" y="12802514"/>
                    </a:lnTo>
                    <a:lnTo>
                      <a:pt x="4840336" y="12513132"/>
                    </a:lnTo>
                    <a:lnTo>
                      <a:pt x="6070201" y="12531224"/>
                    </a:lnTo>
                    <a:lnTo>
                      <a:pt x="6884082" y="11934372"/>
                    </a:lnTo>
                    <a:lnTo>
                      <a:pt x="7716051" y="12259931"/>
                    </a:lnTo>
                    <a:lnTo>
                      <a:pt x="8584189" y="12060979"/>
                    </a:lnTo>
                    <a:lnTo>
                      <a:pt x="9289552" y="12259931"/>
                    </a:lnTo>
                    <a:lnTo>
                      <a:pt x="10139605" y="11862031"/>
                    </a:lnTo>
                    <a:lnTo>
                      <a:pt x="10664108" y="12079067"/>
                    </a:lnTo>
                    <a:lnTo>
                      <a:pt x="11387555" y="11988637"/>
                    </a:lnTo>
                    <a:lnTo>
                      <a:pt x="11966315" y="12712092"/>
                    </a:lnTo>
                    <a:lnTo>
                      <a:pt x="12942975" y="12476963"/>
                    </a:lnTo>
                    <a:lnTo>
                      <a:pt x="13575992" y="12874863"/>
                    </a:lnTo>
                    <a:lnTo>
                      <a:pt x="13973888" y="12784430"/>
                    </a:lnTo>
                    <a:lnTo>
                      <a:pt x="14028146" y="12241839"/>
                    </a:lnTo>
                    <a:lnTo>
                      <a:pt x="13594073" y="12187582"/>
                    </a:lnTo>
                    <a:lnTo>
                      <a:pt x="13612161" y="11500303"/>
                    </a:lnTo>
                    <a:lnTo>
                      <a:pt x="14190925" y="11355616"/>
                    </a:lnTo>
                    <a:lnTo>
                      <a:pt x="13865366" y="10885371"/>
                    </a:lnTo>
                    <a:lnTo>
                      <a:pt x="14136664" y="10487475"/>
                    </a:lnTo>
                    <a:lnTo>
                      <a:pt x="14703435" y="10514571"/>
                    </a:lnTo>
                    <a:lnTo>
                      <a:pt x="14661163" y="10342787"/>
                    </a:lnTo>
                    <a:lnTo>
                      <a:pt x="14335608" y="10180012"/>
                    </a:lnTo>
                    <a:lnTo>
                      <a:pt x="14498387" y="9601248"/>
                    </a:lnTo>
                    <a:lnTo>
                      <a:pt x="13847278" y="8696934"/>
                    </a:lnTo>
                    <a:lnTo>
                      <a:pt x="13340864" y="7991571"/>
                    </a:lnTo>
                    <a:lnTo>
                      <a:pt x="13123831" y="6906393"/>
                    </a:lnTo>
                    <a:lnTo>
                      <a:pt x="13232349" y="6219119"/>
                    </a:lnTo>
                    <a:lnTo>
                      <a:pt x="12273778" y="6252280"/>
                    </a:lnTo>
                    <a:lnTo>
                      <a:pt x="12201432" y="5854380"/>
                    </a:lnTo>
                    <a:lnTo>
                      <a:pt x="12508887" y="5350985"/>
                    </a:lnTo>
                    <a:lnTo>
                      <a:pt x="13774933" y="4573269"/>
                    </a:lnTo>
                    <a:lnTo>
                      <a:pt x="15294184" y="4066854"/>
                    </a:lnTo>
                    <a:lnTo>
                      <a:pt x="15746333" y="4392409"/>
                    </a:lnTo>
                    <a:lnTo>
                      <a:pt x="16578306" y="4103027"/>
                    </a:lnTo>
                    <a:lnTo>
                      <a:pt x="17084732" y="4500935"/>
                    </a:lnTo>
                    <a:lnTo>
                      <a:pt x="17157070" y="3560444"/>
                    </a:lnTo>
                    <a:lnTo>
                      <a:pt x="16433615" y="3470014"/>
                    </a:lnTo>
                    <a:lnTo>
                      <a:pt x="16415865" y="2853862"/>
                    </a:lnTo>
                    <a:lnTo>
                      <a:pt x="15963191" y="2993318"/>
                    </a:lnTo>
                    <a:lnTo>
                      <a:pt x="14923009" y="1763435"/>
                    </a:lnTo>
                    <a:lnTo>
                      <a:pt x="14244644" y="325540"/>
                    </a:lnTo>
                    <a:lnTo>
                      <a:pt x="13367278" y="614945"/>
                    </a:lnTo>
                    <a:lnTo>
                      <a:pt x="12218563" y="623988"/>
                    </a:lnTo>
                    <a:lnTo>
                      <a:pt x="11323109" y="36169"/>
                    </a:lnTo>
                    <a:lnTo>
                      <a:pt x="10780410" y="488337"/>
                    </a:lnTo>
                    <a:lnTo>
                      <a:pt x="10038717" y="687288"/>
                    </a:lnTo>
                    <a:lnTo>
                      <a:pt x="9622651" y="81389"/>
                    </a:lnTo>
                    <a:lnTo>
                      <a:pt x="8672925" y="280344"/>
                    </a:lnTo>
                    <a:lnTo>
                      <a:pt x="7759379" y="0"/>
                    </a:lnTo>
                    <a:lnTo>
                      <a:pt x="6729494" y="443189"/>
                    </a:lnTo>
                    <a:lnTo>
                      <a:pt x="6493079" y="1012843"/>
                    </a:lnTo>
                    <a:lnTo>
                      <a:pt x="6710175" y="2161345"/>
                    </a:lnTo>
                    <a:lnTo>
                      <a:pt x="5290099" y="2134207"/>
                    </a:lnTo>
                    <a:lnTo>
                      <a:pt x="2314296" y="2369327"/>
                    </a:lnTo>
                    <a:lnTo>
                      <a:pt x="1334589" y="3174199"/>
                    </a:lnTo>
                    <a:lnTo>
                      <a:pt x="0" y="4521645"/>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9" name="任意多边形 115">
                <a:extLst>
                  <a:ext uri="{FF2B5EF4-FFF2-40B4-BE49-F238E27FC236}">
                    <a16:creationId xmlns:a16="http://schemas.microsoft.com/office/drawing/2014/main" id="{E0296CFA-EFF0-F8B5-9177-912B7080DA3D}"/>
                  </a:ext>
                </a:extLst>
              </p:cNvPr>
              <p:cNvSpPr>
                <a:spLocks/>
              </p:cNvSpPr>
              <p:nvPr/>
            </p:nvSpPr>
            <p:spPr bwMode="auto">
              <a:xfrm>
                <a:off x="1061349" y="4204335"/>
                <a:ext cx="1065678" cy="1160145"/>
              </a:xfrm>
              <a:custGeom>
                <a:avLst/>
                <a:gdLst>
                  <a:gd name="T0" fmla="*/ 610215 w 2165"/>
                  <a:gd name="T1" fmla="*/ 867849 h 2356"/>
                  <a:gd name="T2" fmla="*/ 666918 w 2165"/>
                  <a:gd name="T3" fmla="*/ 1036045 h 2356"/>
                  <a:gd name="T4" fmla="*/ 466843 w 2165"/>
                  <a:gd name="T5" fmla="*/ 978906 h 2356"/>
                  <a:gd name="T6" fmla="*/ 414444 w 2165"/>
                  <a:gd name="T7" fmla="*/ 874947 h 2356"/>
                  <a:gd name="T8" fmla="*/ 85749 w 2165"/>
                  <a:gd name="T9" fmla="*/ 789239 h 2356"/>
                  <a:gd name="T10" fmla="*/ 4766 w 2165"/>
                  <a:gd name="T11" fmla="*/ 826537 h 2356"/>
                  <a:gd name="T12" fmla="*/ 0 w 2165"/>
                  <a:gd name="T13" fmla="*/ 1017789 h 2356"/>
                  <a:gd name="T14" fmla="*/ 238190 w 2165"/>
                  <a:gd name="T15" fmla="*/ 1117782 h 2356"/>
                  <a:gd name="T16" fmla="*/ 257243 w 2165"/>
                  <a:gd name="T17" fmla="*/ 1370144 h 2356"/>
                  <a:gd name="T18" fmla="*/ 357280 w 2165"/>
                  <a:gd name="T19" fmla="*/ 1670119 h 2356"/>
                  <a:gd name="T20" fmla="*/ 400154 w 2165"/>
                  <a:gd name="T21" fmla="*/ 1812965 h 2356"/>
                  <a:gd name="T22" fmla="*/ 292304 w 2165"/>
                  <a:gd name="T23" fmla="*/ 1996277 h 2356"/>
                  <a:gd name="T24" fmla="*/ 540015 w 2165"/>
                  <a:gd name="T25" fmla="*/ 1981991 h 2356"/>
                  <a:gd name="T26" fmla="*/ 614518 w 2165"/>
                  <a:gd name="T27" fmla="*/ 2265306 h 2356"/>
                  <a:gd name="T28" fmla="*/ 766956 w 2165"/>
                  <a:gd name="T29" fmla="*/ 2274830 h 2356"/>
                  <a:gd name="T30" fmla="*/ 952739 w 2165"/>
                  <a:gd name="T31" fmla="*/ 2365299 h 2356"/>
                  <a:gd name="T32" fmla="*/ 1009903 w 2165"/>
                  <a:gd name="T33" fmla="*/ 2503384 h 2356"/>
                  <a:gd name="T34" fmla="*/ 771718 w 2165"/>
                  <a:gd name="T35" fmla="*/ 2831929 h 2356"/>
                  <a:gd name="T36" fmla="*/ 770098 w 2165"/>
                  <a:gd name="T37" fmla="*/ 3077228 h 2356"/>
                  <a:gd name="T38" fmla="*/ 1194094 w 2165"/>
                  <a:gd name="T39" fmla="*/ 2879544 h 2356"/>
                  <a:gd name="T40" fmla="*/ 1513260 w 2165"/>
                  <a:gd name="T41" fmla="*/ 2849389 h 2356"/>
                  <a:gd name="T42" fmla="*/ 1757794 w 2165"/>
                  <a:gd name="T43" fmla="*/ 2855736 h 2356"/>
                  <a:gd name="T44" fmla="*/ 2142066 w 2165"/>
                  <a:gd name="T45" fmla="*/ 3169997 h 2356"/>
                  <a:gd name="T46" fmla="*/ 2100779 w 2165"/>
                  <a:gd name="T47" fmla="*/ 3354108 h 2356"/>
                  <a:gd name="T48" fmla="*/ 2370719 w 2165"/>
                  <a:gd name="T49" fmla="*/ 3739792 h 2356"/>
                  <a:gd name="T50" fmla="*/ 2608902 w 2165"/>
                  <a:gd name="T51" fmla="*/ 3731869 h 2356"/>
                  <a:gd name="T52" fmla="*/ 2959820 w 2165"/>
                  <a:gd name="T53" fmla="*/ 1113016 h 2356"/>
                  <a:gd name="T54" fmla="*/ 3436938 w 2165"/>
                  <a:gd name="T55" fmla="*/ 1033503 h 2356"/>
                  <a:gd name="T56" fmla="*/ 3340126 w 2165"/>
                  <a:gd name="T57" fmla="*/ 413238 h 2356"/>
                  <a:gd name="T58" fmla="*/ 3090563 w 2165"/>
                  <a:gd name="T59" fmla="*/ 300724 h 2356"/>
                  <a:gd name="T60" fmla="*/ 2745757 w 2165"/>
                  <a:gd name="T61" fmla="*/ 0 h 2356"/>
                  <a:gd name="T62" fmla="*/ 2639556 w 2165"/>
                  <a:gd name="T63" fmla="*/ 131187 h 2356"/>
                  <a:gd name="T64" fmla="*/ 2503712 w 2165"/>
                  <a:gd name="T65" fmla="*/ 20629 h 2356"/>
                  <a:gd name="T66" fmla="*/ 2292074 w 2165"/>
                  <a:gd name="T67" fmla="*/ 23075 h 2356"/>
                  <a:gd name="T68" fmla="*/ 2214906 w 2165"/>
                  <a:gd name="T69" fmla="*/ 89622 h 2356"/>
                  <a:gd name="T70" fmla="*/ 2071192 w 2165"/>
                  <a:gd name="T71" fmla="*/ 30409 h 2356"/>
                  <a:gd name="T72" fmla="*/ 1918768 w 2165"/>
                  <a:gd name="T73" fmla="*/ 113536 h 2356"/>
                  <a:gd name="T74" fmla="*/ 1729255 w 2165"/>
                  <a:gd name="T75" fmla="*/ 88595 h 2356"/>
                  <a:gd name="T76" fmla="*/ 1648230 w 2165"/>
                  <a:gd name="T77" fmla="*/ 246426 h 2356"/>
                  <a:gd name="T78" fmla="*/ 1572011 w 2165"/>
                  <a:gd name="T79" fmla="*/ 351179 h 2356"/>
                  <a:gd name="T80" fmla="*/ 1643466 w 2165"/>
                  <a:gd name="T81" fmla="*/ 551163 h 2356"/>
                  <a:gd name="T82" fmla="*/ 1786377 w 2165"/>
                  <a:gd name="T83" fmla="*/ 617826 h 2356"/>
                  <a:gd name="T84" fmla="*/ 1938814 w 2165"/>
                  <a:gd name="T85" fmla="*/ 646395 h 2356"/>
                  <a:gd name="T86" fmla="*/ 2053143 w 2165"/>
                  <a:gd name="T87" fmla="*/ 551163 h 2356"/>
                  <a:gd name="T88" fmla="*/ 2157943 w 2165"/>
                  <a:gd name="T89" fmla="*/ 598778 h 2356"/>
                  <a:gd name="T90" fmla="*/ 2096015 w 2165"/>
                  <a:gd name="T91" fmla="*/ 722579 h 2356"/>
                  <a:gd name="T92" fmla="*/ 2191292 w 2165"/>
                  <a:gd name="T93" fmla="*/ 913044 h 2356"/>
                  <a:gd name="T94" fmla="*/ 1914995 w 2165"/>
                  <a:gd name="T95" fmla="*/ 979701 h 2356"/>
                  <a:gd name="T96" fmla="*/ 1891177 w 2165"/>
                  <a:gd name="T97" fmla="*/ 889232 h 2356"/>
                  <a:gd name="T98" fmla="*/ 2091252 w 2165"/>
                  <a:gd name="T99" fmla="*/ 803524 h 2356"/>
                  <a:gd name="T100" fmla="*/ 2015033 w 2165"/>
                  <a:gd name="T101" fmla="*/ 722578 h 2356"/>
                  <a:gd name="T102" fmla="*/ 1867359 w 2165"/>
                  <a:gd name="T103" fmla="*/ 736863 h 2356"/>
                  <a:gd name="T104" fmla="*/ 1714924 w 2165"/>
                  <a:gd name="T105" fmla="*/ 703536 h 2356"/>
                  <a:gd name="T106" fmla="*/ 1471977 w 2165"/>
                  <a:gd name="T107" fmla="*/ 608304 h 2356"/>
                  <a:gd name="T108" fmla="*/ 981317 w 2165"/>
                  <a:gd name="T109" fmla="*/ 398796 h 2356"/>
                  <a:gd name="T110" fmla="*/ 833647 w 2165"/>
                  <a:gd name="T111" fmla="*/ 422604 h 2356"/>
                  <a:gd name="T112" fmla="*/ 666918 w 2165"/>
                  <a:gd name="T113" fmla="*/ 408318 h 2356"/>
                  <a:gd name="T114" fmla="*/ 590700 w 2165"/>
                  <a:gd name="T115" fmla="*/ 608302 h 2356"/>
                  <a:gd name="T116" fmla="*/ 409678 w 2165"/>
                  <a:gd name="T117" fmla="*/ 679724 h 2356"/>
                  <a:gd name="T118" fmla="*/ 610215 w 2165"/>
                  <a:gd name="T119" fmla="*/ 867849 h 23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165" h="2356">
                    <a:moveTo>
                      <a:pt x="384" y="547"/>
                    </a:moveTo>
                    <a:lnTo>
                      <a:pt x="420" y="653"/>
                    </a:lnTo>
                    <a:lnTo>
                      <a:pt x="294" y="617"/>
                    </a:lnTo>
                    <a:lnTo>
                      <a:pt x="261" y="551"/>
                    </a:lnTo>
                    <a:lnTo>
                      <a:pt x="54" y="497"/>
                    </a:lnTo>
                    <a:lnTo>
                      <a:pt x="3" y="521"/>
                    </a:lnTo>
                    <a:lnTo>
                      <a:pt x="0" y="641"/>
                    </a:lnTo>
                    <a:lnTo>
                      <a:pt x="150" y="704"/>
                    </a:lnTo>
                    <a:lnTo>
                      <a:pt x="162" y="863"/>
                    </a:lnTo>
                    <a:lnTo>
                      <a:pt x="225" y="1052"/>
                    </a:lnTo>
                    <a:lnTo>
                      <a:pt x="252" y="1142"/>
                    </a:lnTo>
                    <a:lnTo>
                      <a:pt x="184" y="1258"/>
                    </a:lnTo>
                    <a:lnTo>
                      <a:pt x="340" y="1249"/>
                    </a:lnTo>
                    <a:lnTo>
                      <a:pt x="387" y="1427"/>
                    </a:lnTo>
                    <a:lnTo>
                      <a:pt x="483" y="1433"/>
                    </a:lnTo>
                    <a:lnTo>
                      <a:pt x="600" y="1490"/>
                    </a:lnTo>
                    <a:lnTo>
                      <a:pt x="636" y="1577"/>
                    </a:lnTo>
                    <a:lnTo>
                      <a:pt x="486" y="1784"/>
                    </a:lnTo>
                    <a:cubicBezTo>
                      <a:pt x="486" y="1836"/>
                      <a:pt x="485" y="1887"/>
                      <a:pt x="485" y="1939"/>
                    </a:cubicBezTo>
                    <a:lnTo>
                      <a:pt x="752" y="1814"/>
                    </a:lnTo>
                    <a:lnTo>
                      <a:pt x="953" y="1795"/>
                    </a:lnTo>
                    <a:lnTo>
                      <a:pt x="1107" y="1799"/>
                    </a:lnTo>
                    <a:lnTo>
                      <a:pt x="1349" y="1997"/>
                    </a:lnTo>
                    <a:lnTo>
                      <a:pt x="1323" y="2113"/>
                    </a:lnTo>
                    <a:lnTo>
                      <a:pt x="1493" y="2356"/>
                    </a:lnTo>
                    <a:lnTo>
                      <a:pt x="1643" y="2351"/>
                    </a:lnTo>
                    <a:lnTo>
                      <a:pt x="1864" y="701"/>
                    </a:lnTo>
                    <a:lnTo>
                      <a:pt x="2165" y="651"/>
                    </a:lnTo>
                    <a:lnTo>
                      <a:pt x="2104" y="260"/>
                    </a:lnTo>
                    <a:lnTo>
                      <a:pt x="1947" y="189"/>
                    </a:lnTo>
                    <a:lnTo>
                      <a:pt x="1730" y="0"/>
                    </a:lnTo>
                    <a:lnTo>
                      <a:pt x="1663" y="83"/>
                    </a:lnTo>
                    <a:lnTo>
                      <a:pt x="1577" y="13"/>
                    </a:lnTo>
                    <a:lnTo>
                      <a:pt x="1444" y="15"/>
                    </a:lnTo>
                    <a:lnTo>
                      <a:pt x="1395" y="56"/>
                    </a:lnTo>
                    <a:lnTo>
                      <a:pt x="1305" y="19"/>
                    </a:lnTo>
                    <a:lnTo>
                      <a:pt x="1209" y="72"/>
                    </a:lnTo>
                    <a:lnTo>
                      <a:pt x="1089" y="56"/>
                    </a:lnTo>
                    <a:lnTo>
                      <a:pt x="1038" y="155"/>
                    </a:lnTo>
                    <a:lnTo>
                      <a:pt x="990" y="221"/>
                    </a:lnTo>
                    <a:lnTo>
                      <a:pt x="1035" y="347"/>
                    </a:lnTo>
                    <a:lnTo>
                      <a:pt x="1125" y="389"/>
                    </a:lnTo>
                    <a:lnTo>
                      <a:pt x="1221" y="407"/>
                    </a:lnTo>
                    <a:lnTo>
                      <a:pt x="1293" y="347"/>
                    </a:lnTo>
                    <a:lnTo>
                      <a:pt x="1359" y="377"/>
                    </a:lnTo>
                    <a:lnTo>
                      <a:pt x="1320" y="455"/>
                    </a:lnTo>
                    <a:lnTo>
                      <a:pt x="1380" y="575"/>
                    </a:lnTo>
                    <a:lnTo>
                      <a:pt x="1206" y="617"/>
                    </a:lnTo>
                    <a:lnTo>
                      <a:pt x="1191" y="560"/>
                    </a:lnTo>
                    <a:lnTo>
                      <a:pt x="1317" y="506"/>
                    </a:lnTo>
                    <a:lnTo>
                      <a:pt x="1269" y="455"/>
                    </a:lnTo>
                    <a:lnTo>
                      <a:pt x="1176" y="464"/>
                    </a:lnTo>
                    <a:lnTo>
                      <a:pt x="1080" y="443"/>
                    </a:lnTo>
                    <a:lnTo>
                      <a:pt x="927" y="383"/>
                    </a:lnTo>
                    <a:lnTo>
                      <a:pt x="618" y="251"/>
                    </a:lnTo>
                    <a:lnTo>
                      <a:pt x="525" y="266"/>
                    </a:lnTo>
                    <a:lnTo>
                      <a:pt x="420" y="257"/>
                    </a:lnTo>
                    <a:lnTo>
                      <a:pt x="372" y="383"/>
                    </a:lnTo>
                    <a:lnTo>
                      <a:pt x="258" y="428"/>
                    </a:lnTo>
                    <a:lnTo>
                      <a:pt x="384" y="547"/>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30" name="任意多边形 116">
                <a:extLst>
                  <a:ext uri="{FF2B5EF4-FFF2-40B4-BE49-F238E27FC236}">
                    <a16:creationId xmlns:a16="http://schemas.microsoft.com/office/drawing/2014/main" id="{7C6779A7-4321-86EC-BA37-306BDCEAFE06}"/>
                  </a:ext>
                </a:extLst>
              </p:cNvPr>
              <p:cNvSpPr>
                <a:spLocks/>
              </p:cNvSpPr>
              <p:nvPr/>
            </p:nvSpPr>
            <p:spPr bwMode="auto">
              <a:xfrm>
                <a:off x="2488602" y="4070985"/>
                <a:ext cx="1421222" cy="1212215"/>
              </a:xfrm>
              <a:custGeom>
                <a:avLst/>
                <a:gdLst>
                  <a:gd name="T0" fmla="*/ 1155932 w 4477"/>
                  <a:gd name="T1" fmla="*/ 0 h 3818"/>
                  <a:gd name="T2" fmla="*/ 0 w 4477"/>
                  <a:gd name="T3" fmla="*/ 497666 h 3818"/>
                  <a:gd name="T4" fmla="*/ 1209770 w 4477"/>
                  <a:gd name="T5" fmla="*/ 1447800 h 3818"/>
                  <a:gd name="T6" fmla="*/ 1235166 w 4477"/>
                  <a:gd name="T7" fmla="*/ 1633535 h 3818"/>
                  <a:gd name="T8" fmla="*/ 1676486 w 4477"/>
                  <a:gd name="T9" fmla="*/ 2171696 h 3818"/>
                  <a:gd name="T10" fmla="*/ 2024148 w 4477"/>
                  <a:gd name="T11" fmla="*/ 2098668 h 3818"/>
                  <a:gd name="T12" fmla="*/ 2286081 w 4477"/>
                  <a:gd name="T13" fmla="*/ 2044692 h 3818"/>
                  <a:gd name="T14" fmla="*/ 2448006 w 4477"/>
                  <a:gd name="T15" fmla="*/ 2141530 h 3818"/>
                  <a:gd name="T16" fmla="*/ 2670254 w 4477"/>
                  <a:gd name="T17" fmla="*/ 2130416 h 3818"/>
                  <a:gd name="T18" fmla="*/ 2929015 w 4477"/>
                  <a:gd name="T19" fmla="*/ 2197092 h 3818"/>
                  <a:gd name="T20" fmla="*/ 3175077 w 4477"/>
                  <a:gd name="T21" fmla="*/ 2024055 h 3818"/>
                  <a:gd name="T22" fmla="*/ 3352877 w 4477"/>
                  <a:gd name="T23" fmla="*/ 2262181 h 3818"/>
                  <a:gd name="T24" fmla="*/ 3532265 w 4477"/>
                  <a:gd name="T25" fmla="*/ 2341555 h 3818"/>
                  <a:gd name="T26" fmla="*/ 3630687 w 4477"/>
                  <a:gd name="T27" fmla="*/ 2687631 h 3818"/>
                  <a:gd name="T28" fmla="*/ 3833889 w 4477"/>
                  <a:gd name="T29" fmla="*/ 2617778 h 3818"/>
                  <a:gd name="T30" fmla="*/ 3797351 w 4477"/>
                  <a:gd name="T31" fmla="*/ 3075550 h 3818"/>
                  <a:gd name="T32" fmla="*/ 4318074 w 4477"/>
                  <a:gd name="T33" fmla="*/ 2492368 h 3818"/>
                  <a:gd name="T34" fmla="*/ 3921210 w 4477"/>
                  <a:gd name="T35" fmla="*/ 695326 h 3818"/>
                  <a:gd name="T36" fmla="*/ 1186022 w 4477"/>
                  <a:gd name="T37" fmla="*/ 0 h 3818"/>
                  <a:gd name="T38" fmla="*/ 1155932 w 4477"/>
                  <a:gd name="T39" fmla="*/ 0 h 38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477" h="3818">
                    <a:moveTo>
                      <a:pt x="680" y="448"/>
                    </a:moveTo>
                    <a:lnTo>
                      <a:pt x="616" y="552"/>
                    </a:lnTo>
                    <a:lnTo>
                      <a:pt x="528" y="592"/>
                    </a:lnTo>
                    <a:lnTo>
                      <a:pt x="197" y="797"/>
                    </a:lnTo>
                    <a:lnTo>
                      <a:pt x="41" y="928"/>
                    </a:lnTo>
                    <a:lnTo>
                      <a:pt x="0" y="1032"/>
                    </a:lnTo>
                    <a:lnTo>
                      <a:pt x="120" y="1024"/>
                    </a:lnTo>
                    <a:lnTo>
                      <a:pt x="176" y="1056"/>
                    </a:lnTo>
                    <a:lnTo>
                      <a:pt x="152" y="1112"/>
                    </a:lnTo>
                    <a:lnTo>
                      <a:pt x="120" y="1184"/>
                    </a:lnTo>
                    <a:lnTo>
                      <a:pt x="240" y="1128"/>
                    </a:lnTo>
                    <a:lnTo>
                      <a:pt x="224" y="1008"/>
                    </a:lnTo>
                    <a:lnTo>
                      <a:pt x="272" y="920"/>
                    </a:lnTo>
                    <a:lnTo>
                      <a:pt x="232" y="800"/>
                    </a:lnTo>
                    <a:lnTo>
                      <a:pt x="336" y="824"/>
                    </a:lnTo>
                    <a:lnTo>
                      <a:pt x="392" y="864"/>
                    </a:lnTo>
                    <a:lnTo>
                      <a:pt x="400" y="984"/>
                    </a:lnTo>
                    <a:lnTo>
                      <a:pt x="488" y="936"/>
                    </a:lnTo>
                    <a:lnTo>
                      <a:pt x="560" y="936"/>
                    </a:lnTo>
                    <a:lnTo>
                      <a:pt x="632" y="968"/>
                    </a:lnTo>
                    <a:lnTo>
                      <a:pt x="696" y="960"/>
                    </a:lnTo>
                    <a:lnTo>
                      <a:pt x="776" y="984"/>
                    </a:lnTo>
                    <a:lnTo>
                      <a:pt x="832" y="984"/>
                    </a:lnTo>
                    <a:lnTo>
                      <a:pt x="816" y="912"/>
                    </a:lnTo>
                    <a:lnTo>
                      <a:pt x="656" y="904"/>
                    </a:lnTo>
                    <a:lnTo>
                      <a:pt x="552" y="888"/>
                    </a:lnTo>
                    <a:lnTo>
                      <a:pt x="512" y="800"/>
                    </a:lnTo>
                    <a:lnTo>
                      <a:pt x="480" y="760"/>
                    </a:lnTo>
                    <a:lnTo>
                      <a:pt x="456" y="704"/>
                    </a:lnTo>
                    <a:lnTo>
                      <a:pt x="520" y="640"/>
                    </a:lnTo>
                    <a:lnTo>
                      <a:pt x="648" y="600"/>
                    </a:lnTo>
                    <a:lnTo>
                      <a:pt x="768" y="648"/>
                    </a:lnTo>
                    <a:lnTo>
                      <a:pt x="832" y="680"/>
                    </a:lnTo>
                    <a:lnTo>
                      <a:pt x="816" y="616"/>
                    </a:lnTo>
                    <a:lnTo>
                      <a:pt x="760" y="552"/>
                    </a:lnTo>
                    <a:lnTo>
                      <a:pt x="864" y="552"/>
                    </a:lnTo>
                    <a:lnTo>
                      <a:pt x="920" y="608"/>
                    </a:lnTo>
                    <a:lnTo>
                      <a:pt x="912" y="680"/>
                    </a:lnTo>
                    <a:lnTo>
                      <a:pt x="952" y="720"/>
                    </a:lnTo>
                    <a:lnTo>
                      <a:pt x="1024" y="752"/>
                    </a:lnTo>
                    <a:lnTo>
                      <a:pt x="1080" y="720"/>
                    </a:lnTo>
                    <a:lnTo>
                      <a:pt x="1096" y="640"/>
                    </a:lnTo>
                    <a:lnTo>
                      <a:pt x="1184" y="584"/>
                    </a:lnTo>
                    <a:lnTo>
                      <a:pt x="1256" y="560"/>
                    </a:lnTo>
                    <a:lnTo>
                      <a:pt x="1360" y="616"/>
                    </a:lnTo>
                    <a:lnTo>
                      <a:pt x="1288" y="704"/>
                    </a:lnTo>
                    <a:lnTo>
                      <a:pt x="1200" y="784"/>
                    </a:lnTo>
                    <a:lnTo>
                      <a:pt x="1120" y="888"/>
                    </a:lnTo>
                    <a:lnTo>
                      <a:pt x="1048" y="1016"/>
                    </a:lnTo>
                    <a:lnTo>
                      <a:pt x="960" y="1000"/>
                    </a:lnTo>
                    <a:lnTo>
                      <a:pt x="920" y="1056"/>
                    </a:lnTo>
                    <a:lnTo>
                      <a:pt x="984" y="1128"/>
                    </a:lnTo>
                    <a:lnTo>
                      <a:pt x="992" y="1192"/>
                    </a:lnTo>
                    <a:lnTo>
                      <a:pt x="928" y="1264"/>
                    </a:lnTo>
                    <a:lnTo>
                      <a:pt x="896" y="1368"/>
                    </a:lnTo>
                    <a:lnTo>
                      <a:pt x="1008" y="1312"/>
                    </a:lnTo>
                    <a:lnTo>
                      <a:pt x="1080" y="1384"/>
                    </a:lnTo>
                    <a:lnTo>
                      <a:pt x="1040" y="1472"/>
                    </a:lnTo>
                    <a:lnTo>
                      <a:pt x="1144" y="1568"/>
                    </a:lnTo>
                    <a:lnTo>
                      <a:pt x="1176" y="1648"/>
                    </a:lnTo>
                    <a:lnTo>
                      <a:pt x="1208" y="1696"/>
                    </a:lnTo>
                    <a:lnTo>
                      <a:pt x="1296" y="1728"/>
                    </a:lnTo>
                    <a:lnTo>
                      <a:pt x="1280" y="1792"/>
                    </a:lnTo>
                    <a:lnTo>
                      <a:pt x="1384" y="1816"/>
                    </a:lnTo>
                    <a:lnTo>
                      <a:pt x="1312" y="1912"/>
                    </a:lnTo>
                    <a:lnTo>
                      <a:pt x="1128" y="2024"/>
                    </a:lnTo>
                    <a:lnTo>
                      <a:pt x="984" y="2072"/>
                    </a:lnTo>
                    <a:lnTo>
                      <a:pt x="946" y="2186"/>
                    </a:lnTo>
                    <a:lnTo>
                      <a:pt x="970" y="2368"/>
                    </a:lnTo>
                    <a:lnTo>
                      <a:pt x="1402" y="2894"/>
                    </a:lnTo>
                    <a:lnTo>
                      <a:pt x="1741" y="2822"/>
                    </a:lnTo>
                    <a:lnTo>
                      <a:pt x="1997" y="2769"/>
                    </a:lnTo>
                    <a:lnTo>
                      <a:pt x="2155" y="2864"/>
                    </a:lnTo>
                    <a:lnTo>
                      <a:pt x="2372" y="2853"/>
                    </a:lnTo>
                    <a:lnTo>
                      <a:pt x="2625" y="2918"/>
                    </a:lnTo>
                    <a:lnTo>
                      <a:pt x="2866" y="2749"/>
                    </a:lnTo>
                    <a:lnTo>
                      <a:pt x="3039" y="2982"/>
                    </a:lnTo>
                    <a:lnTo>
                      <a:pt x="3215" y="3060"/>
                    </a:lnTo>
                    <a:lnTo>
                      <a:pt x="3311" y="3399"/>
                    </a:lnTo>
                    <a:lnTo>
                      <a:pt x="3509" y="3331"/>
                    </a:lnTo>
                    <a:lnTo>
                      <a:pt x="3453" y="3818"/>
                    </a:lnTo>
                    <a:lnTo>
                      <a:pt x="3621" y="3669"/>
                    </a:lnTo>
                    <a:lnTo>
                      <a:pt x="3801" y="3534"/>
                    </a:lnTo>
                    <a:lnTo>
                      <a:pt x="4015" y="3385"/>
                    </a:lnTo>
                    <a:lnTo>
                      <a:pt x="4184" y="3329"/>
                    </a:lnTo>
                    <a:lnTo>
                      <a:pt x="4379" y="3184"/>
                    </a:lnTo>
                    <a:lnTo>
                      <a:pt x="4280" y="3041"/>
                    </a:lnTo>
                    <a:lnTo>
                      <a:pt x="4454" y="2849"/>
                    </a:lnTo>
                    <a:lnTo>
                      <a:pt x="4415" y="2734"/>
                    </a:lnTo>
                    <a:lnTo>
                      <a:pt x="4477" y="2566"/>
                    </a:lnTo>
                    <a:lnTo>
                      <a:pt x="4244" y="2348"/>
                    </a:lnTo>
                    <a:lnTo>
                      <a:pt x="4230" y="1913"/>
                    </a:lnTo>
                    <a:lnTo>
                      <a:pt x="4091" y="1662"/>
                    </a:lnTo>
                    <a:lnTo>
                      <a:pt x="4122" y="1533"/>
                    </a:lnTo>
                    <a:lnTo>
                      <a:pt x="4150" y="1254"/>
                    </a:lnTo>
                    <a:lnTo>
                      <a:pt x="4012" y="1090"/>
                    </a:lnTo>
                    <a:lnTo>
                      <a:pt x="3861" y="1082"/>
                    </a:lnTo>
                    <a:lnTo>
                      <a:pt x="3747" y="1152"/>
                    </a:lnTo>
                    <a:lnTo>
                      <a:pt x="3294" y="1127"/>
                    </a:lnTo>
                    <a:lnTo>
                      <a:pt x="3090" y="966"/>
                    </a:lnTo>
                    <a:lnTo>
                      <a:pt x="2717" y="761"/>
                    </a:lnTo>
                    <a:lnTo>
                      <a:pt x="2284" y="575"/>
                    </a:lnTo>
                    <a:lnTo>
                      <a:pt x="1960" y="382"/>
                    </a:lnTo>
                    <a:lnTo>
                      <a:pt x="1809" y="249"/>
                    </a:lnTo>
                    <a:lnTo>
                      <a:pt x="1640" y="192"/>
                    </a:lnTo>
                    <a:lnTo>
                      <a:pt x="1568" y="88"/>
                    </a:lnTo>
                    <a:lnTo>
                      <a:pt x="1440" y="0"/>
                    </a:lnTo>
                    <a:lnTo>
                      <a:pt x="1224" y="0"/>
                    </a:lnTo>
                    <a:lnTo>
                      <a:pt x="1040" y="296"/>
                    </a:lnTo>
                    <a:lnTo>
                      <a:pt x="960" y="384"/>
                    </a:lnTo>
                    <a:lnTo>
                      <a:pt x="824" y="400"/>
                    </a:lnTo>
                    <a:lnTo>
                      <a:pt x="736" y="368"/>
                    </a:lnTo>
                    <a:lnTo>
                      <a:pt x="680" y="448"/>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33" name="任意多边形 117">
                <a:extLst>
                  <a:ext uri="{FF2B5EF4-FFF2-40B4-BE49-F238E27FC236}">
                    <a16:creationId xmlns:a16="http://schemas.microsoft.com/office/drawing/2014/main" id="{FDFC11ED-BB75-0440-0543-5D7A1E6E026F}"/>
                  </a:ext>
                </a:extLst>
              </p:cNvPr>
              <p:cNvSpPr>
                <a:spLocks/>
              </p:cNvSpPr>
              <p:nvPr/>
            </p:nvSpPr>
            <p:spPr bwMode="auto">
              <a:xfrm>
                <a:off x="2591455" y="4479925"/>
                <a:ext cx="59681" cy="27940"/>
              </a:xfrm>
              <a:custGeom>
                <a:avLst/>
                <a:gdLst>
                  <a:gd name="T0" fmla="*/ 195587 w 188"/>
                  <a:gd name="T1" fmla="*/ 0 h 88"/>
                  <a:gd name="T2" fmla="*/ 0 w 188"/>
                  <a:gd name="T3" fmla="*/ 2919412 h 88"/>
                  <a:gd name="T4" fmla="*/ 3309938 w 188"/>
                  <a:gd name="T5" fmla="*/ 827669 h 88"/>
                  <a:gd name="T6" fmla="*/ 225678 w 188"/>
                  <a:gd name="T7" fmla="*/ 0 h 88"/>
                  <a:gd name="T8" fmla="*/ 195587 w 188"/>
                  <a:gd name="T9" fmla="*/ 0 h 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8" h="88">
                    <a:moveTo>
                      <a:pt x="32" y="32"/>
                    </a:moveTo>
                    <a:lnTo>
                      <a:pt x="0" y="60"/>
                    </a:lnTo>
                    <a:lnTo>
                      <a:pt x="64" y="88"/>
                    </a:lnTo>
                    <a:lnTo>
                      <a:pt x="108" y="60"/>
                    </a:lnTo>
                    <a:lnTo>
                      <a:pt x="188" y="12"/>
                    </a:lnTo>
                    <a:lnTo>
                      <a:pt x="152" y="12"/>
                    </a:lnTo>
                    <a:lnTo>
                      <a:pt x="76" y="0"/>
                    </a:lnTo>
                    <a:lnTo>
                      <a:pt x="48" y="0"/>
                    </a:lnTo>
                    <a:lnTo>
                      <a:pt x="32" y="32"/>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34" name="任意多边形 10">
                <a:extLst>
                  <a:ext uri="{FF2B5EF4-FFF2-40B4-BE49-F238E27FC236}">
                    <a16:creationId xmlns:a16="http://schemas.microsoft.com/office/drawing/2014/main" id="{A83A67AC-C088-F6E3-AC31-E39AFC39D57D}"/>
                  </a:ext>
                </a:extLst>
              </p:cNvPr>
              <p:cNvSpPr>
                <a:spLocks/>
              </p:cNvSpPr>
              <p:nvPr/>
            </p:nvSpPr>
            <p:spPr bwMode="auto">
              <a:xfrm>
                <a:off x="2454317" y="4485005"/>
                <a:ext cx="71109" cy="97790"/>
              </a:xfrm>
              <a:custGeom>
                <a:avLst/>
                <a:gdLst>
                  <a:gd name="T0" fmla="*/ 195587 w 224"/>
                  <a:gd name="T1" fmla="*/ 0 h 308"/>
                  <a:gd name="T2" fmla="*/ 0 w 224"/>
                  <a:gd name="T3" fmla="*/ 2919412 h 308"/>
                  <a:gd name="T4" fmla="*/ 3309938 w 224"/>
                  <a:gd name="T5" fmla="*/ 827669 h 308"/>
                  <a:gd name="T6" fmla="*/ 225678 w 224"/>
                  <a:gd name="T7" fmla="*/ 0 h 308"/>
                  <a:gd name="T8" fmla="*/ 195587 w 224"/>
                  <a:gd name="T9" fmla="*/ 0 h 30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4" h="308">
                    <a:moveTo>
                      <a:pt x="28" y="72"/>
                    </a:moveTo>
                    <a:lnTo>
                      <a:pt x="0" y="108"/>
                    </a:lnTo>
                    <a:lnTo>
                      <a:pt x="140" y="226"/>
                    </a:lnTo>
                    <a:lnTo>
                      <a:pt x="180" y="216"/>
                    </a:lnTo>
                    <a:lnTo>
                      <a:pt x="224" y="200"/>
                    </a:lnTo>
                    <a:lnTo>
                      <a:pt x="224" y="308"/>
                    </a:lnTo>
                    <a:lnTo>
                      <a:pt x="140" y="224"/>
                    </a:lnTo>
                    <a:lnTo>
                      <a:pt x="140" y="132"/>
                    </a:lnTo>
                    <a:lnTo>
                      <a:pt x="164" y="80"/>
                    </a:lnTo>
                    <a:lnTo>
                      <a:pt x="200" y="36"/>
                    </a:lnTo>
                    <a:lnTo>
                      <a:pt x="180" y="4"/>
                    </a:lnTo>
                    <a:lnTo>
                      <a:pt x="132" y="0"/>
                    </a:lnTo>
                    <a:lnTo>
                      <a:pt x="108" y="36"/>
                    </a:lnTo>
                    <a:lnTo>
                      <a:pt x="80" y="52"/>
                    </a:lnTo>
                    <a:lnTo>
                      <a:pt x="28" y="72"/>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grpSp>
        <p:sp>
          <p:nvSpPr>
            <p:cNvPr id="14" name="任意多边形 110">
              <a:extLst>
                <a:ext uri="{FF2B5EF4-FFF2-40B4-BE49-F238E27FC236}">
                  <a16:creationId xmlns:a16="http://schemas.microsoft.com/office/drawing/2014/main" id="{428F5AE2-E488-13B1-0374-4E7021210A6F}"/>
                </a:ext>
              </a:extLst>
            </p:cNvPr>
            <p:cNvSpPr>
              <a:spLocks/>
            </p:cNvSpPr>
            <p:nvPr/>
          </p:nvSpPr>
          <p:spPr bwMode="auto">
            <a:xfrm>
              <a:off x="4878284" y="2556792"/>
              <a:ext cx="2702928" cy="1810252"/>
            </a:xfrm>
            <a:custGeom>
              <a:avLst/>
              <a:gdLst>
                <a:gd name="connsiteX0" fmla="*/ 26157237 w 27560432"/>
                <a:gd name="connsiteY0" fmla="*/ 4322377 h 15152939"/>
                <a:gd name="connsiteX1" fmla="*/ 25950755 w 27560432"/>
                <a:gd name="connsiteY1" fmla="*/ 4946265 h 15152939"/>
                <a:gd name="connsiteX2" fmla="*/ 26059273 w 27560432"/>
                <a:gd name="connsiteY2" fmla="*/ 5561190 h 15152939"/>
                <a:gd name="connsiteX3" fmla="*/ 26439085 w 27560432"/>
                <a:gd name="connsiteY3" fmla="*/ 6103777 h 15152939"/>
                <a:gd name="connsiteX4" fmla="*/ 26366739 w 27560432"/>
                <a:gd name="connsiteY4" fmla="*/ 6555934 h 15152939"/>
                <a:gd name="connsiteX5" fmla="*/ 25824148 w 27560432"/>
                <a:gd name="connsiteY5" fmla="*/ 6827228 h 15152939"/>
                <a:gd name="connsiteX6" fmla="*/ 26023104 w 27560432"/>
                <a:gd name="connsiteY6" fmla="*/ 7478344 h 15152939"/>
                <a:gd name="connsiteX7" fmla="*/ 26619948 w 27560432"/>
                <a:gd name="connsiteY7" fmla="*/ 7840060 h 15152939"/>
                <a:gd name="connsiteX8" fmla="*/ 26276305 w 27560432"/>
                <a:gd name="connsiteY8" fmla="*/ 8672029 h 15152939"/>
                <a:gd name="connsiteX9" fmla="*/ 26312478 w 27560432"/>
                <a:gd name="connsiteY9" fmla="*/ 9666777 h 15152939"/>
                <a:gd name="connsiteX10" fmla="*/ 25878405 w 27560432"/>
                <a:gd name="connsiteY10" fmla="*/ 10227453 h 15152939"/>
                <a:gd name="connsiteX11" fmla="*/ 26402912 w 27560432"/>
                <a:gd name="connsiteY11" fmla="*/ 10643437 h 15152939"/>
                <a:gd name="connsiteX12" fmla="*/ 27319497 w 27560432"/>
                <a:gd name="connsiteY12" fmla="*/ 10082959 h 15152939"/>
                <a:gd name="connsiteX13" fmla="*/ 27560432 w 27560432"/>
                <a:gd name="connsiteY13" fmla="*/ 10281714 h 15152939"/>
                <a:gd name="connsiteX14" fmla="*/ 27542355 w 27560432"/>
                <a:gd name="connsiteY14" fmla="*/ 12005935 h 15152939"/>
                <a:gd name="connsiteX15" fmla="*/ 26089423 w 27560432"/>
                <a:gd name="connsiteY15" fmla="*/ 11975789 h 15152939"/>
                <a:gd name="connsiteX16" fmla="*/ 24473715 w 27560432"/>
                <a:gd name="connsiteY16" fmla="*/ 12090334 h 15152939"/>
                <a:gd name="connsiteX17" fmla="*/ 23135328 w 27560432"/>
                <a:gd name="connsiteY17" fmla="*/ 12222964 h 15152939"/>
                <a:gd name="connsiteX18" fmla="*/ 22261159 w 27560432"/>
                <a:gd name="connsiteY18" fmla="*/ 12934357 h 15152939"/>
                <a:gd name="connsiteX19" fmla="*/ 20826342 w 27560432"/>
                <a:gd name="connsiteY19" fmla="*/ 14369204 h 15152939"/>
                <a:gd name="connsiteX20" fmla="*/ 12952786 w 27560432"/>
                <a:gd name="connsiteY20" fmla="*/ 14960014 h 15152939"/>
                <a:gd name="connsiteX21" fmla="*/ 11934663 w 27560432"/>
                <a:gd name="connsiteY21" fmla="*/ 15008264 h 15152939"/>
                <a:gd name="connsiteX22" fmla="*/ 8506848 w 27560432"/>
                <a:gd name="connsiteY22" fmla="*/ 15152939 h 15152939"/>
                <a:gd name="connsiteX23" fmla="*/ 7985095 w 27560432"/>
                <a:gd name="connsiteY23" fmla="*/ 14507857 h 15152939"/>
                <a:gd name="connsiteX24" fmla="*/ 7400308 w 27560432"/>
                <a:gd name="connsiteY24" fmla="*/ 14477712 h 15152939"/>
                <a:gd name="connsiteX25" fmla="*/ 6972273 w 27560432"/>
                <a:gd name="connsiteY25" fmla="*/ 14749009 h 15152939"/>
                <a:gd name="connsiteX26" fmla="*/ 5181729 w 27560432"/>
                <a:gd name="connsiteY26" fmla="*/ 14664610 h 15152939"/>
                <a:gd name="connsiteX27" fmla="*/ 4397998 w 27560432"/>
                <a:gd name="connsiteY27" fmla="*/ 14031593 h 15152939"/>
                <a:gd name="connsiteX28" fmla="*/ 2908896 w 27560432"/>
                <a:gd name="connsiteY28" fmla="*/ 13223739 h 15152939"/>
                <a:gd name="connsiteX29" fmla="*/ 1263043 w 27560432"/>
                <a:gd name="connsiteY29" fmla="*/ 12512346 h 15152939"/>
                <a:gd name="connsiteX30" fmla="*/ 485320 w 27560432"/>
                <a:gd name="connsiteY30" fmla="*/ 12060189 h 15152939"/>
                <a:gd name="connsiteX31" fmla="*/ 0 w 27560432"/>
                <a:gd name="connsiteY31" fmla="*/ 11767077 h 15152939"/>
                <a:gd name="connsiteX32" fmla="*/ 1003686 w 27560432"/>
                <a:gd name="connsiteY32" fmla="*/ 11021112 h 15152939"/>
                <a:gd name="connsiteX33" fmla="*/ 2902551 w 27560432"/>
                <a:gd name="connsiteY33" fmla="*/ 9836713 h 15152939"/>
                <a:gd name="connsiteX34" fmla="*/ 2558940 w 27560432"/>
                <a:gd name="connsiteY34" fmla="*/ 9303282 h 15152939"/>
                <a:gd name="connsiteX35" fmla="*/ 2402508 w 27560432"/>
                <a:gd name="connsiteY35" fmla="*/ 8616199 h 15152939"/>
                <a:gd name="connsiteX36" fmla="*/ 2730740 w 27560432"/>
                <a:gd name="connsiteY36" fmla="*/ 8589028 h 15152939"/>
                <a:gd name="connsiteX37" fmla="*/ 2947754 w 27560432"/>
                <a:gd name="connsiteY37" fmla="*/ 8118883 h 15152939"/>
                <a:gd name="connsiteX38" fmla="*/ 3499325 w 27560432"/>
                <a:gd name="connsiteY38" fmla="*/ 7675866 h 15152939"/>
                <a:gd name="connsiteX39" fmla="*/ 3680166 w 27560432"/>
                <a:gd name="connsiteY39" fmla="*/ 6798868 h 15152939"/>
                <a:gd name="connsiteX40" fmla="*/ 4186528 w 27560432"/>
                <a:gd name="connsiteY40" fmla="*/ 6807904 h 15152939"/>
                <a:gd name="connsiteX41" fmla="*/ 4837569 w 27560432"/>
                <a:gd name="connsiteY41" fmla="*/ 7278054 h 15152939"/>
                <a:gd name="connsiteX42" fmla="*/ 5352976 w 27560432"/>
                <a:gd name="connsiteY42" fmla="*/ 7196687 h 15152939"/>
                <a:gd name="connsiteX43" fmla="*/ 5741786 w 27560432"/>
                <a:gd name="connsiteY43" fmla="*/ 6825992 h 15152939"/>
                <a:gd name="connsiteX44" fmla="*/ 6157723 w 27560432"/>
                <a:gd name="connsiteY44" fmla="*/ 6663251 h 15152939"/>
                <a:gd name="connsiteX45" fmla="*/ 6745471 w 27560432"/>
                <a:gd name="connsiteY45" fmla="*/ 6093658 h 15152939"/>
                <a:gd name="connsiteX46" fmla="*/ 6890140 w 27560432"/>
                <a:gd name="connsiteY46" fmla="*/ 5243782 h 15152939"/>
                <a:gd name="connsiteX47" fmla="*/ 7568305 w 27560432"/>
                <a:gd name="connsiteY47" fmla="*/ 4674188 h 15152939"/>
                <a:gd name="connsiteX48" fmla="*/ 8137967 w 27560432"/>
                <a:gd name="connsiteY48" fmla="*/ 4231167 h 15152939"/>
                <a:gd name="connsiteX49" fmla="*/ 8463480 w 27560432"/>
                <a:gd name="connsiteY49" fmla="*/ 3426500 h 15152939"/>
                <a:gd name="connsiteX50" fmla="*/ 9024093 w 27560432"/>
                <a:gd name="connsiteY50" fmla="*/ 3073893 h 15152939"/>
                <a:gd name="connsiteX51" fmla="*/ 9675138 w 27560432"/>
                <a:gd name="connsiteY51" fmla="*/ 2721291 h 15152939"/>
                <a:gd name="connsiteX52" fmla="*/ 9558580 w 27560432"/>
                <a:gd name="connsiteY52" fmla="*/ 2173007 h 15152939"/>
                <a:gd name="connsiteX53" fmla="*/ 10353296 w 27560432"/>
                <a:gd name="connsiteY53" fmla="*/ 1500723 h 15152939"/>
                <a:gd name="connsiteX54" fmla="*/ 10832530 w 27560432"/>
                <a:gd name="connsiteY54" fmla="*/ 1428389 h 15152939"/>
                <a:gd name="connsiteX55" fmla="*/ 11058585 w 27560432"/>
                <a:gd name="connsiteY55" fmla="*/ 1880458 h 15152939"/>
                <a:gd name="connsiteX56" fmla="*/ 11411229 w 27560432"/>
                <a:gd name="connsiteY56" fmla="*/ 2260189 h 15152939"/>
                <a:gd name="connsiteX57" fmla="*/ 11998974 w 27560432"/>
                <a:gd name="connsiteY57" fmla="*/ 2341559 h 15152939"/>
                <a:gd name="connsiteX58" fmla="*/ 12315449 w 27560432"/>
                <a:gd name="connsiteY58" fmla="*/ 3001571 h 15152939"/>
                <a:gd name="connsiteX59" fmla="*/ 12785642 w 27560432"/>
                <a:gd name="connsiteY59" fmla="*/ 2820742 h 15152939"/>
                <a:gd name="connsiteX60" fmla="*/ 13671776 w 27560432"/>
                <a:gd name="connsiteY60" fmla="*/ 3272803 h 15152939"/>
                <a:gd name="connsiteX61" fmla="*/ 14123886 w 27560432"/>
                <a:gd name="connsiteY61" fmla="*/ 2974450 h 15152939"/>
                <a:gd name="connsiteX62" fmla="*/ 14259509 w 27560432"/>
                <a:gd name="connsiteY62" fmla="*/ 2404849 h 15152939"/>
                <a:gd name="connsiteX63" fmla="*/ 14892468 w 27560432"/>
                <a:gd name="connsiteY63" fmla="*/ 1762918 h 15152939"/>
                <a:gd name="connsiteX64" fmla="*/ 15778605 w 27560432"/>
                <a:gd name="connsiteY64" fmla="*/ 1211398 h 15152939"/>
                <a:gd name="connsiteX65" fmla="*/ 16022739 w 27560432"/>
                <a:gd name="connsiteY65" fmla="*/ 1681548 h 15152939"/>
                <a:gd name="connsiteX66" fmla="*/ 16013694 w 27560432"/>
                <a:gd name="connsiteY66" fmla="*/ 2169778 h 15152939"/>
                <a:gd name="connsiteX67" fmla="*/ 16556232 w 27560432"/>
                <a:gd name="connsiteY67" fmla="*/ 2260200 h 15152939"/>
                <a:gd name="connsiteX68" fmla="*/ 16863663 w 27560432"/>
                <a:gd name="connsiteY68" fmla="*/ 1744834 h 15152939"/>
                <a:gd name="connsiteX69" fmla="*/ 17406193 w 27560432"/>
                <a:gd name="connsiteY69" fmla="*/ 1410312 h 15152939"/>
                <a:gd name="connsiteX70" fmla="*/ 17623203 w 27560432"/>
                <a:gd name="connsiteY70" fmla="*/ 867840 h 15152939"/>
                <a:gd name="connsiteX71" fmla="*/ 18120524 w 27560432"/>
                <a:gd name="connsiteY71" fmla="*/ 831675 h 15152939"/>
                <a:gd name="connsiteX72" fmla="*/ 18201903 w 27560432"/>
                <a:gd name="connsiteY72" fmla="*/ 542358 h 15152939"/>
                <a:gd name="connsiteX73" fmla="*/ 18744437 w 27560432"/>
                <a:gd name="connsiteY73" fmla="*/ 117414 h 15152939"/>
                <a:gd name="connsiteX74" fmla="*/ 19443290 w 27560432"/>
                <a:gd name="connsiteY74" fmla="*/ 0 h 15152939"/>
                <a:gd name="connsiteX75" fmla="*/ 19982300 w 27560432"/>
                <a:gd name="connsiteY75" fmla="*/ 460880 h 15152939"/>
                <a:gd name="connsiteX76" fmla="*/ 19530143 w 27560432"/>
                <a:gd name="connsiteY76" fmla="*/ 913038 h 15152939"/>
                <a:gd name="connsiteX77" fmla="*/ 19837609 w 27560432"/>
                <a:gd name="connsiteY77" fmla="*/ 1238588 h 15152939"/>
                <a:gd name="connsiteX78" fmla="*/ 20886614 w 27560432"/>
                <a:gd name="connsiteY78" fmla="*/ 1546055 h 15152939"/>
                <a:gd name="connsiteX79" fmla="*/ 21881359 w 27560432"/>
                <a:gd name="connsiteY79" fmla="*/ 1889694 h 15152939"/>
                <a:gd name="connsiteX80" fmla="*/ 21772837 w 27560432"/>
                <a:gd name="connsiteY80" fmla="*/ 2269505 h 15152939"/>
                <a:gd name="connsiteX81" fmla="*/ 21537712 w 27560432"/>
                <a:gd name="connsiteY81" fmla="*/ 2884438 h 15152939"/>
                <a:gd name="connsiteX82" fmla="*/ 21996067 w 27560432"/>
                <a:gd name="connsiteY82" fmla="*/ 2911656 h 15152939"/>
                <a:gd name="connsiteX83" fmla="*/ 22478203 w 27560432"/>
                <a:gd name="connsiteY83" fmla="*/ 2414189 h 15152939"/>
                <a:gd name="connsiteX84" fmla="*/ 23292084 w 27560432"/>
                <a:gd name="connsiteY84" fmla="*/ 2016293 h 15152939"/>
                <a:gd name="connsiteX85" fmla="*/ 23888932 w 27560432"/>
                <a:gd name="connsiteY85" fmla="*/ 1998212 h 15152939"/>
                <a:gd name="connsiteX86" fmla="*/ 24612383 w 27560432"/>
                <a:gd name="connsiteY86" fmla="*/ 1582227 h 15152939"/>
                <a:gd name="connsiteX87" fmla="*/ 25010275 w 27560432"/>
                <a:gd name="connsiteY87" fmla="*/ 695990 h 15152939"/>
                <a:gd name="connsiteX88" fmla="*/ 25769899 w 27560432"/>
                <a:gd name="connsiteY88" fmla="*/ 840685 h 15152939"/>
                <a:gd name="connsiteX89" fmla="*/ 26402920 w 27560432"/>
                <a:gd name="connsiteY89" fmla="*/ 876857 h 15152939"/>
                <a:gd name="connsiteX90" fmla="*/ 26240141 w 27560432"/>
                <a:gd name="connsiteY90" fmla="*/ 1491794 h 15152939"/>
                <a:gd name="connsiteX91" fmla="*/ 26554742 w 27560432"/>
                <a:gd name="connsiteY91" fmla="*/ 2052454 h 15152939"/>
                <a:gd name="connsiteX92" fmla="*/ 25679461 w 27560432"/>
                <a:gd name="connsiteY92" fmla="*/ 2775920 h 15152939"/>
                <a:gd name="connsiteX93" fmla="*/ 25751806 w 27560432"/>
                <a:gd name="connsiteY93" fmla="*/ 3806840 h 15152939"/>
                <a:gd name="connsiteX94" fmla="*/ 26157237 w 27560432"/>
                <a:gd name="connsiteY94"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023104 w 27542354"/>
                <a:gd name="connsiteY6" fmla="*/ 7478344 h 15152939"/>
                <a:gd name="connsiteX7" fmla="*/ 26619948 w 27542354"/>
                <a:gd name="connsiteY7" fmla="*/ 7840060 h 15152939"/>
                <a:gd name="connsiteX8" fmla="*/ 26276305 w 27542354"/>
                <a:gd name="connsiteY8" fmla="*/ 8672029 h 15152939"/>
                <a:gd name="connsiteX9" fmla="*/ 26312478 w 27542354"/>
                <a:gd name="connsiteY9" fmla="*/ 9666777 h 15152939"/>
                <a:gd name="connsiteX10" fmla="*/ 25878405 w 27542354"/>
                <a:gd name="connsiteY10" fmla="*/ 10227453 h 15152939"/>
                <a:gd name="connsiteX11" fmla="*/ 26402912 w 27542354"/>
                <a:gd name="connsiteY11" fmla="*/ 10643437 h 15152939"/>
                <a:gd name="connsiteX12" fmla="*/ 27319497 w 27542354"/>
                <a:gd name="connsiteY12" fmla="*/ 10082959 h 15152939"/>
                <a:gd name="connsiteX13" fmla="*/ 27542355 w 27542354"/>
                <a:gd name="connsiteY13" fmla="*/ 12005935 h 15152939"/>
                <a:gd name="connsiteX14" fmla="*/ 26089423 w 27542354"/>
                <a:gd name="connsiteY14" fmla="*/ 11975789 h 15152939"/>
                <a:gd name="connsiteX15" fmla="*/ 24473715 w 27542354"/>
                <a:gd name="connsiteY15" fmla="*/ 12090334 h 15152939"/>
                <a:gd name="connsiteX16" fmla="*/ 23135328 w 27542354"/>
                <a:gd name="connsiteY16" fmla="*/ 12222964 h 15152939"/>
                <a:gd name="connsiteX17" fmla="*/ 22261159 w 27542354"/>
                <a:gd name="connsiteY17" fmla="*/ 12934357 h 15152939"/>
                <a:gd name="connsiteX18" fmla="*/ 20826342 w 27542354"/>
                <a:gd name="connsiteY18" fmla="*/ 14369204 h 15152939"/>
                <a:gd name="connsiteX19" fmla="*/ 12952786 w 27542354"/>
                <a:gd name="connsiteY19" fmla="*/ 14960014 h 15152939"/>
                <a:gd name="connsiteX20" fmla="*/ 11934663 w 27542354"/>
                <a:gd name="connsiteY20" fmla="*/ 15008264 h 15152939"/>
                <a:gd name="connsiteX21" fmla="*/ 8506848 w 27542354"/>
                <a:gd name="connsiteY21" fmla="*/ 15152939 h 15152939"/>
                <a:gd name="connsiteX22" fmla="*/ 7985095 w 27542354"/>
                <a:gd name="connsiteY22" fmla="*/ 14507857 h 15152939"/>
                <a:gd name="connsiteX23" fmla="*/ 7400308 w 27542354"/>
                <a:gd name="connsiteY23" fmla="*/ 14477712 h 15152939"/>
                <a:gd name="connsiteX24" fmla="*/ 6972273 w 27542354"/>
                <a:gd name="connsiteY24" fmla="*/ 14749009 h 15152939"/>
                <a:gd name="connsiteX25" fmla="*/ 5181729 w 27542354"/>
                <a:gd name="connsiteY25" fmla="*/ 14664610 h 15152939"/>
                <a:gd name="connsiteX26" fmla="*/ 4397998 w 27542354"/>
                <a:gd name="connsiteY26" fmla="*/ 14031593 h 15152939"/>
                <a:gd name="connsiteX27" fmla="*/ 2908896 w 27542354"/>
                <a:gd name="connsiteY27" fmla="*/ 13223739 h 15152939"/>
                <a:gd name="connsiteX28" fmla="*/ 1263043 w 27542354"/>
                <a:gd name="connsiteY28" fmla="*/ 12512346 h 15152939"/>
                <a:gd name="connsiteX29" fmla="*/ 485320 w 27542354"/>
                <a:gd name="connsiteY29" fmla="*/ 12060189 h 15152939"/>
                <a:gd name="connsiteX30" fmla="*/ 0 w 27542354"/>
                <a:gd name="connsiteY30" fmla="*/ 11767077 h 15152939"/>
                <a:gd name="connsiteX31" fmla="*/ 1003686 w 27542354"/>
                <a:gd name="connsiteY31" fmla="*/ 11021112 h 15152939"/>
                <a:gd name="connsiteX32" fmla="*/ 2902551 w 27542354"/>
                <a:gd name="connsiteY32" fmla="*/ 9836713 h 15152939"/>
                <a:gd name="connsiteX33" fmla="*/ 2558940 w 27542354"/>
                <a:gd name="connsiteY33" fmla="*/ 9303282 h 15152939"/>
                <a:gd name="connsiteX34" fmla="*/ 2402508 w 27542354"/>
                <a:gd name="connsiteY34" fmla="*/ 8616199 h 15152939"/>
                <a:gd name="connsiteX35" fmla="*/ 2730740 w 27542354"/>
                <a:gd name="connsiteY35" fmla="*/ 8589028 h 15152939"/>
                <a:gd name="connsiteX36" fmla="*/ 2947754 w 27542354"/>
                <a:gd name="connsiteY36" fmla="*/ 8118883 h 15152939"/>
                <a:gd name="connsiteX37" fmla="*/ 3499325 w 27542354"/>
                <a:gd name="connsiteY37" fmla="*/ 7675866 h 15152939"/>
                <a:gd name="connsiteX38" fmla="*/ 3680166 w 27542354"/>
                <a:gd name="connsiteY38" fmla="*/ 6798868 h 15152939"/>
                <a:gd name="connsiteX39" fmla="*/ 4186528 w 27542354"/>
                <a:gd name="connsiteY39" fmla="*/ 6807904 h 15152939"/>
                <a:gd name="connsiteX40" fmla="*/ 4837569 w 27542354"/>
                <a:gd name="connsiteY40" fmla="*/ 7278054 h 15152939"/>
                <a:gd name="connsiteX41" fmla="*/ 5352976 w 27542354"/>
                <a:gd name="connsiteY41" fmla="*/ 7196687 h 15152939"/>
                <a:gd name="connsiteX42" fmla="*/ 5741786 w 27542354"/>
                <a:gd name="connsiteY42" fmla="*/ 6825992 h 15152939"/>
                <a:gd name="connsiteX43" fmla="*/ 6157723 w 27542354"/>
                <a:gd name="connsiteY43" fmla="*/ 6663251 h 15152939"/>
                <a:gd name="connsiteX44" fmla="*/ 6745471 w 27542354"/>
                <a:gd name="connsiteY44" fmla="*/ 6093658 h 15152939"/>
                <a:gd name="connsiteX45" fmla="*/ 6890140 w 27542354"/>
                <a:gd name="connsiteY45" fmla="*/ 5243782 h 15152939"/>
                <a:gd name="connsiteX46" fmla="*/ 7568305 w 27542354"/>
                <a:gd name="connsiteY46" fmla="*/ 4674188 h 15152939"/>
                <a:gd name="connsiteX47" fmla="*/ 8137967 w 27542354"/>
                <a:gd name="connsiteY47" fmla="*/ 4231167 h 15152939"/>
                <a:gd name="connsiteX48" fmla="*/ 8463480 w 27542354"/>
                <a:gd name="connsiteY48" fmla="*/ 3426500 h 15152939"/>
                <a:gd name="connsiteX49" fmla="*/ 9024093 w 27542354"/>
                <a:gd name="connsiteY49" fmla="*/ 3073893 h 15152939"/>
                <a:gd name="connsiteX50" fmla="*/ 9675138 w 27542354"/>
                <a:gd name="connsiteY50" fmla="*/ 2721291 h 15152939"/>
                <a:gd name="connsiteX51" fmla="*/ 9558580 w 27542354"/>
                <a:gd name="connsiteY51" fmla="*/ 2173007 h 15152939"/>
                <a:gd name="connsiteX52" fmla="*/ 10353296 w 27542354"/>
                <a:gd name="connsiteY52" fmla="*/ 1500723 h 15152939"/>
                <a:gd name="connsiteX53" fmla="*/ 10832530 w 27542354"/>
                <a:gd name="connsiteY53" fmla="*/ 1428389 h 15152939"/>
                <a:gd name="connsiteX54" fmla="*/ 11058585 w 27542354"/>
                <a:gd name="connsiteY54" fmla="*/ 1880458 h 15152939"/>
                <a:gd name="connsiteX55" fmla="*/ 11411229 w 27542354"/>
                <a:gd name="connsiteY55" fmla="*/ 2260189 h 15152939"/>
                <a:gd name="connsiteX56" fmla="*/ 11998974 w 27542354"/>
                <a:gd name="connsiteY56" fmla="*/ 2341559 h 15152939"/>
                <a:gd name="connsiteX57" fmla="*/ 12315449 w 27542354"/>
                <a:gd name="connsiteY57" fmla="*/ 3001571 h 15152939"/>
                <a:gd name="connsiteX58" fmla="*/ 12785642 w 27542354"/>
                <a:gd name="connsiteY58" fmla="*/ 2820742 h 15152939"/>
                <a:gd name="connsiteX59" fmla="*/ 13671776 w 27542354"/>
                <a:gd name="connsiteY59" fmla="*/ 3272803 h 15152939"/>
                <a:gd name="connsiteX60" fmla="*/ 14123886 w 27542354"/>
                <a:gd name="connsiteY60" fmla="*/ 2974450 h 15152939"/>
                <a:gd name="connsiteX61" fmla="*/ 14259509 w 27542354"/>
                <a:gd name="connsiteY61" fmla="*/ 2404849 h 15152939"/>
                <a:gd name="connsiteX62" fmla="*/ 14892468 w 27542354"/>
                <a:gd name="connsiteY62" fmla="*/ 1762918 h 15152939"/>
                <a:gd name="connsiteX63" fmla="*/ 15778605 w 27542354"/>
                <a:gd name="connsiteY63" fmla="*/ 1211398 h 15152939"/>
                <a:gd name="connsiteX64" fmla="*/ 16022739 w 27542354"/>
                <a:gd name="connsiteY64" fmla="*/ 1681548 h 15152939"/>
                <a:gd name="connsiteX65" fmla="*/ 16013694 w 27542354"/>
                <a:gd name="connsiteY65" fmla="*/ 2169778 h 15152939"/>
                <a:gd name="connsiteX66" fmla="*/ 16556232 w 27542354"/>
                <a:gd name="connsiteY66" fmla="*/ 2260200 h 15152939"/>
                <a:gd name="connsiteX67" fmla="*/ 16863663 w 27542354"/>
                <a:gd name="connsiteY67" fmla="*/ 1744834 h 15152939"/>
                <a:gd name="connsiteX68" fmla="*/ 17406193 w 27542354"/>
                <a:gd name="connsiteY68" fmla="*/ 1410312 h 15152939"/>
                <a:gd name="connsiteX69" fmla="*/ 17623203 w 27542354"/>
                <a:gd name="connsiteY69" fmla="*/ 867840 h 15152939"/>
                <a:gd name="connsiteX70" fmla="*/ 18120524 w 27542354"/>
                <a:gd name="connsiteY70" fmla="*/ 831675 h 15152939"/>
                <a:gd name="connsiteX71" fmla="*/ 18201903 w 27542354"/>
                <a:gd name="connsiteY71" fmla="*/ 542358 h 15152939"/>
                <a:gd name="connsiteX72" fmla="*/ 18744437 w 27542354"/>
                <a:gd name="connsiteY72" fmla="*/ 117414 h 15152939"/>
                <a:gd name="connsiteX73" fmla="*/ 19443290 w 27542354"/>
                <a:gd name="connsiteY73" fmla="*/ 0 h 15152939"/>
                <a:gd name="connsiteX74" fmla="*/ 19982300 w 27542354"/>
                <a:gd name="connsiteY74" fmla="*/ 460880 h 15152939"/>
                <a:gd name="connsiteX75" fmla="*/ 19530143 w 27542354"/>
                <a:gd name="connsiteY75" fmla="*/ 913038 h 15152939"/>
                <a:gd name="connsiteX76" fmla="*/ 19837609 w 27542354"/>
                <a:gd name="connsiteY76" fmla="*/ 1238588 h 15152939"/>
                <a:gd name="connsiteX77" fmla="*/ 20886614 w 27542354"/>
                <a:gd name="connsiteY77" fmla="*/ 1546055 h 15152939"/>
                <a:gd name="connsiteX78" fmla="*/ 21881359 w 27542354"/>
                <a:gd name="connsiteY78" fmla="*/ 1889694 h 15152939"/>
                <a:gd name="connsiteX79" fmla="*/ 21772837 w 27542354"/>
                <a:gd name="connsiteY79" fmla="*/ 2269505 h 15152939"/>
                <a:gd name="connsiteX80" fmla="*/ 21537712 w 27542354"/>
                <a:gd name="connsiteY80" fmla="*/ 2884438 h 15152939"/>
                <a:gd name="connsiteX81" fmla="*/ 21996067 w 27542354"/>
                <a:gd name="connsiteY81" fmla="*/ 2911656 h 15152939"/>
                <a:gd name="connsiteX82" fmla="*/ 22478203 w 27542354"/>
                <a:gd name="connsiteY82" fmla="*/ 2414189 h 15152939"/>
                <a:gd name="connsiteX83" fmla="*/ 23292084 w 27542354"/>
                <a:gd name="connsiteY83" fmla="*/ 2016293 h 15152939"/>
                <a:gd name="connsiteX84" fmla="*/ 23888932 w 27542354"/>
                <a:gd name="connsiteY84" fmla="*/ 1998212 h 15152939"/>
                <a:gd name="connsiteX85" fmla="*/ 24612383 w 27542354"/>
                <a:gd name="connsiteY85" fmla="*/ 1582227 h 15152939"/>
                <a:gd name="connsiteX86" fmla="*/ 25010275 w 27542354"/>
                <a:gd name="connsiteY86" fmla="*/ 695990 h 15152939"/>
                <a:gd name="connsiteX87" fmla="*/ 25769899 w 27542354"/>
                <a:gd name="connsiteY87" fmla="*/ 840685 h 15152939"/>
                <a:gd name="connsiteX88" fmla="*/ 26402920 w 27542354"/>
                <a:gd name="connsiteY88" fmla="*/ 876857 h 15152939"/>
                <a:gd name="connsiteX89" fmla="*/ 26240141 w 27542354"/>
                <a:gd name="connsiteY89" fmla="*/ 1491794 h 15152939"/>
                <a:gd name="connsiteX90" fmla="*/ 26554742 w 27542354"/>
                <a:gd name="connsiteY90" fmla="*/ 2052454 h 15152939"/>
                <a:gd name="connsiteX91" fmla="*/ 25679461 w 27542354"/>
                <a:gd name="connsiteY91" fmla="*/ 2775920 h 15152939"/>
                <a:gd name="connsiteX92" fmla="*/ 25751806 w 27542354"/>
                <a:gd name="connsiteY92" fmla="*/ 3806840 h 15152939"/>
                <a:gd name="connsiteX93" fmla="*/ 26157237 w 27542354"/>
                <a:gd name="connsiteY93"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023104 w 27542354"/>
                <a:gd name="connsiteY6" fmla="*/ 7478344 h 15152939"/>
                <a:gd name="connsiteX7" fmla="*/ 26619948 w 27542354"/>
                <a:gd name="connsiteY7" fmla="*/ 7840060 h 15152939"/>
                <a:gd name="connsiteX8" fmla="*/ 26276305 w 27542354"/>
                <a:gd name="connsiteY8" fmla="*/ 8672029 h 15152939"/>
                <a:gd name="connsiteX9" fmla="*/ 26312478 w 27542354"/>
                <a:gd name="connsiteY9" fmla="*/ 9666777 h 15152939"/>
                <a:gd name="connsiteX10" fmla="*/ 25878405 w 27542354"/>
                <a:gd name="connsiteY10" fmla="*/ 10227453 h 15152939"/>
                <a:gd name="connsiteX11" fmla="*/ 26402912 w 27542354"/>
                <a:gd name="connsiteY11" fmla="*/ 10643437 h 15152939"/>
                <a:gd name="connsiteX12" fmla="*/ 27542355 w 27542354"/>
                <a:gd name="connsiteY12" fmla="*/ 12005935 h 15152939"/>
                <a:gd name="connsiteX13" fmla="*/ 26089423 w 27542354"/>
                <a:gd name="connsiteY13" fmla="*/ 11975789 h 15152939"/>
                <a:gd name="connsiteX14" fmla="*/ 24473715 w 27542354"/>
                <a:gd name="connsiteY14" fmla="*/ 12090334 h 15152939"/>
                <a:gd name="connsiteX15" fmla="*/ 23135328 w 27542354"/>
                <a:gd name="connsiteY15" fmla="*/ 12222964 h 15152939"/>
                <a:gd name="connsiteX16" fmla="*/ 22261159 w 27542354"/>
                <a:gd name="connsiteY16" fmla="*/ 12934357 h 15152939"/>
                <a:gd name="connsiteX17" fmla="*/ 20826342 w 27542354"/>
                <a:gd name="connsiteY17" fmla="*/ 14369204 h 15152939"/>
                <a:gd name="connsiteX18" fmla="*/ 12952786 w 27542354"/>
                <a:gd name="connsiteY18" fmla="*/ 14960014 h 15152939"/>
                <a:gd name="connsiteX19" fmla="*/ 11934663 w 27542354"/>
                <a:gd name="connsiteY19" fmla="*/ 15008264 h 15152939"/>
                <a:gd name="connsiteX20" fmla="*/ 8506848 w 27542354"/>
                <a:gd name="connsiteY20" fmla="*/ 15152939 h 15152939"/>
                <a:gd name="connsiteX21" fmla="*/ 7985095 w 27542354"/>
                <a:gd name="connsiteY21" fmla="*/ 14507857 h 15152939"/>
                <a:gd name="connsiteX22" fmla="*/ 7400308 w 27542354"/>
                <a:gd name="connsiteY22" fmla="*/ 14477712 h 15152939"/>
                <a:gd name="connsiteX23" fmla="*/ 6972273 w 27542354"/>
                <a:gd name="connsiteY23" fmla="*/ 14749009 h 15152939"/>
                <a:gd name="connsiteX24" fmla="*/ 5181729 w 27542354"/>
                <a:gd name="connsiteY24" fmla="*/ 14664610 h 15152939"/>
                <a:gd name="connsiteX25" fmla="*/ 4397998 w 27542354"/>
                <a:gd name="connsiteY25" fmla="*/ 14031593 h 15152939"/>
                <a:gd name="connsiteX26" fmla="*/ 2908896 w 27542354"/>
                <a:gd name="connsiteY26" fmla="*/ 13223739 h 15152939"/>
                <a:gd name="connsiteX27" fmla="*/ 1263043 w 27542354"/>
                <a:gd name="connsiteY27" fmla="*/ 12512346 h 15152939"/>
                <a:gd name="connsiteX28" fmla="*/ 485320 w 27542354"/>
                <a:gd name="connsiteY28" fmla="*/ 12060189 h 15152939"/>
                <a:gd name="connsiteX29" fmla="*/ 0 w 27542354"/>
                <a:gd name="connsiteY29" fmla="*/ 11767077 h 15152939"/>
                <a:gd name="connsiteX30" fmla="*/ 1003686 w 27542354"/>
                <a:gd name="connsiteY30" fmla="*/ 11021112 h 15152939"/>
                <a:gd name="connsiteX31" fmla="*/ 2902551 w 27542354"/>
                <a:gd name="connsiteY31" fmla="*/ 9836713 h 15152939"/>
                <a:gd name="connsiteX32" fmla="*/ 2558940 w 27542354"/>
                <a:gd name="connsiteY32" fmla="*/ 9303282 h 15152939"/>
                <a:gd name="connsiteX33" fmla="*/ 2402508 w 27542354"/>
                <a:gd name="connsiteY33" fmla="*/ 8616199 h 15152939"/>
                <a:gd name="connsiteX34" fmla="*/ 2730740 w 27542354"/>
                <a:gd name="connsiteY34" fmla="*/ 8589028 h 15152939"/>
                <a:gd name="connsiteX35" fmla="*/ 2947754 w 27542354"/>
                <a:gd name="connsiteY35" fmla="*/ 8118883 h 15152939"/>
                <a:gd name="connsiteX36" fmla="*/ 3499325 w 27542354"/>
                <a:gd name="connsiteY36" fmla="*/ 7675866 h 15152939"/>
                <a:gd name="connsiteX37" fmla="*/ 3680166 w 27542354"/>
                <a:gd name="connsiteY37" fmla="*/ 6798868 h 15152939"/>
                <a:gd name="connsiteX38" fmla="*/ 4186528 w 27542354"/>
                <a:gd name="connsiteY38" fmla="*/ 6807904 h 15152939"/>
                <a:gd name="connsiteX39" fmla="*/ 4837569 w 27542354"/>
                <a:gd name="connsiteY39" fmla="*/ 7278054 h 15152939"/>
                <a:gd name="connsiteX40" fmla="*/ 5352976 w 27542354"/>
                <a:gd name="connsiteY40" fmla="*/ 7196687 h 15152939"/>
                <a:gd name="connsiteX41" fmla="*/ 5741786 w 27542354"/>
                <a:gd name="connsiteY41" fmla="*/ 6825992 h 15152939"/>
                <a:gd name="connsiteX42" fmla="*/ 6157723 w 27542354"/>
                <a:gd name="connsiteY42" fmla="*/ 6663251 h 15152939"/>
                <a:gd name="connsiteX43" fmla="*/ 6745471 w 27542354"/>
                <a:gd name="connsiteY43" fmla="*/ 6093658 h 15152939"/>
                <a:gd name="connsiteX44" fmla="*/ 6890140 w 27542354"/>
                <a:gd name="connsiteY44" fmla="*/ 5243782 h 15152939"/>
                <a:gd name="connsiteX45" fmla="*/ 7568305 w 27542354"/>
                <a:gd name="connsiteY45" fmla="*/ 4674188 h 15152939"/>
                <a:gd name="connsiteX46" fmla="*/ 8137967 w 27542354"/>
                <a:gd name="connsiteY46" fmla="*/ 4231167 h 15152939"/>
                <a:gd name="connsiteX47" fmla="*/ 8463480 w 27542354"/>
                <a:gd name="connsiteY47" fmla="*/ 3426500 h 15152939"/>
                <a:gd name="connsiteX48" fmla="*/ 9024093 w 27542354"/>
                <a:gd name="connsiteY48" fmla="*/ 3073893 h 15152939"/>
                <a:gd name="connsiteX49" fmla="*/ 9675138 w 27542354"/>
                <a:gd name="connsiteY49" fmla="*/ 2721291 h 15152939"/>
                <a:gd name="connsiteX50" fmla="*/ 9558580 w 27542354"/>
                <a:gd name="connsiteY50" fmla="*/ 2173007 h 15152939"/>
                <a:gd name="connsiteX51" fmla="*/ 10353296 w 27542354"/>
                <a:gd name="connsiteY51" fmla="*/ 1500723 h 15152939"/>
                <a:gd name="connsiteX52" fmla="*/ 10832530 w 27542354"/>
                <a:gd name="connsiteY52" fmla="*/ 1428389 h 15152939"/>
                <a:gd name="connsiteX53" fmla="*/ 11058585 w 27542354"/>
                <a:gd name="connsiteY53" fmla="*/ 1880458 h 15152939"/>
                <a:gd name="connsiteX54" fmla="*/ 11411229 w 27542354"/>
                <a:gd name="connsiteY54" fmla="*/ 2260189 h 15152939"/>
                <a:gd name="connsiteX55" fmla="*/ 11998974 w 27542354"/>
                <a:gd name="connsiteY55" fmla="*/ 2341559 h 15152939"/>
                <a:gd name="connsiteX56" fmla="*/ 12315449 w 27542354"/>
                <a:gd name="connsiteY56" fmla="*/ 3001571 h 15152939"/>
                <a:gd name="connsiteX57" fmla="*/ 12785642 w 27542354"/>
                <a:gd name="connsiteY57" fmla="*/ 2820742 h 15152939"/>
                <a:gd name="connsiteX58" fmla="*/ 13671776 w 27542354"/>
                <a:gd name="connsiteY58" fmla="*/ 3272803 h 15152939"/>
                <a:gd name="connsiteX59" fmla="*/ 14123886 w 27542354"/>
                <a:gd name="connsiteY59" fmla="*/ 2974450 h 15152939"/>
                <a:gd name="connsiteX60" fmla="*/ 14259509 w 27542354"/>
                <a:gd name="connsiteY60" fmla="*/ 2404849 h 15152939"/>
                <a:gd name="connsiteX61" fmla="*/ 14892468 w 27542354"/>
                <a:gd name="connsiteY61" fmla="*/ 1762918 h 15152939"/>
                <a:gd name="connsiteX62" fmla="*/ 15778605 w 27542354"/>
                <a:gd name="connsiteY62" fmla="*/ 1211398 h 15152939"/>
                <a:gd name="connsiteX63" fmla="*/ 16022739 w 27542354"/>
                <a:gd name="connsiteY63" fmla="*/ 1681548 h 15152939"/>
                <a:gd name="connsiteX64" fmla="*/ 16013694 w 27542354"/>
                <a:gd name="connsiteY64" fmla="*/ 2169778 h 15152939"/>
                <a:gd name="connsiteX65" fmla="*/ 16556232 w 27542354"/>
                <a:gd name="connsiteY65" fmla="*/ 2260200 h 15152939"/>
                <a:gd name="connsiteX66" fmla="*/ 16863663 w 27542354"/>
                <a:gd name="connsiteY66" fmla="*/ 1744834 h 15152939"/>
                <a:gd name="connsiteX67" fmla="*/ 17406193 w 27542354"/>
                <a:gd name="connsiteY67" fmla="*/ 1410312 h 15152939"/>
                <a:gd name="connsiteX68" fmla="*/ 17623203 w 27542354"/>
                <a:gd name="connsiteY68" fmla="*/ 867840 h 15152939"/>
                <a:gd name="connsiteX69" fmla="*/ 18120524 w 27542354"/>
                <a:gd name="connsiteY69" fmla="*/ 831675 h 15152939"/>
                <a:gd name="connsiteX70" fmla="*/ 18201903 w 27542354"/>
                <a:gd name="connsiteY70" fmla="*/ 542358 h 15152939"/>
                <a:gd name="connsiteX71" fmla="*/ 18744437 w 27542354"/>
                <a:gd name="connsiteY71" fmla="*/ 117414 h 15152939"/>
                <a:gd name="connsiteX72" fmla="*/ 19443290 w 27542354"/>
                <a:gd name="connsiteY72" fmla="*/ 0 h 15152939"/>
                <a:gd name="connsiteX73" fmla="*/ 19982300 w 27542354"/>
                <a:gd name="connsiteY73" fmla="*/ 460880 h 15152939"/>
                <a:gd name="connsiteX74" fmla="*/ 19530143 w 27542354"/>
                <a:gd name="connsiteY74" fmla="*/ 913038 h 15152939"/>
                <a:gd name="connsiteX75" fmla="*/ 19837609 w 27542354"/>
                <a:gd name="connsiteY75" fmla="*/ 1238588 h 15152939"/>
                <a:gd name="connsiteX76" fmla="*/ 20886614 w 27542354"/>
                <a:gd name="connsiteY76" fmla="*/ 1546055 h 15152939"/>
                <a:gd name="connsiteX77" fmla="*/ 21881359 w 27542354"/>
                <a:gd name="connsiteY77" fmla="*/ 1889694 h 15152939"/>
                <a:gd name="connsiteX78" fmla="*/ 21772837 w 27542354"/>
                <a:gd name="connsiteY78" fmla="*/ 2269505 h 15152939"/>
                <a:gd name="connsiteX79" fmla="*/ 21537712 w 27542354"/>
                <a:gd name="connsiteY79" fmla="*/ 2884438 h 15152939"/>
                <a:gd name="connsiteX80" fmla="*/ 21996067 w 27542354"/>
                <a:gd name="connsiteY80" fmla="*/ 2911656 h 15152939"/>
                <a:gd name="connsiteX81" fmla="*/ 22478203 w 27542354"/>
                <a:gd name="connsiteY81" fmla="*/ 2414189 h 15152939"/>
                <a:gd name="connsiteX82" fmla="*/ 23292084 w 27542354"/>
                <a:gd name="connsiteY82" fmla="*/ 2016293 h 15152939"/>
                <a:gd name="connsiteX83" fmla="*/ 23888932 w 27542354"/>
                <a:gd name="connsiteY83" fmla="*/ 1998212 h 15152939"/>
                <a:gd name="connsiteX84" fmla="*/ 24612383 w 27542354"/>
                <a:gd name="connsiteY84" fmla="*/ 1582227 h 15152939"/>
                <a:gd name="connsiteX85" fmla="*/ 25010275 w 27542354"/>
                <a:gd name="connsiteY85" fmla="*/ 695990 h 15152939"/>
                <a:gd name="connsiteX86" fmla="*/ 25769899 w 27542354"/>
                <a:gd name="connsiteY86" fmla="*/ 840685 h 15152939"/>
                <a:gd name="connsiteX87" fmla="*/ 26402920 w 27542354"/>
                <a:gd name="connsiteY87" fmla="*/ 876857 h 15152939"/>
                <a:gd name="connsiteX88" fmla="*/ 26240141 w 27542354"/>
                <a:gd name="connsiteY88" fmla="*/ 1491794 h 15152939"/>
                <a:gd name="connsiteX89" fmla="*/ 26554742 w 27542354"/>
                <a:gd name="connsiteY89" fmla="*/ 2052454 h 15152939"/>
                <a:gd name="connsiteX90" fmla="*/ 25679461 w 27542354"/>
                <a:gd name="connsiteY90" fmla="*/ 2775920 h 15152939"/>
                <a:gd name="connsiteX91" fmla="*/ 25751806 w 27542354"/>
                <a:gd name="connsiteY91" fmla="*/ 3806840 h 15152939"/>
                <a:gd name="connsiteX92" fmla="*/ 26157237 w 27542354"/>
                <a:gd name="connsiteY92"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023104 w 27542354"/>
                <a:gd name="connsiteY6" fmla="*/ 7478344 h 15152939"/>
                <a:gd name="connsiteX7" fmla="*/ 26619948 w 27542354"/>
                <a:gd name="connsiteY7" fmla="*/ 7840060 h 15152939"/>
                <a:gd name="connsiteX8" fmla="*/ 26276305 w 27542354"/>
                <a:gd name="connsiteY8" fmla="*/ 8672029 h 15152939"/>
                <a:gd name="connsiteX9" fmla="*/ 26312478 w 27542354"/>
                <a:gd name="connsiteY9" fmla="*/ 9666777 h 15152939"/>
                <a:gd name="connsiteX10" fmla="*/ 26402912 w 27542354"/>
                <a:gd name="connsiteY10" fmla="*/ 10643437 h 15152939"/>
                <a:gd name="connsiteX11" fmla="*/ 27542355 w 27542354"/>
                <a:gd name="connsiteY11" fmla="*/ 12005935 h 15152939"/>
                <a:gd name="connsiteX12" fmla="*/ 26089423 w 27542354"/>
                <a:gd name="connsiteY12" fmla="*/ 11975789 h 15152939"/>
                <a:gd name="connsiteX13" fmla="*/ 24473715 w 27542354"/>
                <a:gd name="connsiteY13" fmla="*/ 12090334 h 15152939"/>
                <a:gd name="connsiteX14" fmla="*/ 23135328 w 27542354"/>
                <a:gd name="connsiteY14" fmla="*/ 12222964 h 15152939"/>
                <a:gd name="connsiteX15" fmla="*/ 22261159 w 27542354"/>
                <a:gd name="connsiteY15" fmla="*/ 12934357 h 15152939"/>
                <a:gd name="connsiteX16" fmla="*/ 20826342 w 27542354"/>
                <a:gd name="connsiteY16" fmla="*/ 14369204 h 15152939"/>
                <a:gd name="connsiteX17" fmla="*/ 12952786 w 27542354"/>
                <a:gd name="connsiteY17" fmla="*/ 14960014 h 15152939"/>
                <a:gd name="connsiteX18" fmla="*/ 11934663 w 27542354"/>
                <a:gd name="connsiteY18" fmla="*/ 15008264 h 15152939"/>
                <a:gd name="connsiteX19" fmla="*/ 8506848 w 27542354"/>
                <a:gd name="connsiteY19" fmla="*/ 15152939 h 15152939"/>
                <a:gd name="connsiteX20" fmla="*/ 7985095 w 27542354"/>
                <a:gd name="connsiteY20" fmla="*/ 14507857 h 15152939"/>
                <a:gd name="connsiteX21" fmla="*/ 7400308 w 27542354"/>
                <a:gd name="connsiteY21" fmla="*/ 14477712 h 15152939"/>
                <a:gd name="connsiteX22" fmla="*/ 6972273 w 27542354"/>
                <a:gd name="connsiteY22" fmla="*/ 14749009 h 15152939"/>
                <a:gd name="connsiteX23" fmla="*/ 5181729 w 27542354"/>
                <a:gd name="connsiteY23" fmla="*/ 14664610 h 15152939"/>
                <a:gd name="connsiteX24" fmla="*/ 4397998 w 27542354"/>
                <a:gd name="connsiteY24" fmla="*/ 14031593 h 15152939"/>
                <a:gd name="connsiteX25" fmla="*/ 2908896 w 27542354"/>
                <a:gd name="connsiteY25" fmla="*/ 13223739 h 15152939"/>
                <a:gd name="connsiteX26" fmla="*/ 1263043 w 27542354"/>
                <a:gd name="connsiteY26" fmla="*/ 12512346 h 15152939"/>
                <a:gd name="connsiteX27" fmla="*/ 485320 w 27542354"/>
                <a:gd name="connsiteY27" fmla="*/ 12060189 h 15152939"/>
                <a:gd name="connsiteX28" fmla="*/ 0 w 27542354"/>
                <a:gd name="connsiteY28" fmla="*/ 11767077 h 15152939"/>
                <a:gd name="connsiteX29" fmla="*/ 1003686 w 27542354"/>
                <a:gd name="connsiteY29" fmla="*/ 11021112 h 15152939"/>
                <a:gd name="connsiteX30" fmla="*/ 2902551 w 27542354"/>
                <a:gd name="connsiteY30" fmla="*/ 9836713 h 15152939"/>
                <a:gd name="connsiteX31" fmla="*/ 2558940 w 27542354"/>
                <a:gd name="connsiteY31" fmla="*/ 9303282 h 15152939"/>
                <a:gd name="connsiteX32" fmla="*/ 2402508 w 27542354"/>
                <a:gd name="connsiteY32" fmla="*/ 8616199 h 15152939"/>
                <a:gd name="connsiteX33" fmla="*/ 2730740 w 27542354"/>
                <a:gd name="connsiteY33" fmla="*/ 8589028 h 15152939"/>
                <a:gd name="connsiteX34" fmla="*/ 2947754 w 27542354"/>
                <a:gd name="connsiteY34" fmla="*/ 8118883 h 15152939"/>
                <a:gd name="connsiteX35" fmla="*/ 3499325 w 27542354"/>
                <a:gd name="connsiteY35" fmla="*/ 7675866 h 15152939"/>
                <a:gd name="connsiteX36" fmla="*/ 3680166 w 27542354"/>
                <a:gd name="connsiteY36" fmla="*/ 6798868 h 15152939"/>
                <a:gd name="connsiteX37" fmla="*/ 4186528 w 27542354"/>
                <a:gd name="connsiteY37" fmla="*/ 6807904 h 15152939"/>
                <a:gd name="connsiteX38" fmla="*/ 4837569 w 27542354"/>
                <a:gd name="connsiteY38" fmla="*/ 7278054 h 15152939"/>
                <a:gd name="connsiteX39" fmla="*/ 5352976 w 27542354"/>
                <a:gd name="connsiteY39" fmla="*/ 7196687 h 15152939"/>
                <a:gd name="connsiteX40" fmla="*/ 5741786 w 27542354"/>
                <a:gd name="connsiteY40" fmla="*/ 6825992 h 15152939"/>
                <a:gd name="connsiteX41" fmla="*/ 6157723 w 27542354"/>
                <a:gd name="connsiteY41" fmla="*/ 6663251 h 15152939"/>
                <a:gd name="connsiteX42" fmla="*/ 6745471 w 27542354"/>
                <a:gd name="connsiteY42" fmla="*/ 6093658 h 15152939"/>
                <a:gd name="connsiteX43" fmla="*/ 6890140 w 27542354"/>
                <a:gd name="connsiteY43" fmla="*/ 5243782 h 15152939"/>
                <a:gd name="connsiteX44" fmla="*/ 7568305 w 27542354"/>
                <a:gd name="connsiteY44" fmla="*/ 4674188 h 15152939"/>
                <a:gd name="connsiteX45" fmla="*/ 8137967 w 27542354"/>
                <a:gd name="connsiteY45" fmla="*/ 4231167 h 15152939"/>
                <a:gd name="connsiteX46" fmla="*/ 8463480 w 27542354"/>
                <a:gd name="connsiteY46" fmla="*/ 3426500 h 15152939"/>
                <a:gd name="connsiteX47" fmla="*/ 9024093 w 27542354"/>
                <a:gd name="connsiteY47" fmla="*/ 3073893 h 15152939"/>
                <a:gd name="connsiteX48" fmla="*/ 9675138 w 27542354"/>
                <a:gd name="connsiteY48" fmla="*/ 2721291 h 15152939"/>
                <a:gd name="connsiteX49" fmla="*/ 9558580 w 27542354"/>
                <a:gd name="connsiteY49" fmla="*/ 2173007 h 15152939"/>
                <a:gd name="connsiteX50" fmla="*/ 10353296 w 27542354"/>
                <a:gd name="connsiteY50" fmla="*/ 1500723 h 15152939"/>
                <a:gd name="connsiteX51" fmla="*/ 10832530 w 27542354"/>
                <a:gd name="connsiteY51" fmla="*/ 1428389 h 15152939"/>
                <a:gd name="connsiteX52" fmla="*/ 11058585 w 27542354"/>
                <a:gd name="connsiteY52" fmla="*/ 1880458 h 15152939"/>
                <a:gd name="connsiteX53" fmla="*/ 11411229 w 27542354"/>
                <a:gd name="connsiteY53" fmla="*/ 2260189 h 15152939"/>
                <a:gd name="connsiteX54" fmla="*/ 11998974 w 27542354"/>
                <a:gd name="connsiteY54" fmla="*/ 2341559 h 15152939"/>
                <a:gd name="connsiteX55" fmla="*/ 12315449 w 27542354"/>
                <a:gd name="connsiteY55" fmla="*/ 3001571 h 15152939"/>
                <a:gd name="connsiteX56" fmla="*/ 12785642 w 27542354"/>
                <a:gd name="connsiteY56" fmla="*/ 2820742 h 15152939"/>
                <a:gd name="connsiteX57" fmla="*/ 13671776 w 27542354"/>
                <a:gd name="connsiteY57" fmla="*/ 3272803 h 15152939"/>
                <a:gd name="connsiteX58" fmla="*/ 14123886 w 27542354"/>
                <a:gd name="connsiteY58" fmla="*/ 2974450 h 15152939"/>
                <a:gd name="connsiteX59" fmla="*/ 14259509 w 27542354"/>
                <a:gd name="connsiteY59" fmla="*/ 2404849 h 15152939"/>
                <a:gd name="connsiteX60" fmla="*/ 14892468 w 27542354"/>
                <a:gd name="connsiteY60" fmla="*/ 1762918 h 15152939"/>
                <a:gd name="connsiteX61" fmla="*/ 15778605 w 27542354"/>
                <a:gd name="connsiteY61" fmla="*/ 1211398 h 15152939"/>
                <a:gd name="connsiteX62" fmla="*/ 16022739 w 27542354"/>
                <a:gd name="connsiteY62" fmla="*/ 1681548 h 15152939"/>
                <a:gd name="connsiteX63" fmla="*/ 16013694 w 27542354"/>
                <a:gd name="connsiteY63" fmla="*/ 2169778 h 15152939"/>
                <a:gd name="connsiteX64" fmla="*/ 16556232 w 27542354"/>
                <a:gd name="connsiteY64" fmla="*/ 2260200 h 15152939"/>
                <a:gd name="connsiteX65" fmla="*/ 16863663 w 27542354"/>
                <a:gd name="connsiteY65" fmla="*/ 1744834 h 15152939"/>
                <a:gd name="connsiteX66" fmla="*/ 17406193 w 27542354"/>
                <a:gd name="connsiteY66" fmla="*/ 1410312 h 15152939"/>
                <a:gd name="connsiteX67" fmla="*/ 17623203 w 27542354"/>
                <a:gd name="connsiteY67" fmla="*/ 867840 h 15152939"/>
                <a:gd name="connsiteX68" fmla="*/ 18120524 w 27542354"/>
                <a:gd name="connsiteY68" fmla="*/ 831675 h 15152939"/>
                <a:gd name="connsiteX69" fmla="*/ 18201903 w 27542354"/>
                <a:gd name="connsiteY69" fmla="*/ 542358 h 15152939"/>
                <a:gd name="connsiteX70" fmla="*/ 18744437 w 27542354"/>
                <a:gd name="connsiteY70" fmla="*/ 117414 h 15152939"/>
                <a:gd name="connsiteX71" fmla="*/ 19443290 w 27542354"/>
                <a:gd name="connsiteY71" fmla="*/ 0 h 15152939"/>
                <a:gd name="connsiteX72" fmla="*/ 19982300 w 27542354"/>
                <a:gd name="connsiteY72" fmla="*/ 460880 h 15152939"/>
                <a:gd name="connsiteX73" fmla="*/ 19530143 w 27542354"/>
                <a:gd name="connsiteY73" fmla="*/ 913038 h 15152939"/>
                <a:gd name="connsiteX74" fmla="*/ 19837609 w 27542354"/>
                <a:gd name="connsiteY74" fmla="*/ 1238588 h 15152939"/>
                <a:gd name="connsiteX75" fmla="*/ 20886614 w 27542354"/>
                <a:gd name="connsiteY75" fmla="*/ 1546055 h 15152939"/>
                <a:gd name="connsiteX76" fmla="*/ 21881359 w 27542354"/>
                <a:gd name="connsiteY76" fmla="*/ 1889694 h 15152939"/>
                <a:gd name="connsiteX77" fmla="*/ 21772837 w 27542354"/>
                <a:gd name="connsiteY77" fmla="*/ 2269505 h 15152939"/>
                <a:gd name="connsiteX78" fmla="*/ 21537712 w 27542354"/>
                <a:gd name="connsiteY78" fmla="*/ 2884438 h 15152939"/>
                <a:gd name="connsiteX79" fmla="*/ 21996067 w 27542354"/>
                <a:gd name="connsiteY79" fmla="*/ 2911656 h 15152939"/>
                <a:gd name="connsiteX80" fmla="*/ 22478203 w 27542354"/>
                <a:gd name="connsiteY80" fmla="*/ 2414189 h 15152939"/>
                <a:gd name="connsiteX81" fmla="*/ 23292084 w 27542354"/>
                <a:gd name="connsiteY81" fmla="*/ 2016293 h 15152939"/>
                <a:gd name="connsiteX82" fmla="*/ 23888932 w 27542354"/>
                <a:gd name="connsiteY82" fmla="*/ 1998212 h 15152939"/>
                <a:gd name="connsiteX83" fmla="*/ 24612383 w 27542354"/>
                <a:gd name="connsiteY83" fmla="*/ 1582227 h 15152939"/>
                <a:gd name="connsiteX84" fmla="*/ 25010275 w 27542354"/>
                <a:gd name="connsiteY84" fmla="*/ 695990 h 15152939"/>
                <a:gd name="connsiteX85" fmla="*/ 25769899 w 27542354"/>
                <a:gd name="connsiteY85" fmla="*/ 840685 h 15152939"/>
                <a:gd name="connsiteX86" fmla="*/ 26402920 w 27542354"/>
                <a:gd name="connsiteY86" fmla="*/ 876857 h 15152939"/>
                <a:gd name="connsiteX87" fmla="*/ 26240141 w 27542354"/>
                <a:gd name="connsiteY87" fmla="*/ 1491794 h 15152939"/>
                <a:gd name="connsiteX88" fmla="*/ 26554742 w 27542354"/>
                <a:gd name="connsiteY88" fmla="*/ 2052454 h 15152939"/>
                <a:gd name="connsiteX89" fmla="*/ 25679461 w 27542354"/>
                <a:gd name="connsiteY89" fmla="*/ 2775920 h 15152939"/>
                <a:gd name="connsiteX90" fmla="*/ 25751806 w 27542354"/>
                <a:gd name="connsiteY90" fmla="*/ 3806840 h 15152939"/>
                <a:gd name="connsiteX91" fmla="*/ 26157237 w 27542354"/>
                <a:gd name="connsiteY91"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023104 w 27542354"/>
                <a:gd name="connsiteY6" fmla="*/ 7478344 h 15152939"/>
                <a:gd name="connsiteX7" fmla="*/ 26619948 w 27542354"/>
                <a:gd name="connsiteY7" fmla="*/ 7840060 h 15152939"/>
                <a:gd name="connsiteX8" fmla="*/ 26312478 w 27542354"/>
                <a:gd name="connsiteY8" fmla="*/ 9666777 h 15152939"/>
                <a:gd name="connsiteX9" fmla="*/ 26402912 w 27542354"/>
                <a:gd name="connsiteY9" fmla="*/ 10643437 h 15152939"/>
                <a:gd name="connsiteX10" fmla="*/ 27542355 w 27542354"/>
                <a:gd name="connsiteY10" fmla="*/ 12005935 h 15152939"/>
                <a:gd name="connsiteX11" fmla="*/ 26089423 w 27542354"/>
                <a:gd name="connsiteY11" fmla="*/ 11975789 h 15152939"/>
                <a:gd name="connsiteX12" fmla="*/ 24473715 w 27542354"/>
                <a:gd name="connsiteY12" fmla="*/ 12090334 h 15152939"/>
                <a:gd name="connsiteX13" fmla="*/ 23135328 w 27542354"/>
                <a:gd name="connsiteY13" fmla="*/ 12222964 h 15152939"/>
                <a:gd name="connsiteX14" fmla="*/ 22261159 w 27542354"/>
                <a:gd name="connsiteY14" fmla="*/ 12934357 h 15152939"/>
                <a:gd name="connsiteX15" fmla="*/ 20826342 w 27542354"/>
                <a:gd name="connsiteY15" fmla="*/ 14369204 h 15152939"/>
                <a:gd name="connsiteX16" fmla="*/ 12952786 w 27542354"/>
                <a:gd name="connsiteY16" fmla="*/ 14960014 h 15152939"/>
                <a:gd name="connsiteX17" fmla="*/ 11934663 w 27542354"/>
                <a:gd name="connsiteY17" fmla="*/ 15008264 h 15152939"/>
                <a:gd name="connsiteX18" fmla="*/ 8506848 w 27542354"/>
                <a:gd name="connsiteY18" fmla="*/ 15152939 h 15152939"/>
                <a:gd name="connsiteX19" fmla="*/ 7985095 w 27542354"/>
                <a:gd name="connsiteY19" fmla="*/ 14507857 h 15152939"/>
                <a:gd name="connsiteX20" fmla="*/ 7400308 w 27542354"/>
                <a:gd name="connsiteY20" fmla="*/ 14477712 h 15152939"/>
                <a:gd name="connsiteX21" fmla="*/ 6972273 w 27542354"/>
                <a:gd name="connsiteY21" fmla="*/ 14749009 h 15152939"/>
                <a:gd name="connsiteX22" fmla="*/ 5181729 w 27542354"/>
                <a:gd name="connsiteY22" fmla="*/ 14664610 h 15152939"/>
                <a:gd name="connsiteX23" fmla="*/ 4397998 w 27542354"/>
                <a:gd name="connsiteY23" fmla="*/ 14031593 h 15152939"/>
                <a:gd name="connsiteX24" fmla="*/ 2908896 w 27542354"/>
                <a:gd name="connsiteY24" fmla="*/ 13223739 h 15152939"/>
                <a:gd name="connsiteX25" fmla="*/ 1263043 w 27542354"/>
                <a:gd name="connsiteY25" fmla="*/ 12512346 h 15152939"/>
                <a:gd name="connsiteX26" fmla="*/ 485320 w 27542354"/>
                <a:gd name="connsiteY26" fmla="*/ 12060189 h 15152939"/>
                <a:gd name="connsiteX27" fmla="*/ 0 w 27542354"/>
                <a:gd name="connsiteY27" fmla="*/ 11767077 h 15152939"/>
                <a:gd name="connsiteX28" fmla="*/ 1003686 w 27542354"/>
                <a:gd name="connsiteY28" fmla="*/ 11021112 h 15152939"/>
                <a:gd name="connsiteX29" fmla="*/ 2902551 w 27542354"/>
                <a:gd name="connsiteY29" fmla="*/ 9836713 h 15152939"/>
                <a:gd name="connsiteX30" fmla="*/ 2558940 w 27542354"/>
                <a:gd name="connsiteY30" fmla="*/ 9303282 h 15152939"/>
                <a:gd name="connsiteX31" fmla="*/ 2402508 w 27542354"/>
                <a:gd name="connsiteY31" fmla="*/ 8616199 h 15152939"/>
                <a:gd name="connsiteX32" fmla="*/ 2730740 w 27542354"/>
                <a:gd name="connsiteY32" fmla="*/ 8589028 h 15152939"/>
                <a:gd name="connsiteX33" fmla="*/ 2947754 w 27542354"/>
                <a:gd name="connsiteY33" fmla="*/ 8118883 h 15152939"/>
                <a:gd name="connsiteX34" fmla="*/ 3499325 w 27542354"/>
                <a:gd name="connsiteY34" fmla="*/ 7675866 h 15152939"/>
                <a:gd name="connsiteX35" fmla="*/ 3680166 w 27542354"/>
                <a:gd name="connsiteY35" fmla="*/ 6798868 h 15152939"/>
                <a:gd name="connsiteX36" fmla="*/ 4186528 w 27542354"/>
                <a:gd name="connsiteY36" fmla="*/ 6807904 h 15152939"/>
                <a:gd name="connsiteX37" fmla="*/ 4837569 w 27542354"/>
                <a:gd name="connsiteY37" fmla="*/ 7278054 h 15152939"/>
                <a:gd name="connsiteX38" fmla="*/ 5352976 w 27542354"/>
                <a:gd name="connsiteY38" fmla="*/ 7196687 h 15152939"/>
                <a:gd name="connsiteX39" fmla="*/ 5741786 w 27542354"/>
                <a:gd name="connsiteY39" fmla="*/ 6825992 h 15152939"/>
                <a:gd name="connsiteX40" fmla="*/ 6157723 w 27542354"/>
                <a:gd name="connsiteY40" fmla="*/ 6663251 h 15152939"/>
                <a:gd name="connsiteX41" fmla="*/ 6745471 w 27542354"/>
                <a:gd name="connsiteY41" fmla="*/ 6093658 h 15152939"/>
                <a:gd name="connsiteX42" fmla="*/ 6890140 w 27542354"/>
                <a:gd name="connsiteY42" fmla="*/ 5243782 h 15152939"/>
                <a:gd name="connsiteX43" fmla="*/ 7568305 w 27542354"/>
                <a:gd name="connsiteY43" fmla="*/ 4674188 h 15152939"/>
                <a:gd name="connsiteX44" fmla="*/ 8137967 w 27542354"/>
                <a:gd name="connsiteY44" fmla="*/ 4231167 h 15152939"/>
                <a:gd name="connsiteX45" fmla="*/ 8463480 w 27542354"/>
                <a:gd name="connsiteY45" fmla="*/ 3426500 h 15152939"/>
                <a:gd name="connsiteX46" fmla="*/ 9024093 w 27542354"/>
                <a:gd name="connsiteY46" fmla="*/ 3073893 h 15152939"/>
                <a:gd name="connsiteX47" fmla="*/ 9675138 w 27542354"/>
                <a:gd name="connsiteY47" fmla="*/ 2721291 h 15152939"/>
                <a:gd name="connsiteX48" fmla="*/ 9558580 w 27542354"/>
                <a:gd name="connsiteY48" fmla="*/ 2173007 h 15152939"/>
                <a:gd name="connsiteX49" fmla="*/ 10353296 w 27542354"/>
                <a:gd name="connsiteY49" fmla="*/ 1500723 h 15152939"/>
                <a:gd name="connsiteX50" fmla="*/ 10832530 w 27542354"/>
                <a:gd name="connsiteY50" fmla="*/ 1428389 h 15152939"/>
                <a:gd name="connsiteX51" fmla="*/ 11058585 w 27542354"/>
                <a:gd name="connsiteY51" fmla="*/ 1880458 h 15152939"/>
                <a:gd name="connsiteX52" fmla="*/ 11411229 w 27542354"/>
                <a:gd name="connsiteY52" fmla="*/ 2260189 h 15152939"/>
                <a:gd name="connsiteX53" fmla="*/ 11998974 w 27542354"/>
                <a:gd name="connsiteY53" fmla="*/ 2341559 h 15152939"/>
                <a:gd name="connsiteX54" fmla="*/ 12315449 w 27542354"/>
                <a:gd name="connsiteY54" fmla="*/ 3001571 h 15152939"/>
                <a:gd name="connsiteX55" fmla="*/ 12785642 w 27542354"/>
                <a:gd name="connsiteY55" fmla="*/ 2820742 h 15152939"/>
                <a:gd name="connsiteX56" fmla="*/ 13671776 w 27542354"/>
                <a:gd name="connsiteY56" fmla="*/ 3272803 h 15152939"/>
                <a:gd name="connsiteX57" fmla="*/ 14123886 w 27542354"/>
                <a:gd name="connsiteY57" fmla="*/ 2974450 h 15152939"/>
                <a:gd name="connsiteX58" fmla="*/ 14259509 w 27542354"/>
                <a:gd name="connsiteY58" fmla="*/ 2404849 h 15152939"/>
                <a:gd name="connsiteX59" fmla="*/ 14892468 w 27542354"/>
                <a:gd name="connsiteY59" fmla="*/ 1762918 h 15152939"/>
                <a:gd name="connsiteX60" fmla="*/ 15778605 w 27542354"/>
                <a:gd name="connsiteY60" fmla="*/ 1211398 h 15152939"/>
                <a:gd name="connsiteX61" fmla="*/ 16022739 w 27542354"/>
                <a:gd name="connsiteY61" fmla="*/ 1681548 h 15152939"/>
                <a:gd name="connsiteX62" fmla="*/ 16013694 w 27542354"/>
                <a:gd name="connsiteY62" fmla="*/ 2169778 h 15152939"/>
                <a:gd name="connsiteX63" fmla="*/ 16556232 w 27542354"/>
                <a:gd name="connsiteY63" fmla="*/ 2260200 h 15152939"/>
                <a:gd name="connsiteX64" fmla="*/ 16863663 w 27542354"/>
                <a:gd name="connsiteY64" fmla="*/ 1744834 h 15152939"/>
                <a:gd name="connsiteX65" fmla="*/ 17406193 w 27542354"/>
                <a:gd name="connsiteY65" fmla="*/ 1410312 h 15152939"/>
                <a:gd name="connsiteX66" fmla="*/ 17623203 w 27542354"/>
                <a:gd name="connsiteY66" fmla="*/ 867840 h 15152939"/>
                <a:gd name="connsiteX67" fmla="*/ 18120524 w 27542354"/>
                <a:gd name="connsiteY67" fmla="*/ 831675 h 15152939"/>
                <a:gd name="connsiteX68" fmla="*/ 18201903 w 27542354"/>
                <a:gd name="connsiteY68" fmla="*/ 542358 h 15152939"/>
                <a:gd name="connsiteX69" fmla="*/ 18744437 w 27542354"/>
                <a:gd name="connsiteY69" fmla="*/ 117414 h 15152939"/>
                <a:gd name="connsiteX70" fmla="*/ 19443290 w 27542354"/>
                <a:gd name="connsiteY70" fmla="*/ 0 h 15152939"/>
                <a:gd name="connsiteX71" fmla="*/ 19982300 w 27542354"/>
                <a:gd name="connsiteY71" fmla="*/ 460880 h 15152939"/>
                <a:gd name="connsiteX72" fmla="*/ 19530143 w 27542354"/>
                <a:gd name="connsiteY72" fmla="*/ 913038 h 15152939"/>
                <a:gd name="connsiteX73" fmla="*/ 19837609 w 27542354"/>
                <a:gd name="connsiteY73" fmla="*/ 1238588 h 15152939"/>
                <a:gd name="connsiteX74" fmla="*/ 20886614 w 27542354"/>
                <a:gd name="connsiteY74" fmla="*/ 1546055 h 15152939"/>
                <a:gd name="connsiteX75" fmla="*/ 21881359 w 27542354"/>
                <a:gd name="connsiteY75" fmla="*/ 1889694 h 15152939"/>
                <a:gd name="connsiteX76" fmla="*/ 21772837 w 27542354"/>
                <a:gd name="connsiteY76" fmla="*/ 2269505 h 15152939"/>
                <a:gd name="connsiteX77" fmla="*/ 21537712 w 27542354"/>
                <a:gd name="connsiteY77" fmla="*/ 2884438 h 15152939"/>
                <a:gd name="connsiteX78" fmla="*/ 21996067 w 27542354"/>
                <a:gd name="connsiteY78" fmla="*/ 2911656 h 15152939"/>
                <a:gd name="connsiteX79" fmla="*/ 22478203 w 27542354"/>
                <a:gd name="connsiteY79" fmla="*/ 2414189 h 15152939"/>
                <a:gd name="connsiteX80" fmla="*/ 23292084 w 27542354"/>
                <a:gd name="connsiteY80" fmla="*/ 2016293 h 15152939"/>
                <a:gd name="connsiteX81" fmla="*/ 23888932 w 27542354"/>
                <a:gd name="connsiteY81" fmla="*/ 1998212 h 15152939"/>
                <a:gd name="connsiteX82" fmla="*/ 24612383 w 27542354"/>
                <a:gd name="connsiteY82" fmla="*/ 1582227 h 15152939"/>
                <a:gd name="connsiteX83" fmla="*/ 25010275 w 27542354"/>
                <a:gd name="connsiteY83" fmla="*/ 695990 h 15152939"/>
                <a:gd name="connsiteX84" fmla="*/ 25769899 w 27542354"/>
                <a:gd name="connsiteY84" fmla="*/ 840685 h 15152939"/>
                <a:gd name="connsiteX85" fmla="*/ 26402920 w 27542354"/>
                <a:gd name="connsiteY85" fmla="*/ 876857 h 15152939"/>
                <a:gd name="connsiteX86" fmla="*/ 26240141 w 27542354"/>
                <a:gd name="connsiteY86" fmla="*/ 1491794 h 15152939"/>
                <a:gd name="connsiteX87" fmla="*/ 26554742 w 27542354"/>
                <a:gd name="connsiteY87" fmla="*/ 2052454 h 15152939"/>
                <a:gd name="connsiteX88" fmla="*/ 25679461 w 27542354"/>
                <a:gd name="connsiteY88" fmla="*/ 2775920 h 15152939"/>
                <a:gd name="connsiteX89" fmla="*/ 25751806 w 27542354"/>
                <a:gd name="connsiteY89" fmla="*/ 3806840 h 15152939"/>
                <a:gd name="connsiteX90" fmla="*/ 26157237 w 27542354"/>
                <a:gd name="connsiteY90"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619948 w 27542354"/>
                <a:gd name="connsiteY6" fmla="*/ 7840060 h 15152939"/>
                <a:gd name="connsiteX7" fmla="*/ 26312478 w 27542354"/>
                <a:gd name="connsiteY7" fmla="*/ 9666777 h 15152939"/>
                <a:gd name="connsiteX8" fmla="*/ 26402912 w 27542354"/>
                <a:gd name="connsiteY8" fmla="*/ 10643437 h 15152939"/>
                <a:gd name="connsiteX9" fmla="*/ 27542355 w 27542354"/>
                <a:gd name="connsiteY9" fmla="*/ 12005935 h 15152939"/>
                <a:gd name="connsiteX10" fmla="*/ 26089423 w 27542354"/>
                <a:gd name="connsiteY10" fmla="*/ 11975789 h 15152939"/>
                <a:gd name="connsiteX11" fmla="*/ 24473715 w 27542354"/>
                <a:gd name="connsiteY11" fmla="*/ 12090334 h 15152939"/>
                <a:gd name="connsiteX12" fmla="*/ 23135328 w 27542354"/>
                <a:gd name="connsiteY12" fmla="*/ 12222964 h 15152939"/>
                <a:gd name="connsiteX13" fmla="*/ 22261159 w 27542354"/>
                <a:gd name="connsiteY13" fmla="*/ 12934357 h 15152939"/>
                <a:gd name="connsiteX14" fmla="*/ 20826342 w 27542354"/>
                <a:gd name="connsiteY14" fmla="*/ 14369204 h 15152939"/>
                <a:gd name="connsiteX15" fmla="*/ 12952786 w 27542354"/>
                <a:gd name="connsiteY15" fmla="*/ 14960014 h 15152939"/>
                <a:gd name="connsiteX16" fmla="*/ 11934663 w 27542354"/>
                <a:gd name="connsiteY16" fmla="*/ 15008264 h 15152939"/>
                <a:gd name="connsiteX17" fmla="*/ 8506848 w 27542354"/>
                <a:gd name="connsiteY17" fmla="*/ 15152939 h 15152939"/>
                <a:gd name="connsiteX18" fmla="*/ 7985095 w 27542354"/>
                <a:gd name="connsiteY18" fmla="*/ 14507857 h 15152939"/>
                <a:gd name="connsiteX19" fmla="*/ 7400308 w 27542354"/>
                <a:gd name="connsiteY19" fmla="*/ 14477712 h 15152939"/>
                <a:gd name="connsiteX20" fmla="*/ 6972273 w 27542354"/>
                <a:gd name="connsiteY20" fmla="*/ 14749009 h 15152939"/>
                <a:gd name="connsiteX21" fmla="*/ 5181729 w 27542354"/>
                <a:gd name="connsiteY21" fmla="*/ 14664610 h 15152939"/>
                <a:gd name="connsiteX22" fmla="*/ 4397998 w 27542354"/>
                <a:gd name="connsiteY22" fmla="*/ 14031593 h 15152939"/>
                <a:gd name="connsiteX23" fmla="*/ 2908896 w 27542354"/>
                <a:gd name="connsiteY23" fmla="*/ 13223739 h 15152939"/>
                <a:gd name="connsiteX24" fmla="*/ 1263043 w 27542354"/>
                <a:gd name="connsiteY24" fmla="*/ 12512346 h 15152939"/>
                <a:gd name="connsiteX25" fmla="*/ 485320 w 27542354"/>
                <a:gd name="connsiteY25" fmla="*/ 12060189 h 15152939"/>
                <a:gd name="connsiteX26" fmla="*/ 0 w 27542354"/>
                <a:gd name="connsiteY26" fmla="*/ 11767077 h 15152939"/>
                <a:gd name="connsiteX27" fmla="*/ 1003686 w 27542354"/>
                <a:gd name="connsiteY27" fmla="*/ 11021112 h 15152939"/>
                <a:gd name="connsiteX28" fmla="*/ 2902551 w 27542354"/>
                <a:gd name="connsiteY28" fmla="*/ 9836713 h 15152939"/>
                <a:gd name="connsiteX29" fmla="*/ 2558940 w 27542354"/>
                <a:gd name="connsiteY29" fmla="*/ 9303282 h 15152939"/>
                <a:gd name="connsiteX30" fmla="*/ 2402508 w 27542354"/>
                <a:gd name="connsiteY30" fmla="*/ 8616199 h 15152939"/>
                <a:gd name="connsiteX31" fmla="*/ 2730740 w 27542354"/>
                <a:gd name="connsiteY31" fmla="*/ 8589028 h 15152939"/>
                <a:gd name="connsiteX32" fmla="*/ 2947754 w 27542354"/>
                <a:gd name="connsiteY32" fmla="*/ 8118883 h 15152939"/>
                <a:gd name="connsiteX33" fmla="*/ 3499325 w 27542354"/>
                <a:gd name="connsiteY33" fmla="*/ 7675866 h 15152939"/>
                <a:gd name="connsiteX34" fmla="*/ 3680166 w 27542354"/>
                <a:gd name="connsiteY34" fmla="*/ 6798868 h 15152939"/>
                <a:gd name="connsiteX35" fmla="*/ 4186528 w 27542354"/>
                <a:gd name="connsiteY35" fmla="*/ 6807904 h 15152939"/>
                <a:gd name="connsiteX36" fmla="*/ 4837569 w 27542354"/>
                <a:gd name="connsiteY36" fmla="*/ 7278054 h 15152939"/>
                <a:gd name="connsiteX37" fmla="*/ 5352976 w 27542354"/>
                <a:gd name="connsiteY37" fmla="*/ 7196687 h 15152939"/>
                <a:gd name="connsiteX38" fmla="*/ 5741786 w 27542354"/>
                <a:gd name="connsiteY38" fmla="*/ 6825992 h 15152939"/>
                <a:gd name="connsiteX39" fmla="*/ 6157723 w 27542354"/>
                <a:gd name="connsiteY39" fmla="*/ 6663251 h 15152939"/>
                <a:gd name="connsiteX40" fmla="*/ 6745471 w 27542354"/>
                <a:gd name="connsiteY40" fmla="*/ 6093658 h 15152939"/>
                <a:gd name="connsiteX41" fmla="*/ 6890140 w 27542354"/>
                <a:gd name="connsiteY41" fmla="*/ 5243782 h 15152939"/>
                <a:gd name="connsiteX42" fmla="*/ 7568305 w 27542354"/>
                <a:gd name="connsiteY42" fmla="*/ 4674188 h 15152939"/>
                <a:gd name="connsiteX43" fmla="*/ 8137967 w 27542354"/>
                <a:gd name="connsiteY43" fmla="*/ 4231167 h 15152939"/>
                <a:gd name="connsiteX44" fmla="*/ 8463480 w 27542354"/>
                <a:gd name="connsiteY44" fmla="*/ 3426500 h 15152939"/>
                <a:gd name="connsiteX45" fmla="*/ 9024093 w 27542354"/>
                <a:gd name="connsiteY45" fmla="*/ 3073893 h 15152939"/>
                <a:gd name="connsiteX46" fmla="*/ 9675138 w 27542354"/>
                <a:gd name="connsiteY46" fmla="*/ 2721291 h 15152939"/>
                <a:gd name="connsiteX47" fmla="*/ 9558580 w 27542354"/>
                <a:gd name="connsiteY47" fmla="*/ 2173007 h 15152939"/>
                <a:gd name="connsiteX48" fmla="*/ 10353296 w 27542354"/>
                <a:gd name="connsiteY48" fmla="*/ 1500723 h 15152939"/>
                <a:gd name="connsiteX49" fmla="*/ 10832530 w 27542354"/>
                <a:gd name="connsiteY49" fmla="*/ 1428389 h 15152939"/>
                <a:gd name="connsiteX50" fmla="*/ 11058585 w 27542354"/>
                <a:gd name="connsiteY50" fmla="*/ 1880458 h 15152939"/>
                <a:gd name="connsiteX51" fmla="*/ 11411229 w 27542354"/>
                <a:gd name="connsiteY51" fmla="*/ 2260189 h 15152939"/>
                <a:gd name="connsiteX52" fmla="*/ 11998974 w 27542354"/>
                <a:gd name="connsiteY52" fmla="*/ 2341559 h 15152939"/>
                <a:gd name="connsiteX53" fmla="*/ 12315449 w 27542354"/>
                <a:gd name="connsiteY53" fmla="*/ 3001571 h 15152939"/>
                <a:gd name="connsiteX54" fmla="*/ 12785642 w 27542354"/>
                <a:gd name="connsiteY54" fmla="*/ 2820742 h 15152939"/>
                <a:gd name="connsiteX55" fmla="*/ 13671776 w 27542354"/>
                <a:gd name="connsiteY55" fmla="*/ 3272803 h 15152939"/>
                <a:gd name="connsiteX56" fmla="*/ 14123886 w 27542354"/>
                <a:gd name="connsiteY56" fmla="*/ 2974450 h 15152939"/>
                <a:gd name="connsiteX57" fmla="*/ 14259509 w 27542354"/>
                <a:gd name="connsiteY57" fmla="*/ 2404849 h 15152939"/>
                <a:gd name="connsiteX58" fmla="*/ 14892468 w 27542354"/>
                <a:gd name="connsiteY58" fmla="*/ 1762918 h 15152939"/>
                <a:gd name="connsiteX59" fmla="*/ 15778605 w 27542354"/>
                <a:gd name="connsiteY59" fmla="*/ 1211398 h 15152939"/>
                <a:gd name="connsiteX60" fmla="*/ 16022739 w 27542354"/>
                <a:gd name="connsiteY60" fmla="*/ 1681548 h 15152939"/>
                <a:gd name="connsiteX61" fmla="*/ 16013694 w 27542354"/>
                <a:gd name="connsiteY61" fmla="*/ 2169778 h 15152939"/>
                <a:gd name="connsiteX62" fmla="*/ 16556232 w 27542354"/>
                <a:gd name="connsiteY62" fmla="*/ 2260200 h 15152939"/>
                <a:gd name="connsiteX63" fmla="*/ 16863663 w 27542354"/>
                <a:gd name="connsiteY63" fmla="*/ 1744834 h 15152939"/>
                <a:gd name="connsiteX64" fmla="*/ 17406193 w 27542354"/>
                <a:gd name="connsiteY64" fmla="*/ 1410312 h 15152939"/>
                <a:gd name="connsiteX65" fmla="*/ 17623203 w 27542354"/>
                <a:gd name="connsiteY65" fmla="*/ 867840 h 15152939"/>
                <a:gd name="connsiteX66" fmla="*/ 18120524 w 27542354"/>
                <a:gd name="connsiteY66" fmla="*/ 831675 h 15152939"/>
                <a:gd name="connsiteX67" fmla="*/ 18201903 w 27542354"/>
                <a:gd name="connsiteY67" fmla="*/ 542358 h 15152939"/>
                <a:gd name="connsiteX68" fmla="*/ 18744437 w 27542354"/>
                <a:gd name="connsiteY68" fmla="*/ 117414 h 15152939"/>
                <a:gd name="connsiteX69" fmla="*/ 19443290 w 27542354"/>
                <a:gd name="connsiteY69" fmla="*/ 0 h 15152939"/>
                <a:gd name="connsiteX70" fmla="*/ 19982300 w 27542354"/>
                <a:gd name="connsiteY70" fmla="*/ 460880 h 15152939"/>
                <a:gd name="connsiteX71" fmla="*/ 19530143 w 27542354"/>
                <a:gd name="connsiteY71" fmla="*/ 913038 h 15152939"/>
                <a:gd name="connsiteX72" fmla="*/ 19837609 w 27542354"/>
                <a:gd name="connsiteY72" fmla="*/ 1238588 h 15152939"/>
                <a:gd name="connsiteX73" fmla="*/ 20886614 w 27542354"/>
                <a:gd name="connsiteY73" fmla="*/ 1546055 h 15152939"/>
                <a:gd name="connsiteX74" fmla="*/ 21881359 w 27542354"/>
                <a:gd name="connsiteY74" fmla="*/ 1889694 h 15152939"/>
                <a:gd name="connsiteX75" fmla="*/ 21772837 w 27542354"/>
                <a:gd name="connsiteY75" fmla="*/ 2269505 h 15152939"/>
                <a:gd name="connsiteX76" fmla="*/ 21537712 w 27542354"/>
                <a:gd name="connsiteY76" fmla="*/ 2884438 h 15152939"/>
                <a:gd name="connsiteX77" fmla="*/ 21996067 w 27542354"/>
                <a:gd name="connsiteY77" fmla="*/ 2911656 h 15152939"/>
                <a:gd name="connsiteX78" fmla="*/ 22478203 w 27542354"/>
                <a:gd name="connsiteY78" fmla="*/ 2414189 h 15152939"/>
                <a:gd name="connsiteX79" fmla="*/ 23292084 w 27542354"/>
                <a:gd name="connsiteY79" fmla="*/ 2016293 h 15152939"/>
                <a:gd name="connsiteX80" fmla="*/ 23888932 w 27542354"/>
                <a:gd name="connsiteY80" fmla="*/ 1998212 h 15152939"/>
                <a:gd name="connsiteX81" fmla="*/ 24612383 w 27542354"/>
                <a:gd name="connsiteY81" fmla="*/ 1582227 h 15152939"/>
                <a:gd name="connsiteX82" fmla="*/ 25010275 w 27542354"/>
                <a:gd name="connsiteY82" fmla="*/ 695990 h 15152939"/>
                <a:gd name="connsiteX83" fmla="*/ 25769899 w 27542354"/>
                <a:gd name="connsiteY83" fmla="*/ 840685 h 15152939"/>
                <a:gd name="connsiteX84" fmla="*/ 26402920 w 27542354"/>
                <a:gd name="connsiteY84" fmla="*/ 876857 h 15152939"/>
                <a:gd name="connsiteX85" fmla="*/ 26240141 w 27542354"/>
                <a:gd name="connsiteY85" fmla="*/ 1491794 h 15152939"/>
                <a:gd name="connsiteX86" fmla="*/ 26554742 w 27542354"/>
                <a:gd name="connsiteY86" fmla="*/ 2052454 h 15152939"/>
                <a:gd name="connsiteX87" fmla="*/ 25679461 w 27542354"/>
                <a:gd name="connsiteY87" fmla="*/ 2775920 h 15152939"/>
                <a:gd name="connsiteX88" fmla="*/ 25751806 w 27542354"/>
                <a:gd name="connsiteY88" fmla="*/ 3806840 h 15152939"/>
                <a:gd name="connsiteX89" fmla="*/ 26157237 w 27542354"/>
                <a:gd name="connsiteY89"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5824148 w 27542354"/>
                <a:gd name="connsiteY4" fmla="*/ 6827228 h 15152939"/>
                <a:gd name="connsiteX5" fmla="*/ 26619948 w 27542354"/>
                <a:gd name="connsiteY5" fmla="*/ 7840060 h 15152939"/>
                <a:gd name="connsiteX6" fmla="*/ 26312478 w 27542354"/>
                <a:gd name="connsiteY6" fmla="*/ 9666777 h 15152939"/>
                <a:gd name="connsiteX7" fmla="*/ 26402912 w 27542354"/>
                <a:gd name="connsiteY7" fmla="*/ 10643437 h 15152939"/>
                <a:gd name="connsiteX8" fmla="*/ 27542355 w 27542354"/>
                <a:gd name="connsiteY8" fmla="*/ 12005935 h 15152939"/>
                <a:gd name="connsiteX9" fmla="*/ 26089423 w 27542354"/>
                <a:gd name="connsiteY9" fmla="*/ 11975789 h 15152939"/>
                <a:gd name="connsiteX10" fmla="*/ 24473715 w 27542354"/>
                <a:gd name="connsiteY10" fmla="*/ 12090334 h 15152939"/>
                <a:gd name="connsiteX11" fmla="*/ 23135328 w 27542354"/>
                <a:gd name="connsiteY11" fmla="*/ 12222964 h 15152939"/>
                <a:gd name="connsiteX12" fmla="*/ 22261159 w 27542354"/>
                <a:gd name="connsiteY12" fmla="*/ 12934357 h 15152939"/>
                <a:gd name="connsiteX13" fmla="*/ 20826342 w 27542354"/>
                <a:gd name="connsiteY13" fmla="*/ 14369204 h 15152939"/>
                <a:gd name="connsiteX14" fmla="*/ 12952786 w 27542354"/>
                <a:gd name="connsiteY14" fmla="*/ 14960014 h 15152939"/>
                <a:gd name="connsiteX15" fmla="*/ 11934663 w 27542354"/>
                <a:gd name="connsiteY15" fmla="*/ 15008264 h 15152939"/>
                <a:gd name="connsiteX16" fmla="*/ 8506848 w 27542354"/>
                <a:gd name="connsiteY16" fmla="*/ 15152939 h 15152939"/>
                <a:gd name="connsiteX17" fmla="*/ 7985095 w 27542354"/>
                <a:gd name="connsiteY17" fmla="*/ 14507857 h 15152939"/>
                <a:gd name="connsiteX18" fmla="*/ 7400308 w 27542354"/>
                <a:gd name="connsiteY18" fmla="*/ 14477712 h 15152939"/>
                <a:gd name="connsiteX19" fmla="*/ 6972273 w 27542354"/>
                <a:gd name="connsiteY19" fmla="*/ 14749009 h 15152939"/>
                <a:gd name="connsiteX20" fmla="*/ 5181729 w 27542354"/>
                <a:gd name="connsiteY20" fmla="*/ 14664610 h 15152939"/>
                <a:gd name="connsiteX21" fmla="*/ 4397998 w 27542354"/>
                <a:gd name="connsiteY21" fmla="*/ 14031593 h 15152939"/>
                <a:gd name="connsiteX22" fmla="*/ 2908896 w 27542354"/>
                <a:gd name="connsiteY22" fmla="*/ 13223739 h 15152939"/>
                <a:gd name="connsiteX23" fmla="*/ 1263043 w 27542354"/>
                <a:gd name="connsiteY23" fmla="*/ 12512346 h 15152939"/>
                <a:gd name="connsiteX24" fmla="*/ 485320 w 27542354"/>
                <a:gd name="connsiteY24" fmla="*/ 12060189 h 15152939"/>
                <a:gd name="connsiteX25" fmla="*/ 0 w 27542354"/>
                <a:gd name="connsiteY25" fmla="*/ 11767077 h 15152939"/>
                <a:gd name="connsiteX26" fmla="*/ 1003686 w 27542354"/>
                <a:gd name="connsiteY26" fmla="*/ 11021112 h 15152939"/>
                <a:gd name="connsiteX27" fmla="*/ 2902551 w 27542354"/>
                <a:gd name="connsiteY27" fmla="*/ 9836713 h 15152939"/>
                <a:gd name="connsiteX28" fmla="*/ 2558940 w 27542354"/>
                <a:gd name="connsiteY28" fmla="*/ 9303282 h 15152939"/>
                <a:gd name="connsiteX29" fmla="*/ 2402508 w 27542354"/>
                <a:gd name="connsiteY29" fmla="*/ 8616199 h 15152939"/>
                <a:gd name="connsiteX30" fmla="*/ 2730740 w 27542354"/>
                <a:gd name="connsiteY30" fmla="*/ 8589028 h 15152939"/>
                <a:gd name="connsiteX31" fmla="*/ 2947754 w 27542354"/>
                <a:gd name="connsiteY31" fmla="*/ 8118883 h 15152939"/>
                <a:gd name="connsiteX32" fmla="*/ 3499325 w 27542354"/>
                <a:gd name="connsiteY32" fmla="*/ 7675866 h 15152939"/>
                <a:gd name="connsiteX33" fmla="*/ 3680166 w 27542354"/>
                <a:gd name="connsiteY33" fmla="*/ 6798868 h 15152939"/>
                <a:gd name="connsiteX34" fmla="*/ 4186528 w 27542354"/>
                <a:gd name="connsiteY34" fmla="*/ 6807904 h 15152939"/>
                <a:gd name="connsiteX35" fmla="*/ 4837569 w 27542354"/>
                <a:gd name="connsiteY35" fmla="*/ 7278054 h 15152939"/>
                <a:gd name="connsiteX36" fmla="*/ 5352976 w 27542354"/>
                <a:gd name="connsiteY36" fmla="*/ 7196687 h 15152939"/>
                <a:gd name="connsiteX37" fmla="*/ 5741786 w 27542354"/>
                <a:gd name="connsiteY37" fmla="*/ 6825992 h 15152939"/>
                <a:gd name="connsiteX38" fmla="*/ 6157723 w 27542354"/>
                <a:gd name="connsiteY38" fmla="*/ 6663251 h 15152939"/>
                <a:gd name="connsiteX39" fmla="*/ 6745471 w 27542354"/>
                <a:gd name="connsiteY39" fmla="*/ 6093658 h 15152939"/>
                <a:gd name="connsiteX40" fmla="*/ 6890140 w 27542354"/>
                <a:gd name="connsiteY40" fmla="*/ 5243782 h 15152939"/>
                <a:gd name="connsiteX41" fmla="*/ 7568305 w 27542354"/>
                <a:gd name="connsiteY41" fmla="*/ 4674188 h 15152939"/>
                <a:gd name="connsiteX42" fmla="*/ 8137967 w 27542354"/>
                <a:gd name="connsiteY42" fmla="*/ 4231167 h 15152939"/>
                <a:gd name="connsiteX43" fmla="*/ 8463480 w 27542354"/>
                <a:gd name="connsiteY43" fmla="*/ 3426500 h 15152939"/>
                <a:gd name="connsiteX44" fmla="*/ 9024093 w 27542354"/>
                <a:gd name="connsiteY44" fmla="*/ 3073893 h 15152939"/>
                <a:gd name="connsiteX45" fmla="*/ 9675138 w 27542354"/>
                <a:gd name="connsiteY45" fmla="*/ 2721291 h 15152939"/>
                <a:gd name="connsiteX46" fmla="*/ 9558580 w 27542354"/>
                <a:gd name="connsiteY46" fmla="*/ 2173007 h 15152939"/>
                <a:gd name="connsiteX47" fmla="*/ 10353296 w 27542354"/>
                <a:gd name="connsiteY47" fmla="*/ 1500723 h 15152939"/>
                <a:gd name="connsiteX48" fmla="*/ 10832530 w 27542354"/>
                <a:gd name="connsiteY48" fmla="*/ 1428389 h 15152939"/>
                <a:gd name="connsiteX49" fmla="*/ 11058585 w 27542354"/>
                <a:gd name="connsiteY49" fmla="*/ 1880458 h 15152939"/>
                <a:gd name="connsiteX50" fmla="*/ 11411229 w 27542354"/>
                <a:gd name="connsiteY50" fmla="*/ 2260189 h 15152939"/>
                <a:gd name="connsiteX51" fmla="*/ 11998974 w 27542354"/>
                <a:gd name="connsiteY51" fmla="*/ 2341559 h 15152939"/>
                <a:gd name="connsiteX52" fmla="*/ 12315449 w 27542354"/>
                <a:gd name="connsiteY52" fmla="*/ 3001571 h 15152939"/>
                <a:gd name="connsiteX53" fmla="*/ 12785642 w 27542354"/>
                <a:gd name="connsiteY53" fmla="*/ 2820742 h 15152939"/>
                <a:gd name="connsiteX54" fmla="*/ 13671776 w 27542354"/>
                <a:gd name="connsiteY54" fmla="*/ 3272803 h 15152939"/>
                <a:gd name="connsiteX55" fmla="*/ 14123886 w 27542354"/>
                <a:gd name="connsiteY55" fmla="*/ 2974450 h 15152939"/>
                <a:gd name="connsiteX56" fmla="*/ 14259509 w 27542354"/>
                <a:gd name="connsiteY56" fmla="*/ 2404849 h 15152939"/>
                <a:gd name="connsiteX57" fmla="*/ 14892468 w 27542354"/>
                <a:gd name="connsiteY57" fmla="*/ 1762918 h 15152939"/>
                <a:gd name="connsiteX58" fmla="*/ 15778605 w 27542354"/>
                <a:gd name="connsiteY58" fmla="*/ 1211398 h 15152939"/>
                <a:gd name="connsiteX59" fmla="*/ 16022739 w 27542354"/>
                <a:gd name="connsiteY59" fmla="*/ 1681548 h 15152939"/>
                <a:gd name="connsiteX60" fmla="*/ 16013694 w 27542354"/>
                <a:gd name="connsiteY60" fmla="*/ 2169778 h 15152939"/>
                <a:gd name="connsiteX61" fmla="*/ 16556232 w 27542354"/>
                <a:gd name="connsiteY61" fmla="*/ 2260200 h 15152939"/>
                <a:gd name="connsiteX62" fmla="*/ 16863663 w 27542354"/>
                <a:gd name="connsiteY62" fmla="*/ 1744834 h 15152939"/>
                <a:gd name="connsiteX63" fmla="*/ 17406193 w 27542354"/>
                <a:gd name="connsiteY63" fmla="*/ 1410312 h 15152939"/>
                <a:gd name="connsiteX64" fmla="*/ 17623203 w 27542354"/>
                <a:gd name="connsiteY64" fmla="*/ 867840 h 15152939"/>
                <a:gd name="connsiteX65" fmla="*/ 18120524 w 27542354"/>
                <a:gd name="connsiteY65" fmla="*/ 831675 h 15152939"/>
                <a:gd name="connsiteX66" fmla="*/ 18201903 w 27542354"/>
                <a:gd name="connsiteY66" fmla="*/ 542358 h 15152939"/>
                <a:gd name="connsiteX67" fmla="*/ 18744437 w 27542354"/>
                <a:gd name="connsiteY67" fmla="*/ 117414 h 15152939"/>
                <a:gd name="connsiteX68" fmla="*/ 19443290 w 27542354"/>
                <a:gd name="connsiteY68" fmla="*/ 0 h 15152939"/>
                <a:gd name="connsiteX69" fmla="*/ 19982300 w 27542354"/>
                <a:gd name="connsiteY69" fmla="*/ 460880 h 15152939"/>
                <a:gd name="connsiteX70" fmla="*/ 19530143 w 27542354"/>
                <a:gd name="connsiteY70" fmla="*/ 913038 h 15152939"/>
                <a:gd name="connsiteX71" fmla="*/ 19837609 w 27542354"/>
                <a:gd name="connsiteY71" fmla="*/ 1238588 h 15152939"/>
                <a:gd name="connsiteX72" fmla="*/ 20886614 w 27542354"/>
                <a:gd name="connsiteY72" fmla="*/ 1546055 h 15152939"/>
                <a:gd name="connsiteX73" fmla="*/ 21881359 w 27542354"/>
                <a:gd name="connsiteY73" fmla="*/ 1889694 h 15152939"/>
                <a:gd name="connsiteX74" fmla="*/ 21772837 w 27542354"/>
                <a:gd name="connsiteY74" fmla="*/ 2269505 h 15152939"/>
                <a:gd name="connsiteX75" fmla="*/ 21537712 w 27542354"/>
                <a:gd name="connsiteY75" fmla="*/ 2884438 h 15152939"/>
                <a:gd name="connsiteX76" fmla="*/ 21996067 w 27542354"/>
                <a:gd name="connsiteY76" fmla="*/ 2911656 h 15152939"/>
                <a:gd name="connsiteX77" fmla="*/ 22478203 w 27542354"/>
                <a:gd name="connsiteY77" fmla="*/ 2414189 h 15152939"/>
                <a:gd name="connsiteX78" fmla="*/ 23292084 w 27542354"/>
                <a:gd name="connsiteY78" fmla="*/ 2016293 h 15152939"/>
                <a:gd name="connsiteX79" fmla="*/ 23888932 w 27542354"/>
                <a:gd name="connsiteY79" fmla="*/ 1998212 h 15152939"/>
                <a:gd name="connsiteX80" fmla="*/ 24612383 w 27542354"/>
                <a:gd name="connsiteY80" fmla="*/ 1582227 h 15152939"/>
                <a:gd name="connsiteX81" fmla="*/ 25010275 w 27542354"/>
                <a:gd name="connsiteY81" fmla="*/ 695990 h 15152939"/>
                <a:gd name="connsiteX82" fmla="*/ 25769899 w 27542354"/>
                <a:gd name="connsiteY82" fmla="*/ 840685 h 15152939"/>
                <a:gd name="connsiteX83" fmla="*/ 26402920 w 27542354"/>
                <a:gd name="connsiteY83" fmla="*/ 876857 h 15152939"/>
                <a:gd name="connsiteX84" fmla="*/ 26240141 w 27542354"/>
                <a:gd name="connsiteY84" fmla="*/ 1491794 h 15152939"/>
                <a:gd name="connsiteX85" fmla="*/ 26554742 w 27542354"/>
                <a:gd name="connsiteY85" fmla="*/ 2052454 h 15152939"/>
                <a:gd name="connsiteX86" fmla="*/ 25679461 w 27542354"/>
                <a:gd name="connsiteY86" fmla="*/ 2775920 h 15152939"/>
                <a:gd name="connsiteX87" fmla="*/ 25751806 w 27542354"/>
                <a:gd name="connsiteY87" fmla="*/ 3806840 h 15152939"/>
                <a:gd name="connsiteX88" fmla="*/ 26157237 w 27542354"/>
                <a:gd name="connsiteY88" fmla="*/ 4322377 h 15152939"/>
                <a:gd name="connsiteX0" fmla="*/ 26157237 w 27542354"/>
                <a:gd name="connsiteY0" fmla="*/ 4322377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5769899 w 27542354"/>
                <a:gd name="connsiteY81" fmla="*/ 840685 h 15152939"/>
                <a:gd name="connsiteX82" fmla="*/ 26402920 w 27542354"/>
                <a:gd name="connsiteY82" fmla="*/ 876857 h 15152939"/>
                <a:gd name="connsiteX83" fmla="*/ 26240141 w 27542354"/>
                <a:gd name="connsiteY83" fmla="*/ 1491794 h 15152939"/>
                <a:gd name="connsiteX84" fmla="*/ 26554742 w 27542354"/>
                <a:gd name="connsiteY84" fmla="*/ 2052454 h 15152939"/>
                <a:gd name="connsiteX85" fmla="*/ 25679461 w 27542354"/>
                <a:gd name="connsiteY85" fmla="*/ 2775920 h 15152939"/>
                <a:gd name="connsiteX86" fmla="*/ 25751806 w 27542354"/>
                <a:gd name="connsiteY86" fmla="*/ 3806840 h 15152939"/>
                <a:gd name="connsiteX87" fmla="*/ 26157237 w 27542354"/>
                <a:gd name="connsiteY87" fmla="*/ 4322377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5769899 w 27542354"/>
                <a:gd name="connsiteY81" fmla="*/ 840685 h 15152939"/>
                <a:gd name="connsiteX82" fmla="*/ 26402920 w 27542354"/>
                <a:gd name="connsiteY82" fmla="*/ 876857 h 15152939"/>
                <a:gd name="connsiteX83" fmla="*/ 26240141 w 27542354"/>
                <a:gd name="connsiteY83" fmla="*/ 1491794 h 15152939"/>
                <a:gd name="connsiteX84" fmla="*/ 26554742 w 27542354"/>
                <a:gd name="connsiteY84" fmla="*/ 2052454 h 15152939"/>
                <a:gd name="connsiteX85" fmla="*/ 25679461 w 27542354"/>
                <a:gd name="connsiteY85" fmla="*/ 2775920 h 15152939"/>
                <a:gd name="connsiteX86" fmla="*/ 25751806 w 27542354"/>
                <a:gd name="connsiteY86"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5769899 w 27542354"/>
                <a:gd name="connsiteY81" fmla="*/ 840685 h 15152939"/>
                <a:gd name="connsiteX82" fmla="*/ 26402920 w 27542354"/>
                <a:gd name="connsiteY82" fmla="*/ 876857 h 15152939"/>
                <a:gd name="connsiteX83" fmla="*/ 26240141 w 27542354"/>
                <a:gd name="connsiteY83" fmla="*/ 1491794 h 15152939"/>
                <a:gd name="connsiteX84" fmla="*/ 26554742 w 27542354"/>
                <a:gd name="connsiteY84" fmla="*/ 2052454 h 15152939"/>
                <a:gd name="connsiteX85" fmla="*/ 25751806 w 27542354"/>
                <a:gd name="connsiteY85"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5769899 w 27542354"/>
                <a:gd name="connsiteY81" fmla="*/ 840685 h 15152939"/>
                <a:gd name="connsiteX82" fmla="*/ 26402920 w 27542354"/>
                <a:gd name="connsiteY82" fmla="*/ 876857 h 15152939"/>
                <a:gd name="connsiteX83" fmla="*/ 26554742 w 27542354"/>
                <a:gd name="connsiteY83" fmla="*/ 2052454 h 15152939"/>
                <a:gd name="connsiteX84" fmla="*/ 25751806 w 27542354"/>
                <a:gd name="connsiteY84"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6402920 w 27542354"/>
                <a:gd name="connsiteY81" fmla="*/ 876857 h 15152939"/>
                <a:gd name="connsiteX82" fmla="*/ 26554742 w 27542354"/>
                <a:gd name="connsiteY82" fmla="*/ 2052454 h 15152939"/>
                <a:gd name="connsiteX83" fmla="*/ 25751806 w 27542354"/>
                <a:gd name="connsiteY83"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5010275 w 27542354"/>
                <a:gd name="connsiteY79" fmla="*/ 695990 h 15152939"/>
                <a:gd name="connsiteX80" fmla="*/ 26402920 w 27542354"/>
                <a:gd name="connsiteY80" fmla="*/ 876857 h 15152939"/>
                <a:gd name="connsiteX81" fmla="*/ 26554742 w 27542354"/>
                <a:gd name="connsiteY81" fmla="*/ 2052454 h 15152939"/>
                <a:gd name="connsiteX82" fmla="*/ 25751806 w 27542354"/>
                <a:gd name="connsiteY82"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888932 w 27542354"/>
                <a:gd name="connsiteY77" fmla="*/ 1998212 h 15152939"/>
                <a:gd name="connsiteX78" fmla="*/ 25010275 w 27542354"/>
                <a:gd name="connsiteY78" fmla="*/ 695990 h 15152939"/>
                <a:gd name="connsiteX79" fmla="*/ 26402920 w 27542354"/>
                <a:gd name="connsiteY79" fmla="*/ 876857 h 15152939"/>
                <a:gd name="connsiteX80" fmla="*/ 26554742 w 27542354"/>
                <a:gd name="connsiteY80" fmla="*/ 2052454 h 15152939"/>
                <a:gd name="connsiteX81" fmla="*/ 25751806 w 27542354"/>
                <a:gd name="connsiteY81"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2478203 w 27542354"/>
                <a:gd name="connsiteY75" fmla="*/ 2414189 h 15152939"/>
                <a:gd name="connsiteX76" fmla="*/ 23888932 w 27542354"/>
                <a:gd name="connsiteY76" fmla="*/ 1998212 h 15152939"/>
                <a:gd name="connsiteX77" fmla="*/ 25010275 w 27542354"/>
                <a:gd name="connsiteY77" fmla="*/ 695990 h 15152939"/>
                <a:gd name="connsiteX78" fmla="*/ 26402920 w 27542354"/>
                <a:gd name="connsiteY78" fmla="*/ 876857 h 15152939"/>
                <a:gd name="connsiteX79" fmla="*/ 26554742 w 27542354"/>
                <a:gd name="connsiteY79" fmla="*/ 2052454 h 15152939"/>
                <a:gd name="connsiteX80" fmla="*/ 25751806 w 27542354"/>
                <a:gd name="connsiteY80"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537712 w 27542354"/>
                <a:gd name="connsiteY73" fmla="*/ 2884438 h 15152939"/>
                <a:gd name="connsiteX74" fmla="*/ 22478203 w 27542354"/>
                <a:gd name="connsiteY74" fmla="*/ 2414189 h 15152939"/>
                <a:gd name="connsiteX75" fmla="*/ 23888932 w 27542354"/>
                <a:gd name="connsiteY75" fmla="*/ 1998212 h 15152939"/>
                <a:gd name="connsiteX76" fmla="*/ 25010275 w 27542354"/>
                <a:gd name="connsiteY76" fmla="*/ 695990 h 15152939"/>
                <a:gd name="connsiteX77" fmla="*/ 26402920 w 27542354"/>
                <a:gd name="connsiteY77" fmla="*/ 876857 h 15152939"/>
                <a:gd name="connsiteX78" fmla="*/ 26554742 w 27542354"/>
                <a:gd name="connsiteY78" fmla="*/ 2052454 h 15152939"/>
                <a:gd name="connsiteX79" fmla="*/ 25751806 w 27542354"/>
                <a:gd name="connsiteY79"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1881359 w 27542354"/>
                <a:gd name="connsiteY71" fmla="*/ 1889694 h 15152939"/>
                <a:gd name="connsiteX72" fmla="*/ 21537712 w 27542354"/>
                <a:gd name="connsiteY72" fmla="*/ 2884438 h 15152939"/>
                <a:gd name="connsiteX73" fmla="*/ 22478203 w 27542354"/>
                <a:gd name="connsiteY73" fmla="*/ 2414189 h 15152939"/>
                <a:gd name="connsiteX74" fmla="*/ 23888932 w 27542354"/>
                <a:gd name="connsiteY74" fmla="*/ 1998212 h 15152939"/>
                <a:gd name="connsiteX75" fmla="*/ 25010275 w 27542354"/>
                <a:gd name="connsiteY75" fmla="*/ 695990 h 15152939"/>
                <a:gd name="connsiteX76" fmla="*/ 26402920 w 27542354"/>
                <a:gd name="connsiteY76" fmla="*/ 876857 h 15152939"/>
                <a:gd name="connsiteX77" fmla="*/ 26554742 w 27542354"/>
                <a:gd name="connsiteY77" fmla="*/ 2052454 h 15152939"/>
                <a:gd name="connsiteX78" fmla="*/ 25751806 w 27542354"/>
                <a:gd name="connsiteY78"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837609 w 27542354"/>
                <a:gd name="connsiteY69" fmla="*/ 1238588 h 15152939"/>
                <a:gd name="connsiteX70" fmla="*/ 21881359 w 27542354"/>
                <a:gd name="connsiteY70" fmla="*/ 1889694 h 15152939"/>
                <a:gd name="connsiteX71" fmla="*/ 21537712 w 27542354"/>
                <a:gd name="connsiteY71" fmla="*/ 2884438 h 15152939"/>
                <a:gd name="connsiteX72" fmla="*/ 22478203 w 27542354"/>
                <a:gd name="connsiteY72" fmla="*/ 2414189 h 15152939"/>
                <a:gd name="connsiteX73" fmla="*/ 23888932 w 27542354"/>
                <a:gd name="connsiteY73" fmla="*/ 1998212 h 15152939"/>
                <a:gd name="connsiteX74" fmla="*/ 25010275 w 27542354"/>
                <a:gd name="connsiteY74" fmla="*/ 695990 h 15152939"/>
                <a:gd name="connsiteX75" fmla="*/ 26402920 w 27542354"/>
                <a:gd name="connsiteY75" fmla="*/ 876857 h 15152939"/>
                <a:gd name="connsiteX76" fmla="*/ 26554742 w 27542354"/>
                <a:gd name="connsiteY76" fmla="*/ 2052454 h 15152939"/>
                <a:gd name="connsiteX77" fmla="*/ 25751806 w 27542354"/>
                <a:gd name="connsiteY77" fmla="*/ 3806840 h 15152939"/>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013694 w 27542354"/>
                <a:gd name="connsiteY59" fmla="*/ 2052363 h 15035524"/>
                <a:gd name="connsiteX60" fmla="*/ 16556232 w 27542354"/>
                <a:gd name="connsiteY60" fmla="*/ 2142785 h 15035524"/>
                <a:gd name="connsiteX61" fmla="*/ 16863663 w 27542354"/>
                <a:gd name="connsiteY61" fmla="*/ 1627419 h 15035524"/>
                <a:gd name="connsiteX62" fmla="*/ 17406193 w 27542354"/>
                <a:gd name="connsiteY62" fmla="*/ 1292897 h 15035524"/>
                <a:gd name="connsiteX63" fmla="*/ 17623203 w 27542354"/>
                <a:gd name="connsiteY63" fmla="*/ 750425 h 15035524"/>
                <a:gd name="connsiteX64" fmla="*/ 18120524 w 27542354"/>
                <a:gd name="connsiteY64" fmla="*/ 714260 h 15035524"/>
                <a:gd name="connsiteX65" fmla="*/ 18201903 w 27542354"/>
                <a:gd name="connsiteY65" fmla="*/ 424943 h 15035524"/>
                <a:gd name="connsiteX66" fmla="*/ 18744437 w 27542354"/>
                <a:gd name="connsiteY66" fmla="*/ -1 h 15035524"/>
                <a:gd name="connsiteX67" fmla="*/ 19982300 w 27542354"/>
                <a:gd name="connsiteY67" fmla="*/ 343465 h 15035524"/>
                <a:gd name="connsiteX68" fmla="*/ 19837609 w 27542354"/>
                <a:gd name="connsiteY68" fmla="*/ 1121173 h 15035524"/>
                <a:gd name="connsiteX69" fmla="*/ 21881359 w 27542354"/>
                <a:gd name="connsiteY69" fmla="*/ 1772279 h 15035524"/>
                <a:gd name="connsiteX70" fmla="*/ 21537712 w 27542354"/>
                <a:gd name="connsiteY70" fmla="*/ 2767023 h 15035524"/>
                <a:gd name="connsiteX71" fmla="*/ 22478203 w 27542354"/>
                <a:gd name="connsiteY71" fmla="*/ 2296774 h 15035524"/>
                <a:gd name="connsiteX72" fmla="*/ 23888932 w 27542354"/>
                <a:gd name="connsiteY72" fmla="*/ 1880797 h 15035524"/>
                <a:gd name="connsiteX73" fmla="*/ 25010275 w 27542354"/>
                <a:gd name="connsiteY73" fmla="*/ 578575 h 15035524"/>
                <a:gd name="connsiteX74" fmla="*/ 26402920 w 27542354"/>
                <a:gd name="connsiteY74" fmla="*/ 759442 h 15035524"/>
                <a:gd name="connsiteX75" fmla="*/ 26554742 w 27542354"/>
                <a:gd name="connsiteY75" fmla="*/ 1935039 h 15035524"/>
                <a:gd name="connsiteX76" fmla="*/ 25751806 w 27542354"/>
                <a:gd name="connsiteY76"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013694 w 27542354"/>
                <a:gd name="connsiteY59" fmla="*/ 2052363 h 15035524"/>
                <a:gd name="connsiteX60" fmla="*/ 16556232 w 27542354"/>
                <a:gd name="connsiteY60" fmla="*/ 2142785 h 15035524"/>
                <a:gd name="connsiteX61" fmla="*/ 16863663 w 27542354"/>
                <a:gd name="connsiteY61" fmla="*/ 1627419 h 15035524"/>
                <a:gd name="connsiteX62" fmla="*/ 17406193 w 27542354"/>
                <a:gd name="connsiteY62" fmla="*/ 1292897 h 15035524"/>
                <a:gd name="connsiteX63" fmla="*/ 17623203 w 27542354"/>
                <a:gd name="connsiteY63" fmla="*/ 750425 h 15035524"/>
                <a:gd name="connsiteX64" fmla="*/ 18120524 w 27542354"/>
                <a:gd name="connsiteY64" fmla="*/ 714260 h 15035524"/>
                <a:gd name="connsiteX65" fmla="*/ 18744437 w 27542354"/>
                <a:gd name="connsiteY65" fmla="*/ -1 h 15035524"/>
                <a:gd name="connsiteX66" fmla="*/ 19982300 w 27542354"/>
                <a:gd name="connsiteY66" fmla="*/ 343465 h 15035524"/>
                <a:gd name="connsiteX67" fmla="*/ 19837609 w 27542354"/>
                <a:gd name="connsiteY67" fmla="*/ 1121173 h 15035524"/>
                <a:gd name="connsiteX68" fmla="*/ 21881359 w 27542354"/>
                <a:gd name="connsiteY68" fmla="*/ 1772279 h 15035524"/>
                <a:gd name="connsiteX69" fmla="*/ 21537712 w 27542354"/>
                <a:gd name="connsiteY69" fmla="*/ 2767023 h 15035524"/>
                <a:gd name="connsiteX70" fmla="*/ 22478203 w 27542354"/>
                <a:gd name="connsiteY70" fmla="*/ 2296774 h 15035524"/>
                <a:gd name="connsiteX71" fmla="*/ 23888932 w 27542354"/>
                <a:gd name="connsiteY71" fmla="*/ 1880797 h 15035524"/>
                <a:gd name="connsiteX72" fmla="*/ 25010275 w 27542354"/>
                <a:gd name="connsiteY72" fmla="*/ 578575 h 15035524"/>
                <a:gd name="connsiteX73" fmla="*/ 26402920 w 27542354"/>
                <a:gd name="connsiteY73" fmla="*/ 759442 h 15035524"/>
                <a:gd name="connsiteX74" fmla="*/ 26554742 w 27542354"/>
                <a:gd name="connsiteY74" fmla="*/ 1935039 h 15035524"/>
                <a:gd name="connsiteX75" fmla="*/ 25751806 w 27542354"/>
                <a:gd name="connsiteY75"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013694 w 27542354"/>
                <a:gd name="connsiteY59" fmla="*/ 2052363 h 15035524"/>
                <a:gd name="connsiteX60" fmla="*/ 16556232 w 27542354"/>
                <a:gd name="connsiteY60" fmla="*/ 2142785 h 15035524"/>
                <a:gd name="connsiteX61" fmla="*/ 16863663 w 27542354"/>
                <a:gd name="connsiteY61" fmla="*/ 1627419 h 15035524"/>
                <a:gd name="connsiteX62" fmla="*/ 17406193 w 27542354"/>
                <a:gd name="connsiteY62" fmla="*/ 1292897 h 15035524"/>
                <a:gd name="connsiteX63" fmla="*/ 18120524 w 27542354"/>
                <a:gd name="connsiteY63" fmla="*/ 714260 h 15035524"/>
                <a:gd name="connsiteX64" fmla="*/ 18744437 w 27542354"/>
                <a:gd name="connsiteY64" fmla="*/ -1 h 15035524"/>
                <a:gd name="connsiteX65" fmla="*/ 19982300 w 27542354"/>
                <a:gd name="connsiteY65" fmla="*/ 343465 h 15035524"/>
                <a:gd name="connsiteX66" fmla="*/ 19837609 w 27542354"/>
                <a:gd name="connsiteY66" fmla="*/ 1121173 h 15035524"/>
                <a:gd name="connsiteX67" fmla="*/ 21881359 w 27542354"/>
                <a:gd name="connsiteY67" fmla="*/ 1772279 h 15035524"/>
                <a:gd name="connsiteX68" fmla="*/ 21537712 w 27542354"/>
                <a:gd name="connsiteY68" fmla="*/ 2767023 h 15035524"/>
                <a:gd name="connsiteX69" fmla="*/ 22478203 w 27542354"/>
                <a:gd name="connsiteY69" fmla="*/ 2296774 h 15035524"/>
                <a:gd name="connsiteX70" fmla="*/ 23888932 w 27542354"/>
                <a:gd name="connsiteY70" fmla="*/ 1880797 h 15035524"/>
                <a:gd name="connsiteX71" fmla="*/ 25010275 w 27542354"/>
                <a:gd name="connsiteY71" fmla="*/ 578575 h 15035524"/>
                <a:gd name="connsiteX72" fmla="*/ 26402920 w 27542354"/>
                <a:gd name="connsiteY72" fmla="*/ 759442 h 15035524"/>
                <a:gd name="connsiteX73" fmla="*/ 26554742 w 27542354"/>
                <a:gd name="connsiteY73" fmla="*/ 1935039 h 15035524"/>
                <a:gd name="connsiteX74" fmla="*/ 25751806 w 27542354"/>
                <a:gd name="connsiteY74"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013694 w 27542354"/>
                <a:gd name="connsiteY59" fmla="*/ 2052363 h 15035524"/>
                <a:gd name="connsiteX60" fmla="*/ 16556232 w 27542354"/>
                <a:gd name="connsiteY60" fmla="*/ 2142785 h 15035524"/>
                <a:gd name="connsiteX61" fmla="*/ 17406193 w 27542354"/>
                <a:gd name="connsiteY61" fmla="*/ 1292897 h 15035524"/>
                <a:gd name="connsiteX62" fmla="*/ 18120524 w 27542354"/>
                <a:gd name="connsiteY62" fmla="*/ 714260 h 15035524"/>
                <a:gd name="connsiteX63" fmla="*/ 18744437 w 27542354"/>
                <a:gd name="connsiteY63" fmla="*/ -1 h 15035524"/>
                <a:gd name="connsiteX64" fmla="*/ 19982300 w 27542354"/>
                <a:gd name="connsiteY64" fmla="*/ 343465 h 15035524"/>
                <a:gd name="connsiteX65" fmla="*/ 19837609 w 27542354"/>
                <a:gd name="connsiteY65" fmla="*/ 1121173 h 15035524"/>
                <a:gd name="connsiteX66" fmla="*/ 21881359 w 27542354"/>
                <a:gd name="connsiteY66" fmla="*/ 1772279 h 15035524"/>
                <a:gd name="connsiteX67" fmla="*/ 21537712 w 27542354"/>
                <a:gd name="connsiteY67" fmla="*/ 2767023 h 15035524"/>
                <a:gd name="connsiteX68" fmla="*/ 22478203 w 27542354"/>
                <a:gd name="connsiteY68" fmla="*/ 2296774 h 15035524"/>
                <a:gd name="connsiteX69" fmla="*/ 23888932 w 27542354"/>
                <a:gd name="connsiteY69" fmla="*/ 1880797 h 15035524"/>
                <a:gd name="connsiteX70" fmla="*/ 25010275 w 27542354"/>
                <a:gd name="connsiteY70" fmla="*/ 578575 h 15035524"/>
                <a:gd name="connsiteX71" fmla="*/ 26402920 w 27542354"/>
                <a:gd name="connsiteY71" fmla="*/ 759442 h 15035524"/>
                <a:gd name="connsiteX72" fmla="*/ 26554742 w 27542354"/>
                <a:gd name="connsiteY72" fmla="*/ 1935039 h 15035524"/>
                <a:gd name="connsiteX73" fmla="*/ 25751806 w 27542354"/>
                <a:gd name="connsiteY73"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16081136 w 27542354"/>
                <a:gd name="connsiteY12" fmla="*/ 11254718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13276149 w 27542354"/>
                <a:gd name="connsiteY11" fmla="*/ 11528479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14150319 w 27542354"/>
                <a:gd name="connsiteY10" fmla="*/ 11405301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14618283 w 27542354"/>
                <a:gd name="connsiteY9" fmla="*/ 10516400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15011380 w 27542354"/>
                <a:gd name="connsiteY9" fmla="*/ 11048592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13482332 w 27542354"/>
                <a:gd name="connsiteY8" fmla="*/ 8749261 h 15035524"/>
                <a:gd name="connsiteX9" fmla="*/ 15011380 w 27542354"/>
                <a:gd name="connsiteY9" fmla="*/ 11048592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15195097 w 27542354"/>
                <a:gd name="connsiteY8" fmla="*/ 10093742 h 15035524"/>
                <a:gd name="connsiteX9" fmla="*/ 15011380 w 27542354"/>
                <a:gd name="connsiteY9" fmla="*/ 11048592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26312478 w 26619949"/>
                <a:gd name="connsiteY5" fmla="*/ 9549362 h 15035524"/>
                <a:gd name="connsiteX6" fmla="*/ 26402912 w 26619949"/>
                <a:gd name="connsiteY6" fmla="*/ 10526022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26312478 w 26619949"/>
                <a:gd name="connsiteY5" fmla="*/ 9549362 h 15035524"/>
                <a:gd name="connsiteX6" fmla="*/ 14862794 w 26619949"/>
                <a:gd name="connsiteY6" fmla="*/ 7108798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26312478 w 26619949"/>
                <a:gd name="connsiteY5" fmla="*/ 9549362 h 15035524"/>
                <a:gd name="connsiteX6" fmla="*/ 16070155 w 26619949"/>
                <a:gd name="connsiteY6" fmla="*/ 9937808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15193523 w 26619949"/>
                <a:gd name="connsiteY5" fmla="*/ 6720348 h 15035524"/>
                <a:gd name="connsiteX6" fmla="*/ 16070155 w 26619949"/>
                <a:gd name="connsiteY6" fmla="*/ 9937808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16372801 w 26619949"/>
                <a:gd name="connsiteY5" fmla="*/ 9717422 h 15035524"/>
                <a:gd name="connsiteX6" fmla="*/ 16070155 w 26619949"/>
                <a:gd name="connsiteY6" fmla="*/ 9937808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554741"/>
                <a:gd name="connsiteY0" fmla="*/ 3689425 h 15035524"/>
                <a:gd name="connsiteX1" fmla="*/ 25950755 w 26554741"/>
                <a:gd name="connsiteY1" fmla="*/ 4828850 h 15035524"/>
                <a:gd name="connsiteX2" fmla="*/ 26439085 w 26554741"/>
                <a:gd name="connsiteY2" fmla="*/ 5986362 h 15035524"/>
                <a:gd name="connsiteX3" fmla="*/ 25824148 w 26554741"/>
                <a:gd name="connsiteY3" fmla="*/ 6709813 h 15035524"/>
                <a:gd name="connsiteX4" fmla="*/ 14321716 w 26554741"/>
                <a:gd name="connsiteY4" fmla="*/ 6574229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26439085 w 26554741"/>
                <a:gd name="connsiteY2" fmla="*/ 5986362 h 15035524"/>
                <a:gd name="connsiteX3" fmla="*/ 25824148 w 26554741"/>
                <a:gd name="connsiteY3" fmla="*/ 6709813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26439085 w 26554741"/>
                <a:gd name="connsiteY2" fmla="*/ 5986362 h 15035524"/>
                <a:gd name="connsiteX3" fmla="*/ 14340183 w 26554741"/>
                <a:gd name="connsiteY3" fmla="*/ 7354046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26439085 w 26554741"/>
                <a:gd name="connsiteY2" fmla="*/ 5986362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15179740 w 26554741"/>
                <a:gd name="connsiteY2" fmla="*/ 7863038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15505685 w 26554741"/>
                <a:gd name="connsiteY1" fmla="*/ 7181691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16432262 w 26554741"/>
                <a:gd name="connsiteY1" fmla="*/ 7825917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15138264 w 26554741"/>
                <a:gd name="connsiteY0" fmla="*/ 6406394 h 15035524"/>
                <a:gd name="connsiteX1" fmla="*/ 16432262 w 26554741"/>
                <a:gd name="connsiteY1" fmla="*/ 7825917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15138264 w 26554741"/>
                <a:gd name="connsiteY72" fmla="*/ 6406394 h 15035524"/>
                <a:gd name="connsiteX0" fmla="*/ 16682563 w 26554741"/>
                <a:gd name="connsiteY0" fmla="*/ 6798531 h 15035524"/>
                <a:gd name="connsiteX1" fmla="*/ 16432262 w 26554741"/>
                <a:gd name="connsiteY1" fmla="*/ 7825917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16682563 w 26554741"/>
                <a:gd name="connsiteY72" fmla="*/ 6798531 h 15035524"/>
                <a:gd name="connsiteX0" fmla="*/ 16682563 w 26402921"/>
                <a:gd name="connsiteY0" fmla="*/ 6798531 h 15035524"/>
                <a:gd name="connsiteX1" fmla="*/ 16432262 w 26402921"/>
                <a:gd name="connsiteY1" fmla="*/ 7825917 h 15035524"/>
                <a:gd name="connsiteX2" fmla="*/ 16106317 w 26402921"/>
                <a:gd name="connsiteY2" fmla="*/ 8367221 h 15035524"/>
                <a:gd name="connsiteX3" fmla="*/ 16305649 w 26402921"/>
                <a:gd name="connsiteY3" fmla="*/ 8754550 h 15035524"/>
                <a:gd name="connsiteX4" fmla="*/ 16287189 w 26402921"/>
                <a:gd name="connsiteY4" fmla="*/ 9151157 h 15035524"/>
                <a:gd name="connsiteX5" fmla="*/ 16372801 w 26402921"/>
                <a:gd name="connsiteY5" fmla="*/ 9717422 h 15035524"/>
                <a:gd name="connsiteX6" fmla="*/ 16070155 w 26402921"/>
                <a:gd name="connsiteY6" fmla="*/ 9937808 h 15035524"/>
                <a:gd name="connsiteX7" fmla="*/ 15805690 w 26402921"/>
                <a:gd name="connsiteY7" fmla="*/ 10431999 h 15035524"/>
                <a:gd name="connsiteX8" fmla="*/ 15195097 w 26402921"/>
                <a:gd name="connsiteY8" fmla="*/ 10093742 h 15035524"/>
                <a:gd name="connsiteX9" fmla="*/ 15011380 w 26402921"/>
                <a:gd name="connsiteY9" fmla="*/ 11048592 h 15035524"/>
                <a:gd name="connsiteX10" fmla="*/ 14908430 w 26402921"/>
                <a:gd name="connsiteY10" fmla="*/ 11937487 h 15035524"/>
                <a:gd name="connsiteX11" fmla="*/ 14904684 w 26402921"/>
                <a:gd name="connsiteY11" fmla="*/ 12760926 h 15035524"/>
                <a:gd name="connsiteX12" fmla="*/ 14929927 w 26402921"/>
                <a:gd name="connsiteY12" fmla="*/ 14391846 h 15035524"/>
                <a:gd name="connsiteX13" fmla="*/ 12952786 w 26402921"/>
                <a:gd name="connsiteY13" fmla="*/ 14842599 h 15035524"/>
                <a:gd name="connsiteX14" fmla="*/ 11934663 w 26402921"/>
                <a:gd name="connsiteY14" fmla="*/ 14890849 h 15035524"/>
                <a:gd name="connsiteX15" fmla="*/ 8506848 w 26402921"/>
                <a:gd name="connsiteY15" fmla="*/ 15035524 h 15035524"/>
                <a:gd name="connsiteX16" fmla="*/ 7985095 w 26402921"/>
                <a:gd name="connsiteY16" fmla="*/ 14390442 h 15035524"/>
                <a:gd name="connsiteX17" fmla="*/ 7400308 w 26402921"/>
                <a:gd name="connsiteY17" fmla="*/ 14360297 h 15035524"/>
                <a:gd name="connsiteX18" fmla="*/ 6972273 w 26402921"/>
                <a:gd name="connsiteY18" fmla="*/ 14631594 h 15035524"/>
                <a:gd name="connsiteX19" fmla="*/ 5181729 w 26402921"/>
                <a:gd name="connsiteY19" fmla="*/ 14547195 h 15035524"/>
                <a:gd name="connsiteX20" fmla="*/ 4397998 w 26402921"/>
                <a:gd name="connsiteY20" fmla="*/ 13914178 h 15035524"/>
                <a:gd name="connsiteX21" fmla="*/ 2908896 w 26402921"/>
                <a:gd name="connsiteY21" fmla="*/ 13106324 h 15035524"/>
                <a:gd name="connsiteX22" fmla="*/ 1263043 w 26402921"/>
                <a:gd name="connsiteY22" fmla="*/ 12394931 h 15035524"/>
                <a:gd name="connsiteX23" fmla="*/ 485320 w 26402921"/>
                <a:gd name="connsiteY23" fmla="*/ 11942774 h 15035524"/>
                <a:gd name="connsiteX24" fmla="*/ 0 w 26402921"/>
                <a:gd name="connsiteY24" fmla="*/ 11649662 h 15035524"/>
                <a:gd name="connsiteX25" fmla="*/ 1003686 w 26402921"/>
                <a:gd name="connsiteY25" fmla="*/ 10903697 h 15035524"/>
                <a:gd name="connsiteX26" fmla="*/ 2902551 w 26402921"/>
                <a:gd name="connsiteY26" fmla="*/ 9719298 h 15035524"/>
                <a:gd name="connsiteX27" fmla="*/ 2558940 w 26402921"/>
                <a:gd name="connsiteY27" fmla="*/ 9185867 h 15035524"/>
                <a:gd name="connsiteX28" fmla="*/ 2402508 w 26402921"/>
                <a:gd name="connsiteY28" fmla="*/ 8498784 h 15035524"/>
                <a:gd name="connsiteX29" fmla="*/ 2730740 w 26402921"/>
                <a:gd name="connsiteY29" fmla="*/ 8471613 h 15035524"/>
                <a:gd name="connsiteX30" fmla="*/ 2947754 w 26402921"/>
                <a:gd name="connsiteY30" fmla="*/ 8001468 h 15035524"/>
                <a:gd name="connsiteX31" fmla="*/ 3499325 w 26402921"/>
                <a:gd name="connsiteY31" fmla="*/ 7558451 h 15035524"/>
                <a:gd name="connsiteX32" fmla="*/ 3680166 w 26402921"/>
                <a:gd name="connsiteY32" fmla="*/ 6681453 h 15035524"/>
                <a:gd name="connsiteX33" fmla="*/ 4186528 w 26402921"/>
                <a:gd name="connsiteY33" fmla="*/ 6690489 h 15035524"/>
                <a:gd name="connsiteX34" fmla="*/ 4837569 w 26402921"/>
                <a:gd name="connsiteY34" fmla="*/ 7160639 h 15035524"/>
                <a:gd name="connsiteX35" fmla="*/ 5352976 w 26402921"/>
                <a:gd name="connsiteY35" fmla="*/ 7079272 h 15035524"/>
                <a:gd name="connsiteX36" fmla="*/ 5741786 w 26402921"/>
                <a:gd name="connsiteY36" fmla="*/ 6708577 h 15035524"/>
                <a:gd name="connsiteX37" fmla="*/ 6157723 w 26402921"/>
                <a:gd name="connsiteY37" fmla="*/ 6545836 h 15035524"/>
                <a:gd name="connsiteX38" fmla="*/ 6745471 w 26402921"/>
                <a:gd name="connsiteY38" fmla="*/ 5976243 h 15035524"/>
                <a:gd name="connsiteX39" fmla="*/ 6890140 w 26402921"/>
                <a:gd name="connsiteY39" fmla="*/ 5126367 h 15035524"/>
                <a:gd name="connsiteX40" fmla="*/ 7568305 w 26402921"/>
                <a:gd name="connsiteY40" fmla="*/ 4556773 h 15035524"/>
                <a:gd name="connsiteX41" fmla="*/ 8137967 w 26402921"/>
                <a:gd name="connsiteY41" fmla="*/ 4113752 h 15035524"/>
                <a:gd name="connsiteX42" fmla="*/ 8463480 w 26402921"/>
                <a:gd name="connsiteY42" fmla="*/ 3309085 h 15035524"/>
                <a:gd name="connsiteX43" fmla="*/ 9024093 w 26402921"/>
                <a:gd name="connsiteY43" fmla="*/ 2956478 h 15035524"/>
                <a:gd name="connsiteX44" fmla="*/ 9675138 w 26402921"/>
                <a:gd name="connsiteY44" fmla="*/ 2603876 h 15035524"/>
                <a:gd name="connsiteX45" fmla="*/ 9558580 w 26402921"/>
                <a:gd name="connsiteY45" fmla="*/ 2055592 h 15035524"/>
                <a:gd name="connsiteX46" fmla="*/ 10353296 w 26402921"/>
                <a:gd name="connsiteY46" fmla="*/ 1383308 h 15035524"/>
                <a:gd name="connsiteX47" fmla="*/ 10832530 w 26402921"/>
                <a:gd name="connsiteY47" fmla="*/ 1310974 h 15035524"/>
                <a:gd name="connsiteX48" fmla="*/ 11058585 w 26402921"/>
                <a:gd name="connsiteY48" fmla="*/ 1763043 h 15035524"/>
                <a:gd name="connsiteX49" fmla="*/ 11411229 w 26402921"/>
                <a:gd name="connsiteY49" fmla="*/ 2142774 h 15035524"/>
                <a:gd name="connsiteX50" fmla="*/ 11998974 w 26402921"/>
                <a:gd name="connsiteY50" fmla="*/ 2224144 h 15035524"/>
                <a:gd name="connsiteX51" fmla="*/ 12315449 w 26402921"/>
                <a:gd name="connsiteY51" fmla="*/ 2884156 h 15035524"/>
                <a:gd name="connsiteX52" fmla="*/ 12785642 w 26402921"/>
                <a:gd name="connsiteY52" fmla="*/ 2703327 h 15035524"/>
                <a:gd name="connsiteX53" fmla="*/ 13671776 w 26402921"/>
                <a:gd name="connsiteY53" fmla="*/ 3155388 h 15035524"/>
                <a:gd name="connsiteX54" fmla="*/ 14123886 w 26402921"/>
                <a:gd name="connsiteY54" fmla="*/ 2857035 h 15035524"/>
                <a:gd name="connsiteX55" fmla="*/ 14259509 w 26402921"/>
                <a:gd name="connsiteY55" fmla="*/ 2287434 h 15035524"/>
                <a:gd name="connsiteX56" fmla="*/ 14892468 w 26402921"/>
                <a:gd name="connsiteY56" fmla="*/ 1645503 h 15035524"/>
                <a:gd name="connsiteX57" fmla="*/ 15778605 w 26402921"/>
                <a:gd name="connsiteY57" fmla="*/ 1093983 h 15035524"/>
                <a:gd name="connsiteX58" fmla="*/ 16022739 w 26402921"/>
                <a:gd name="connsiteY58" fmla="*/ 1564133 h 15035524"/>
                <a:gd name="connsiteX59" fmla="*/ 16556232 w 26402921"/>
                <a:gd name="connsiteY59" fmla="*/ 2142785 h 15035524"/>
                <a:gd name="connsiteX60" fmla="*/ 17406193 w 26402921"/>
                <a:gd name="connsiteY60" fmla="*/ 1292897 h 15035524"/>
                <a:gd name="connsiteX61" fmla="*/ 18120524 w 26402921"/>
                <a:gd name="connsiteY61" fmla="*/ 714260 h 15035524"/>
                <a:gd name="connsiteX62" fmla="*/ 18744437 w 26402921"/>
                <a:gd name="connsiteY62" fmla="*/ -1 h 15035524"/>
                <a:gd name="connsiteX63" fmla="*/ 19982300 w 26402921"/>
                <a:gd name="connsiteY63" fmla="*/ 343465 h 15035524"/>
                <a:gd name="connsiteX64" fmla="*/ 19837609 w 26402921"/>
                <a:gd name="connsiteY64" fmla="*/ 1121173 h 15035524"/>
                <a:gd name="connsiteX65" fmla="*/ 21881359 w 26402921"/>
                <a:gd name="connsiteY65" fmla="*/ 1772279 h 15035524"/>
                <a:gd name="connsiteX66" fmla="*/ 21537712 w 26402921"/>
                <a:gd name="connsiteY66" fmla="*/ 2767023 h 15035524"/>
                <a:gd name="connsiteX67" fmla="*/ 22478203 w 26402921"/>
                <a:gd name="connsiteY67" fmla="*/ 2296774 h 15035524"/>
                <a:gd name="connsiteX68" fmla="*/ 23888932 w 26402921"/>
                <a:gd name="connsiteY68" fmla="*/ 1880797 h 15035524"/>
                <a:gd name="connsiteX69" fmla="*/ 25010275 w 26402921"/>
                <a:gd name="connsiteY69" fmla="*/ 578575 h 15035524"/>
                <a:gd name="connsiteX70" fmla="*/ 26402920 w 26402921"/>
                <a:gd name="connsiteY70" fmla="*/ 759442 h 15035524"/>
                <a:gd name="connsiteX71" fmla="*/ 14902301 w 26402921"/>
                <a:gd name="connsiteY71" fmla="*/ 5604356 h 15035524"/>
                <a:gd name="connsiteX72" fmla="*/ 16682563 w 26402921"/>
                <a:gd name="connsiteY72" fmla="*/ 6798531 h 15035524"/>
                <a:gd name="connsiteX0" fmla="*/ 16682563 w 26402921"/>
                <a:gd name="connsiteY0" fmla="*/ 6798531 h 15035524"/>
                <a:gd name="connsiteX1" fmla="*/ 16432262 w 26402921"/>
                <a:gd name="connsiteY1" fmla="*/ 7825917 h 15035524"/>
                <a:gd name="connsiteX2" fmla="*/ 16106317 w 26402921"/>
                <a:gd name="connsiteY2" fmla="*/ 8367221 h 15035524"/>
                <a:gd name="connsiteX3" fmla="*/ 16305649 w 26402921"/>
                <a:gd name="connsiteY3" fmla="*/ 8754550 h 15035524"/>
                <a:gd name="connsiteX4" fmla="*/ 16287189 w 26402921"/>
                <a:gd name="connsiteY4" fmla="*/ 9151157 h 15035524"/>
                <a:gd name="connsiteX5" fmla="*/ 16372801 w 26402921"/>
                <a:gd name="connsiteY5" fmla="*/ 9717422 h 15035524"/>
                <a:gd name="connsiteX6" fmla="*/ 16070155 w 26402921"/>
                <a:gd name="connsiteY6" fmla="*/ 9937808 h 15035524"/>
                <a:gd name="connsiteX7" fmla="*/ 15805690 w 26402921"/>
                <a:gd name="connsiteY7" fmla="*/ 10431999 h 15035524"/>
                <a:gd name="connsiteX8" fmla="*/ 15195097 w 26402921"/>
                <a:gd name="connsiteY8" fmla="*/ 10093742 h 15035524"/>
                <a:gd name="connsiteX9" fmla="*/ 15011380 w 26402921"/>
                <a:gd name="connsiteY9" fmla="*/ 11048592 h 15035524"/>
                <a:gd name="connsiteX10" fmla="*/ 14908430 w 26402921"/>
                <a:gd name="connsiteY10" fmla="*/ 11937487 h 15035524"/>
                <a:gd name="connsiteX11" fmla="*/ 14904684 w 26402921"/>
                <a:gd name="connsiteY11" fmla="*/ 12760926 h 15035524"/>
                <a:gd name="connsiteX12" fmla="*/ 14929927 w 26402921"/>
                <a:gd name="connsiteY12" fmla="*/ 14391846 h 15035524"/>
                <a:gd name="connsiteX13" fmla="*/ 12952786 w 26402921"/>
                <a:gd name="connsiteY13" fmla="*/ 14842599 h 15035524"/>
                <a:gd name="connsiteX14" fmla="*/ 11934663 w 26402921"/>
                <a:gd name="connsiteY14" fmla="*/ 14890849 h 15035524"/>
                <a:gd name="connsiteX15" fmla="*/ 8506848 w 26402921"/>
                <a:gd name="connsiteY15" fmla="*/ 15035524 h 15035524"/>
                <a:gd name="connsiteX16" fmla="*/ 7985095 w 26402921"/>
                <a:gd name="connsiteY16" fmla="*/ 14390442 h 15035524"/>
                <a:gd name="connsiteX17" fmla="*/ 7400308 w 26402921"/>
                <a:gd name="connsiteY17" fmla="*/ 14360297 h 15035524"/>
                <a:gd name="connsiteX18" fmla="*/ 6972273 w 26402921"/>
                <a:gd name="connsiteY18" fmla="*/ 14631594 h 15035524"/>
                <a:gd name="connsiteX19" fmla="*/ 5181729 w 26402921"/>
                <a:gd name="connsiteY19" fmla="*/ 14547195 h 15035524"/>
                <a:gd name="connsiteX20" fmla="*/ 4397998 w 26402921"/>
                <a:gd name="connsiteY20" fmla="*/ 13914178 h 15035524"/>
                <a:gd name="connsiteX21" fmla="*/ 2908896 w 26402921"/>
                <a:gd name="connsiteY21" fmla="*/ 13106324 h 15035524"/>
                <a:gd name="connsiteX22" fmla="*/ 1263043 w 26402921"/>
                <a:gd name="connsiteY22" fmla="*/ 12394931 h 15035524"/>
                <a:gd name="connsiteX23" fmla="*/ 485320 w 26402921"/>
                <a:gd name="connsiteY23" fmla="*/ 11942774 h 15035524"/>
                <a:gd name="connsiteX24" fmla="*/ 0 w 26402921"/>
                <a:gd name="connsiteY24" fmla="*/ 11649662 h 15035524"/>
                <a:gd name="connsiteX25" fmla="*/ 1003686 w 26402921"/>
                <a:gd name="connsiteY25" fmla="*/ 10903697 h 15035524"/>
                <a:gd name="connsiteX26" fmla="*/ 2902551 w 26402921"/>
                <a:gd name="connsiteY26" fmla="*/ 9719298 h 15035524"/>
                <a:gd name="connsiteX27" fmla="*/ 2558940 w 26402921"/>
                <a:gd name="connsiteY27" fmla="*/ 9185867 h 15035524"/>
                <a:gd name="connsiteX28" fmla="*/ 2402508 w 26402921"/>
                <a:gd name="connsiteY28" fmla="*/ 8498784 h 15035524"/>
                <a:gd name="connsiteX29" fmla="*/ 2730740 w 26402921"/>
                <a:gd name="connsiteY29" fmla="*/ 8471613 h 15035524"/>
                <a:gd name="connsiteX30" fmla="*/ 2947754 w 26402921"/>
                <a:gd name="connsiteY30" fmla="*/ 8001468 h 15035524"/>
                <a:gd name="connsiteX31" fmla="*/ 3499325 w 26402921"/>
                <a:gd name="connsiteY31" fmla="*/ 7558451 h 15035524"/>
                <a:gd name="connsiteX32" fmla="*/ 3680166 w 26402921"/>
                <a:gd name="connsiteY32" fmla="*/ 6681453 h 15035524"/>
                <a:gd name="connsiteX33" fmla="*/ 4186528 w 26402921"/>
                <a:gd name="connsiteY33" fmla="*/ 6690489 h 15035524"/>
                <a:gd name="connsiteX34" fmla="*/ 4837569 w 26402921"/>
                <a:gd name="connsiteY34" fmla="*/ 7160639 h 15035524"/>
                <a:gd name="connsiteX35" fmla="*/ 5352976 w 26402921"/>
                <a:gd name="connsiteY35" fmla="*/ 7079272 h 15035524"/>
                <a:gd name="connsiteX36" fmla="*/ 5741786 w 26402921"/>
                <a:gd name="connsiteY36" fmla="*/ 6708577 h 15035524"/>
                <a:gd name="connsiteX37" fmla="*/ 6157723 w 26402921"/>
                <a:gd name="connsiteY37" fmla="*/ 6545836 h 15035524"/>
                <a:gd name="connsiteX38" fmla="*/ 6745471 w 26402921"/>
                <a:gd name="connsiteY38" fmla="*/ 5976243 h 15035524"/>
                <a:gd name="connsiteX39" fmla="*/ 6890140 w 26402921"/>
                <a:gd name="connsiteY39" fmla="*/ 5126367 h 15035524"/>
                <a:gd name="connsiteX40" fmla="*/ 7568305 w 26402921"/>
                <a:gd name="connsiteY40" fmla="*/ 4556773 h 15035524"/>
                <a:gd name="connsiteX41" fmla="*/ 8137967 w 26402921"/>
                <a:gd name="connsiteY41" fmla="*/ 4113752 h 15035524"/>
                <a:gd name="connsiteX42" fmla="*/ 8463480 w 26402921"/>
                <a:gd name="connsiteY42" fmla="*/ 3309085 h 15035524"/>
                <a:gd name="connsiteX43" fmla="*/ 9024093 w 26402921"/>
                <a:gd name="connsiteY43" fmla="*/ 2956478 h 15035524"/>
                <a:gd name="connsiteX44" fmla="*/ 9675138 w 26402921"/>
                <a:gd name="connsiteY44" fmla="*/ 2603876 h 15035524"/>
                <a:gd name="connsiteX45" fmla="*/ 9558580 w 26402921"/>
                <a:gd name="connsiteY45" fmla="*/ 2055592 h 15035524"/>
                <a:gd name="connsiteX46" fmla="*/ 10353296 w 26402921"/>
                <a:gd name="connsiteY46" fmla="*/ 1383308 h 15035524"/>
                <a:gd name="connsiteX47" fmla="*/ 10832530 w 26402921"/>
                <a:gd name="connsiteY47" fmla="*/ 1310974 h 15035524"/>
                <a:gd name="connsiteX48" fmla="*/ 11058585 w 26402921"/>
                <a:gd name="connsiteY48" fmla="*/ 1763043 h 15035524"/>
                <a:gd name="connsiteX49" fmla="*/ 11411229 w 26402921"/>
                <a:gd name="connsiteY49" fmla="*/ 2142774 h 15035524"/>
                <a:gd name="connsiteX50" fmla="*/ 11998974 w 26402921"/>
                <a:gd name="connsiteY50" fmla="*/ 2224144 h 15035524"/>
                <a:gd name="connsiteX51" fmla="*/ 12315449 w 26402921"/>
                <a:gd name="connsiteY51" fmla="*/ 2884156 h 15035524"/>
                <a:gd name="connsiteX52" fmla="*/ 12785642 w 26402921"/>
                <a:gd name="connsiteY52" fmla="*/ 2703327 h 15035524"/>
                <a:gd name="connsiteX53" fmla="*/ 13671776 w 26402921"/>
                <a:gd name="connsiteY53" fmla="*/ 3155388 h 15035524"/>
                <a:gd name="connsiteX54" fmla="*/ 14123886 w 26402921"/>
                <a:gd name="connsiteY54" fmla="*/ 2857035 h 15035524"/>
                <a:gd name="connsiteX55" fmla="*/ 14259509 w 26402921"/>
                <a:gd name="connsiteY55" fmla="*/ 2287434 h 15035524"/>
                <a:gd name="connsiteX56" fmla="*/ 14892468 w 26402921"/>
                <a:gd name="connsiteY56" fmla="*/ 1645503 h 15035524"/>
                <a:gd name="connsiteX57" fmla="*/ 15778605 w 26402921"/>
                <a:gd name="connsiteY57" fmla="*/ 1093983 h 15035524"/>
                <a:gd name="connsiteX58" fmla="*/ 16022739 w 26402921"/>
                <a:gd name="connsiteY58" fmla="*/ 1564133 h 15035524"/>
                <a:gd name="connsiteX59" fmla="*/ 16556232 w 26402921"/>
                <a:gd name="connsiteY59" fmla="*/ 2142785 h 15035524"/>
                <a:gd name="connsiteX60" fmla="*/ 17406193 w 26402921"/>
                <a:gd name="connsiteY60" fmla="*/ 1292897 h 15035524"/>
                <a:gd name="connsiteX61" fmla="*/ 18120524 w 26402921"/>
                <a:gd name="connsiteY61" fmla="*/ 714260 h 15035524"/>
                <a:gd name="connsiteX62" fmla="*/ 18744437 w 26402921"/>
                <a:gd name="connsiteY62" fmla="*/ -1 h 15035524"/>
                <a:gd name="connsiteX63" fmla="*/ 19982300 w 26402921"/>
                <a:gd name="connsiteY63" fmla="*/ 343465 h 15035524"/>
                <a:gd name="connsiteX64" fmla="*/ 19837609 w 26402921"/>
                <a:gd name="connsiteY64" fmla="*/ 1121173 h 15035524"/>
                <a:gd name="connsiteX65" fmla="*/ 21881359 w 26402921"/>
                <a:gd name="connsiteY65" fmla="*/ 1772279 h 15035524"/>
                <a:gd name="connsiteX66" fmla="*/ 21537712 w 26402921"/>
                <a:gd name="connsiteY66" fmla="*/ 2767023 h 15035524"/>
                <a:gd name="connsiteX67" fmla="*/ 22478203 w 26402921"/>
                <a:gd name="connsiteY67" fmla="*/ 2296774 h 15035524"/>
                <a:gd name="connsiteX68" fmla="*/ 23888932 w 26402921"/>
                <a:gd name="connsiteY68" fmla="*/ 1880797 h 15035524"/>
                <a:gd name="connsiteX69" fmla="*/ 25010275 w 26402921"/>
                <a:gd name="connsiteY69" fmla="*/ 578575 h 15035524"/>
                <a:gd name="connsiteX70" fmla="*/ 26402920 w 26402921"/>
                <a:gd name="connsiteY70" fmla="*/ 759442 h 15035524"/>
                <a:gd name="connsiteX71" fmla="*/ 16362364 w 26402921"/>
                <a:gd name="connsiteY71" fmla="*/ 6360628 h 15035524"/>
                <a:gd name="connsiteX72" fmla="*/ 16682563 w 26402921"/>
                <a:gd name="connsiteY72" fmla="*/ 6798531 h 15035524"/>
                <a:gd name="connsiteX0" fmla="*/ 16682563 w 25010275"/>
                <a:gd name="connsiteY0" fmla="*/ 6798531 h 15035524"/>
                <a:gd name="connsiteX1" fmla="*/ 16432262 w 25010275"/>
                <a:gd name="connsiteY1" fmla="*/ 7825917 h 15035524"/>
                <a:gd name="connsiteX2" fmla="*/ 16106317 w 25010275"/>
                <a:gd name="connsiteY2" fmla="*/ 8367221 h 15035524"/>
                <a:gd name="connsiteX3" fmla="*/ 16305649 w 25010275"/>
                <a:gd name="connsiteY3" fmla="*/ 8754550 h 15035524"/>
                <a:gd name="connsiteX4" fmla="*/ 16287189 w 25010275"/>
                <a:gd name="connsiteY4" fmla="*/ 9151157 h 15035524"/>
                <a:gd name="connsiteX5" fmla="*/ 16372801 w 25010275"/>
                <a:gd name="connsiteY5" fmla="*/ 9717422 h 15035524"/>
                <a:gd name="connsiteX6" fmla="*/ 16070155 w 25010275"/>
                <a:gd name="connsiteY6" fmla="*/ 9937808 h 15035524"/>
                <a:gd name="connsiteX7" fmla="*/ 15805690 w 25010275"/>
                <a:gd name="connsiteY7" fmla="*/ 10431999 h 15035524"/>
                <a:gd name="connsiteX8" fmla="*/ 15195097 w 25010275"/>
                <a:gd name="connsiteY8" fmla="*/ 10093742 h 15035524"/>
                <a:gd name="connsiteX9" fmla="*/ 15011380 w 25010275"/>
                <a:gd name="connsiteY9" fmla="*/ 11048592 h 15035524"/>
                <a:gd name="connsiteX10" fmla="*/ 14908430 w 25010275"/>
                <a:gd name="connsiteY10" fmla="*/ 11937487 h 15035524"/>
                <a:gd name="connsiteX11" fmla="*/ 14904684 w 25010275"/>
                <a:gd name="connsiteY11" fmla="*/ 12760926 h 15035524"/>
                <a:gd name="connsiteX12" fmla="*/ 14929927 w 25010275"/>
                <a:gd name="connsiteY12" fmla="*/ 14391846 h 15035524"/>
                <a:gd name="connsiteX13" fmla="*/ 12952786 w 25010275"/>
                <a:gd name="connsiteY13" fmla="*/ 14842599 h 15035524"/>
                <a:gd name="connsiteX14" fmla="*/ 11934663 w 25010275"/>
                <a:gd name="connsiteY14" fmla="*/ 14890849 h 15035524"/>
                <a:gd name="connsiteX15" fmla="*/ 8506848 w 25010275"/>
                <a:gd name="connsiteY15" fmla="*/ 15035524 h 15035524"/>
                <a:gd name="connsiteX16" fmla="*/ 7985095 w 25010275"/>
                <a:gd name="connsiteY16" fmla="*/ 14390442 h 15035524"/>
                <a:gd name="connsiteX17" fmla="*/ 7400308 w 25010275"/>
                <a:gd name="connsiteY17" fmla="*/ 14360297 h 15035524"/>
                <a:gd name="connsiteX18" fmla="*/ 6972273 w 25010275"/>
                <a:gd name="connsiteY18" fmla="*/ 14631594 h 15035524"/>
                <a:gd name="connsiteX19" fmla="*/ 5181729 w 25010275"/>
                <a:gd name="connsiteY19" fmla="*/ 14547195 h 15035524"/>
                <a:gd name="connsiteX20" fmla="*/ 4397998 w 25010275"/>
                <a:gd name="connsiteY20" fmla="*/ 13914178 h 15035524"/>
                <a:gd name="connsiteX21" fmla="*/ 2908896 w 25010275"/>
                <a:gd name="connsiteY21" fmla="*/ 13106324 h 15035524"/>
                <a:gd name="connsiteX22" fmla="*/ 1263043 w 25010275"/>
                <a:gd name="connsiteY22" fmla="*/ 12394931 h 15035524"/>
                <a:gd name="connsiteX23" fmla="*/ 485320 w 25010275"/>
                <a:gd name="connsiteY23" fmla="*/ 11942774 h 15035524"/>
                <a:gd name="connsiteX24" fmla="*/ 0 w 25010275"/>
                <a:gd name="connsiteY24" fmla="*/ 11649662 h 15035524"/>
                <a:gd name="connsiteX25" fmla="*/ 1003686 w 25010275"/>
                <a:gd name="connsiteY25" fmla="*/ 10903697 h 15035524"/>
                <a:gd name="connsiteX26" fmla="*/ 2902551 w 25010275"/>
                <a:gd name="connsiteY26" fmla="*/ 9719298 h 15035524"/>
                <a:gd name="connsiteX27" fmla="*/ 2558940 w 25010275"/>
                <a:gd name="connsiteY27" fmla="*/ 9185867 h 15035524"/>
                <a:gd name="connsiteX28" fmla="*/ 2402508 w 25010275"/>
                <a:gd name="connsiteY28" fmla="*/ 8498784 h 15035524"/>
                <a:gd name="connsiteX29" fmla="*/ 2730740 w 25010275"/>
                <a:gd name="connsiteY29" fmla="*/ 8471613 h 15035524"/>
                <a:gd name="connsiteX30" fmla="*/ 2947754 w 25010275"/>
                <a:gd name="connsiteY30" fmla="*/ 8001468 h 15035524"/>
                <a:gd name="connsiteX31" fmla="*/ 3499325 w 25010275"/>
                <a:gd name="connsiteY31" fmla="*/ 7558451 h 15035524"/>
                <a:gd name="connsiteX32" fmla="*/ 3680166 w 25010275"/>
                <a:gd name="connsiteY32" fmla="*/ 6681453 h 15035524"/>
                <a:gd name="connsiteX33" fmla="*/ 4186528 w 25010275"/>
                <a:gd name="connsiteY33" fmla="*/ 6690489 h 15035524"/>
                <a:gd name="connsiteX34" fmla="*/ 4837569 w 25010275"/>
                <a:gd name="connsiteY34" fmla="*/ 7160639 h 15035524"/>
                <a:gd name="connsiteX35" fmla="*/ 5352976 w 25010275"/>
                <a:gd name="connsiteY35" fmla="*/ 7079272 h 15035524"/>
                <a:gd name="connsiteX36" fmla="*/ 5741786 w 25010275"/>
                <a:gd name="connsiteY36" fmla="*/ 6708577 h 15035524"/>
                <a:gd name="connsiteX37" fmla="*/ 6157723 w 25010275"/>
                <a:gd name="connsiteY37" fmla="*/ 6545836 h 15035524"/>
                <a:gd name="connsiteX38" fmla="*/ 6745471 w 25010275"/>
                <a:gd name="connsiteY38" fmla="*/ 5976243 h 15035524"/>
                <a:gd name="connsiteX39" fmla="*/ 6890140 w 25010275"/>
                <a:gd name="connsiteY39" fmla="*/ 5126367 h 15035524"/>
                <a:gd name="connsiteX40" fmla="*/ 7568305 w 25010275"/>
                <a:gd name="connsiteY40" fmla="*/ 4556773 h 15035524"/>
                <a:gd name="connsiteX41" fmla="*/ 8137967 w 25010275"/>
                <a:gd name="connsiteY41" fmla="*/ 4113752 h 15035524"/>
                <a:gd name="connsiteX42" fmla="*/ 8463480 w 25010275"/>
                <a:gd name="connsiteY42" fmla="*/ 3309085 h 15035524"/>
                <a:gd name="connsiteX43" fmla="*/ 9024093 w 25010275"/>
                <a:gd name="connsiteY43" fmla="*/ 2956478 h 15035524"/>
                <a:gd name="connsiteX44" fmla="*/ 9675138 w 25010275"/>
                <a:gd name="connsiteY44" fmla="*/ 2603876 h 15035524"/>
                <a:gd name="connsiteX45" fmla="*/ 9558580 w 25010275"/>
                <a:gd name="connsiteY45" fmla="*/ 2055592 h 15035524"/>
                <a:gd name="connsiteX46" fmla="*/ 10353296 w 25010275"/>
                <a:gd name="connsiteY46" fmla="*/ 1383308 h 15035524"/>
                <a:gd name="connsiteX47" fmla="*/ 10832530 w 25010275"/>
                <a:gd name="connsiteY47" fmla="*/ 1310974 h 15035524"/>
                <a:gd name="connsiteX48" fmla="*/ 11058585 w 25010275"/>
                <a:gd name="connsiteY48" fmla="*/ 1763043 h 15035524"/>
                <a:gd name="connsiteX49" fmla="*/ 11411229 w 25010275"/>
                <a:gd name="connsiteY49" fmla="*/ 2142774 h 15035524"/>
                <a:gd name="connsiteX50" fmla="*/ 11998974 w 25010275"/>
                <a:gd name="connsiteY50" fmla="*/ 2224144 h 15035524"/>
                <a:gd name="connsiteX51" fmla="*/ 12315449 w 25010275"/>
                <a:gd name="connsiteY51" fmla="*/ 2884156 h 15035524"/>
                <a:gd name="connsiteX52" fmla="*/ 12785642 w 25010275"/>
                <a:gd name="connsiteY52" fmla="*/ 2703327 h 15035524"/>
                <a:gd name="connsiteX53" fmla="*/ 13671776 w 25010275"/>
                <a:gd name="connsiteY53" fmla="*/ 3155388 h 15035524"/>
                <a:gd name="connsiteX54" fmla="*/ 14123886 w 25010275"/>
                <a:gd name="connsiteY54" fmla="*/ 2857035 h 15035524"/>
                <a:gd name="connsiteX55" fmla="*/ 14259509 w 25010275"/>
                <a:gd name="connsiteY55" fmla="*/ 2287434 h 15035524"/>
                <a:gd name="connsiteX56" fmla="*/ 14892468 w 25010275"/>
                <a:gd name="connsiteY56" fmla="*/ 1645503 h 15035524"/>
                <a:gd name="connsiteX57" fmla="*/ 15778605 w 25010275"/>
                <a:gd name="connsiteY57" fmla="*/ 1093983 h 15035524"/>
                <a:gd name="connsiteX58" fmla="*/ 16022739 w 25010275"/>
                <a:gd name="connsiteY58" fmla="*/ 1564133 h 15035524"/>
                <a:gd name="connsiteX59" fmla="*/ 16556232 w 25010275"/>
                <a:gd name="connsiteY59" fmla="*/ 2142785 h 15035524"/>
                <a:gd name="connsiteX60" fmla="*/ 17406193 w 25010275"/>
                <a:gd name="connsiteY60" fmla="*/ 1292897 h 15035524"/>
                <a:gd name="connsiteX61" fmla="*/ 18120524 w 25010275"/>
                <a:gd name="connsiteY61" fmla="*/ 714260 h 15035524"/>
                <a:gd name="connsiteX62" fmla="*/ 18744437 w 25010275"/>
                <a:gd name="connsiteY62" fmla="*/ -1 h 15035524"/>
                <a:gd name="connsiteX63" fmla="*/ 19982300 w 25010275"/>
                <a:gd name="connsiteY63" fmla="*/ 343465 h 15035524"/>
                <a:gd name="connsiteX64" fmla="*/ 19837609 w 25010275"/>
                <a:gd name="connsiteY64" fmla="*/ 1121173 h 15035524"/>
                <a:gd name="connsiteX65" fmla="*/ 21881359 w 25010275"/>
                <a:gd name="connsiteY65" fmla="*/ 1772279 h 15035524"/>
                <a:gd name="connsiteX66" fmla="*/ 21537712 w 25010275"/>
                <a:gd name="connsiteY66" fmla="*/ 2767023 h 15035524"/>
                <a:gd name="connsiteX67" fmla="*/ 22478203 w 25010275"/>
                <a:gd name="connsiteY67" fmla="*/ 2296774 h 15035524"/>
                <a:gd name="connsiteX68" fmla="*/ 23888932 w 25010275"/>
                <a:gd name="connsiteY68" fmla="*/ 1880797 h 15035524"/>
                <a:gd name="connsiteX69" fmla="*/ 25010275 w 25010275"/>
                <a:gd name="connsiteY69" fmla="*/ 578575 h 15035524"/>
                <a:gd name="connsiteX70" fmla="*/ 14750481 w 25010275"/>
                <a:gd name="connsiteY70" fmla="*/ 5913293 h 15035524"/>
                <a:gd name="connsiteX71" fmla="*/ 16362364 w 25010275"/>
                <a:gd name="connsiteY71" fmla="*/ 6360628 h 15035524"/>
                <a:gd name="connsiteX72" fmla="*/ 16682563 w 25010275"/>
                <a:gd name="connsiteY72" fmla="*/ 6798531 h 15035524"/>
                <a:gd name="connsiteX0" fmla="*/ 16682563 w 25010275"/>
                <a:gd name="connsiteY0" fmla="*/ 6798531 h 15035524"/>
                <a:gd name="connsiteX1" fmla="*/ 16432262 w 25010275"/>
                <a:gd name="connsiteY1" fmla="*/ 7825917 h 15035524"/>
                <a:gd name="connsiteX2" fmla="*/ 16106317 w 25010275"/>
                <a:gd name="connsiteY2" fmla="*/ 8367221 h 15035524"/>
                <a:gd name="connsiteX3" fmla="*/ 16305649 w 25010275"/>
                <a:gd name="connsiteY3" fmla="*/ 8754550 h 15035524"/>
                <a:gd name="connsiteX4" fmla="*/ 16287189 w 25010275"/>
                <a:gd name="connsiteY4" fmla="*/ 9151157 h 15035524"/>
                <a:gd name="connsiteX5" fmla="*/ 16372801 w 25010275"/>
                <a:gd name="connsiteY5" fmla="*/ 9717422 h 15035524"/>
                <a:gd name="connsiteX6" fmla="*/ 16070155 w 25010275"/>
                <a:gd name="connsiteY6" fmla="*/ 9937808 h 15035524"/>
                <a:gd name="connsiteX7" fmla="*/ 15805690 w 25010275"/>
                <a:gd name="connsiteY7" fmla="*/ 10431999 h 15035524"/>
                <a:gd name="connsiteX8" fmla="*/ 15195097 w 25010275"/>
                <a:gd name="connsiteY8" fmla="*/ 10093742 h 15035524"/>
                <a:gd name="connsiteX9" fmla="*/ 15011380 w 25010275"/>
                <a:gd name="connsiteY9" fmla="*/ 11048592 h 15035524"/>
                <a:gd name="connsiteX10" fmla="*/ 14908430 w 25010275"/>
                <a:gd name="connsiteY10" fmla="*/ 11937487 h 15035524"/>
                <a:gd name="connsiteX11" fmla="*/ 14904684 w 25010275"/>
                <a:gd name="connsiteY11" fmla="*/ 12760926 h 15035524"/>
                <a:gd name="connsiteX12" fmla="*/ 14929927 w 25010275"/>
                <a:gd name="connsiteY12" fmla="*/ 14391846 h 15035524"/>
                <a:gd name="connsiteX13" fmla="*/ 12952786 w 25010275"/>
                <a:gd name="connsiteY13" fmla="*/ 14842599 h 15035524"/>
                <a:gd name="connsiteX14" fmla="*/ 11934663 w 25010275"/>
                <a:gd name="connsiteY14" fmla="*/ 14890849 h 15035524"/>
                <a:gd name="connsiteX15" fmla="*/ 8506848 w 25010275"/>
                <a:gd name="connsiteY15" fmla="*/ 15035524 h 15035524"/>
                <a:gd name="connsiteX16" fmla="*/ 7985095 w 25010275"/>
                <a:gd name="connsiteY16" fmla="*/ 14390442 h 15035524"/>
                <a:gd name="connsiteX17" fmla="*/ 7400308 w 25010275"/>
                <a:gd name="connsiteY17" fmla="*/ 14360297 h 15035524"/>
                <a:gd name="connsiteX18" fmla="*/ 6972273 w 25010275"/>
                <a:gd name="connsiteY18" fmla="*/ 14631594 h 15035524"/>
                <a:gd name="connsiteX19" fmla="*/ 5181729 w 25010275"/>
                <a:gd name="connsiteY19" fmla="*/ 14547195 h 15035524"/>
                <a:gd name="connsiteX20" fmla="*/ 4397998 w 25010275"/>
                <a:gd name="connsiteY20" fmla="*/ 13914178 h 15035524"/>
                <a:gd name="connsiteX21" fmla="*/ 2908896 w 25010275"/>
                <a:gd name="connsiteY21" fmla="*/ 13106324 h 15035524"/>
                <a:gd name="connsiteX22" fmla="*/ 1263043 w 25010275"/>
                <a:gd name="connsiteY22" fmla="*/ 12394931 h 15035524"/>
                <a:gd name="connsiteX23" fmla="*/ 485320 w 25010275"/>
                <a:gd name="connsiteY23" fmla="*/ 11942774 h 15035524"/>
                <a:gd name="connsiteX24" fmla="*/ 0 w 25010275"/>
                <a:gd name="connsiteY24" fmla="*/ 11649662 h 15035524"/>
                <a:gd name="connsiteX25" fmla="*/ 1003686 w 25010275"/>
                <a:gd name="connsiteY25" fmla="*/ 10903697 h 15035524"/>
                <a:gd name="connsiteX26" fmla="*/ 2902551 w 25010275"/>
                <a:gd name="connsiteY26" fmla="*/ 9719298 h 15035524"/>
                <a:gd name="connsiteX27" fmla="*/ 2558940 w 25010275"/>
                <a:gd name="connsiteY27" fmla="*/ 9185867 h 15035524"/>
                <a:gd name="connsiteX28" fmla="*/ 2402508 w 25010275"/>
                <a:gd name="connsiteY28" fmla="*/ 8498784 h 15035524"/>
                <a:gd name="connsiteX29" fmla="*/ 2730740 w 25010275"/>
                <a:gd name="connsiteY29" fmla="*/ 8471613 h 15035524"/>
                <a:gd name="connsiteX30" fmla="*/ 2947754 w 25010275"/>
                <a:gd name="connsiteY30" fmla="*/ 8001468 h 15035524"/>
                <a:gd name="connsiteX31" fmla="*/ 3499325 w 25010275"/>
                <a:gd name="connsiteY31" fmla="*/ 7558451 h 15035524"/>
                <a:gd name="connsiteX32" fmla="*/ 3680166 w 25010275"/>
                <a:gd name="connsiteY32" fmla="*/ 6681453 h 15035524"/>
                <a:gd name="connsiteX33" fmla="*/ 4186528 w 25010275"/>
                <a:gd name="connsiteY33" fmla="*/ 6690489 h 15035524"/>
                <a:gd name="connsiteX34" fmla="*/ 4837569 w 25010275"/>
                <a:gd name="connsiteY34" fmla="*/ 7160639 h 15035524"/>
                <a:gd name="connsiteX35" fmla="*/ 5352976 w 25010275"/>
                <a:gd name="connsiteY35" fmla="*/ 7079272 h 15035524"/>
                <a:gd name="connsiteX36" fmla="*/ 5741786 w 25010275"/>
                <a:gd name="connsiteY36" fmla="*/ 6708577 h 15035524"/>
                <a:gd name="connsiteX37" fmla="*/ 6157723 w 25010275"/>
                <a:gd name="connsiteY37" fmla="*/ 6545836 h 15035524"/>
                <a:gd name="connsiteX38" fmla="*/ 6745471 w 25010275"/>
                <a:gd name="connsiteY38" fmla="*/ 5976243 h 15035524"/>
                <a:gd name="connsiteX39" fmla="*/ 6890140 w 25010275"/>
                <a:gd name="connsiteY39" fmla="*/ 5126367 h 15035524"/>
                <a:gd name="connsiteX40" fmla="*/ 7568305 w 25010275"/>
                <a:gd name="connsiteY40" fmla="*/ 4556773 h 15035524"/>
                <a:gd name="connsiteX41" fmla="*/ 8137967 w 25010275"/>
                <a:gd name="connsiteY41" fmla="*/ 4113752 h 15035524"/>
                <a:gd name="connsiteX42" fmla="*/ 8463480 w 25010275"/>
                <a:gd name="connsiteY42" fmla="*/ 3309085 h 15035524"/>
                <a:gd name="connsiteX43" fmla="*/ 9024093 w 25010275"/>
                <a:gd name="connsiteY43" fmla="*/ 2956478 h 15035524"/>
                <a:gd name="connsiteX44" fmla="*/ 9675138 w 25010275"/>
                <a:gd name="connsiteY44" fmla="*/ 2603876 h 15035524"/>
                <a:gd name="connsiteX45" fmla="*/ 9558580 w 25010275"/>
                <a:gd name="connsiteY45" fmla="*/ 2055592 h 15035524"/>
                <a:gd name="connsiteX46" fmla="*/ 10353296 w 25010275"/>
                <a:gd name="connsiteY46" fmla="*/ 1383308 h 15035524"/>
                <a:gd name="connsiteX47" fmla="*/ 10832530 w 25010275"/>
                <a:gd name="connsiteY47" fmla="*/ 1310974 h 15035524"/>
                <a:gd name="connsiteX48" fmla="*/ 11058585 w 25010275"/>
                <a:gd name="connsiteY48" fmla="*/ 1763043 h 15035524"/>
                <a:gd name="connsiteX49" fmla="*/ 11411229 w 25010275"/>
                <a:gd name="connsiteY49" fmla="*/ 2142774 h 15035524"/>
                <a:gd name="connsiteX50" fmla="*/ 11998974 w 25010275"/>
                <a:gd name="connsiteY50" fmla="*/ 2224144 h 15035524"/>
                <a:gd name="connsiteX51" fmla="*/ 12315449 w 25010275"/>
                <a:gd name="connsiteY51" fmla="*/ 2884156 h 15035524"/>
                <a:gd name="connsiteX52" fmla="*/ 12785642 w 25010275"/>
                <a:gd name="connsiteY52" fmla="*/ 2703327 h 15035524"/>
                <a:gd name="connsiteX53" fmla="*/ 13671776 w 25010275"/>
                <a:gd name="connsiteY53" fmla="*/ 3155388 h 15035524"/>
                <a:gd name="connsiteX54" fmla="*/ 14123886 w 25010275"/>
                <a:gd name="connsiteY54" fmla="*/ 2857035 h 15035524"/>
                <a:gd name="connsiteX55" fmla="*/ 14259509 w 25010275"/>
                <a:gd name="connsiteY55" fmla="*/ 2287434 h 15035524"/>
                <a:gd name="connsiteX56" fmla="*/ 14892468 w 25010275"/>
                <a:gd name="connsiteY56" fmla="*/ 1645503 h 15035524"/>
                <a:gd name="connsiteX57" fmla="*/ 15778605 w 25010275"/>
                <a:gd name="connsiteY57" fmla="*/ 1093983 h 15035524"/>
                <a:gd name="connsiteX58" fmla="*/ 16022739 w 25010275"/>
                <a:gd name="connsiteY58" fmla="*/ 1564133 h 15035524"/>
                <a:gd name="connsiteX59" fmla="*/ 16556232 w 25010275"/>
                <a:gd name="connsiteY59" fmla="*/ 2142785 h 15035524"/>
                <a:gd name="connsiteX60" fmla="*/ 17406193 w 25010275"/>
                <a:gd name="connsiteY60" fmla="*/ 1292897 h 15035524"/>
                <a:gd name="connsiteX61" fmla="*/ 18120524 w 25010275"/>
                <a:gd name="connsiteY61" fmla="*/ 714260 h 15035524"/>
                <a:gd name="connsiteX62" fmla="*/ 18744437 w 25010275"/>
                <a:gd name="connsiteY62" fmla="*/ -1 h 15035524"/>
                <a:gd name="connsiteX63" fmla="*/ 19982300 w 25010275"/>
                <a:gd name="connsiteY63" fmla="*/ 343465 h 15035524"/>
                <a:gd name="connsiteX64" fmla="*/ 19837609 w 25010275"/>
                <a:gd name="connsiteY64" fmla="*/ 1121173 h 15035524"/>
                <a:gd name="connsiteX65" fmla="*/ 21881359 w 25010275"/>
                <a:gd name="connsiteY65" fmla="*/ 1772279 h 15035524"/>
                <a:gd name="connsiteX66" fmla="*/ 21537712 w 25010275"/>
                <a:gd name="connsiteY66" fmla="*/ 2767023 h 15035524"/>
                <a:gd name="connsiteX67" fmla="*/ 22478203 w 25010275"/>
                <a:gd name="connsiteY67" fmla="*/ 2296774 h 15035524"/>
                <a:gd name="connsiteX68" fmla="*/ 23888932 w 25010275"/>
                <a:gd name="connsiteY68" fmla="*/ 1880797 h 15035524"/>
                <a:gd name="connsiteX69" fmla="*/ 25010275 w 25010275"/>
                <a:gd name="connsiteY69" fmla="*/ 578575 h 15035524"/>
                <a:gd name="connsiteX70" fmla="*/ 16350939 w 25010275"/>
                <a:gd name="connsiteY70" fmla="*/ 6053348 h 15035524"/>
                <a:gd name="connsiteX71" fmla="*/ 16362364 w 25010275"/>
                <a:gd name="connsiteY71" fmla="*/ 6360628 h 15035524"/>
                <a:gd name="connsiteX72" fmla="*/ 16682563 w 25010275"/>
                <a:gd name="connsiteY72" fmla="*/ 6798531 h 15035524"/>
                <a:gd name="connsiteX0" fmla="*/ 16682563 w 23888933"/>
                <a:gd name="connsiteY0" fmla="*/ 6798531 h 15035524"/>
                <a:gd name="connsiteX1" fmla="*/ 16432262 w 23888933"/>
                <a:gd name="connsiteY1" fmla="*/ 7825917 h 15035524"/>
                <a:gd name="connsiteX2" fmla="*/ 16106317 w 23888933"/>
                <a:gd name="connsiteY2" fmla="*/ 8367221 h 15035524"/>
                <a:gd name="connsiteX3" fmla="*/ 16305649 w 23888933"/>
                <a:gd name="connsiteY3" fmla="*/ 8754550 h 15035524"/>
                <a:gd name="connsiteX4" fmla="*/ 16287189 w 23888933"/>
                <a:gd name="connsiteY4" fmla="*/ 9151157 h 15035524"/>
                <a:gd name="connsiteX5" fmla="*/ 16372801 w 23888933"/>
                <a:gd name="connsiteY5" fmla="*/ 9717422 h 15035524"/>
                <a:gd name="connsiteX6" fmla="*/ 16070155 w 23888933"/>
                <a:gd name="connsiteY6" fmla="*/ 9937808 h 15035524"/>
                <a:gd name="connsiteX7" fmla="*/ 15805690 w 23888933"/>
                <a:gd name="connsiteY7" fmla="*/ 10431999 h 15035524"/>
                <a:gd name="connsiteX8" fmla="*/ 15195097 w 23888933"/>
                <a:gd name="connsiteY8" fmla="*/ 10093742 h 15035524"/>
                <a:gd name="connsiteX9" fmla="*/ 15011380 w 23888933"/>
                <a:gd name="connsiteY9" fmla="*/ 11048592 h 15035524"/>
                <a:gd name="connsiteX10" fmla="*/ 14908430 w 23888933"/>
                <a:gd name="connsiteY10" fmla="*/ 11937487 h 15035524"/>
                <a:gd name="connsiteX11" fmla="*/ 14904684 w 23888933"/>
                <a:gd name="connsiteY11" fmla="*/ 12760926 h 15035524"/>
                <a:gd name="connsiteX12" fmla="*/ 14929927 w 23888933"/>
                <a:gd name="connsiteY12" fmla="*/ 14391846 h 15035524"/>
                <a:gd name="connsiteX13" fmla="*/ 12952786 w 23888933"/>
                <a:gd name="connsiteY13" fmla="*/ 14842599 h 15035524"/>
                <a:gd name="connsiteX14" fmla="*/ 11934663 w 23888933"/>
                <a:gd name="connsiteY14" fmla="*/ 14890849 h 15035524"/>
                <a:gd name="connsiteX15" fmla="*/ 8506848 w 23888933"/>
                <a:gd name="connsiteY15" fmla="*/ 15035524 h 15035524"/>
                <a:gd name="connsiteX16" fmla="*/ 7985095 w 23888933"/>
                <a:gd name="connsiteY16" fmla="*/ 14390442 h 15035524"/>
                <a:gd name="connsiteX17" fmla="*/ 7400308 w 23888933"/>
                <a:gd name="connsiteY17" fmla="*/ 14360297 h 15035524"/>
                <a:gd name="connsiteX18" fmla="*/ 6972273 w 23888933"/>
                <a:gd name="connsiteY18" fmla="*/ 14631594 h 15035524"/>
                <a:gd name="connsiteX19" fmla="*/ 5181729 w 23888933"/>
                <a:gd name="connsiteY19" fmla="*/ 14547195 h 15035524"/>
                <a:gd name="connsiteX20" fmla="*/ 4397998 w 23888933"/>
                <a:gd name="connsiteY20" fmla="*/ 13914178 h 15035524"/>
                <a:gd name="connsiteX21" fmla="*/ 2908896 w 23888933"/>
                <a:gd name="connsiteY21" fmla="*/ 13106324 h 15035524"/>
                <a:gd name="connsiteX22" fmla="*/ 1263043 w 23888933"/>
                <a:gd name="connsiteY22" fmla="*/ 12394931 h 15035524"/>
                <a:gd name="connsiteX23" fmla="*/ 485320 w 23888933"/>
                <a:gd name="connsiteY23" fmla="*/ 11942774 h 15035524"/>
                <a:gd name="connsiteX24" fmla="*/ 0 w 23888933"/>
                <a:gd name="connsiteY24" fmla="*/ 11649662 h 15035524"/>
                <a:gd name="connsiteX25" fmla="*/ 1003686 w 23888933"/>
                <a:gd name="connsiteY25" fmla="*/ 10903697 h 15035524"/>
                <a:gd name="connsiteX26" fmla="*/ 2902551 w 23888933"/>
                <a:gd name="connsiteY26" fmla="*/ 9719298 h 15035524"/>
                <a:gd name="connsiteX27" fmla="*/ 2558940 w 23888933"/>
                <a:gd name="connsiteY27" fmla="*/ 9185867 h 15035524"/>
                <a:gd name="connsiteX28" fmla="*/ 2402508 w 23888933"/>
                <a:gd name="connsiteY28" fmla="*/ 8498784 h 15035524"/>
                <a:gd name="connsiteX29" fmla="*/ 2730740 w 23888933"/>
                <a:gd name="connsiteY29" fmla="*/ 8471613 h 15035524"/>
                <a:gd name="connsiteX30" fmla="*/ 2947754 w 23888933"/>
                <a:gd name="connsiteY30" fmla="*/ 8001468 h 15035524"/>
                <a:gd name="connsiteX31" fmla="*/ 3499325 w 23888933"/>
                <a:gd name="connsiteY31" fmla="*/ 7558451 h 15035524"/>
                <a:gd name="connsiteX32" fmla="*/ 3680166 w 23888933"/>
                <a:gd name="connsiteY32" fmla="*/ 6681453 h 15035524"/>
                <a:gd name="connsiteX33" fmla="*/ 4186528 w 23888933"/>
                <a:gd name="connsiteY33" fmla="*/ 6690489 h 15035524"/>
                <a:gd name="connsiteX34" fmla="*/ 4837569 w 23888933"/>
                <a:gd name="connsiteY34" fmla="*/ 7160639 h 15035524"/>
                <a:gd name="connsiteX35" fmla="*/ 5352976 w 23888933"/>
                <a:gd name="connsiteY35" fmla="*/ 7079272 h 15035524"/>
                <a:gd name="connsiteX36" fmla="*/ 5741786 w 23888933"/>
                <a:gd name="connsiteY36" fmla="*/ 6708577 h 15035524"/>
                <a:gd name="connsiteX37" fmla="*/ 6157723 w 23888933"/>
                <a:gd name="connsiteY37" fmla="*/ 6545836 h 15035524"/>
                <a:gd name="connsiteX38" fmla="*/ 6745471 w 23888933"/>
                <a:gd name="connsiteY38" fmla="*/ 5976243 h 15035524"/>
                <a:gd name="connsiteX39" fmla="*/ 6890140 w 23888933"/>
                <a:gd name="connsiteY39" fmla="*/ 5126367 h 15035524"/>
                <a:gd name="connsiteX40" fmla="*/ 7568305 w 23888933"/>
                <a:gd name="connsiteY40" fmla="*/ 4556773 h 15035524"/>
                <a:gd name="connsiteX41" fmla="*/ 8137967 w 23888933"/>
                <a:gd name="connsiteY41" fmla="*/ 4113752 h 15035524"/>
                <a:gd name="connsiteX42" fmla="*/ 8463480 w 23888933"/>
                <a:gd name="connsiteY42" fmla="*/ 3309085 h 15035524"/>
                <a:gd name="connsiteX43" fmla="*/ 9024093 w 23888933"/>
                <a:gd name="connsiteY43" fmla="*/ 2956478 h 15035524"/>
                <a:gd name="connsiteX44" fmla="*/ 9675138 w 23888933"/>
                <a:gd name="connsiteY44" fmla="*/ 2603876 h 15035524"/>
                <a:gd name="connsiteX45" fmla="*/ 9558580 w 23888933"/>
                <a:gd name="connsiteY45" fmla="*/ 2055592 h 15035524"/>
                <a:gd name="connsiteX46" fmla="*/ 10353296 w 23888933"/>
                <a:gd name="connsiteY46" fmla="*/ 1383308 h 15035524"/>
                <a:gd name="connsiteX47" fmla="*/ 10832530 w 23888933"/>
                <a:gd name="connsiteY47" fmla="*/ 1310974 h 15035524"/>
                <a:gd name="connsiteX48" fmla="*/ 11058585 w 23888933"/>
                <a:gd name="connsiteY48" fmla="*/ 1763043 h 15035524"/>
                <a:gd name="connsiteX49" fmla="*/ 11411229 w 23888933"/>
                <a:gd name="connsiteY49" fmla="*/ 2142774 h 15035524"/>
                <a:gd name="connsiteX50" fmla="*/ 11998974 w 23888933"/>
                <a:gd name="connsiteY50" fmla="*/ 2224144 h 15035524"/>
                <a:gd name="connsiteX51" fmla="*/ 12315449 w 23888933"/>
                <a:gd name="connsiteY51" fmla="*/ 2884156 h 15035524"/>
                <a:gd name="connsiteX52" fmla="*/ 12785642 w 23888933"/>
                <a:gd name="connsiteY52" fmla="*/ 2703327 h 15035524"/>
                <a:gd name="connsiteX53" fmla="*/ 13671776 w 23888933"/>
                <a:gd name="connsiteY53" fmla="*/ 3155388 h 15035524"/>
                <a:gd name="connsiteX54" fmla="*/ 14123886 w 23888933"/>
                <a:gd name="connsiteY54" fmla="*/ 2857035 h 15035524"/>
                <a:gd name="connsiteX55" fmla="*/ 14259509 w 23888933"/>
                <a:gd name="connsiteY55" fmla="*/ 2287434 h 15035524"/>
                <a:gd name="connsiteX56" fmla="*/ 14892468 w 23888933"/>
                <a:gd name="connsiteY56" fmla="*/ 1645503 h 15035524"/>
                <a:gd name="connsiteX57" fmla="*/ 15778605 w 23888933"/>
                <a:gd name="connsiteY57" fmla="*/ 1093983 h 15035524"/>
                <a:gd name="connsiteX58" fmla="*/ 16022739 w 23888933"/>
                <a:gd name="connsiteY58" fmla="*/ 1564133 h 15035524"/>
                <a:gd name="connsiteX59" fmla="*/ 16556232 w 23888933"/>
                <a:gd name="connsiteY59" fmla="*/ 2142785 h 15035524"/>
                <a:gd name="connsiteX60" fmla="*/ 17406193 w 23888933"/>
                <a:gd name="connsiteY60" fmla="*/ 1292897 h 15035524"/>
                <a:gd name="connsiteX61" fmla="*/ 18120524 w 23888933"/>
                <a:gd name="connsiteY61" fmla="*/ 714260 h 15035524"/>
                <a:gd name="connsiteX62" fmla="*/ 18744437 w 23888933"/>
                <a:gd name="connsiteY62" fmla="*/ -1 h 15035524"/>
                <a:gd name="connsiteX63" fmla="*/ 19982300 w 23888933"/>
                <a:gd name="connsiteY63" fmla="*/ 343465 h 15035524"/>
                <a:gd name="connsiteX64" fmla="*/ 19837609 w 23888933"/>
                <a:gd name="connsiteY64" fmla="*/ 1121173 h 15035524"/>
                <a:gd name="connsiteX65" fmla="*/ 21881359 w 23888933"/>
                <a:gd name="connsiteY65" fmla="*/ 1772279 h 15035524"/>
                <a:gd name="connsiteX66" fmla="*/ 21537712 w 23888933"/>
                <a:gd name="connsiteY66" fmla="*/ 2767023 h 15035524"/>
                <a:gd name="connsiteX67" fmla="*/ 22478203 w 23888933"/>
                <a:gd name="connsiteY67" fmla="*/ 2296774 h 15035524"/>
                <a:gd name="connsiteX68" fmla="*/ 23888932 w 23888933"/>
                <a:gd name="connsiteY68" fmla="*/ 1880797 h 15035524"/>
                <a:gd name="connsiteX69" fmla="*/ 17541488 w 23888933"/>
                <a:gd name="connsiteY69" fmla="*/ 3715695 h 15035524"/>
                <a:gd name="connsiteX70" fmla="*/ 16350939 w 23888933"/>
                <a:gd name="connsiteY70" fmla="*/ 6053348 h 15035524"/>
                <a:gd name="connsiteX71" fmla="*/ 16362364 w 23888933"/>
                <a:gd name="connsiteY71" fmla="*/ 6360628 h 15035524"/>
                <a:gd name="connsiteX72" fmla="*/ 16682563 w 23888933"/>
                <a:gd name="connsiteY72" fmla="*/ 6798531 h 15035524"/>
                <a:gd name="connsiteX0" fmla="*/ 16682563 w 23888933"/>
                <a:gd name="connsiteY0" fmla="*/ 6798531 h 15035524"/>
                <a:gd name="connsiteX1" fmla="*/ 16432262 w 23888933"/>
                <a:gd name="connsiteY1" fmla="*/ 7825917 h 15035524"/>
                <a:gd name="connsiteX2" fmla="*/ 16106317 w 23888933"/>
                <a:gd name="connsiteY2" fmla="*/ 8367221 h 15035524"/>
                <a:gd name="connsiteX3" fmla="*/ 16305649 w 23888933"/>
                <a:gd name="connsiteY3" fmla="*/ 8754550 h 15035524"/>
                <a:gd name="connsiteX4" fmla="*/ 16287189 w 23888933"/>
                <a:gd name="connsiteY4" fmla="*/ 9151157 h 15035524"/>
                <a:gd name="connsiteX5" fmla="*/ 16372801 w 23888933"/>
                <a:gd name="connsiteY5" fmla="*/ 9717422 h 15035524"/>
                <a:gd name="connsiteX6" fmla="*/ 16070155 w 23888933"/>
                <a:gd name="connsiteY6" fmla="*/ 9937808 h 15035524"/>
                <a:gd name="connsiteX7" fmla="*/ 15805690 w 23888933"/>
                <a:gd name="connsiteY7" fmla="*/ 10431999 h 15035524"/>
                <a:gd name="connsiteX8" fmla="*/ 15195097 w 23888933"/>
                <a:gd name="connsiteY8" fmla="*/ 10093742 h 15035524"/>
                <a:gd name="connsiteX9" fmla="*/ 15011380 w 23888933"/>
                <a:gd name="connsiteY9" fmla="*/ 11048592 h 15035524"/>
                <a:gd name="connsiteX10" fmla="*/ 14908430 w 23888933"/>
                <a:gd name="connsiteY10" fmla="*/ 11937487 h 15035524"/>
                <a:gd name="connsiteX11" fmla="*/ 14904684 w 23888933"/>
                <a:gd name="connsiteY11" fmla="*/ 12760926 h 15035524"/>
                <a:gd name="connsiteX12" fmla="*/ 14929927 w 23888933"/>
                <a:gd name="connsiteY12" fmla="*/ 14391846 h 15035524"/>
                <a:gd name="connsiteX13" fmla="*/ 12952786 w 23888933"/>
                <a:gd name="connsiteY13" fmla="*/ 14842599 h 15035524"/>
                <a:gd name="connsiteX14" fmla="*/ 11934663 w 23888933"/>
                <a:gd name="connsiteY14" fmla="*/ 14890849 h 15035524"/>
                <a:gd name="connsiteX15" fmla="*/ 8506848 w 23888933"/>
                <a:gd name="connsiteY15" fmla="*/ 15035524 h 15035524"/>
                <a:gd name="connsiteX16" fmla="*/ 7985095 w 23888933"/>
                <a:gd name="connsiteY16" fmla="*/ 14390442 h 15035524"/>
                <a:gd name="connsiteX17" fmla="*/ 7400308 w 23888933"/>
                <a:gd name="connsiteY17" fmla="*/ 14360297 h 15035524"/>
                <a:gd name="connsiteX18" fmla="*/ 6972273 w 23888933"/>
                <a:gd name="connsiteY18" fmla="*/ 14631594 h 15035524"/>
                <a:gd name="connsiteX19" fmla="*/ 5181729 w 23888933"/>
                <a:gd name="connsiteY19" fmla="*/ 14547195 h 15035524"/>
                <a:gd name="connsiteX20" fmla="*/ 4397998 w 23888933"/>
                <a:gd name="connsiteY20" fmla="*/ 13914178 h 15035524"/>
                <a:gd name="connsiteX21" fmla="*/ 2908896 w 23888933"/>
                <a:gd name="connsiteY21" fmla="*/ 13106324 h 15035524"/>
                <a:gd name="connsiteX22" fmla="*/ 1263043 w 23888933"/>
                <a:gd name="connsiteY22" fmla="*/ 12394931 h 15035524"/>
                <a:gd name="connsiteX23" fmla="*/ 485320 w 23888933"/>
                <a:gd name="connsiteY23" fmla="*/ 11942774 h 15035524"/>
                <a:gd name="connsiteX24" fmla="*/ 0 w 23888933"/>
                <a:gd name="connsiteY24" fmla="*/ 11649662 h 15035524"/>
                <a:gd name="connsiteX25" fmla="*/ 1003686 w 23888933"/>
                <a:gd name="connsiteY25" fmla="*/ 10903697 h 15035524"/>
                <a:gd name="connsiteX26" fmla="*/ 2902551 w 23888933"/>
                <a:gd name="connsiteY26" fmla="*/ 9719298 h 15035524"/>
                <a:gd name="connsiteX27" fmla="*/ 2558940 w 23888933"/>
                <a:gd name="connsiteY27" fmla="*/ 9185867 h 15035524"/>
                <a:gd name="connsiteX28" fmla="*/ 2402508 w 23888933"/>
                <a:gd name="connsiteY28" fmla="*/ 8498784 h 15035524"/>
                <a:gd name="connsiteX29" fmla="*/ 2730740 w 23888933"/>
                <a:gd name="connsiteY29" fmla="*/ 8471613 h 15035524"/>
                <a:gd name="connsiteX30" fmla="*/ 2947754 w 23888933"/>
                <a:gd name="connsiteY30" fmla="*/ 8001468 h 15035524"/>
                <a:gd name="connsiteX31" fmla="*/ 3499325 w 23888933"/>
                <a:gd name="connsiteY31" fmla="*/ 7558451 h 15035524"/>
                <a:gd name="connsiteX32" fmla="*/ 3680166 w 23888933"/>
                <a:gd name="connsiteY32" fmla="*/ 6681453 h 15035524"/>
                <a:gd name="connsiteX33" fmla="*/ 4186528 w 23888933"/>
                <a:gd name="connsiteY33" fmla="*/ 6690489 h 15035524"/>
                <a:gd name="connsiteX34" fmla="*/ 4837569 w 23888933"/>
                <a:gd name="connsiteY34" fmla="*/ 7160639 h 15035524"/>
                <a:gd name="connsiteX35" fmla="*/ 5352976 w 23888933"/>
                <a:gd name="connsiteY35" fmla="*/ 7079272 h 15035524"/>
                <a:gd name="connsiteX36" fmla="*/ 5741786 w 23888933"/>
                <a:gd name="connsiteY36" fmla="*/ 6708577 h 15035524"/>
                <a:gd name="connsiteX37" fmla="*/ 6157723 w 23888933"/>
                <a:gd name="connsiteY37" fmla="*/ 6545836 h 15035524"/>
                <a:gd name="connsiteX38" fmla="*/ 6745471 w 23888933"/>
                <a:gd name="connsiteY38" fmla="*/ 5976243 h 15035524"/>
                <a:gd name="connsiteX39" fmla="*/ 6890140 w 23888933"/>
                <a:gd name="connsiteY39" fmla="*/ 5126367 h 15035524"/>
                <a:gd name="connsiteX40" fmla="*/ 7568305 w 23888933"/>
                <a:gd name="connsiteY40" fmla="*/ 4556773 h 15035524"/>
                <a:gd name="connsiteX41" fmla="*/ 8137967 w 23888933"/>
                <a:gd name="connsiteY41" fmla="*/ 4113752 h 15035524"/>
                <a:gd name="connsiteX42" fmla="*/ 8463480 w 23888933"/>
                <a:gd name="connsiteY42" fmla="*/ 3309085 h 15035524"/>
                <a:gd name="connsiteX43" fmla="*/ 9024093 w 23888933"/>
                <a:gd name="connsiteY43" fmla="*/ 2956478 h 15035524"/>
                <a:gd name="connsiteX44" fmla="*/ 9675138 w 23888933"/>
                <a:gd name="connsiteY44" fmla="*/ 2603876 h 15035524"/>
                <a:gd name="connsiteX45" fmla="*/ 9558580 w 23888933"/>
                <a:gd name="connsiteY45" fmla="*/ 2055592 h 15035524"/>
                <a:gd name="connsiteX46" fmla="*/ 10353296 w 23888933"/>
                <a:gd name="connsiteY46" fmla="*/ 1383308 h 15035524"/>
                <a:gd name="connsiteX47" fmla="*/ 10832530 w 23888933"/>
                <a:gd name="connsiteY47" fmla="*/ 1310974 h 15035524"/>
                <a:gd name="connsiteX48" fmla="*/ 11058585 w 23888933"/>
                <a:gd name="connsiteY48" fmla="*/ 1763043 h 15035524"/>
                <a:gd name="connsiteX49" fmla="*/ 11411229 w 23888933"/>
                <a:gd name="connsiteY49" fmla="*/ 2142774 h 15035524"/>
                <a:gd name="connsiteX50" fmla="*/ 11998974 w 23888933"/>
                <a:gd name="connsiteY50" fmla="*/ 2224144 h 15035524"/>
                <a:gd name="connsiteX51" fmla="*/ 12315449 w 23888933"/>
                <a:gd name="connsiteY51" fmla="*/ 2884156 h 15035524"/>
                <a:gd name="connsiteX52" fmla="*/ 12785642 w 23888933"/>
                <a:gd name="connsiteY52" fmla="*/ 2703327 h 15035524"/>
                <a:gd name="connsiteX53" fmla="*/ 13671776 w 23888933"/>
                <a:gd name="connsiteY53" fmla="*/ 3155388 h 15035524"/>
                <a:gd name="connsiteX54" fmla="*/ 14123886 w 23888933"/>
                <a:gd name="connsiteY54" fmla="*/ 2857035 h 15035524"/>
                <a:gd name="connsiteX55" fmla="*/ 14259509 w 23888933"/>
                <a:gd name="connsiteY55" fmla="*/ 2287434 h 15035524"/>
                <a:gd name="connsiteX56" fmla="*/ 14892468 w 23888933"/>
                <a:gd name="connsiteY56" fmla="*/ 1645503 h 15035524"/>
                <a:gd name="connsiteX57" fmla="*/ 15778605 w 23888933"/>
                <a:gd name="connsiteY57" fmla="*/ 1093983 h 15035524"/>
                <a:gd name="connsiteX58" fmla="*/ 16022739 w 23888933"/>
                <a:gd name="connsiteY58" fmla="*/ 1564133 h 15035524"/>
                <a:gd name="connsiteX59" fmla="*/ 16556232 w 23888933"/>
                <a:gd name="connsiteY59" fmla="*/ 2142785 h 15035524"/>
                <a:gd name="connsiteX60" fmla="*/ 17406193 w 23888933"/>
                <a:gd name="connsiteY60" fmla="*/ 1292897 h 15035524"/>
                <a:gd name="connsiteX61" fmla="*/ 18120524 w 23888933"/>
                <a:gd name="connsiteY61" fmla="*/ 714260 h 15035524"/>
                <a:gd name="connsiteX62" fmla="*/ 18744437 w 23888933"/>
                <a:gd name="connsiteY62" fmla="*/ -1 h 15035524"/>
                <a:gd name="connsiteX63" fmla="*/ 19982300 w 23888933"/>
                <a:gd name="connsiteY63" fmla="*/ 343465 h 15035524"/>
                <a:gd name="connsiteX64" fmla="*/ 19837609 w 23888933"/>
                <a:gd name="connsiteY64" fmla="*/ 1121173 h 15035524"/>
                <a:gd name="connsiteX65" fmla="*/ 21881359 w 23888933"/>
                <a:gd name="connsiteY65" fmla="*/ 1772279 h 15035524"/>
                <a:gd name="connsiteX66" fmla="*/ 21537712 w 23888933"/>
                <a:gd name="connsiteY66" fmla="*/ 2767023 h 15035524"/>
                <a:gd name="connsiteX67" fmla="*/ 22478203 w 23888933"/>
                <a:gd name="connsiteY67" fmla="*/ 2296774 h 15035524"/>
                <a:gd name="connsiteX68" fmla="*/ 23888932 w 23888933"/>
                <a:gd name="connsiteY68" fmla="*/ 1880797 h 15035524"/>
                <a:gd name="connsiteX69" fmla="*/ 14031723 w 23888933"/>
                <a:gd name="connsiteY69" fmla="*/ 5592368 h 15035524"/>
                <a:gd name="connsiteX70" fmla="*/ 16350939 w 23888933"/>
                <a:gd name="connsiteY70" fmla="*/ 6053348 h 15035524"/>
                <a:gd name="connsiteX71" fmla="*/ 16362364 w 23888933"/>
                <a:gd name="connsiteY71" fmla="*/ 6360628 h 15035524"/>
                <a:gd name="connsiteX72" fmla="*/ 16682563 w 23888933"/>
                <a:gd name="connsiteY72" fmla="*/ 6798531 h 15035524"/>
                <a:gd name="connsiteX0" fmla="*/ 16682563 w 23888933"/>
                <a:gd name="connsiteY0" fmla="*/ 6798531 h 15035524"/>
                <a:gd name="connsiteX1" fmla="*/ 16432262 w 23888933"/>
                <a:gd name="connsiteY1" fmla="*/ 7825917 h 15035524"/>
                <a:gd name="connsiteX2" fmla="*/ 16106317 w 23888933"/>
                <a:gd name="connsiteY2" fmla="*/ 8367221 h 15035524"/>
                <a:gd name="connsiteX3" fmla="*/ 16305649 w 23888933"/>
                <a:gd name="connsiteY3" fmla="*/ 8754550 h 15035524"/>
                <a:gd name="connsiteX4" fmla="*/ 16287189 w 23888933"/>
                <a:gd name="connsiteY4" fmla="*/ 9151157 h 15035524"/>
                <a:gd name="connsiteX5" fmla="*/ 16372801 w 23888933"/>
                <a:gd name="connsiteY5" fmla="*/ 9717422 h 15035524"/>
                <a:gd name="connsiteX6" fmla="*/ 16070155 w 23888933"/>
                <a:gd name="connsiteY6" fmla="*/ 9937808 h 15035524"/>
                <a:gd name="connsiteX7" fmla="*/ 15805690 w 23888933"/>
                <a:gd name="connsiteY7" fmla="*/ 10431999 h 15035524"/>
                <a:gd name="connsiteX8" fmla="*/ 15195097 w 23888933"/>
                <a:gd name="connsiteY8" fmla="*/ 10093742 h 15035524"/>
                <a:gd name="connsiteX9" fmla="*/ 15011380 w 23888933"/>
                <a:gd name="connsiteY9" fmla="*/ 11048592 h 15035524"/>
                <a:gd name="connsiteX10" fmla="*/ 14908430 w 23888933"/>
                <a:gd name="connsiteY10" fmla="*/ 11937487 h 15035524"/>
                <a:gd name="connsiteX11" fmla="*/ 14904684 w 23888933"/>
                <a:gd name="connsiteY11" fmla="*/ 12760926 h 15035524"/>
                <a:gd name="connsiteX12" fmla="*/ 14929927 w 23888933"/>
                <a:gd name="connsiteY12" fmla="*/ 14391846 h 15035524"/>
                <a:gd name="connsiteX13" fmla="*/ 12952786 w 23888933"/>
                <a:gd name="connsiteY13" fmla="*/ 14842599 h 15035524"/>
                <a:gd name="connsiteX14" fmla="*/ 11934663 w 23888933"/>
                <a:gd name="connsiteY14" fmla="*/ 14890849 h 15035524"/>
                <a:gd name="connsiteX15" fmla="*/ 8506848 w 23888933"/>
                <a:gd name="connsiteY15" fmla="*/ 15035524 h 15035524"/>
                <a:gd name="connsiteX16" fmla="*/ 7985095 w 23888933"/>
                <a:gd name="connsiteY16" fmla="*/ 14390442 h 15035524"/>
                <a:gd name="connsiteX17" fmla="*/ 7400308 w 23888933"/>
                <a:gd name="connsiteY17" fmla="*/ 14360297 h 15035524"/>
                <a:gd name="connsiteX18" fmla="*/ 6972273 w 23888933"/>
                <a:gd name="connsiteY18" fmla="*/ 14631594 h 15035524"/>
                <a:gd name="connsiteX19" fmla="*/ 5181729 w 23888933"/>
                <a:gd name="connsiteY19" fmla="*/ 14547195 h 15035524"/>
                <a:gd name="connsiteX20" fmla="*/ 4397998 w 23888933"/>
                <a:gd name="connsiteY20" fmla="*/ 13914178 h 15035524"/>
                <a:gd name="connsiteX21" fmla="*/ 2908896 w 23888933"/>
                <a:gd name="connsiteY21" fmla="*/ 13106324 h 15035524"/>
                <a:gd name="connsiteX22" fmla="*/ 1263043 w 23888933"/>
                <a:gd name="connsiteY22" fmla="*/ 12394931 h 15035524"/>
                <a:gd name="connsiteX23" fmla="*/ 485320 w 23888933"/>
                <a:gd name="connsiteY23" fmla="*/ 11942774 h 15035524"/>
                <a:gd name="connsiteX24" fmla="*/ 0 w 23888933"/>
                <a:gd name="connsiteY24" fmla="*/ 11649662 h 15035524"/>
                <a:gd name="connsiteX25" fmla="*/ 1003686 w 23888933"/>
                <a:gd name="connsiteY25" fmla="*/ 10903697 h 15035524"/>
                <a:gd name="connsiteX26" fmla="*/ 2902551 w 23888933"/>
                <a:gd name="connsiteY26" fmla="*/ 9719298 h 15035524"/>
                <a:gd name="connsiteX27" fmla="*/ 2558940 w 23888933"/>
                <a:gd name="connsiteY27" fmla="*/ 9185867 h 15035524"/>
                <a:gd name="connsiteX28" fmla="*/ 2402508 w 23888933"/>
                <a:gd name="connsiteY28" fmla="*/ 8498784 h 15035524"/>
                <a:gd name="connsiteX29" fmla="*/ 2730740 w 23888933"/>
                <a:gd name="connsiteY29" fmla="*/ 8471613 h 15035524"/>
                <a:gd name="connsiteX30" fmla="*/ 2947754 w 23888933"/>
                <a:gd name="connsiteY30" fmla="*/ 8001468 h 15035524"/>
                <a:gd name="connsiteX31" fmla="*/ 3499325 w 23888933"/>
                <a:gd name="connsiteY31" fmla="*/ 7558451 h 15035524"/>
                <a:gd name="connsiteX32" fmla="*/ 3680166 w 23888933"/>
                <a:gd name="connsiteY32" fmla="*/ 6681453 h 15035524"/>
                <a:gd name="connsiteX33" fmla="*/ 4186528 w 23888933"/>
                <a:gd name="connsiteY33" fmla="*/ 6690489 h 15035524"/>
                <a:gd name="connsiteX34" fmla="*/ 4837569 w 23888933"/>
                <a:gd name="connsiteY34" fmla="*/ 7160639 h 15035524"/>
                <a:gd name="connsiteX35" fmla="*/ 5352976 w 23888933"/>
                <a:gd name="connsiteY35" fmla="*/ 7079272 h 15035524"/>
                <a:gd name="connsiteX36" fmla="*/ 5741786 w 23888933"/>
                <a:gd name="connsiteY36" fmla="*/ 6708577 h 15035524"/>
                <a:gd name="connsiteX37" fmla="*/ 6157723 w 23888933"/>
                <a:gd name="connsiteY37" fmla="*/ 6545836 h 15035524"/>
                <a:gd name="connsiteX38" fmla="*/ 6745471 w 23888933"/>
                <a:gd name="connsiteY38" fmla="*/ 5976243 h 15035524"/>
                <a:gd name="connsiteX39" fmla="*/ 6890140 w 23888933"/>
                <a:gd name="connsiteY39" fmla="*/ 5126367 h 15035524"/>
                <a:gd name="connsiteX40" fmla="*/ 7568305 w 23888933"/>
                <a:gd name="connsiteY40" fmla="*/ 4556773 h 15035524"/>
                <a:gd name="connsiteX41" fmla="*/ 8137967 w 23888933"/>
                <a:gd name="connsiteY41" fmla="*/ 4113752 h 15035524"/>
                <a:gd name="connsiteX42" fmla="*/ 8463480 w 23888933"/>
                <a:gd name="connsiteY42" fmla="*/ 3309085 h 15035524"/>
                <a:gd name="connsiteX43" fmla="*/ 9024093 w 23888933"/>
                <a:gd name="connsiteY43" fmla="*/ 2956478 h 15035524"/>
                <a:gd name="connsiteX44" fmla="*/ 9675138 w 23888933"/>
                <a:gd name="connsiteY44" fmla="*/ 2603876 h 15035524"/>
                <a:gd name="connsiteX45" fmla="*/ 9558580 w 23888933"/>
                <a:gd name="connsiteY45" fmla="*/ 2055592 h 15035524"/>
                <a:gd name="connsiteX46" fmla="*/ 10353296 w 23888933"/>
                <a:gd name="connsiteY46" fmla="*/ 1383308 h 15035524"/>
                <a:gd name="connsiteX47" fmla="*/ 10832530 w 23888933"/>
                <a:gd name="connsiteY47" fmla="*/ 1310974 h 15035524"/>
                <a:gd name="connsiteX48" fmla="*/ 11058585 w 23888933"/>
                <a:gd name="connsiteY48" fmla="*/ 1763043 h 15035524"/>
                <a:gd name="connsiteX49" fmla="*/ 11411229 w 23888933"/>
                <a:gd name="connsiteY49" fmla="*/ 2142774 h 15035524"/>
                <a:gd name="connsiteX50" fmla="*/ 11998974 w 23888933"/>
                <a:gd name="connsiteY50" fmla="*/ 2224144 h 15035524"/>
                <a:gd name="connsiteX51" fmla="*/ 12315449 w 23888933"/>
                <a:gd name="connsiteY51" fmla="*/ 2884156 h 15035524"/>
                <a:gd name="connsiteX52" fmla="*/ 12785642 w 23888933"/>
                <a:gd name="connsiteY52" fmla="*/ 2703327 h 15035524"/>
                <a:gd name="connsiteX53" fmla="*/ 13671776 w 23888933"/>
                <a:gd name="connsiteY53" fmla="*/ 3155388 h 15035524"/>
                <a:gd name="connsiteX54" fmla="*/ 14123886 w 23888933"/>
                <a:gd name="connsiteY54" fmla="*/ 2857035 h 15035524"/>
                <a:gd name="connsiteX55" fmla="*/ 14259509 w 23888933"/>
                <a:gd name="connsiteY55" fmla="*/ 2287434 h 15035524"/>
                <a:gd name="connsiteX56" fmla="*/ 14892468 w 23888933"/>
                <a:gd name="connsiteY56" fmla="*/ 1645503 h 15035524"/>
                <a:gd name="connsiteX57" fmla="*/ 15778605 w 23888933"/>
                <a:gd name="connsiteY57" fmla="*/ 1093983 h 15035524"/>
                <a:gd name="connsiteX58" fmla="*/ 16022739 w 23888933"/>
                <a:gd name="connsiteY58" fmla="*/ 1564133 h 15035524"/>
                <a:gd name="connsiteX59" fmla="*/ 16556232 w 23888933"/>
                <a:gd name="connsiteY59" fmla="*/ 2142785 h 15035524"/>
                <a:gd name="connsiteX60" fmla="*/ 17406193 w 23888933"/>
                <a:gd name="connsiteY60" fmla="*/ 1292897 h 15035524"/>
                <a:gd name="connsiteX61" fmla="*/ 18120524 w 23888933"/>
                <a:gd name="connsiteY61" fmla="*/ 714260 h 15035524"/>
                <a:gd name="connsiteX62" fmla="*/ 18744437 w 23888933"/>
                <a:gd name="connsiteY62" fmla="*/ -1 h 15035524"/>
                <a:gd name="connsiteX63" fmla="*/ 19982300 w 23888933"/>
                <a:gd name="connsiteY63" fmla="*/ 343465 h 15035524"/>
                <a:gd name="connsiteX64" fmla="*/ 19837609 w 23888933"/>
                <a:gd name="connsiteY64" fmla="*/ 1121173 h 15035524"/>
                <a:gd name="connsiteX65" fmla="*/ 21881359 w 23888933"/>
                <a:gd name="connsiteY65" fmla="*/ 1772279 h 15035524"/>
                <a:gd name="connsiteX66" fmla="*/ 21537712 w 23888933"/>
                <a:gd name="connsiteY66" fmla="*/ 2767023 h 15035524"/>
                <a:gd name="connsiteX67" fmla="*/ 22478203 w 23888933"/>
                <a:gd name="connsiteY67" fmla="*/ 2296774 h 15035524"/>
                <a:gd name="connsiteX68" fmla="*/ 23888932 w 23888933"/>
                <a:gd name="connsiteY68" fmla="*/ 1880797 h 15035524"/>
                <a:gd name="connsiteX69" fmla="*/ 15323320 w 23888933"/>
                <a:gd name="connsiteY69" fmla="*/ 5928489 h 15035524"/>
                <a:gd name="connsiteX70" fmla="*/ 16350939 w 23888933"/>
                <a:gd name="connsiteY70" fmla="*/ 6053348 h 15035524"/>
                <a:gd name="connsiteX71" fmla="*/ 16362364 w 23888933"/>
                <a:gd name="connsiteY71" fmla="*/ 6360628 h 15035524"/>
                <a:gd name="connsiteX72" fmla="*/ 16682563 w 23888933"/>
                <a:gd name="connsiteY72" fmla="*/ 6798531 h 15035524"/>
                <a:gd name="connsiteX0" fmla="*/ 16682563 w 22478203"/>
                <a:gd name="connsiteY0" fmla="*/ 6798531 h 15035524"/>
                <a:gd name="connsiteX1" fmla="*/ 16432262 w 22478203"/>
                <a:gd name="connsiteY1" fmla="*/ 7825917 h 15035524"/>
                <a:gd name="connsiteX2" fmla="*/ 16106317 w 22478203"/>
                <a:gd name="connsiteY2" fmla="*/ 8367221 h 15035524"/>
                <a:gd name="connsiteX3" fmla="*/ 16305649 w 22478203"/>
                <a:gd name="connsiteY3" fmla="*/ 8754550 h 15035524"/>
                <a:gd name="connsiteX4" fmla="*/ 16287189 w 22478203"/>
                <a:gd name="connsiteY4" fmla="*/ 9151157 h 15035524"/>
                <a:gd name="connsiteX5" fmla="*/ 16372801 w 22478203"/>
                <a:gd name="connsiteY5" fmla="*/ 9717422 h 15035524"/>
                <a:gd name="connsiteX6" fmla="*/ 16070155 w 22478203"/>
                <a:gd name="connsiteY6" fmla="*/ 9937808 h 15035524"/>
                <a:gd name="connsiteX7" fmla="*/ 15805690 w 22478203"/>
                <a:gd name="connsiteY7" fmla="*/ 10431999 h 15035524"/>
                <a:gd name="connsiteX8" fmla="*/ 15195097 w 22478203"/>
                <a:gd name="connsiteY8" fmla="*/ 10093742 h 15035524"/>
                <a:gd name="connsiteX9" fmla="*/ 15011380 w 22478203"/>
                <a:gd name="connsiteY9" fmla="*/ 11048592 h 15035524"/>
                <a:gd name="connsiteX10" fmla="*/ 14908430 w 22478203"/>
                <a:gd name="connsiteY10" fmla="*/ 11937487 h 15035524"/>
                <a:gd name="connsiteX11" fmla="*/ 14904684 w 22478203"/>
                <a:gd name="connsiteY11" fmla="*/ 12760926 h 15035524"/>
                <a:gd name="connsiteX12" fmla="*/ 14929927 w 22478203"/>
                <a:gd name="connsiteY12" fmla="*/ 14391846 h 15035524"/>
                <a:gd name="connsiteX13" fmla="*/ 12952786 w 22478203"/>
                <a:gd name="connsiteY13" fmla="*/ 14842599 h 15035524"/>
                <a:gd name="connsiteX14" fmla="*/ 11934663 w 22478203"/>
                <a:gd name="connsiteY14" fmla="*/ 14890849 h 15035524"/>
                <a:gd name="connsiteX15" fmla="*/ 8506848 w 22478203"/>
                <a:gd name="connsiteY15" fmla="*/ 15035524 h 15035524"/>
                <a:gd name="connsiteX16" fmla="*/ 7985095 w 22478203"/>
                <a:gd name="connsiteY16" fmla="*/ 14390442 h 15035524"/>
                <a:gd name="connsiteX17" fmla="*/ 7400308 w 22478203"/>
                <a:gd name="connsiteY17" fmla="*/ 14360297 h 15035524"/>
                <a:gd name="connsiteX18" fmla="*/ 6972273 w 22478203"/>
                <a:gd name="connsiteY18" fmla="*/ 14631594 h 15035524"/>
                <a:gd name="connsiteX19" fmla="*/ 5181729 w 22478203"/>
                <a:gd name="connsiteY19" fmla="*/ 14547195 h 15035524"/>
                <a:gd name="connsiteX20" fmla="*/ 4397998 w 22478203"/>
                <a:gd name="connsiteY20" fmla="*/ 13914178 h 15035524"/>
                <a:gd name="connsiteX21" fmla="*/ 2908896 w 22478203"/>
                <a:gd name="connsiteY21" fmla="*/ 13106324 h 15035524"/>
                <a:gd name="connsiteX22" fmla="*/ 1263043 w 22478203"/>
                <a:gd name="connsiteY22" fmla="*/ 12394931 h 15035524"/>
                <a:gd name="connsiteX23" fmla="*/ 485320 w 22478203"/>
                <a:gd name="connsiteY23" fmla="*/ 11942774 h 15035524"/>
                <a:gd name="connsiteX24" fmla="*/ 0 w 22478203"/>
                <a:gd name="connsiteY24" fmla="*/ 11649662 h 15035524"/>
                <a:gd name="connsiteX25" fmla="*/ 1003686 w 22478203"/>
                <a:gd name="connsiteY25" fmla="*/ 10903697 h 15035524"/>
                <a:gd name="connsiteX26" fmla="*/ 2902551 w 22478203"/>
                <a:gd name="connsiteY26" fmla="*/ 9719298 h 15035524"/>
                <a:gd name="connsiteX27" fmla="*/ 2558940 w 22478203"/>
                <a:gd name="connsiteY27" fmla="*/ 9185867 h 15035524"/>
                <a:gd name="connsiteX28" fmla="*/ 2402508 w 22478203"/>
                <a:gd name="connsiteY28" fmla="*/ 8498784 h 15035524"/>
                <a:gd name="connsiteX29" fmla="*/ 2730740 w 22478203"/>
                <a:gd name="connsiteY29" fmla="*/ 8471613 h 15035524"/>
                <a:gd name="connsiteX30" fmla="*/ 2947754 w 22478203"/>
                <a:gd name="connsiteY30" fmla="*/ 8001468 h 15035524"/>
                <a:gd name="connsiteX31" fmla="*/ 3499325 w 22478203"/>
                <a:gd name="connsiteY31" fmla="*/ 7558451 h 15035524"/>
                <a:gd name="connsiteX32" fmla="*/ 3680166 w 22478203"/>
                <a:gd name="connsiteY32" fmla="*/ 6681453 h 15035524"/>
                <a:gd name="connsiteX33" fmla="*/ 4186528 w 22478203"/>
                <a:gd name="connsiteY33" fmla="*/ 6690489 h 15035524"/>
                <a:gd name="connsiteX34" fmla="*/ 4837569 w 22478203"/>
                <a:gd name="connsiteY34" fmla="*/ 7160639 h 15035524"/>
                <a:gd name="connsiteX35" fmla="*/ 5352976 w 22478203"/>
                <a:gd name="connsiteY35" fmla="*/ 7079272 h 15035524"/>
                <a:gd name="connsiteX36" fmla="*/ 5741786 w 22478203"/>
                <a:gd name="connsiteY36" fmla="*/ 6708577 h 15035524"/>
                <a:gd name="connsiteX37" fmla="*/ 6157723 w 22478203"/>
                <a:gd name="connsiteY37" fmla="*/ 6545836 h 15035524"/>
                <a:gd name="connsiteX38" fmla="*/ 6745471 w 22478203"/>
                <a:gd name="connsiteY38" fmla="*/ 5976243 h 15035524"/>
                <a:gd name="connsiteX39" fmla="*/ 6890140 w 22478203"/>
                <a:gd name="connsiteY39" fmla="*/ 5126367 h 15035524"/>
                <a:gd name="connsiteX40" fmla="*/ 7568305 w 22478203"/>
                <a:gd name="connsiteY40" fmla="*/ 4556773 h 15035524"/>
                <a:gd name="connsiteX41" fmla="*/ 8137967 w 22478203"/>
                <a:gd name="connsiteY41" fmla="*/ 4113752 h 15035524"/>
                <a:gd name="connsiteX42" fmla="*/ 8463480 w 22478203"/>
                <a:gd name="connsiteY42" fmla="*/ 3309085 h 15035524"/>
                <a:gd name="connsiteX43" fmla="*/ 9024093 w 22478203"/>
                <a:gd name="connsiteY43" fmla="*/ 2956478 h 15035524"/>
                <a:gd name="connsiteX44" fmla="*/ 9675138 w 22478203"/>
                <a:gd name="connsiteY44" fmla="*/ 2603876 h 15035524"/>
                <a:gd name="connsiteX45" fmla="*/ 9558580 w 22478203"/>
                <a:gd name="connsiteY45" fmla="*/ 2055592 h 15035524"/>
                <a:gd name="connsiteX46" fmla="*/ 10353296 w 22478203"/>
                <a:gd name="connsiteY46" fmla="*/ 1383308 h 15035524"/>
                <a:gd name="connsiteX47" fmla="*/ 10832530 w 22478203"/>
                <a:gd name="connsiteY47" fmla="*/ 1310974 h 15035524"/>
                <a:gd name="connsiteX48" fmla="*/ 11058585 w 22478203"/>
                <a:gd name="connsiteY48" fmla="*/ 1763043 h 15035524"/>
                <a:gd name="connsiteX49" fmla="*/ 11411229 w 22478203"/>
                <a:gd name="connsiteY49" fmla="*/ 2142774 h 15035524"/>
                <a:gd name="connsiteX50" fmla="*/ 11998974 w 22478203"/>
                <a:gd name="connsiteY50" fmla="*/ 2224144 h 15035524"/>
                <a:gd name="connsiteX51" fmla="*/ 12315449 w 22478203"/>
                <a:gd name="connsiteY51" fmla="*/ 2884156 h 15035524"/>
                <a:gd name="connsiteX52" fmla="*/ 12785642 w 22478203"/>
                <a:gd name="connsiteY52" fmla="*/ 2703327 h 15035524"/>
                <a:gd name="connsiteX53" fmla="*/ 13671776 w 22478203"/>
                <a:gd name="connsiteY53" fmla="*/ 3155388 h 15035524"/>
                <a:gd name="connsiteX54" fmla="*/ 14123886 w 22478203"/>
                <a:gd name="connsiteY54" fmla="*/ 2857035 h 15035524"/>
                <a:gd name="connsiteX55" fmla="*/ 14259509 w 22478203"/>
                <a:gd name="connsiteY55" fmla="*/ 2287434 h 15035524"/>
                <a:gd name="connsiteX56" fmla="*/ 14892468 w 22478203"/>
                <a:gd name="connsiteY56" fmla="*/ 1645503 h 15035524"/>
                <a:gd name="connsiteX57" fmla="*/ 15778605 w 22478203"/>
                <a:gd name="connsiteY57" fmla="*/ 1093983 h 15035524"/>
                <a:gd name="connsiteX58" fmla="*/ 16022739 w 22478203"/>
                <a:gd name="connsiteY58" fmla="*/ 1564133 h 15035524"/>
                <a:gd name="connsiteX59" fmla="*/ 16556232 w 22478203"/>
                <a:gd name="connsiteY59" fmla="*/ 2142785 h 15035524"/>
                <a:gd name="connsiteX60" fmla="*/ 17406193 w 22478203"/>
                <a:gd name="connsiteY60" fmla="*/ 1292897 h 15035524"/>
                <a:gd name="connsiteX61" fmla="*/ 18120524 w 22478203"/>
                <a:gd name="connsiteY61" fmla="*/ 714260 h 15035524"/>
                <a:gd name="connsiteX62" fmla="*/ 18744437 w 22478203"/>
                <a:gd name="connsiteY62" fmla="*/ -1 h 15035524"/>
                <a:gd name="connsiteX63" fmla="*/ 19982300 w 22478203"/>
                <a:gd name="connsiteY63" fmla="*/ 343465 h 15035524"/>
                <a:gd name="connsiteX64" fmla="*/ 19837609 w 22478203"/>
                <a:gd name="connsiteY64" fmla="*/ 1121173 h 15035524"/>
                <a:gd name="connsiteX65" fmla="*/ 21881359 w 22478203"/>
                <a:gd name="connsiteY65" fmla="*/ 1772279 h 15035524"/>
                <a:gd name="connsiteX66" fmla="*/ 21537712 w 22478203"/>
                <a:gd name="connsiteY66" fmla="*/ 2767023 h 15035524"/>
                <a:gd name="connsiteX67" fmla="*/ 22478203 w 22478203"/>
                <a:gd name="connsiteY67" fmla="*/ 2296774 h 15035524"/>
                <a:gd name="connsiteX68" fmla="*/ 14960077 w 22478203"/>
                <a:gd name="connsiteY68" fmla="*/ 5017927 h 15035524"/>
                <a:gd name="connsiteX69" fmla="*/ 15323320 w 22478203"/>
                <a:gd name="connsiteY69" fmla="*/ 5928489 h 15035524"/>
                <a:gd name="connsiteX70" fmla="*/ 16350939 w 22478203"/>
                <a:gd name="connsiteY70" fmla="*/ 6053348 h 15035524"/>
                <a:gd name="connsiteX71" fmla="*/ 16362364 w 22478203"/>
                <a:gd name="connsiteY71" fmla="*/ 6360628 h 15035524"/>
                <a:gd name="connsiteX72" fmla="*/ 16682563 w 22478203"/>
                <a:gd name="connsiteY72" fmla="*/ 6798531 h 15035524"/>
                <a:gd name="connsiteX0" fmla="*/ 16682563 w 22478203"/>
                <a:gd name="connsiteY0" fmla="*/ 6798531 h 15035524"/>
                <a:gd name="connsiteX1" fmla="*/ 16432262 w 22478203"/>
                <a:gd name="connsiteY1" fmla="*/ 7825917 h 15035524"/>
                <a:gd name="connsiteX2" fmla="*/ 16106317 w 22478203"/>
                <a:gd name="connsiteY2" fmla="*/ 8367221 h 15035524"/>
                <a:gd name="connsiteX3" fmla="*/ 16305649 w 22478203"/>
                <a:gd name="connsiteY3" fmla="*/ 8754550 h 15035524"/>
                <a:gd name="connsiteX4" fmla="*/ 16287189 w 22478203"/>
                <a:gd name="connsiteY4" fmla="*/ 9151157 h 15035524"/>
                <a:gd name="connsiteX5" fmla="*/ 16372801 w 22478203"/>
                <a:gd name="connsiteY5" fmla="*/ 9717422 h 15035524"/>
                <a:gd name="connsiteX6" fmla="*/ 16070155 w 22478203"/>
                <a:gd name="connsiteY6" fmla="*/ 9937808 h 15035524"/>
                <a:gd name="connsiteX7" fmla="*/ 15805690 w 22478203"/>
                <a:gd name="connsiteY7" fmla="*/ 10431999 h 15035524"/>
                <a:gd name="connsiteX8" fmla="*/ 15195097 w 22478203"/>
                <a:gd name="connsiteY8" fmla="*/ 10093742 h 15035524"/>
                <a:gd name="connsiteX9" fmla="*/ 15011380 w 22478203"/>
                <a:gd name="connsiteY9" fmla="*/ 11048592 h 15035524"/>
                <a:gd name="connsiteX10" fmla="*/ 14908430 w 22478203"/>
                <a:gd name="connsiteY10" fmla="*/ 11937487 h 15035524"/>
                <a:gd name="connsiteX11" fmla="*/ 14904684 w 22478203"/>
                <a:gd name="connsiteY11" fmla="*/ 12760926 h 15035524"/>
                <a:gd name="connsiteX12" fmla="*/ 14929927 w 22478203"/>
                <a:gd name="connsiteY12" fmla="*/ 14391846 h 15035524"/>
                <a:gd name="connsiteX13" fmla="*/ 12952786 w 22478203"/>
                <a:gd name="connsiteY13" fmla="*/ 14842599 h 15035524"/>
                <a:gd name="connsiteX14" fmla="*/ 11934663 w 22478203"/>
                <a:gd name="connsiteY14" fmla="*/ 14890849 h 15035524"/>
                <a:gd name="connsiteX15" fmla="*/ 8506848 w 22478203"/>
                <a:gd name="connsiteY15" fmla="*/ 15035524 h 15035524"/>
                <a:gd name="connsiteX16" fmla="*/ 7985095 w 22478203"/>
                <a:gd name="connsiteY16" fmla="*/ 14390442 h 15035524"/>
                <a:gd name="connsiteX17" fmla="*/ 7400308 w 22478203"/>
                <a:gd name="connsiteY17" fmla="*/ 14360297 h 15035524"/>
                <a:gd name="connsiteX18" fmla="*/ 6972273 w 22478203"/>
                <a:gd name="connsiteY18" fmla="*/ 14631594 h 15035524"/>
                <a:gd name="connsiteX19" fmla="*/ 5181729 w 22478203"/>
                <a:gd name="connsiteY19" fmla="*/ 14547195 h 15035524"/>
                <a:gd name="connsiteX20" fmla="*/ 4397998 w 22478203"/>
                <a:gd name="connsiteY20" fmla="*/ 13914178 h 15035524"/>
                <a:gd name="connsiteX21" fmla="*/ 2908896 w 22478203"/>
                <a:gd name="connsiteY21" fmla="*/ 13106324 h 15035524"/>
                <a:gd name="connsiteX22" fmla="*/ 1263043 w 22478203"/>
                <a:gd name="connsiteY22" fmla="*/ 12394931 h 15035524"/>
                <a:gd name="connsiteX23" fmla="*/ 485320 w 22478203"/>
                <a:gd name="connsiteY23" fmla="*/ 11942774 h 15035524"/>
                <a:gd name="connsiteX24" fmla="*/ 0 w 22478203"/>
                <a:gd name="connsiteY24" fmla="*/ 11649662 h 15035524"/>
                <a:gd name="connsiteX25" fmla="*/ 1003686 w 22478203"/>
                <a:gd name="connsiteY25" fmla="*/ 10903697 h 15035524"/>
                <a:gd name="connsiteX26" fmla="*/ 2902551 w 22478203"/>
                <a:gd name="connsiteY26" fmla="*/ 9719298 h 15035524"/>
                <a:gd name="connsiteX27" fmla="*/ 2558940 w 22478203"/>
                <a:gd name="connsiteY27" fmla="*/ 9185867 h 15035524"/>
                <a:gd name="connsiteX28" fmla="*/ 2402508 w 22478203"/>
                <a:gd name="connsiteY28" fmla="*/ 8498784 h 15035524"/>
                <a:gd name="connsiteX29" fmla="*/ 2730740 w 22478203"/>
                <a:gd name="connsiteY29" fmla="*/ 8471613 h 15035524"/>
                <a:gd name="connsiteX30" fmla="*/ 2947754 w 22478203"/>
                <a:gd name="connsiteY30" fmla="*/ 8001468 h 15035524"/>
                <a:gd name="connsiteX31" fmla="*/ 3499325 w 22478203"/>
                <a:gd name="connsiteY31" fmla="*/ 7558451 h 15035524"/>
                <a:gd name="connsiteX32" fmla="*/ 3680166 w 22478203"/>
                <a:gd name="connsiteY32" fmla="*/ 6681453 h 15035524"/>
                <a:gd name="connsiteX33" fmla="*/ 4186528 w 22478203"/>
                <a:gd name="connsiteY33" fmla="*/ 6690489 h 15035524"/>
                <a:gd name="connsiteX34" fmla="*/ 4837569 w 22478203"/>
                <a:gd name="connsiteY34" fmla="*/ 7160639 h 15035524"/>
                <a:gd name="connsiteX35" fmla="*/ 5352976 w 22478203"/>
                <a:gd name="connsiteY35" fmla="*/ 7079272 h 15035524"/>
                <a:gd name="connsiteX36" fmla="*/ 5741786 w 22478203"/>
                <a:gd name="connsiteY36" fmla="*/ 6708577 h 15035524"/>
                <a:gd name="connsiteX37" fmla="*/ 6157723 w 22478203"/>
                <a:gd name="connsiteY37" fmla="*/ 6545836 h 15035524"/>
                <a:gd name="connsiteX38" fmla="*/ 6745471 w 22478203"/>
                <a:gd name="connsiteY38" fmla="*/ 5976243 h 15035524"/>
                <a:gd name="connsiteX39" fmla="*/ 6890140 w 22478203"/>
                <a:gd name="connsiteY39" fmla="*/ 5126367 h 15035524"/>
                <a:gd name="connsiteX40" fmla="*/ 7568305 w 22478203"/>
                <a:gd name="connsiteY40" fmla="*/ 4556773 h 15035524"/>
                <a:gd name="connsiteX41" fmla="*/ 8137967 w 22478203"/>
                <a:gd name="connsiteY41" fmla="*/ 4113752 h 15035524"/>
                <a:gd name="connsiteX42" fmla="*/ 8463480 w 22478203"/>
                <a:gd name="connsiteY42" fmla="*/ 3309085 h 15035524"/>
                <a:gd name="connsiteX43" fmla="*/ 9024093 w 22478203"/>
                <a:gd name="connsiteY43" fmla="*/ 2956478 h 15035524"/>
                <a:gd name="connsiteX44" fmla="*/ 9675138 w 22478203"/>
                <a:gd name="connsiteY44" fmla="*/ 2603876 h 15035524"/>
                <a:gd name="connsiteX45" fmla="*/ 9558580 w 22478203"/>
                <a:gd name="connsiteY45" fmla="*/ 2055592 h 15035524"/>
                <a:gd name="connsiteX46" fmla="*/ 10353296 w 22478203"/>
                <a:gd name="connsiteY46" fmla="*/ 1383308 h 15035524"/>
                <a:gd name="connsiteX47" fmla="*/ 10832530 w 22478203"/>
                <a:gd name="connsiteY47" fmla="*/ 1310974 h 15035524"/>
                <a:gd name="connsiteX48" fmla="*/ 11058585 w 22478203"/>
                <a:gd name="connsiteY48" fmla="*/ 1763043 h 15035524"/>
                <a:gd name="connsiteX49" fmla="*/ 11411229 w 22478203"/>
                <a:gd name="connsiteY49" fmla="*/ 2142774 h 15035524"/>
                <a:gd name="connsiteX50" fmla="*/ 11998974 w 22478203"/>
                <a:gd name="connsiteY50" fmla="*/ 2224144 h 15035524"/>
                <a:gd name="connsiteX51" fmla="*/ 12315449 w 22478203"/>
                <a:gd name="connsiteY51" fmla="*/ 2884156 h 15035524"/>
                <a:gd name="connsiteX52" fmla="*/ 12785642 w 22478203"/>
                <a:gd name="connsiteY52" fmla="*/ 2703327 h 15035524"/>
                <a:gd name="connsiteX53" fmla="*/ 13671776 w 22478203"/>
                <a:gd name="connsiteY53" fmla="*/ 3155388 h 15035524"/>
                <a:gd name="connsiteX54" fmla="*/ 14123886 w 22478203"/>
                <a:gd name="connsiteY54" fmla="*/ 2857035 h 15035524"/>
                <a:gd name="connsiteX55" fmla="*/ 14259509 w 22478203"/>
                <a:gd name="connsiteY55" fmla="*/ 2287434 h 15035524"/>
                <a:gd name="connsiteX56" fmla="*/ 14892468 w 22478203"/>
                <a:gd name="connsiteY56" fmla="*/ 1645503 h 15035524"/>
                <a:gd name="connsiteX57" fmla="*/ 15778605 w 22478203"/>
                <a:gd name="connsiteY57" fmla="*/ 1093983 h 15035524"/>
                <a:gd name="connsiteX58" fmla="*/ 16022739 w 22478203"/>
                <a:gd name="connsiteY58" fmla="*/ 1564133 h 15035524"/>
                <a:gd name="connsiteX59" fmla="*/ 16556232 w 22478203"/>
                <a:gd name="connsiteY59" fmla="*/ 2142785 h 15035524"/>
                <a:gd name="connsiteX60" fmla="*/ 17406193 w 22478203"/>
                <a:gd name="connsiteY60" fmla="*/ 1292897 h 15035524"/>
                <a:gd name="connsiteX61" fmla="*/ 18120524 w 22478203"/>
                <a:gd name="connsiteY61" fmla="*/ 714260 h 15035524"/>
                <a:gd name="connsiteX62" fmla="*/ 18744437 w 22478203"/>
                <a:gd name="connsiteY62" fmla="*/ -1 h 15035524"/>
                <a:gd name="connsiteX63" fmla="*/ 19982300 w 22478203"/>
                <a:gd name="connsiteY63" fmla="*/ 343465 h 15035524"/>
                <a:gd name="connsiteX64" fmla="*/ 19837609 w 22478203"/>
                <a:gd name="connsiteY64" fmla="*/ 1121173 h 15035524"/>
                <a:gd name="connsiteX65" fmla="*/ 21881359 w 22478203"/>
                <a:gd name="connsiteY65" fmla="*/ 1772279 h 15035524"/>
                <a:gd name="connsiteX66" fmla="*/ 21537712 w 22478203"/>
                <a:gd name="connsiteY66" fmla="*/ 2767023 h 15035524"/>
                <a:gd name="connsiteX67" fmla="*/ 22478203 w 22478203"/>
                <a:gd name="connsiteY67" fmla="*/ 2296774 h 15035524"/>
                <a:gd name="connsiteX68" fmla="*/ 13387695 w 22478203"/>
                <a:gd name="connsiteY68" fmla="*/ 5998279 h 15035524"/>
                <a:gd name="connsiteX69" fmla="*/ 15323320 w 22478203"/>
                <a:gd name="connsiteY69" fmla="*/ 5928489 h 15035524"/>
                <a:gd name="connsiteX70" fmla="*/ 16350939 w 22478203"/>
                <a:gd name="connsiteY70" fmla="*/ 6053348 h 15035524"/>
                <a:gd name="connsiteX71" fmla="*/ 16362364 w 22478203"/>
                <a:gd name="connsiteY71" fmla="*/ 6360628 h 15035524"/>
                <a:gd name="connsiteX72" fmla="*/ 16682563 w 22478203"/>
                <a:gd name="connsiteY72" fmla="*/ 6798531 h 15035524"/>
                <a:gd name="connsiteX0" fmla="*/ 16682563 w 22478203"/>
                <a:gd name="connsiteY0" fmla="*/ 6798531 h 15035524"/>
                <a:gd name="connsiteX1" fmla="*/ 16432262 w 22478203"/>
                <a:gd name="connsiteY1" fmla="*/ 7825917 h 15035524"/>
                <a:gd name="connsiteX2" fmla="*/ 16106317 w 22478203"/>
                <a:gd name="connsiteY2" fmla="*/ 8367221 h 15035524"/>
                <a:gd name="connsiteX3" fmla="*/ 16305649 w 22478203"/>
                <a:gd name="connsiteY3" fmla="*/ 8754550 h 15035524"/>
                <a:gd name="connsiteX4" fmla="*/ 16287189 w 22478203"/>
                <a:gd name="connsiteY4" fmla="*/ 9151157 h 15035524"/>
                <a:gd name="connsiteX5" fmla="*/ 16372801 w 22478203"/>
                <a:gd name="connsiteY5" fmla="*/ 9717422 h 15035524"/>
                <a:gd name="connsiteX6" fmla="*/ 16070155 w 22478203"/>
                <a:gd name="connsiteY6" fmla="*/ 9937808 h 15035524"/>
                <a:gd name="connsiteX7" fmla="*/ 15805690 w 22478203"/>
                <a:gd name="connsiteY7" fmla="*/ 10431999 h 15035524"/>
                <a:gd name="connsiteX8" fmla="*/ 15195097 w 22478203"/>
                <a:gd name="connsiteY8" fmla="*/ 10093742 h 15035524"/>
                <a:gd name="connsiteX9" fmla="*/ 15011380 w 22478203"/>
                <a:gd name="connsiteY9" fmla="*/ 11048592 h 15035524"/>
                <a:gd name="connsiteX10" fmla="*/ 14908430 w 22478203"/>
                <a:gd name="connsiteY10" fmla="*/ 11937487 h 15035524"/>
                <a:gd name="connsiteX11" fmla="*/ 14904684 w 22478203"/>
                <a:gd name="connsiteY11" fmla="*/ 12760926 h 15035524"/>
                <a:gd name="connsiteX12" fmla="*/ 14929927 w 22478203"/>
                <a:gd name="connsiteY12" fmla="*/ 14391846 h 15035524"/>
                <a:gd name="connsiteX13" fmla="*/ 12952786 w 22478203"/>
                <a:gd name="connsiteY13" fmla="*/ 14842599 h 15035524"/>
                <a:gd name="connsiteX14" fmla="*/ 11934663 w 22478203"/>
                <a:gd name="connsiteY14" fmla="*/ 14890849 h 15035524"/>
                <a:gd name="connsiteX15" fmla="*/ 8506848 w 22478203"/>
                <a:gd name="connsiteY15" fmla="*/ 15035524 h 15035524"/>
                <a:gd name="connsiteX16" fmla="*/ 7985095 w 22478203"/>
                <a:gd name="connsiteY16" fmla="*/ 14390442 h 15035524"/>
                <a:gd name="connsiteX17" fmla="*/ 7400308 w 22478203"/>
                <a:gd name="connsiteY17" fmla="*/ 14360297 h 15035524"/>
                <a:gd name="connsiteX18" fmla="*/ 6972273 w 22478203"/>
                <a:gd name="connsiteY18" fmla="*/ 14631594 h 15035524"/>
                <a:gd name="connsiteX19" fmla="*/ 5181729 w 22478203"/>
                <a:gd name="connsiteY19" fmla="*/ 14547195 h 15035524"/>
                <a:gd name="connsiteX20" fmla="*/ 4397998 w 22478203"/>
                <a:gd name="connsiteY20" fmla="*/ 13914178 h 15035524"/>
                <a:gd name="connsiteX21" fmla="*/ 2908896 w 22478203"/>
                <a:gd name="connsiteY21" fmla="*/ 13106324 h 15035524"/>
                <a:gd name="connsiteX22" fmla="*/ 1263043 w 22478203"/>
                <a:gd name="connsiteY22" fmla="*/ 12394931 h 15035524"/>
                <a:gd name="connsiteX23" fmla="*/ 485320 w 22478203"/>
                <a:gd name="connsiteY23" fmla="*/ 11942774 h 15035524"/>
                <a:gd name="connsiteX24" fmla="*/ 0 w 22478203"/>
                <a:gd name="connsiteY24" fmla="*/ 11649662 h 15035524"/>
                <a:gd name="connsiteX25" fmla="*/ 1003686 w 22478203"/>
                <a:gd name="connsiteY25" fmla="*/ 10903697 h 15035524"/>
                <a:gd name="connsiteX26" fmla="*/ 2902551 w 22478203"/>
                <a:gd name="connsiteY26" fmla="*/ 9719298 h 15035524"/>
                <a:gd name="connsiteX27" fmla="*/ 2558940 w 22478203"/>
                <a:gd name="connsiteY27" fmla="*/ 9185867 h 15035524"/>
                <a:gd name="connsiteX28" fmla="*/ 2402508 w 22478203"/>
                <a:gd name="connsiteY28" fmla="*/ 8498784 h 15035524"/>
                <a:gd name="connsiteX29" fmla="*/ 2730740 w 22478203"/>
                <a:gd name="connsiteY29" fmla="*/ 8471613 h 15035524"/>
                <a:gd name="connsiteX30" fmla="*/ 2947754 w 22478203"/>
                <a:gd name="connsiteY30" fmla="*/ 8001468 h 15035524"/>
                <a:gd name="connsiteX31" fmla="*/ 3499325 w 22478203"/>
                <a:gd name="connsiteY31" fmla="*/ 7558451 h 15035524"/>
                <a:gd name="connsiteX32" fmla="*/ 3680166 w 22478203"/>
                <a:gd name="connsiteY32" fmla="*/ 6681453 h 15035524"/>
                <a:gd name="connsiteX33" fmla="*/ 4186528 w 22478203"/>
                <a:gd name="connsiteY33" fmla="*/ 6690489 h 15035524"/>
                <a:gd name="connsiteX34" fmla="*/ 4837569 w 22478203"/>
                <a:gd name="connsiteY34" fmla="*/ 7160639 h 15035524"/>
                <a:gd name="connsiteX35" fmla="*/ 5352976 w 22478203"/>
                <a:gd name="connsiteY35" fmla="*/ 7079272 h 15035524"/>
                <a:gd name="connsiteX36" fmla="*/ 5741786 w 22478203"/>
                <a:gd name="connsiteY36" fmla="*/ 6708577 h 15035524"/>
                <a:gd name="connsiteX37" fmla="*/ 6157723 w 22478203"/>
                <a:gd name="connsiteY37" fmla="*/ 6545836 h 15035524"/>
                <a:gd name="connsiteX38" fmla="*/ 6745471 w 22478203"/>
                <a:gd name="connsiteY38" fmla="*/ 5976243 h 15035524"/>
                <a:gd name="connsiteX39" fmla="*/ 6890140 w 22478203"/>
                <a:gd name="connsiteY39" fmla="*/ 5126367 h 15035524"/>
                <a:gd name="connsiteX40" fmla="*/ 7568305 w 22478203"/>
                <a:gd name="connsiteY40" fmla="*/ 4556773 h 15035524"/>
                <a:gd name="connsiteX41" fmla="*/ 8137967 w 22478203"/>
                <a:gd name="connsiteY41" fmla="*/ 4113752 h 15035524"/>
                <a:gd name="connsiteX42" fmla="*/ 8463480 w 22478203"/>
                <a:gd name="connsiteY42" fmla="*/ 3309085 h 15035524"/>
                <a:gd name="connsiteX43" fmla="*/ 9024093 w 22478203"/>
                <a:gd name="connsiteY43" fmla="*/ 2956478 h 15035524"/>
                <a:gd name="connsiteX44" fmla="*/ 9675138 w 22478203"/>
                <a:gd name="connsiteY44" fmla="*/ 2603876 h 15035524"/>
                <a:gd name="connsiteX45" fmla="*/ 9558580 w 22478203"/>
                <a:gd name="connsiteY45" fmla="*/ 2055592 h 15035524"/>
                <a:gd name="connsiteX46" fmla="*/ 10353296 w 22478203"/>
                <a:gd name="connsiteY46" fmla="*/ 1383308 h 15035524"/>
                <a:gd name="connsiteX47" fmla="*/ 10832530 w 22478203"/>
                <a:gd name="connsiteY47" fmla="*/ 1310974 h 15035524"/>
                <a:gd name="connsiteX48" fmla="*/ 11058585 w 22478203"/>
                <a:gd name="connsiteY48" fmla="*/ 1763043 h 15035524"/>
                <a:gd name="connsiteX49" fmla="*/ 11411229 w 22478203"/>
                <a:gd name="connsiteY49" fmla="*/ 2142774 h 15035524"/>
                <a:gd name="connsiteX50" fmla="*/ 11998974 w 22478203"/>
                <a:gd name="connsiteY50" fmla="*/ 2224144 h 15035524"/>
                <a:gd name="connsiteX51" fmla="*/ 12315449 w 22478203"/>
                <a:gd name="connsiteY51" fmla="*/ 2884156 h 15035524"/>
                <a:gd name="connsiteX52" fmla="*/ 12785642 w 22478203"/>
                <a:gd name="connsiteY52" fmla="*/ 2703327 h 15035524"/>
                <a:gd name="connsiteX53" fmla="*/ 13671776 w 22478203"/>
                <a:gd name="connsiteY53" fmla="*/ 3155388 h 15035524"/>
                <a:gd name="connsiteX54" fmla="*/ 14123886 w 22478203"/>
                <a:gd name="connsiteY54" fmla="*/ 2857035 h 15035524"/>
                <a:gd name="connsiteX55" fmla="*/ 14259509 w 22478203"/>
                <a:gd name="connsiteY55" fmla="*/ 2287434 h 15035524"/>
                <a:gd name="connsiteX56" fmla="*/ 14892468 w 22478203"/>
                <a:gd name="connsiteY56" fmla="*/ 1645503 h 15035524"/>
                <a:gd name="connsiteX57" fmla="*/ 15778605 w 22478203"/>
                <a:gd name="connsiteY57" fmla="*/ 1093983 h 15035524"/>
                <a:gd name="connsiteX58" fmla="*/ 16022739 w 22478203"/>
                <a:gd name="connsiteY58" fmla="*/ 1564133 h 15035524"/>
                <a:gd name="connsiteX59" fmla="*/ 16556232 w 22478203"/>
                <a:gd name="connsiteY59" fmla="*/ 2142785 h 15035524"/>
                <a:gd name="connsiteX60" fmla="*/ 17406193 w 22478203"/>
                <a:gd name="connsiteY60" fmla="*/ 1292897 h 15035524"/>
                <a:gd name="connsiteX61" fmla="*/ 18120524 w 22478203"/>
                <a:gd name="connsiteY61" fmla="*/ 714260 h 15035524"/>
                <a:gd name="connsiteX62" fmla="*/ 18744437 w 22478203"/>
                <a:gd name="connsiteY62" fmla="*/ -1 h 15035524"/>
                <a:gd name="connsiteX63" fmla="*/ 19982300 w 22478203"/>
                <a:gd name="connsiteY63" fmla="*/ 343465 h 15035524"/>
                <a:gd name="connsiteX64" fmla="*/ 19837609 w 22478203"/>
                <a:gd name="connsiteY64" fmla="*/ 1121173 h 15035524"/>
                <a:gd name="connsiteX65" fmla="*/ 21881359 w 22478203"/>
                <a:gd name="connsiteY65" fmla="*/ 1772279 h 15035524"/>
                <a:gd name="connsiteX66" fmla="*/ 21537712 w 22478203"/>
                <a:gd name="connsiteY66" fmla="*/ 2767023 h 15035524"/>
                <a:gd name="connsiteX67" fmla="*/ 22478203 w 22478203"/>
                <a:gd name="connsiteY67" fmla="*/ 2296774 h 15035524"/>
                <a:gd name="connsiteX68" fmla="*/ 14370431 w 22478203"/>
                <a:gd name="connsiteY68" fmla="*/ 5830216 h 15035524"/>
                <a:gd name="connsiteX69" fmla="*/ 15323320 w 22478203"/>
                <a:gd name="connsiteY69" fmla="*/ 5928489 h 15035524"/>
                <a:gd name="connsiteX70" fmla="*/ 16350939 w 22478203"/>
                <a:gd name="connsiteY70" fmla="*/ 6053348 h 15035524"/>
                <a:gd name="connsiteX71" fmla="*/ 16362364 w 22478203"/>
                <a:gd name="connsiteY71" fmla="*/ 6360628 h 15035524"/>
                <a:gd name="connsiteX72" fmla="*/ 16682563 w 22478203"/>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21537712 w 21881361"/>
                <a:gd name="connsiteY66" fmla="*/ 2767023 h 15035524"/>
                <a:gd name="connsiteX67" fmla="*/ 15879834 w 21881361"/>
                <a:gd name="connsiteY67" fmla="*/ 3669271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21537712 w 21881361"/>
                <a:gd name="connsiteY66" fmla="*/ 2767023 h 15035524"/>
                <a:gd name="connsiteX67" fmla="*/ 12791242 w 21881361"/>
                <a:gd name="connsiteY67" fmla="*/ 4145446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21537712 w 21881361"/>
                <a:gd name="connsiteY66" fmla="*/ 2767023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9351795 w 21881361"/>
                <a:gd name="connsiteY66" fmla="*/ 5483998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8537524 w 21881361"/>
                <a:gd name="connsiteY66" fmla="*/ 7052559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8481365 w 21881361"/>
                <a:gd name="connsiteY66" fmla="*/ 9209329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13844296 w 21881361"/>
                <a:gd name="connsiteY66" fmla="*/ 6156232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9583129 w 19982300"/>
                <a:gd name="connsiteY65" fmla="*/ 5329554 h 15035524"/>
                <a:gd name="connsiteX66" fmla="*/ 13844296 w 19982300"/>
                <a:gd name="connsiteY66" fmla="*/ 6156232 h 15035524"/>
                <a:gd name="connsiteX67" fmla="*/ 14195152 w 19982300"/>
                <a:gd name="connsiteY67" fmla="*/ 5489927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0818567 w 19982300"/>
                <a:gd name="connsiteY65" fmla="*/ 7094187 h 15035524"/>
                <a:gd name="connsiteX66" fmla="*/ 13844296 w 19982300"/>
                <a:gd name="connsiteY66" fmla="*/ 6156232 h 15035524"/>
                <a:gd name="connsiteX67" fmla="*/ 14195152 w 19982300"/>
                <a:gd name="connsiteY67" fmla="*/ 5489927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0818567 w 19982300"/>
                <a:gd name="connsiteY65" fmla="*/ 709418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0902797 w 19982300"/>
                <a:gd name="connsiteY65" fmla="*/ 8634739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1717061 w 19982300"/>
                <a:gd name="connsiteY65" fmla="*/ 9643106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2531332 w 19982300"/>
                <a:gd name="connsiteY65" fmla="*/ 10399372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1239741 w 19982300"/>
                <a:gd name="connsiteY65" fmla="*/ 10035244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0537783 w 19982300"/>
                <a:gd name="connsiteY65" fmla="*/ 9419026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9358504 w 19982300"/>
                <a:gd name="connsiteY65" fmla="*/ 12556148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5820656 w 19982300"/>
                <a:gd name="connsiteY65" fmla="*/ 12276045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2868275 w 19982300"/>
                <a:gd name="connsiteY65" fmla="*/ 675806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9926023 w 19982300"/>
                <a:gd name="connsiteY64" fmla="*/ 5238645 h 15035524"/>
                <a:gd name="connsiteX65" fmla="*/ 12868275 w 19982300"/>
                <a:gd name="connsiteY65" fmla="*/ 675806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8353647 w 19982300"/>
                <a:gd name="connsiteY64" fmla="*/ 9412143 h 15035524"/>
                <a:gd name="connsiteX65" fmla="*/ 12868275 w 19982300"/>
                <a:gd name="connsiteY65" fmla="*/ 675806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1919572 w 19982300"/>
                <a:gd name="connsiteY64" fmla="*/ 7003278 h 15035524"/>
                <a:gd name="connsiteX65" fmla="*/ 12868275 w 19982300"/>
                <a:gd name="connsiteY65" fmla="*/ 675806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8744436"/>
                <a:gd name="connsiteY0" fmla="*/ 6798531 h 15035524"/>
                <a:gd name="connsiteX1" fmla="*/ 16432262 w 18744436"/>
                <a:gd name="connsiteY1" fmla="*/ 7825917 h 15035524"/>
                <a:gd name="connsiteX2" fmla="*/ 16106317 w 18744436"/>
                <a:gd name="connsiteY2" fmla="*/ 8367221 h 15035524"/>
                <a:gd name="connsiteX3" fmla="*/ 16305649 w 18744436"/>
                <a:gd name="connsiteY3" fmla="*/ 8754550 h 15035524"/>
                <a:gd name="connsiteX4" fmla="*/ 16287189 w 18744436"/>
                <a:gd name="connsiteY4" fmla="*/ 9151157 h 15035524"/>
                <a:gd name="connsiteX5" fmla="*/ 16372801 w 18744436"/>
                <a:gd name="connsiteY5" fmla="*/ 9717422 h 15035524"/>
                <a:gd name="connsiteX6" fmla="*/ 16070155 w 18744436"/>
                <a:gd name="connsiteY6" fmla="*/ 9937808 h 15035524"/>
                <a:gd name="connsiteX7" fmla="*/ 15805690 w 18744436"/>
                <a:gd name="connsiteY7" fmla="*/ 10431999 h 15035524"/>
                <a:gd name="connsiteX8" fmla="*/ 15195097 w 18744436"/>
                <a:gd name="connsiteY8" fmla="*/ 10093742 h 15035524"/>
                <a:gd name="connsiteX9" fmla="*/ 15011380 w 18744436"/>
                <a:gd name="connsiteY9" fmla="*/ 11048592 h 15035524"/>
                <a:gd name="connsiteX10" fmla="*/ 14908430 w 18744436"/>
                <a:gd name="connsiteY10" fmla="*/ 11937487 h 15035524"/>
                <a:gd name="connsiteX11" fmla="*/ 14904684 w 18744436"/>
                <a:gd name="connsiteY11" fmla="*/ 12760926 h 15035524"/>
                <a:gd name="connsiteX12" fmla="*/ 14929927 w 18744436"/>
                <a:gd name="connsiteY12" fmla="*/ 14391846 h 15035524"/>
                <a:gd name="connsiteX13" fmla="*/ 12952786 w 18744436"/>
                <a:gd name="connsiteY13" fmla="*/ 14842599 h 15035524"/>
                <a:gd name="connsiteX14" fmla="*/ 11934663 w 18744436"/>
                <a:gd name="connsiteY14" fmla="*/ 14890849 h 15035524"/>
                <a:gd name="connsiteX15" fmla="*/ 8506848 w 18744436"/>
                <a:gd name="connsiteY15" fmla="*/ 15035524 h 15035524"/>
                <a:gd name="connsiteX16" fmla="*/ 7985095 w 18744436"/>
                <a:gd name="connsiteY16" fmla="*/ 14390442 h 15035524"/>
                <a:gd name="connsiteX17" fmla="*/ 7400308 w 18744436"/>
                <a:gd name="connsiteY17" fmla="*/ 14360297 h 15035524"/>
                <a:gd name="connsiteX18" fmla="*/ 6972273 w 18744436"/>
                <a:gd name="connsiteY18" fmla="*/ 14631594 h 15035524"/>
                <a:gd name="connsiteX19" fmla="*/ 5181729 w 18744436"/>
                <a:gd name="connsiteY19" fmla="*/ 14547195 h 15035524"/>
                <a:gd name="connsiteX20" fmla="*/ 4397998 w 18744436"/>
                <a:gd name="connsiteY20" fmla="*/ 13914178 h 15035524"/>
                <a:gd name="connsiteX21" fmla="*/ 2908896 w 18744436"/>
                <a:gd name="connsiteY21" fmla="*/ 13106324 h 15035524"/>
                <a:gd name="connsiteX22" fmla="*/ 1263043 w 18744436"/>
                <a:gd name="connsiteY22" fmla="*/ 12394931 h 15035524"/>
                <a:gd name="connsiteX23" fmla="*/ 485320 w 18744436"/>
                <a:gd name="connsiteY23" fmla="*/ 11942774 h 15035524"/>
                <a:gd name="connsiteX24" fmla="*/ 0 w 18744436"/>
                <a:gd name="connsiteY24" fmla="*/ 11649662 h 15035524"/>
                <a:gd name="connsiteX25" fmla="*/ 1003686 w 18744436"/>
                <a:gd name="connsiteY25" fmla="*/ 10903697 h 15035524"/>
                <a:gd name="connsiteX26" fmla="*/ 2902551 w 18744436"/>
                <a:gd name="connsiteY26" fmla="*/ 9719298 h 15035524"/>
                <a:gd name="connsiteX27" fmla="*/ 2558940 w 18744436"/>
                <a:gd name="connsiteY27" fmla="*/ 9185867 h 15035524"/>
                <a:gd name="connsiteX28" fmla="*/ 2402508 w 18744436"/>
                <a:gd name="connsiteY28" fmla="*/ 8498784 h 15035524"/>
                <a:gd name="connsiteX29" fmla="*/ 2730740 w 18744436"/>
                <a:gd name="connsiteY29" fmla="*/ 8471613 h 15035524"/>
                <a:gd name="connsiteX30" fmla="*/ 2947754 w 18744436"/>
                <a:gd name="connsiteY30" fmla="*/ 8001468 h 15035524"/>
                <a:gd name="connsiteX31" fmla="*/ 3499325 w 18744436"/>
                <a:gd name="connsiteY31" fmla="*/ 7558451 h 15035524"/>
                <a:gd name="connsiteX32" fmla="*/ 3680166 w 18744436"/>
                <a:gd name="connsiteY32" fmla="*/ 6681453 h 15035524"/>
                <a:gd name="connsiteX33" fmla="*/ 4186528 w 18744436"/>
                <a:gd name="connsiteY33" fmla="*/ 6690489 h 15035524"/>
                <a:gd name="connsiteX34" fmla="*/ 4837569 w 18744436"/>
                <a:gd name="connsiteY34" fmla="*/ 7160639 h 15035524"/>
                <a:gd name="connsiteX35" fmla="*/ 5352976 w 18744436"/>
                <a:gd name="connsiteY35" fmla="*/ 7079272 h 15035524"/>
                <a:gd name="connsiteX36" fmla="*/ 5741786 w 18744436"/>
                <a:gd name="connsiteY36" fmla="*/ 6708577 h 15035524"/>
                <a:gd name="connsiteX37" fmla="*/ 6157723 w 18744436"/>
                <a:gd name="connsiteY37" fmla="*/ 6545836 h 15035524"/>
                <a:gd name="connsiteX38" fmla="*/ 6745471 w 18744436"/>
                <a:gd name="connsiteY38" fmla="*/ 5976243 h 15035524"/>
                <a:gd name="connsiteX39" fmla="*/ 6890140 w 18744436"/>
                <a:gd name="connsiteY39" fmla="*/ 5126367 h 15035524"/>
                <a:gd name="connsiteX40" fmla="*/ 7568305 w 18744436"/>
                <a:gd name="connsiteY40" fmla="*/ 4556773 h 15035524"/>
                <a:gd name="connsiteX41" fmla="*/ 8137967 w 18744436"/>
                <a:gd name="connsiteY41" fmla="*/ 4113752 h 15035524"/>
                <a:gd name="connsiteX42" fmla="*/ 8463480 w 18744436"/>
                <a:gd name="connsiteY42" fmla="*/ 3309085 h 15035524"/>
                <a:gd name="connsiteX43" fmla="*/ 9024093 w 18744436"/>
                <a:gd name="connsiteY43" fmla="*/ 2956478 h 15035524"/>
                <a:gd name="connsiteX44" fmla="*/ 9675138 w 18744436"/>
                <a:gd name="connsiteY44" fmla="*/ 2603876 h 15035524"/>
                <a:gd name="connsiteX45" fmla="*/ 9558580 w 18744436"/>
                <a:gd name="connsiteY45" fmla="*/ 2055592 h 15035524"/>
                <a:gd name="connsiteX46" fmla="*/ 10353296 w 18744436"/>
                <a:gd name="connsiteY46" fmla="*/ 1383308 h 15035524"/>
                <a:gd name="connsiteX47" fmla="*/ 10832530 w 18744436"/>
                <a:gd name="connsiteY47" fmla="*/ 1310974 h 15035524"/>
                <a:gd name="connsiteX48" fmla="*/ 11058585 w 18744436"/>
                <a:gd name="connsiteY48" fmla="*/ 1763043 h 15035524"/>
                <a:gd name="connsiteX49" fmla="*/ 11411229 w 18744436"/>
                <a:gd name="connsiteY49" fmla="*/ 2142774 h 15035524"/>
                <a:gd name="connsiteX50" fmla="*/ 11998974 w 18744436"/>
                <a:gd name="connsiteY50" fmla="*/ 2224144 h 15035524"/>
                <a:gd name="connsiteX51" fmla="*/ 12315449 w 18744436"/>
                <a:gd name="connsiteY51" fmla="*/ 2884156 h 15035524"/>
                <a:gd name="connsiteX52" fmla="*/ 12785642 w 18744436"/>
                <a:gd name="connsiteY52" fmla="*/ 2703327 h 15035524"/>
                <a:gd name="connsiteX53" fmla="*/ 13671776 w 18744436"/>
                <a:gd name="connsiteY53" fmla="*/ 3155388 h 15035524"/>
                <a:gd name="connsiteX54" fmla="*/ 14123886 w 18744436"/>
                <a:gd name="connsiteY54" fmla="*/ 2857035 h 15035524"/>
                <a:gd name="connsiteX55" fmla="*/ 14259509 w 18744436"/>
                <a:gd name="connsiteY55" fmla="*/ 2287434 h 15035524"/>
                <a:gd name="connsiteX56" fmla="*/ 14892468 w 18744436"/>
                <a:gd name="connsiteY56" fmla="*/ 1645503 h 15035524"/>
                <a:gd name="connsiteX57" fmla="*/ 15778605 w 18744436"/>
                <a:gd name="connsiteY57" fmla="*/ 1093983 h 15035524"/>
                <a:gd name="connsiteX58" fmla="*/ 16022739 w 18744436"/>
                <a:gd name="connsiteY58" fmla="*/ 1564133 h 15035524"/>
                <a:gd name="connsiteX59" fmla="*/ 16556232 w 18744436"/>
                <a:gd name="connsiteY59" fmla="*/ 2142785 h 15035524"/>
                <a:gd name="connsiteX60" fmla="*/ 17406193 w 18744436"/>
                <a:gd name="connsiteY60" fmla="*/ 1292897 h 15035524"/>
                <a:gd name="connsiteX61" fmla="*/ 18120524 w 18744436"/>
                <a:gd name="connsiteY61" fmla="*/ 714260 h 15035524"/>
                <a:gd name="connsiteX62" fmla="*/ 18744437 w 18744436"/>
                <a:gd name="connsiteY62" fmla="*/ -1 h 15035524"/>
                <a:gd name="connsiteX63" fmla="*/ 3500421 w 18744436"/>
                <a:gd name="connsiteY63" fmla="*/ 4096811 h 15035524"/>
                <a:gd name="connsiteX64" fmla="*/ 11919572 w 18744436"/>
                <a:gd name="connsiteY64" fmla="*/ 7003278 h 15035524"/>
                <a:gd name="connsiteX65" fmla="*/ 12868275 w 18744436"/>
                <a:gd name="connsiteY65" fmla="*/ 6758067 h 15035524"/>
                <a:gd name="connsiteX66" fmla="*/ 13844296 w 18744436"/>
                <a:gd name="connsiteY66" fmla="*/ 6156232 h 15035524"/>
                <a:gd name="connsiteX67" fmla="*/ 13886291 w 18744436"/>
                <a:gd name="connsiteY67" fmla="*/ 5321864 h 15035524"/>
                <a:gd name="connsiteX68" fmla="*/ 14370431 w 18744436"/>
                <a:gd name="connsiteY68" fmla="*/ 5830216 h 15035524"/>
                <a:gd name="connsiteX69" fmla="*/ 15323320 w 18744436"/>
                <a:gd name="connsiteY69" fmla="*/ 5928489 h 15035524"/>
                <a:gd name="connsiteX70" fmla="*/ 16350939 w 18744436"/>
                <a:gd name="connsiteY70" fmla="*/ 6053348 h 15035524"/>
                <a:gd name="connsiteX71" fmla="*/ 16362364 w 18744436"/>
                <a:gd name="connsiteY71" fmla="*/ 6360628 h 15035524"/>
                <a:gd name="connsiteX72" fmla="*/ 16682563 w 18744436"/>
                <a:gd name="connsiteY72" fmla="*/ 6798531 h 15035524"/>
                <a:gd name="connsiteX0" fmla="*/ 16682563 w 18744436"/>
                <a:gd name="connsiteY0" fmla="*/ 6798531 h 15035524"/>
                <a:gd name="connsiteX1" fmla="*/ 16432262 w 18744436"/>
                <a:gd name="connsiteY1" fmla="*/ 7825917 h 15035524"/>
                <a:gd name="connsiteX2" fmla="*/ 16106317 w 18744436"/>
                <a:gd name="connsiteY2" fmla="*/ 8367221 h 15035524"/>
                <a:gd name="connsiteX3" fmla="*/ 16305649 w 18744436"/>
                <a:gd name="connsiteY3" fmla="*/ 8754550 h 15035524"/>
                <a:gd name="connsiteX4" fmla="*/ 16287189 w 18744436"/>
                <a:gd name="connsiteY4" fmla="*/ 9151157 h 15035524"/>
                <a:gd name="connsiteX5" fmla="*/ 16372801 w 18744436"/>
                <a:gd name="connsiteY5" fmla="*/ 9717422 h 15035524"/>
                <a:gd name="connsiteX6" fmla="*/ 16070155 w 18744436"/>
                <a:gd name="connsiteY6" fmla="*/ 9937808 h 15035524"/>
                <a:gd name="connsiteX7" fmla="*/ 15805690 w 18744436"/>
                <a:gd name="connsiteY7" fmla="*/ 10431999 h 15035524"/>
                <a:gd name="connsiteX8" fmla="*/ 15195097 w 18744436"/>
                <a:gd name="connsiteY8" fmla="*/ 10093742 h 15035524"/>
                <a:gd name="connsiteX9" fmla="*/ 15011380 w 18744436"/>
                <a:gd name="connsiteY9" fmla="*/ 11048592 h 15035524"/>
                <a:gd name="connsiteX10" fmla="*/ 14908430 w 18744436"/>
                <a:gd name="connsiteY10" fmla="*/ 11937487 h 15035524"/>
                <a:gd name="connsiteX11" fmla="*/ 14904684 w 18744436"/>
                <a:gd name="connsiteY11" fmla="*/ 12760926 h 15035524"/>
                <a:gd name="connsiteX12" fmla="*/ 14929927 w 18744436"/>
                <a:gd name="connsiteY12" fmla="*/ 14391846 h 15035524"/>
                <a:gd name="connsiteX13" fmla="*/ 12952786 w 18744436"/>
                <a:gd name="connsiteY13" fmla="*/ 14842599 h 15035524"/>
                <a:gd name="connsiteX14" fmla="*/ 11934663 w 18744436"/>
                <a:gd name="connsiteY14" fmla="*/ 14890849 h 15035524"/>
                <a:gd name="connsiteX15" fmla="*/ 8506848 w 18744436"/>
                <a:gd name="connsiteY15" fmla="*/ 15035524 h 15035524"/>
                <a:gd name="connsiteX16" fmla="*/ 7985095 w 18744436"/>
                <a:gd name="connsiteY16" fmla="*/ 14390442 h 15035524"/>
                <a:gd name="connsiteX17" fmla="*/ 7400308 w 18744436"/>
                <a:gd name="connsiteY17" fmla="*/ 14360297 h 15035524"/>
                <a:gd name="connsiteX18" fmla="*/ 6972273 w 18744436"/>
                <a:gd name="connsiteY18" fmla="*/ 14631594 h 15035524"/>
                <a:gd name="connsiteX19" fmla="*/ 5181729 w 18744436"/>
                <a:gd name="connsiteY19" fmla="*/ 14547195 h 15035524"/>
                <a:gd name="connsiteX20" fmla="*/ 4397998 w 18744436"/>
                <a:gd name="connsiteY20" fmla="*/ 13914178 h 15035524"/>
                <a:gd name="connsiteX21" fmla="*/ 2908896 w 18744436"/>
                <a:gd name="connsiteY21" fmla="*/ 13106324 h 15035524"/>
                <a:gd name="connsiteX22" fmla="*/ 1263043 w 18744436"/>
                <a:gd name="connsiteY22" fmla="*/ 12394931 h 15035524"/>
                <a:gd name="connsiteX23" fmla="*/ 485320 w 18744436"/>
                <a:gd name="connsiteY23" fmla="*/ 11942774 h 15035524"/>
                <a:gd name="connsiteX24" fmla="*/ 0 w 18744436"/>
                <a:gd name="connsiteY24" fmla="*/ 11649662 h 15035524"/>
                <a:gd name="connsiteX25" fmla="*/ 1003686 w 18744436"/>
                <a:gd name="connsiteY25" fmla="*/ 10903697 h 15035524"/>
                <a:gd name="connsiteX26" fmla="*/ 2902551 w 18744436"/>
                <a:gd name="connsiteY26" fmla="*/ 9719298 h 15035524"/>
                <a:gd name="connsiteX27" fmla="*/ 2558940 w 18744436"/>
                <a:gd name="connsiteY27" fmla="*/ 9185867 h 15035524"/>
                <a:gd name="connsiteX28" fmla="*/ 2402508 w 18744436"/>
                <a:gd name="connsiteY28" fmla="*/ 8498784 h 15035524"/>
                <a:gd name="connsiteX29" fmla="*/ 2730740 w 18744436"/>
                <a:gd name="connsiteY29" fmla="*/ 8471613 h 15035524"/>
                <a:gd name="connsiteX30" fmla="*/ 2947754 w 18744436"/>
                <a:gd name="connsiteY30" fmla="*/ 8001468 h 15035524"/>
                <a:gd name="connsiteX31" fmla="*/ 3499325 w 18744436"/>
                <a:gd name="connsiteY31" fmla="*/ 7558451 h 15035524"/>
                <a:gd name="connsiteX32" fmla="*/ 3680166 w 18744436"/>
                <a:gd name="connsiteY32" fmla="*/ 6681453 h 15035524"/>
                <a:gd name="connsiteX33" fmla="*/ 4186528 w 18744436"/>
                <a:gd name="connsiteY33" fmla="*/ 6690489 h 15035524"/>
                <a:gd name="connsiteX34" fmla="*/ 4837569 w 18744436"/>
                <a:gd name="connsiteY34" fmla="*/ 7160639 h 15035524"/>
                <a:gd name="connsiteX35" fmla="*/ 5352976 w 18744436"/>
                <a:gd name="connsiteY35" fmla="*/ 7079272 h 15035524"/>
                <a:gd name="connsiteX36" fmla="*/ 5741786 w 18744436"/>
                <a:gd name="connsiteY36" fmla="*/ 6708577 h 15035524"/>
                <a:gd name="connsiteX37" fmla="*/ 6157723 w 18744436"/>
                <a:gd name="connsiteY37" fmla="*/ 6545836 h 15035524"/>
                <a:gd name="connsiteX38" fmla="*/ 6745471 w 18744436"/>
                <a:gd name="connsiteY38" fmla="*/ 5976243 h 15035524"/>
                <a:gd name="connsiteX39" fmla="*/ 6890140 w 18744436"/>
                <a:gd name="connsiteY39" fmla="*/ 5126367 h 15035524"/>
                <a:gd name="connsiteX40" fmla="*/ 7568305 w 18744436"/>
                <a:gd name="connsiteY40" fmla="*/ 4556773 h 15035524"/>
                <a:gd name="connsiteX41" fmla="*/ 8137967 w 18744436"/>
                <a:gd name="connsiteY41" fmla="*/ 4113752 h 15035524"/>
                <a:gd name="connsiteX42" fmla="*/ 8463480 w 18744436"/>
                <a:gd name="connsiteY42" fmla="*/ 3309085 h 15035524"/>
                <a:gd name="connsiteX43" fmla="*/ 9024093 w 18744436"/>
                <a:gd name="connsiteY43" fmla="*/ 2956478 h 15035524"/>
                <a:gd name="connsiteX44" fmla="*/ 9675138 w 18744436"/>
                <a:gd name="connsiteY44" fmla="*/ 2603876 h 15035524"/>
                <a:gd name="connsiteX45" fmla="*/ 9558580 w 18744436"/>
                <a:gd name="connsiteY45" fmla="*/ 2055592 h 15035524"/>
                <a:gd name="connsiteX46" fmla="*/ 10353296 w 18744436"/>
                <a:gd name="connsiteY46" fmla="*/ 1383308 h 15035524"/>
                <a:gd name="connsiteX47" fmla="*/ 10832530 w 18744436"/>
                <a:gd name="connsiteY47" fmla="*/ 1310974 h 15035524"/>
                <a:gd name="connsiteX48" fmla="*/ 11058585 w 18744436"/>
                <a:gd name="connsiteY48" fmla="*/ 1763043 h 15035524"/>
                <a:gd name="connsiteX49" fmla="*/ 11411229 w 18744436"/>
                <a:gd name="connsiteY49" fmla="*/ 2142774 h 15035524"/>
                <a:gd name="connsiteX50" fmla="*/ 11998974 w 18744436"/>
                <a:gd name="connsiteY50" fmla="*/ 2224144 h 15035524"/>
                <a:gd name="connsiteX51" fmla="*/ 12315449 w 18744436"/>
                <a:gd name="connsiteY51" fmla="*/ 2884156 h 15035524"/>
                <a:gd name="connsiteX52" fmla="*/ 12785642 w 18744436"/>
                <a:gd name="connsiteY52" fmla="*/ 2703327 h 15035524"/>
                <a:gd name="connsiteX53" fmla="*/ 13671776 w 18744436"/>
                <a:gd name="connsiteY53" fmla="*/ 3155388 h 15035524"/>
                <a:gd name="connsiteX54" fmla="*/ 14123886 w 18744436"/>
                <a:gd name="connsiteY54" fmla="*/ 2857035 h 15035524"/>
                <a:gd name="connsiteX55" fmla="*/ 14259509 w 18744436"/>
                <a:gd name="connsiteY55" fmla="*/ 2287434 h 15035524"/>
                <a:gd name="connsiteX56" fmla="*/ 14892468 w 18744436"/>
                <a:gd name="connsiteY56" fmla="*/ 1645503 h 15035524"/>
                <a:gd name="connsiteX57" fmla="*/ 15778605 w 18744436"/>
                <a:gd name="connsiteY57" fmla="*/ 1093983 h 15035524"/>
                <a:gd name="connsiteX58" fmla="*/ 16022739 w 18744436"/>
                <a:gd name="connsiteY58" fmla="*/ 1564133 h 15035524"/>
                <a:gd name="connsiteX59" fmla="*/ 16556232 w 18744436"/>
                <a:gd name="connsiteY59" fmla="*/ 2142785 h 15035524"/>
                <a:gd name="connsiteX60" fmla="*/ 17406193 w 18744436"/>
                <a:gd name="connsiteY60" fmla="*/ 1292897 h 15035524"/>
                <a:gd name="connsiteX61" fmla="*/ 18120524 w 18744436"/>
                <a:gd name="connsiteY61" fmla="*/ 714260 h 15035524"/>
                <a:gd name="connsiteX62" fmla="*/ 18744437 w 18744436"/>
                <a:gd name="connsiteY62" fmla="*/ -1 h 15035524"/>
                <a:gd name="connsiteX63" fmla="*/ 496059 w 18744436"/>
                <a:gd name="connsiteY63" fmla="*/ 6029507 h 15035524"/>
                <a:gd name="connsiteX64" fmla="*/ 11919572 w 18744436"/>
                <a:gd name="connsiteY64" fmla="*/ 7003278 h 15035524"/>
                <a:gd name="connsiteX65" fmla="*/ 12868275 w 18744436"/>
                <a:gd name="connsiteY65" fmla="*/ 6758067 h 15035524"/>
                <a:gd name="connsiteX66" fmla="*/ 13844296 w 18744436"/>
                <a:gd name="connsiteY66" fmla="*/ 6156232 h 15035524"/>
                <a:gd name="connsiteX67" fmla="*/ 13886291 w 18744436"/>
                <a:gd name="connsiteY67" fmla="*/ 5321864 h 15035524"/>
                <a:gd name="connsiteX68" fmla="*/ 14370431 w 18744436"/>
                <a:gd name="connsiteY68" fmla="*/ 5830216 h 15035524"/>
                <a:gd name="connsiteX69" fmla="*/ 15323320 w 18744436"/>
                <a:gd name="connsiteY69" fmla="*/ 5928489 h 15035524"/>
                <a:gd name="connsiteX70" fmla="*/ 16350939 w 18744436"/>
                <a:gd name="connsiteY70" fmla="*/ 6053348 h 15035524"/>
                <a:gd name="connsiteX71" fmla="*/ 16362364 w 18744436"/>
                <a:gd name="connsiteY71" fmla="*/ 6360628 h 15035524"/>
                <a:gd name="connsiteX72" fmla="*/ 16682563 w 18744436"/>
                <a:gd name="connsiteY72" fmla="*/ 6798531 h 15035524"/>
                <a:gd name="connsiteX0" fmla="*/ 16682563 w 18744436"/>
                <a:gd name="connsiteY0" fmla="*/ 6798531 h 15035524"/>
                <a:gd name="connsiteX1" fmla="*/ 16432262 w 18744436"/>
                <a:gd name="connsiteY1" fmla="*/ 7825917 h 15035524"/>
                <a:gd name="connsiteX2" fmla="*/ 16106317 w 18744436"/>
                <a:gd name="connsiteY2" fmla="*/ 8367221 h 15035524"/>
                <a:gd name="connsiteX3" fmla="*/ 16305649 w 18744436"/>
                <a:gd name="connsiteY3" fmla="*/ 8754550 h 15035524"/>
                <a:gd name="connsiteX4" fmla="*/ 16287189 w 18744436"/>
                <a:gd name="connsiteY4" fmla="*/ 9151157 h 15035524"/>
                <a:gd name="connsiteX5" fmla="*/ 16372801 w 18744436"/>
                <a:gd name="connsiteY5" fmla="*/ 9717422 h 15035524"/>
                <a:gd name="connsiteX6" fmla="*/ 16070155 w 18744436"/>
                <a:gd name="connsiteY6" fmla="*/ 9937808 h 15035524"/>
                <a:gd name="connsiteX7" fmla="*/ 15805690 w 18744436"/>
                <a:gd name="connsiteY7" fmla="*/ 10431999 h 15035524"/>
                <a:gd name="connsiteX8" fmla="*/ 15195097 w 18744436"/>
                <a:gd name="connsiteY8" fmla="*/ 10093742 h 15035524"/>
                <a:gd name="connsiteX9" fmla="*/ 15011380 w 18744436"/>
                <a:gd name="connsiteY9" fmla="*/ 11048592 h 15035524"/>
                <a:gd name="connsiteX10" fmla="*/ 14908430 w 18744436"/>
                <a:gd name="connsiteY10" fmla="*/ 11937487 h 15035524"/>
                <a:gd name="connsiteX11" fmla="*/ 14904684 w 18744436"/>
                <a:gd name="connsiteY11" fmla="*/ 12760926 h 15035524"/>
                <a:gd name="connsiteX12" fmla="*/ 14929927 w 18744436"/>
                <a:gd name="connsiteY12" fmla="*/ 14391846 h 15035524"/>
                <a:gd name="connsiteX13" fmla="*/ 12952786 w 18744436"/>
                <a:gd name="connsiteY13" fmla="*/ 14842599 h 15035524"/>
                <a:gd name="connsiteX14" fmla="*/ 11934663 w 18744436"/>
                <a:gd name="connsiteY14" fmla="*/ 14890849 h 15035524"/>
                <a:gd name="connsiteX15" fmla="*/ 8506848 w 18744436"/>
                <a:gd name="connsiteY15" fmla="*/ 15035524 h 15035524"/>
                <a:gd name="connsiteX16" fmla="*/ 7985095 w 18744436"/>
                <a:gd name="connsiteY16" fmla="*/ 14390442 h 15035524"/>
                <a:gd name="connsiteX17" fmla="*/ 7400308 w 18744436"/>
                <a:gd name="connsiteY17" fmla="*/ 14360297 h 15035524"/>
                <a:gd name="connsiteX18" fmla="*/ 6972273 w 18744436"/>
                <a:gd name="connsiteY18" fmla="*/ 14631594 h 15035524"/>
                <a:gd name="connsiteX19" fmla="*/ 5181729 w 18744436"/>
                <a:gd name="connsiteY19" fmla="*/ 14547195 h 15035524"/>
                <a:gd name="connsiteX20" fmla="*/ 4397998 w 18744436"/>
                <a:gd name="connsiteY20" fmla="*/ 13914178 h 15035524"/>
                <a:gd name="connsiteX21" fmla="*/ 2908896 w 18744436"/>
                <a:gd name="connsiteY21" fmla="*/ 13106324 h 15035524"/>
                <a:gd name="connsiteX22" fmla="*/ 1263043 w 18744436"/>
                <a:gd name="connsiteY22" fmla="*/ 12394931 h 15035524"/>
                <a:gd name="connsiteX23" fmla="*/ 485320 w 18744436"/>
                <a:gd name="connsiteY23" fmla="*/ 11942774 h 15035524"/>
                <a:gd name="connsiteX24" fmla="*/ 0 w 18744436"/>
                <a:gd name="connsiteY24" fmla="*/ 11649662 h 15035524"/>
                <a:gd name="connsiteX25" fmla="*/ 1003686 w 18744436"/>
                <a:gd name="connsiteY25" fmla="*/ 10903697 h 15035524"/>
                <a:gd name="connsiteX26" fmla="*/ 2902551 w 18744436"/>
                <a:gd name="connsiteY26" fmla="*/ 9719298 h 15035524"/>
                <a:gd name="connsiteX27" fmla="*/ 2558940 w 18744436"/>
                <a:gd name="connsiteY27" fmla="*/ 9185867 h 15035524"/>
                <a:gd name="connsiteX28" fmla="*/ 2402508 w 18744436"/>
                <a:gd name="connsiteY28" fmla="*/ 8498784 h 15035524"/>
                <a:gd name="connsiteX29" fmla="*/ 2730740 w 18744436"/>
                <a:gd name="connsiteY29" fmla="*/ 8471613 h 15035524"/>
                <a:gd name="connsiteX30" fmla="*/ 2947754 w 18744436"/>
                <a:gd name="connsiteY30" fmla="*/ 8001468 h 15035524"/>
                <a:gd name="connsiteX31" fmla="*/ 3499325 w 18744436"/>
                <a:gd name="connsiteY31" fmla="*/ 7558451 h 15035524"/>
                <a:gd name="connsiteX32" fmla="*/ 3680166 w 18744436"/>
                <a:gd name="connsiteY32" fmla="*/ 6681453 h 15035524"/>
                <a:gd name="connsiteX33" fmla="*/ 4186528 w 18744436"/>
                <a:gd name="connsiteY33" fmla="*/ 6690489 h 15035524"/>
                <a:gd name="connsiteX34" fmla="*/ 4837569 w 18744436"/>
                <a:gd name="connsiteY34" fmla="*/ 7160639 h 15035524"/>
                <a:gd name="connsiteX35" fmla="*/ 5352976 w 18744436"/>
                <a:gd name="connsiteY35" fmla="*/ 7079272 h 15035524"/>
                <a:gd name="connsiteX36" fmla="*/ 5741786 w 18744436"/>
                <a:gd name="connsiteY36" fmla="*/ 6708577 h 15035524"/>
                <a:gd name="connsiteX37" fmla="*/ 6157723 w 18744436"/>
                <a:gd name="connsiteY37" fmla="*/ 6545836 h 15035524"/>
                <a:gd name="connsiteX38" fmla="*/ 6745471 w 18744436"/>
                <a:gd name="connsiteY38" fmla="*/ 5976243 h 15035524"/>
                <a:gd name="connsiteX39" fmla="*/ 6890140 w 18744436"/>
                <a:gd name="connsiteY39" fmla="*/ 5126367 h 15035524"/>
                <a:gd name="connsiteX40" fmla="*/ 7568305 w 18744436"/>
                <a:gd name="connsiteY40" fmla="*/ 4556773 h 15035524"/>
                <a:gd name="connsiteX41" fmla="*/ 8137967 w 18744436"/>
                <a:gd name="connsiteY41" fmla="*/ 4113752 h 15035524"/>
                <a:gd name="connsiteX42" fmla="*/ 8463480 w 18744436"/>
                <a:gd name="connsiteY42" fmla="*/ 3309085 h 15035524"/>
                <a:gd name="connsiteX43" fmla="*/ 9024093 w 18744436"/>
                <a:gd name="connsiteY43" fmla="*/ 2956478 h 15035524"/>
                <a:gd name="connsiteX44" fmla="*/ 9675138 w 18744436"/>
                <a:gd name="connsiteY44" fmla="*/ 2603876 h 15035524"/>
                <a:gd name="connsiteX45" fmla="*/ 9558580 w 18744436"/>
                <a:gd name="connsiteY45" fmla="*/ 2055592 h 15035524"/>
                <a:gd name="connsiteX46" fmla="*/ 10353296 w 18744436"/>
                <a:gd name="connsiteY46" fmla="*/ 1383308 h 15035524"/>
                <a:gd name="connsiteX47" fmla="*/ 10832530 w 18744436"/>
                <a:gd name="connsiteY47" fmla="*/ 1310974 h 15035524"/>
                <a:gd name="connsiteX48" fmla="*/ 11058585 w 18744436"/>
                <a:gd name="connsiteY48" fmla="*/ 1763043 h 15035524"/>
                <a:gd name="connsiteX49" fmla="*/ 11411229 w 18744436"/>
                <a:gd name="connsiteY49" fmla="*/ 2142774 h 15035524"/>
                <a:gd name="connsiteX50" fmla="*/ 11998974 w 18744436"/>
                <a:gd name="connsiteY50" fmla="*/ 2224144 h 15035524"/>
                <a:gd name="connsiteX51" fmla="*/ 12315449 w 18744436"/>
                <a:gd name="connsiteY51" fmla="*/ 2884156 h 15035524"/>
                <a:gd name="connsiteX52" fmla="*/ 12785642 w 18744436"/>
                <a:gd name="connsiteY52" fmla="*/ 2703327 h 15035524"/>
                <a:gd name="connsiteX53" fmla="*/ 13671776 w 18744436"/>
                <a:gd name="connsiteY53" fmla="*/ 3155388 h 15035524"/>
                <a:gd name="connsiteX54" fmla="*/ 14123886 w 18744436"/>
                <a:gd name="connsiteY54" fmla="*/ 2857035 h 15035524"/>
                <a:gd name="connsiteX55" fmla="*/ 14259509 w 18744436"/>
                <a:gd name="connsiteY55" fmla="*/ 2287434 h 15035524"/>
                <a:gd name="connsiteX56" fmla="*/ 14892468 w 18744436"/>
                <a:gd name="connsiteY56" fmla="*/ 1645503 h 15035524"/>
                <a:gd name="connsiteX57" fmla="*/ 15778605 w 18744436"/>
                <a:gd name="connsiteY57" fmla="*/ 1093983 h 15035524"/>
                <a:gd name="connsiteX58" fmla="*/ 16022739 w 18744436"/>
                <a:gd name="connsiteY58" fmla="*/ 1564133 h 15035524"/>
                <a:gd name="connsiteX59" fmla="*/ 16556232 w 18744436"/>
                <a:gd name="connsiteY59" fmla="*/ 2142785 h 15035524"/>
                <a:gd name="connsiteX60" fmla="*/ 17406193 w 18744436"/>
                <a:gd name="connsiteY60" fmla="*/ 1292897 h 15035524"/>
                <a:gd name="connsiteX61" fmla="*/ 18120524 w 18744436"/>
                <a:gd name="connsiteY61" fmla="*/ 714260 h 15035524"/>
                <a:gd name="connsiteX62" fmla="*/ 18744437 w 18744436"/>
                <a:gd name="connsiteY62" fmla="*/ -1 h 15035524"/>
                <a:gd name="connsiteX63" fmla="*/ 271434 w 18744436"/>
                <a:gd name="connsiteY63" fmla="*/ 7065877 h 15035524"/>
                <a:gd name="connsiteX64" fmla="*/ 11919572 w 18744436"/>
                <a:gd name="connsiteY64" fmla="*/ 7003278 h 15035524"/>
                <a:gd name="connsiteX65" fmla="*/ 12868275 w 18744436"/>
                <a:gd name="connsiteY65" fmla="*/ 6758067 h 15035524"/>
                <a:gd name="connsiteX66" fmla="*/ 13844296 w 18744436"/>
                <a:gd name="connsiteY66" fmla="*/ 6156232 h 15035524"/>
                <a:gd name="connsiteX67" fmla="*/ 13886291 w 18744436"/>
                <a:gd name="connsiteY67" fmla="*/ 5321864 h 15035524"/>
                <a:gd name="connsiteX68" fmla="*/ 14370431 w 18744436"/>
                <a:gd name="connsiteY68" fmla="*/ 5830216 h 15035524"/>
                <a:gd name="connsiteX69" fmla="*/ 15323320 w 18744436"/>
                <a:gd name="connsiteY69" fmla="*/ 5928489 h 15035524"/>
                <a:gd name="connsiteX70" fmla="*/ 16350939 w 18744436"/>
                <a:gd name="connsiteY70" fmla="*/ 6053348 h 15035524"/>
                <a:gd name="connsiteX71" fmla="*/ 16362364 w 18744436"/>
                <a:gd name="connsiteY71" fmla="*/ 6360628 h 15035524"/>
                <a:gd name="connsiteX72" fmla="*/ 16682563 w 18744436"/>
                <a:gd name="connsiteY72" fmla="*/ 6798531 h 15035524"/>
                <a:gd name="connsiteX0" fmla="*/ 16682563 w 18744436"/>
                <a:gd name="connsiteY0" fmla="*/ 6798531 h 15035524"/>
                <a:gd name="connsiteX1" fmla="*/ 16432262 w 18744436"/>
                <a:gd name="connsiteY1" fmla="*/ 7825917 h 15035524"/>
                <a:gd name="connsiteX2" fmla="*/ 16106317 w 18744436"/>
                <a:gd name="connsiteY2" fmla="*/ 8367221 h 15035524"/>
                <a:gd name="connsiteX3" fmla="*/ 16305649 w 18744436"/>
                <a:gd name="connsiteY3" fmla="*/ 8754550 h 15035524"/>
                <a:gd name="connsiteX4" fmla="*/ 16287189 w 18744436"/>
                <a:gd name="connsiteY4" fmla="*/ 9151157 h 15035524"/>
                <a:gd name="connsiteX5" fmla="*/ 16372801 w 18744436"/>
                <a:gd name="connsiteY5" fmla="*/ 9717422 h 15035524"/>
                <a:gd name="connsiteX6" fmla="*/ 16070155 w 18744436"/>
                <a:gd name="connsiteY6" fmla="*/ 9937808 h 15035524"/>
                <a:gd name="connsiteX7" fmla="*/ 15805690 w 18744436"/>
                <a:gd name="connsiteY7" fmla="*/ 10431999 h 15035524"/>
                <a:gd name="connsiteX8" fmla="*/ 15195097 w 18744436"/>
                <a:gd name="connsiteY8" fmla="*/ 10093742 h 15035524"/>
                <a:gd name="connsiteX9" fmla="*/ 15011380 w 18744436"/>
                <a:gd name="connsiteY9" fmla="*/ 11048592 h 15035524"/>
                <a:gd name="connsiteX10" fmla="*/ 14908430 w 18744436"/>
                <a:gd name="connsiteY10" fmla="*/ 11937487 h 15035524"/>
                <a:gd name="connsiteX11" fmla="*/ 14904684 w 18744436"/>
                <a:gd name="connsiteY11" fmla="*/ 12760926 h 15035524"/>
                <a:gd name="connsiteX12" fmla="*/ 14929927 w 18744436"/>
                <a:gd name="connsiteY12" fmla="*/ 14391846 h 15035524"/>
                <a:gd name="connsiteX13" fmla="*/ 12952786 w 18744436"/>
                <a:gd name="connsiteY13" fmla="*/ 14842599 h 15035524"/>
                <a:gd name="connsiteX14" fmla="*/ 11934663 w 18744436"/>
                <a:gd name="connsiteY14" fmla="*/ 14890849 h 15035524"/>
                <a:gd name="connsiteX15" fmla="*/ 8506848 w 18744436"/>
                <a:gd name="connsiteY15" fmla="*/ 15035524 h 15035524"/>
                <a:gd name="connsiteX16" fmla="*/ 7985095 w 18744436"/>
                <a:gd name="connsiteY16" fmla="*/ 14390442 h 15035524"/>
                <a:gd name="connsiteX17" fmla="*/ 7400308 w 18744436"/>
                <a:gd name="connsiteY17" fmla="*/ 14360297 h 15035524"/>
                <a:gd name="connsiteX18" fmla="*/ 6972273 w 18744436"/>
                <a:gd name="connsiteY18" fmla="*/ 14631594 h 15035524"/>
                <a:gd name="connsiteX19" fmla="*/ 5181729 w 18744436"/>
                <a:gd name="connsiteY19" fmla="*/ 14547195 h 15035524"/>
                <a:gd name="connsiteX20" fmla="*/ 4397998 w 18744436"/>
                <a:gd name="connsiteY20" fmla="*/ 13914178 h 15035524"/>
                <a:gd name="connsiteX21" fmla="*/ 2908896 w 18744436"/>
                <a:gd name="connsiteY21" fmla="*/ 13106324 h 15035524"/>
                <a:gd name="connsiteX22" fmla="*/ 1263043 w 18744436"/>
                <a:gd name="connsiteY22" fmla="*/ 12394931 h 15035524"/>
                <a:gd name="connsiteX23" fmla="*/ 485320 w 18744436"/>
                <a:gd name="connsiteY23" fmla="*/ 11942774 h 15035524"/>
                <a:gd name="connsiteX24" fmla="*/ 0 w 18744436"/>
                <a:gd name="connsiteY24" fmla="*/ 11649662 h 15035524"/>
                <a:gd name="connsiteX25" fmla="*/ 1003686 w 18744436"/>
                <a:gd name="connsiteY25" fmla="*/ 10903697 h 15035524"/>
                <a:gd name="connsiteX26" fmla="*/ 2902551 w 18744436"/>
                <a:gd name="connsiteY26" fmla="*/ 9719298 h 15035524"/>
                <a:gd name="connsiteX27" fmla="*/ 2558940 w 18744436"/>
                <a:gd name="connsiteY27" fmla="*/ 9185867 h 15035524"/>
                <a:gd name="connsiteX28" fmla="*/ 2402508 w 18744436"/>
                <a:gd name="connsiteY28" fmla="*/ 8498784 h 15035524"/>
                <a:gd name="connsiteX29" fmla="*/ 2730740 w 18744436"/>
                <a:gd name="connsiteY29" fmla="*/ 8471613 h 15035524"/>
                <a:gd name="connsiteX30" fmla="*/ 2947754 w 18744436"/>
                <a:gd name="connsiteY30" fmla="*/ 8001468 h 15035524"/>
                <a:gd name="connsiteX31" fmla="*/ 3499325 w 18744436"/>
                <a:gd name="connsiteY31" fmla="*/ 7558451 h 15035524"/>
                <a:gd name="connsiteX32" fmla="*/ 3680166 w 18744436"/>
                <a:gd name="connsiteY32" fmla="*/ 6681453 h 15035524"/>
                <a:gd name="connsiteX33" fmla="*/ 4186528 w 18744436"/>
                <a:gd name="connsiteY33" fmla="*/ 6690489 h 15035524"/>
                <a:gd name="connsiteX34" fmla="*/ 4837569 w 18744436"/>
                <a:gd name="connsiteY34" fmla="*/ 7160639 h 15035524"/>
                <a:gd name="connsiteX35" fmla="*/ 5352976 w 18744436"/>
                <a:gd name="connsiteY35" fmla="*/ 7079272 h 15035524"/>
                <a:gd name="connsiteX36" fmla="*/ 5741786 w 18744436"/>
                <a:gd name="connsiteY36" fmla="*/ 6708577 h 15035524"/>
                <a:gd name="connsiteX37" fmla="*/ 6157723 w 18744436"/>
                <a:gd name="connsiteY37" fmla="*/ 6545836 h 15035524"/>
                <a:gd name="connsiteX38" fmla="*/ 6745471 w 18744436"/>
                <a:gd name="connsiteY38" fmla="*/ 5976243 h 15035524"/>
                <a:gd name="connsiteX39" fmla="*/ 6890140 w 18744436"/>
                <a:gd name="connsiteY39" fmla="*/ 5126367 h 15035524"/>
                <a:gd name="connsiteX40" fmla="*/ 7568305 w 18744436"/>
                <a:gd name="connsiteY40" fmla="*/ 4556773 h 15035524"/>
                <a:gd name="connsiteX41" fmla="*/ 8137967 w 18744436"/>
                <a:gd name="connsiteY41" fmla="*/ 4113752 h 15035524"/>
                <a:gd name="connsiteX42" fmla="*/ 8463480 w 18744436"/>
                <a:gd name="connsiteY42" fmla="*/ 3309085 h 15035524"/>
                <a:gd name="connsiteX43" fmla="*/ 9024093 w 18744436"/>
                <a:gd name="connsiteY43" fmla="*/ 2956478 h 15035524"/>
                <a:gd name="connsiteX44" fmla="*/ 9675138 w 18744436"/>
                <a:gd name="connsiteY44" fmla="*/ 2603876 h 15035524"/>
                <a:gd name="connsiteX45" fmla="*/ 9558580 w 18744436"/>
                <a:gd name="connsiteY45" fmla="*/ 2055592 h 15035524"/>
                <a:gd name="connsiteX46" fmla="*/ 10353296 w 18744436"/>
                <a:gd name="connsiteY46" fmla="*/ 1383308 h 15035524"/>
                <a:gd name="connsiteX47" fmla="*/ 10832530 w 18744436"/>
                <a:gd name="connsiteY47" fmla="*/ 1310974 h 15035524"/>
                <a:gd name="connsiteX48" fmla="*/ 11058585 w 18744436"/>
                <a:gd name="connsiteY48" fmla="*/ 1763043 h 15035524"/>
                <a:gd name="connsiteX49" fmla="*/ 11411229 w 18744436"/>
                <a:gd name="connsiteY49" fmla="*/ 2142774 h 15035524"/>
                <a:gd name="connsiteX50" fmla="*/ 11998974 w 18744436"/>
                <a:gd name="connsiteY50" fmla="*/ 2224144 h 15035524"/>
                <a:gd name="connsiteX51" fmla="*/ 12315449 w 18744436"/>
                <a:gd name="connsiteY51" fmla="*/ 2884156 h 15035524"/>
                <a:gd name="connsiteX52" fmla="*/ 12785642 w 18744436"/>
                <a:gd name="connsiteY52" fmla="*/ 2703327 h 15035524"/>
                <a:gd name="connsiteX53" fmla="*/ 13671776 w 18744436"/>
                <a:gd name="connsiteY53" fmla="*/ 3155388 h 15035524"/>
                <a:gd name="connsiteX54" fmla="*/ 14123886 w 18744436"/>
                <a:gd name="connsiteY54" fmla="*/ 2857035 h 15035524"/>
                <a:gd name="connsiteX55" fmla="*/ 14259509 w 18744436"/>
                <a:gd name="connsiteY55" fmla="*/ 2287434 h 15035524"/>
                <a:gd name="connsiteX56" fmla="*/ 14892468 w 18744436"/>
                <a:gd name="connsiteY56" fmla="*/ 1645503 h 15035524"/>
                <a:gd name="connsiteX57" fmla="*/ 15778605 w 18744436"/>
                <a:gd name="connsiteY57" fmla="*/ 1093983 h 15035524"/>
                <a:gd name="connsiteX58" fmla="*/ 16022739 w 18744436"/>
                <a:gd name="connsiteY58" fmla="*/ 1564133 h 15035524"/>
                <a:gd name="connsiteX59" fmla="*/ 16556232 w 18744436"/>
                <a:gd name="connsiteY59" fmla="*/ 2142785 h 15035524"/>
                <a:gd name="connsiteX60" fmla="*/ 17406193 w 18744436"/>
                <a:gd name="connsiteY60" fmla="*/ 1292897 h 15035524"/>
                <a:gd name="connsiteX61" fmla="*/ 18120524 w 18744436"/>
                <a:gd name="connsiteY61" fmla="*/ 714260 h 15035524"/>
                <a:gd name="connsiteX62" fmla="*/ 18744437 w 18744436"/>
                <a:gd name="connsiteY62" fmla="*/ -1 h 15035524"/>
                <a:gd name="connsiteX63" fmla="*/ 11109603 w 18744436"/>
                <a:gd name="connsiteY63" fmla="*/ 6729756 h 15035524"/>
                <a:gd name="connsiteX64" fmla="*/ 11919572 w 18744436"/>
                <a:gd name="connsiteY64" fmla="*/ 7003278 h 15035524"/>
                <a:gd name="connsiteX65" fmla="*/ 12868275 w 18744436"/>
                <a:gd name="connsiteY65" fmla="*/ 6758067 h 15035524"/>
                <a:gd name="connsiteX66" fmla="*/ 13844296 w 18744436"/>
                <a:gd name="connsiteY66" fmla="*/ 6156232 h 15035524"/>
                <a:gd name="connsiteX67" fmla="*/ 13886291 w 18744436"/>
                <a:gd name="connsiteY67" fmla="*/ 5321864 h 15035524"/>
                <a:gd name="connsiteX68" fmla="*/ 14370431 w 18744436"/>
                <a:gd name="connsiteY68" fmla="*/ 5830216 h 15035524"/>
                <a:gd name="connsiteX69" fmla="*/ 15323320 w 18744436"/>
                <a:gd name="connsiteY69" fmla="*/ 5928489 h 15035524"/>
                <a:gd name="connsiteX70" fmla="*/ 16350939 w 18744436"/>
                <a:gd name="connsiteY70" fmla="*/ 6053348 h 15035524"/>
                <a:gd name="connsiteX71" fmla="*/ 16362364 w 18744436"/>
                <a:gd name="connsiteY71" fmla="*/ 6360628 h 15035524"/>
                <a:gd name="connsiteX72" fmla="*/ 16682563 w 18744436"/>
                <a:gd name="connsiteY72" fmla="*/ 6798531 h 15035524"/>
                <a:gd name="connsiteX0" fmla="*/ 16682563 w 18120523"/>
                <a:gd name="connsiteY0" fmla="*/ 6084269 h 14321262"/>
                <a:gd name="connsiteX1" fmla="*/ 16432262 w 18120523"/>
                <a:gd name="connsiteY1" fmla="*/ 7111655 h 14321262"/>
                <a:gd name="connsiteX2" fmla="*/ 16106317 w 18120523"/>
                <a:gd name="connsiteY2" fmla="*/ 7652959 h 14321262"/>
                <a:gd name="connsiteX3" fmla="*/ 16305649 w 18120523"/>
                <a:gd name="connsiteY3" fmla="*/ 8040288 h 14321262"/>
                <a:gd name="connsiteX4" fmla="*/ 16287189 w 18120523"/>
                <a:gd name="connsiteY4" fmla="*/ 8436895 h 14321262"/>
                <a:gd name="connsiteX5" fmla="*/ 16372801 w 18120523"/>
                <a:gd name="connsiteY5" fmla="*/ 9003160 h 14321262"/>
                <a:gd name="connsiteX6" fmla="*/ 16070155 w 18120523"/>
                <a:gd name="connsiteY6" fmla="*/ 9223546 h 14321262"/>
                <a:gd name="connsiteX7" fmla="*/ 15805690 w 18120523"/>
                <a:gd name="connsiteY7" fmla="*/ 9717737 h 14321262"/>
                <a:gd name="connsiteX8" fmla="*/ 15195097 w 18120523"/>
                <a:gd name="connsiteY8" fmla="*/ 9379480 h 14321262"/>
                <a:gd name="connsiteX9" fmla="*/ 15011380 w 18120523"/>
                <a:gd name="connsiteY9" fmla="*/ 10334330 h 14321262"/>
                <a:gd name="connsiteX10" fmla="*/ 14908430 w 18120523"/>
                <a:gd name="connsiteY10" fmla="*/ 11223225 h 14321262"/>
                <a:gd name="connsiteX11" fmla="*/ 14904684 w 18120523"/>
                <a:gd name="connsiteY11" fmla="*/ 12046664 h 14321262"/>
                <a:gd name="connsiteX12" fmla="*/ 14929927 w 18120523"/>
                <a:gd name="connsiteY12" fmla="*/ 13677584 h 14321262"/>
                <a:gd name="connsiteX13" fmla="*/ 12952786 w 18120523"/>
                <a:gd name="connsiteY13" fmla="*/ 14128337 h 14321262"/>
                <a:gd name="connsiteX14" fmla="*/ 11934663 w 18120523"/>
                <a:gd name="connsiteY14" fmla="*/ 14176587 h 14321262"/>
                <a:gd name="connsiteX15" fmla="*/ 8506848 w 18120523"/>
                <a:gd name="connsiteY15" fmla="*/ 14321262 h 14321262"/>
                <a:gd name="connsiteX16" fmla="*/ 7985095 w 18120523"/>
                <a:gd name="connsiteY16" fmla="*/ 13676180 h 14321262"/>
                <a:gd name="connsiteX17" fmla="*/ 7400308 w 18120523"/>
                <a:gd name="connsiteY17" fmla="*/ 13646035 h 14321262"/>
                <a:gd name="connsiteX18" fmla="*/ 6972273 w 18120523"/>
                <a:gd name="connsiteY18" fmla="*/ 13917332 h 14321262"/>
                <a:gd name="connsiteX19" fmla="*/ 5181729 w 18120523"/>
                <a:gd name="connsiteY19" fmla="*/ 13832933 h 14321262"/>
                <a:gd name="connsiteX20" fmla="*/ 4397998 w 18120523"/>
                <a:gd name="connsiteY20" fmla="*/ 13199916 h 14321262"/>
                <a:gd name="connsiteX21" fmla="*/ 2908896 w 18120523"/>
                <a:gd name="connsiteY21" fmla="*/ 12392062 h 14321262"/>
                <a:gd name="connsiteX22" fmla="*/ 1263043 w 18120523"/>
                <a:gd name="connsiteY22" fmla="*/ 11680669 h 14321262"/>
                <a:gd name="connsiteX23" fmla="*/ 485320 w 18120523"/>
                <a:gd name="connsiteY23" fmla="*/ 11228512 h 14321262"/>
                <a:gd name="connsiteX24" fmla="*/ 0 w 18120523"/>
                <a:gd name="connsiteY24" fmla="*/ 10935400 h 14321262"/>
                <a:gd name="connsiteX25" fmla="*/ 1003686 w 18120523"/>
                <a:gd name="connsiteY25" fmla="*/ 10189435 h 14321262"/>
                <a:gd name="connsiteX26" fmla="*/ 2902551 w 18120523"/>
                <a:gd name="connsiteY26" fmla="*/ 9005036 h 14321262"/>
                <a:gd name="connsiteX27" fmla="*/ 2558940 w 18120523"/>
                <a:gd name="connsiteY27" fmla="*/ 8471605 h 14321262"/>
                <a:gd name="connsiteX28" fmla="*/ 2402508 w 18120523"/>
                <a:gd name="connsiteY28" fmla="*/ 7784522 h 14321262"/>
                <a:gd name="connsiteX29" fmla="*/ 2730740 w 18120523"/>
                <a:gd name="connsiteY29" fmla="*/ 7757351 h 14321262"/>
                <a:gd name="connsiteX30" fmla="*/ 2947754 w 18120523"/>
                <a:gd name="connsiteY30" fmla="*/ 7287206 h 14321262"/>
                <a:gd name="connsiteX31" fmla="*/ 3499325 w 18120523"/>
                <a:gd name="connsiteY31" fmla="*/ 6844189 h 14321262"/>
                <a:gd name="connsiteX32" fmla="*/ 3680166 w 18120523"/>
                <a:gd name="connsiteY32" fmla="*/ 5967191 h 14321262"/>
                <a:gd name="connsiteX33" fmla="*/ 4186528 w 18120523"/>
                <a:gd name="connsiteY33" fmla="*/ 5976227 h 14321262"/>
                <a:gd name="connsiteX34" fmla="*/ 4837569 w 18120523"/>
                <a:gd name="connsiteY34" fmla="*/ 6446377 h 14321262"/>
                <a:gd name="connsiteX35" fmla="*/ 5352976 w 18120523"/>
                <a:gd name="connsiteY35" fmla="*/ 6365010 h 14321262"/>
                <a:gd name="connsiteX36" fmla="*/ 5741786 w 18120523"/>
                <a:gd name="connsiteY36" fmla="*/ 5994315 h 14321262"/>
                <a:gd name="connsiteX37" fmla="*/ 6157723 w 18120523"/>
                <a:gd name="connsiteY37" fmla="*/ 5831574 h 14321262"/>
                <a:gd name="connsiteX38" fmla="*/ 6745471 w 18120523"/>
                <a:gd name="connsiteY38" fmla="*/ 5261981 h 14321262"/>
                <a:gd name="connsiteX39" fmla="*/ 6890140 w 18120523"/>
                <a:gd name="connsiteY39" fmla="*/ 4412105 h 14321262"/>
                <a:gd name="connsiteX40" fmla="*/ 7568305 w 18120523"/>
                <a:gd name="connsiteY40" fmla="*/ 3842511 h 14321262"/>
                <a:gd name="connsiteX41" fmla="*/ 8137967 w 18120523"/>
                <a:gd name="connsiteY41" fmla="*/ 3399490 h 14321262"/>
                <a:gd name="connsiteX42" fmla="*/ 8463480 w 18120523"/>
                <a:gd name="connsiteY42" fmla="*/ 2594823 h 14321262"/>
                <a:gd name="connsiteX43" fmla="*/ 9024093 w 18120523"/>
                <a:gd name="connsiteY43" fmla="*/ 2242216 h 14321262"/>
                <a:gd name="connsiteX44" fmla="*/ 9675138 w 18120523"/>
                <a:gd name="connsiteY44" fmla="*/ 1889614 h 14321262"/>
                <a:gd name="connsiteX45" fmla="*/ 9558580 w 18120523"/>
                <a:gd name="connsiteY45" fmla="*/ 1341330 h 14321262"/>
                <a:gd name="connsiteX46" fmla="*/ 10353296 w 18120523"/>
                <a:gd name="connsiteY46" fmla="*/ 669046 h 14321262"/>
                <a:gd name="connsiteX47" fmla="*/ 10832530 w 18120523"/>
                <a:gd name="connsiteY47" fmla="*/ 596712 h 14321262"/>
                <a:gd name="connsiteX48" fmla="*/ 11058585 w 18120523"/>
                <a:gd name="connsiteY48" fmla="*/ 1048781 h 14321262"/>
                <a:gd name="connsiteX49" fmla="*/ 11411229 w 18120523"/>
                <a:gd name="connsiteY49" fmla="*/ 1428512 h 14321262"/>
                <a:gd name="connsiteX50" fmla="*/ 11998974 w 18120523"/>
                <a:gd name="connsiteY50" fmla="*/ 1509882 h 14321262"/>
                <a:gd name="connsiteX51" fmla="*/ 12315449 w 18120523"/>
                <a:gd name="connsiteY51" fmla="*/ 2169894 h 14321262"/>
                <a:gd name="connsiteX52" fmla="*/ 12785642 w 18120523"/>
                <a:gd name="connsiteY52" fmla="*/ 1989065 h 14321262"/>
                <a:gd name="connsiteX53" fmla="*/ 13671776 w 18120523"/>
                <a:gd name="connsiteY53" fmla="*/ 2441126 h 14321262"/>
                <a:gd name="connsiteX54" fmla="*/ 14123886 w 18120523"/>
                <a:gd name="connsiteY54" fmla="*/ 2142773 h 14321262"/>
                <a:gd name="connsiteX55" fmla="*/ 14259509 w 18120523"/>
                <a:gd name="connsiteY55" fmla="*/ 1573172 h 14321262"/>
                <a:gd name="connsiteX56" fmla="*/ 14892468 w 18120523"/>
                <a:gd name="connsiteY56" fmla="*/ 931241 h 14321262"/>
                <a:gd name="connsiteX57" fmla="*/ 15778605 w 18120523"/>
                <a:gd name="connsiteY57" fmla="*/ 379721 h 14321262"/>
                <a:gd name="connsiteX58" fmla="*/ 16022739 w 18120523"/>
                <a:gd name="connsiteY58" fmla="*/ 849871 h 14321262"/>
                <a:gd name="connsiteX59" fmla="*/ 16556232 w 18120523"/>
                <a:gd name="connsiteY59" fmla="*/ 1428523 h 14321262"/>
                <a:gd name="connsiteX60" fmla="*/ 17406193 w 18120523"/>
                <a:gd name="connsiteY60" fmla="*/ 578635 h 14321262"/>
                <a:gd name="connsiteX61" fmla="*/ 18120524 w 18120523"/>
                <a:gd name="connsiteY61" fmla="*/ -2 h 14321262"/>
                <a:gd name="connsiteX62" fmla="*/ 7035843 w 18120523"/>
                <a:gd name="connsiteY62" fmla="*/ 6484324 h 14321262"/>
                <a:gd name="connsiteX63" fmla="*/ 11109603 w 18120523"/>
                <a:gd name="connsiteY63" fmla="*/ 6015494 h 14321262"/>
                <a:gd name="connsiteX64" fmla="*/ 11919572 w 18120523"/>
                <a:gd name="connsiteY64" fmla="*/ 6289016 h 14321262"/>
                <a:gd name="connsiteX65" fmla="*/ 12868275 w 18120523"/>
                <a:gd name="connsiteY65" fmla="*/ 6043805 h 14321262"/>
                <a:gd name="connsiteX66" fmla="*/ 13844296 w 18120523"/>
                <a:gd name="connsiteY66" fmla="*/ 5441970 h 14321262"/>
                <a:gd name="connsiteX67" fmla="*/ 13886291 w 18120523"/>
                <a:gd name="connsiteY67" fmla="*/ 4607602 h 14321262"/>
                <a:gd name="connsiteX68" fmla="*/ 14370431 w 18120523"/>
                <a:gd name="connsiteY68" fmla="*/ 5115954 h 14321262"/>
                <a:gd name="connsiteX69" fmla="*/ 15323320 w 18120523"/>
                <a:gd name="connsiteY69" fmla="*/ 5214227 h 14321262"/>
                <a:gd name="connsiteX70" fmla="*/ 16350939 w 18120523"/>
                <a:gd name="connsiteY70" fmla="*/ 5339086 h 14321262"/>
                <a:gd name="connsiteX71" fmla="*/ 16362364 w 18120523"/>
                <a:gd name="connsiteY71" fmla="*/ 5646366 h 14321262"/>
                <a:gd name="connsiteX72" fmla="*/ 16682563 w 18120523"/>
                <a:gd name="connsiteY72" fmla="*/ 6084269 h 14321262"/>
                <a:gd name="connsiteX0" fmla="*/ 16682563 w 18120523"/>
                <a:gd name="connsiteY0" fmla="*/ 6084269 h 14321262"/>
                <a:gd name="connsiteX1" fmla="*/ 16432262 w 18120523"/>
                <a:gd name="connsiteY1" fmla="*/ 7111655 h 14321262"/>
                <a:gd name="connsiteX2" fmla="*/ 16106317 w 18120523"/>
                <a:gd name="connsiteY2" fmla="*/ 7652959 h 14321262"/>
                <a:gd name="connsiteX3" fmla="*/ 16305649 w 18120523"/>
                <a:gd name="connsiteY3" fmla="*/ 8040288 h 14321262"/>
                <a:gd name="connsiteX4" fmla="*/ 16287189 w 18120523"/>
                <a:gd name="connsiteY4" fmla="*/ 8436895 h 14321262"/>
                <a:gd name="connsiteX5" fmla="*/ 16372801 w 18120523"/>
                <a:gd name="connsiteY5" fmla="*/ 9003160 h 14321262"/>
                <a:gd name="connsiteX6" fmla="*/ 16070155 w 18120523"/>
                <a:gd name="connsiteY6" fmla="*/ 9223546 h 14321262"/>
                <a:gd name="connsiteX7" fmla="*/ 15805690 w 18120523"/>
                <a:gd name="connsiteY7" fmla="*/ 9717737 h 14321262"/>
                <a:gd name="connsiteX8" fmla="*/ 15195097 w 18120523"/>
                <a:gd name="connsiteY8" fmla="*/ 9379480 h 14321262"/>
                <a:gd name="connsiteX9" fmla="*/ 15011380 w 18120523"/>
                <a:gd name="connsiteY9" fmla="*/ 10334330 h 14321262"/>
                <a:gd name="connsiteX10" fmla="*/ 14908430 w 18120523"/>
                <a:gd name="connsiteY10" fmla="*/ 11223225 h 14321262"/>
                <a:gd name="connsiteX11" fmla="*/ 14904684 w 18120523"/>
                <a:gd name="connsiteY11" fmla="*/ 12046664 h 14321262"/>
                <a:gd name="connsiteX12" fmla="*/ 14929927 w 18120523"/>
                <a:gd name="connsiteY12" fmla="*/ 13677584 h 14321262"/>
                <a:gd name="connsiteX13" fmla="*/ 12952786 w 18120523"/>
                <a:gd name="connsiteY13" fmla="*/ 14128337 h 14321262"/>
                <a:gd name="connsiteX14" fmla="*/ 11934663 w 18120523"/>
                <a:gd name="connsiteY14" fmla="*/ 14176587 h 14321262"/>
                <a:gd name="connsiteX15" fmla="*/ 8506848 w 18120523"/>
                <a:gd name="connsiteY15" fmla="*/ 14321262 h 14321262"/>
                <a:gd name="connsiteX16" fmla="*/ 7985095 w 18120523"/>
                <a:gd name="connsiteY16" fmla="*/ 13676180 h 14321262"/>
                <a:gd name="connsiteX17" fmla="*/ 7400308 w 18120523"/>
                <a:gd name="connsiteY17" fmla="*/ 13646035 h 14321262"/>
                <a:gd name="connsiteX18" fmla="*/ 6972273 w 18120523"/>
                <a:gd name="connsiteY18" fmla="*/ 13917332 h 14321262"/>
                <a:gd name="connsiteX19" fmla="*/ 5181729 w 18120523"/>
                <a:gd name="connsiteY19" fmla="*/ 13832933 h 14321262"/>
                <a:gd name="connsiteX20" fmla="*/ 4397998 w 18120523"/>
                <a:gd name="connsiteY20" fmla="*/ 13199916 h 14321262"/>
                <a:gd name="connsiteX21" fmla="*/ 2908896 w 18120523"/>
                <a:gd name="connsiteY21" fmla="*/ 12392062 h 14321262"/>
                <a:gd name="connsiteX22" fmla="*/ 1263043 w 18120523"/>
                <a:gd name="connsiteY22" fmla="*/ 11680669 h 14321262"/>
                <a:gd name="connsiteX23" fmla="*/ 485320 w 18120523"/>
                <a:gd name="connsiteY23" fmla="*/ 11228512 h 14321262"/>
                <a:gd name="connsiteX24" fmla="*/ 0 w 18120523"/>
                <a:gd name="connsiteY24" fmla="*/ 10935400 h 14321262"/>
                <a:gd name="connsiteX25" fmla="*/ 1003686 w 18120523"/>
                <a:gd name="connsiteY25" fmla="*/ 10189435 h 14321262"/>
                <a:gd name="connsiteX26" fmla="*/ 2902551 w 18120523"/>
                <a:gd name="connsiteY26" fmla="*/ 9005036 h 14321262"/>
                <a:gd name="connsiteX27" fmla="*/ 2558940 w 18120523"/>
                <a:gd name="connsiteY27" fmla="*/ 8471605 h 14321262"/>
                <a:gd name="connsiteX28" fmla="*/ 2402508 w 18120523"/>
                <a:gd name="connsiteY28" fmla="*/ 7784522 h 14321262"/>
                <a:gd name="connsiteX29" fmla="*/ 2730740 w 18120523"/>
                <a:gd name="connsiteY29" fmla="*/ 7757351 h 14321262"/>
                <a:gd name="connsiteX30" fmla="*/ 2947754 w 18120523"/>
                <a:gd name="connsiteY30" fmla="*/ 7287206 h 14321262"/>
                <a:gd name="connsiteX31" fmla="*/ 3499325 w 18120523"/>
                <a:gd name="connsiteY31" fmla="*/ 6844189 h 14321262"/>
                <a:gd name="connsiteX32" fmla="*/ 3680166 w 18120523"/>
                <a:gd name="connsiteY32" fmla="*/ 5967191 h 14321262"/>
                <a:gd name="connsiteX33" fmla="*/ 4186528 w 18120523"/>
                <a:gd name="connsiteY33" fmla="*/ 5976227 h 14321262"/>
                <a:gd name="connsiteX34" fmla="*/ 4837569 w 18120523"/>
                <a:gd name="connsiteY34" fmla="*/ 6446377 h 14321262"/>
                <a:gd name="connsiteX35" fmla="*/ 5352976 w 18120523"/>
                <a:gd name="connsiteY35" fmla="*/ 6365010 h 14321262"/>
                <a:gd name="connsiteX36" fmla="*/ 5741786 w 18120523"/>
                <a:gd name="connsiteY36" fmla="*/ 5994315 h 14321262"/>
                <a:gd name="connsiteX37" fmla="*/ 6157723 w 18120523"/>
                <a:gd name="connsiteY37" fmla="*/ 5831574 h 14321262"/>
                <a:gd name="connsiteX38" fmla="*/ 6745471 w 18120523"/>
                <a:gd name="connsiteY38" fmla="*/ 5261981 h 14321262"/>
                <a:gd name="connsiteX39" fmla="*/ 6890140 w 18120523"/>
                <a:gd name="connsiteY39" fmla="*/ 4412105 h 14321262"/>
                <a:gd name="connsiteX40" fmla="*/ 7568305 w 18120523"/>
                <a:gd name="connsiteY40" fmla="*/ 3842511 h 14321262"/>
                <a:gd name="connsiteX41" fmla="*/ 8137967 w 18120523"/>
                <a:gd name="connsiteY41" fmla="*/ 3399490 h 14321262"/>
                <a:gd name="connsiteX42" fmla="*/ 8463480 w 18120523"/>
                <a:gd name="connsiteY42" fmla="*/ 2594823 h 14321262"/>
                <a:gd name="connsiteX43" fmla="*/ 9024093 w 18120523"/>
                <a:gd name="connsiteY43" fmla="*/ 2242216 h 14321262"/>
                <a:gd name="connsiteX44" fmla="*/ 9675138 w 18120523"/>
                <a:gd name="connsiteY44" fmla="*/ 1889614 h 14321262"/>
                <a:gd name="connsiteX45" fmla="*/ 9558580 w 18120523"/>
                <a:gd name="connsiteY45" fmla="*/ 1341330 h 14321262"/>
                <a:gd name="connsiteX46" fmla="*/ 10353296 w 18120523"/>
                <a:gd name="connsiteY46" fmla="*/ 669046 h 14321262"/>
                <a:gd name="connsiteX47" fmla="*/ 10832530 w 18120523"/>
                <a:gd name="connsiteY47" fmla="*/ 596712 h 14321262"/>
                <a:gd name="connsiteX48" fmla="*/ 11058585 w 18120523"/>
                <a:gd name="connsiteY48" fmla="*/ 1048781 h 14321262"/>
                <a:gd name="connsiteX49" fmla="*/ 11411229 w 18120523"/>
                <a:gd name="connsiteY49" fmla="*/ 1428512 h 14321262"/>
                <a:gd name="connsiteX50" fmla="*/ 11998974 w 18120523"/>
                <a:gd name="connsiteY50" fmla="*/ 1509882 h 14321262"/>
                <a:gd name="connsiteX51" fmla="*/ 12315449 w 18120523"/>
                <a:gd name="connsiteY51" fmla="*/ 2169894 h 14321262"/>
                <a:gd name="connsiteX52" fmla="*/ 12785642 w 18120523"/>
                <a:gd name="connsiteY52" fmla="*/ 1989065 h 14321262"/>
                <a:gd name="connsiteX53" fmla="*/ 13671776 w 18120523"/>
                <a:gd name="connsiteY53" fmla="*/ 2441126 h 14321262"/>
                <a:gd name="connsiteX54" fmla="*/ 14123886 w 18120523"/>
                <a:gd name="connsiteY54" fmla="*/ 2142773 h 14321262"/>
                <a:gd name="connsiteX55" fmla="*/ 14259509 w 18120523"/>
                <a:gd name="connsiteY55" fmla="*/ 1573172 h 14321262"/>
                <a:gd name="connsiteX56" fmla="*/ 14892468 w 18120523"/>
                <a:gd name="connsiteY56" fmla="*/ 931241 h 14321262"/>
                <a:gd name="connsiteX57" fmla="*/ 15778605 w 18120523"/>
                <a:gd name="connsiteY57" fmla="*/ 379721 h 14321262"/>
                <a:gd name="connsiteX58" fmla="*/ 16022739 w 18120523"/>
                <a:gd name="connsiteY58" fmla="*/ 849871 h 14321262"/>
                <a:gd name="connsiteX59" fmla="*/ 16556232 w 18120523"/>
                <a:gd name="connsiteY59" fmla="*/ 1428523 h 14321262"/>
                <a:gd name="connsiteX60" fmla="*/ 17406193 w 18120523"/>
                <a:gd name="connsiteY60" fmla="*/ 578635 h 14321262"/>
                <a:gd name="connsiteX61" fmla="*/ 18120524 w 18120523"/>
                <a:gd name="connsiteY61" fmla="*/ -2 h 14321262"/>
                <a:gd name="connsiteX62" fmla="*/ 10152517 w 18120523"/>
                <a:gd name="connsiteY62" fmla="*/ 5644020 h 14321262"/>
                <a:gd name="connsiteX63" fmla="*/ 11109603 w 18120523"/>
                <a:gd name="connsiteY63" fmla="*/ 6015494 h 14321262"/>
                <a:gd name="connsiteX64" fmla="*/ 11919572 w 18120523"/>
                <a:gd name="connsiteY64" fmla="*/ 6289016 h 14321262"/>
                <a:gd name="connsiteX65" fmla="*/ 12868275 w 18120523"/>
                <a:gd name="connsiteY65" fmla="*/ 6043805 h 14321262"/>
                <a:gd name="connsiteX66" fmla="*/ 13844296 w 18120523"/>
                <a:gd name="connsiteY66" fmla="*/ 5441970 h 14321262"/>
                <a:gd name="connsiteX67" fmla="*/ 13886291 w 18120523"/>
                <a:gd name="connsiteY67" fmla="*/ 4607602 h 14321262"/>
                <a:gd name="connsiteX68" fmla="*/ 14370431 w 18120523"/>
                <a:gd name="connsiteY68" fmla="*/ 5115954 h 14321262"/>
                <a:gd name="connsiteX69" fmla="*/ 15323320 w 18120523"/>
                <a:gd name="connsiteY69" fmla="*/ 5214227 h 14321262"/>
                <a:gd name="connsiteX70" fmla="*/ 16350939 w 18120523"/>
                <a:gd name="connsiteY70" fmla="*/ 5339086 h 14321262"/>
                <a:gd name="connsiteX71" fmla="*/ 16362364 w 18120523"/>
                <a:gd name="connsiteY71" fmla="*/ 5646366 h 14321262"/>
                <a:gd name="connsiteX72" fmla="*/ 16682563 w 18120523"/>
                <a:gd name="connsiteY72" fmla="*/ 6084269 h 14321262"/>
                <a:gd name="connsiteX0" fmla="*/ 16682563 w 17406190"/>
                <a:gd name="connsiteY0" fmla="*/ 5704551 h 13941544"/>
                <a:gd name="connsiteX1" fmla="*/ 16432262 w 17406190"/>
                <a:gd name="connsiteY1" fmla="*/ 6731937 h 13941544"/>
                <a:gd name="connsiteX2" fmla="*/ 16106317 w 17406190"/>
                <a:gd name="connsiteY2" fmla="*/ 7273241 h 13941544"/>
                <a:gd name="connsiteX3" fmla="*/ 16305649 w 17406190"/>
                <a:gd name="connsiteY3" fmla="*/ 7660570 h 13941544"/>
                <a:gd name="connsiteX4" fmla="*/ 16287189 w 17406190"/>
                <a:gd name="connsiteY4" fmla="*/ 8057177 h 13941544"/>
                <a:gd name="connsiteX5" fmla="*/ 16372801 w 17406190"/>
                <a:gd name="connsiteY5" fmla="*/ 8623442 h 13941544"/>
                <a:gd name="connsiteX6" fmla="*/ 16070155 w 17406190"/>
                <a:gd name="connsiteY6" fmla="*/ 8843828 h 13941544"/>
                <a:gd name="connsiteX7" fmla="*/ 15805690 w 17406190"/>
                <a:gd name="connsiteY7" fmla="*/ 9338019 h 13941544"/>
                <a:gd name="connsiteX8" fmla="*/ 15195097 w 17406190"/>
                <a:gd name="connsiteY8" fmla="*/ 8999762 h 13941544"/>
                <a:gd name="connsiteX9" fmla="*/ 15011380 w 17406190"/>
                <a:gd name="connsiteY9" fmla="*/ 9954612 h 13941544"/>
                <a:gd name="connsiteX10" fmla="*/ 14908430 w 17406190"/>
                <a:gd name="connsiteY10" fmla="*/ 10843507 h 13941544"/>
                <a:gd name="connsiteX11" fmla="*/ 14904684 w 17406190"/>
                <a:gd name="connsiteY11" fmla="*/ 11666946 h 13941544"/>
                <a:gd name="connsiteX12" fmla="*/ 14929927 w 17406190"/>
                <a:gd name="connsiteY12" fmla="*/ 13297866 h 13941544"/>
                <a:gd name="connsiteX13" fmla="*/ 12952786 w 17406190"/>
                <a:gd name="connsiteY13" fmla="*/ 13748619 h 13941544"/>
                <a:gd name="connsiteX14" fmla="*/ 11934663 w 17406190"/>
                <a:gd name="connsiteY14" fmla="*/ 13796869 h 13941544"/>
                <a:gd name="connsiteX15" fmla="*/ 8506848 w 17406190"/>
                <a:gd name="connsiteY15" fmla="*/ 13941544 h 13941544"/>
                <a:gd name="connsiteX16" fmla="*/ 7985095 w 17406190"/>
                <a:gd name="connsiteY16" fmla="*/ 13296462 h 13941544"/>
                <a:gd name="connsiteX17" fmla="*/ 7400308 w 17406190"/>
                <a:gd name="connsiteY17" fmla="*/ 13266317 h 13941544"/>
                <a:gd name="connsiteX18" fmla="*/ 6972273 w 17406190"/>
                <a:gd name="connsiteY18" fmla="*/ 13537614 h 13941544"/>
                <a:gd name="connsiteX19" fmla="*/ 5181729 w 17406190"/>
                <a:gd name="connsiteY19" fmla="*/ 13453215 h 13941544"/>
                <a:gd name="connsiteX20" fmla="*/ 4397998 w 17406190"/>
                <a:gd name="connsiteY20" fmla="*/ 12820198 h 13941544"/>
                <a:gd name="connsiteX21" fmla="*/ 2908896 w 17406190"/>
                <a:gd name="connsiteY21" fmla="*/ 12012344 h 13941544"/>
                <a:gd name="connsiteX22" fmla="*/ 1263043 w 17406190"/>
                <a:gd name="connsiteY22" fmla="*/ 11300951 h 13941544"/>
                <a:gd name="connsiteX23" fmla="*/ 485320 w 17406190"/>
                <a:gd name="connsiteY23" fmla="*/ 10848794 h 13941544"/>
                <a:gd name="connsiteX24" fmla="*/ 0 w 17406190"/>
                <a:gd name="connsiteY24" fmla="*/ 10555682 h 13941544"/>
                <a:gd name="connsiteX25" fmla="*/ 1003686 w 17406190"/>
                <a:gd name="connsiteY25" fmla="*/ 9809717 h 13941544"/>
                <a:gd name="connsiteX26" fmla="*/ 2902551 w 17406190"/>
                <a:gd name="connsiteY26" fmla="*/ 8625318 h 13941544"/>
                <a:gd name="connsiteX27" fmla="*/ 2558940 w 17406190"/>
                <a:gd name="connsiteY27" fmla="*/ 8091887 h 13941544"/>
                <a:gd name="connsiteX28" fmla="*/ 2402508 w 17406190"/>
                <a:gd name="connsiteY28" fmla="*/ 7404804 h 13941544"/>
                <a:gd name="connsiteX29" fmla="*/ 2730740 w 17406190"/>
                <a:gd name="connsiteY29" fmla="*/ 7377633 h 13941544"/>
                <a:gd name="connsiteX30" fmla="*/ 2947754 w 17406190"/>
                <a:gd name="connsiteY30" fmla="*/ 6907488 h 13941544"/>
                <a:gd name="connsiteX31" fmla="*/ 3499325 w 17406190"/>
                <a:gd name="connsiteY31" fmla="*/ 6464471 h 13941544"/>
                <a:gd name="connsiteX32" fmla="*/ 3680166 w 17406190"/>
                <a:gd name="connsiteY32" fmla="*/ 5587473 h 13941544"/>
                <a:gd name="connsiteX33" fmla="*/ 4186528 w 17406190"/>
                <a:gd name="connsiteY33" fmla="*/ 5596509 h 13941544"/>
                <a:gd name="connsiteX34" fmla="*/ 4837569 w 17406190"/>
                <a:gd name="connsiteY34" fmla="*/ 6066659 h 13941544"/>
                <a:gd name="connsiteX35" fmla="*/ 5352976 w 17406190"/>
                <a:gd name="connsiteY35" fmla="*/ 5985292 h 13941544"/>
                <a:gd name="connsiteX36" fmla="*/ 5741786 w 17406190"/>
                <a:gd name="connsiteY36" fmla="*/ 5614597 h 13941544"/>
                <a:gd name="connsiteX37" fmla="*/ 6157723 w 17406190"/>
                <a:gd name="connsiteY37" fmla="*/ 5451856 h 13941544"/>
                <a:gd name="connsiteX38" fmla="*/ 6745471 w 17406190"/>
                <a:gd name="connsiteY38" fmla="*/ 4882263 h 13941544"/>
                <a:gd name="connsiteX39" fmla="*/ 6890140 w 17406190"/>
                <a:gd name="connsiteY39" fmla="*/ 4032387 h 13941544"/>
                <a:gd name="connsiteX40" fmla="*/ 7568305 w 17406190"/>
                <a:gd name="connsiteY40" fmla="*/ 3462793 h 13941544"/>
                <a:gd name="connsiteX41" fmla="*/ 8137967 w 17406190"/>
                <a:gd name="connsiteY41" fmla="*/ 3019772 h 13941544"/>
                <a:gd name="connsiteX42" fmla="*/ 8463480 w 17406190"/>
                <a:gd name="connsiteY42" fmla="*/ 2215105 h 13941544"/>
                <a:gd name="connsiteX43" fmla="*/ 9024093 w 17406190"/>
                <a:gd name="connsiteY43" fmla="*/ 1862498 h 13941544"/>
                <a:gd name="connsiteX44" fmla="*/ 9675138 w 17406190"/>
                <a:gd name="connsiteY44" fmla="*/ 1509896 h 13941544"/>
                <a:gd name="connsiteX45" fmla="*/ 9558580 w 17406190"/>
                <a:gd name="connsiteY45" fmla="*/ 961612 h 13941544"/>
                <a:gd name="connsiteX46" fmla="*/ 10353296 w 17406190"/>
                <a:gd name="connsiteY46" fmla="*/ 289328 h 13941544"/>
                <a:gd name="connsiteX47" fmla="*/ 10832530 w 17406190"/>
                <a:gd name="connsiteY47" fmla="*/ 216994 h 13941544"/>
                <a:gd name="connsiteX48" fmla="*/ 11058585 w 17406190"/>
                <a:gd name="connsiteY48" fmla="*/ 669063 h 13941544"/>
                <a:gd name="connsiteX49" fmla="*/ 11411229 w 17406190"/>
                <a:gd name="connsiteY49" fmla="*/ 1048794 h 13941544"/>
                <a:gd name="connsiteX50" fmla="*/ 11998974 w 17406190"/>
                <a:gd name="connsiteY50" fmla="*/ 1130164 h 13941544"/>
                <a:gd name="connsiteX51" fmla="*/ 12315449 w 17406190"/>
                <a:gd name="connsiteY51" fmla="*/ 1790176 h 13941544"/>
                <a:gd name="connsiteX52" fmla="*/ 12785642 w 17406190"/>
                <a:gd name="connsiteY52" fmla="*/ 1609347 h 13941544"/>
                <a:gd name="connsiteX53" fmla="*/ 13671776 w 17406190"/>
                <a:gd name="connsiteY53" fmla="*/ 2061408 h 13941544"/>
                <a:gd name="connsiteX54" fmla="*/ 14123886 w 17406190"/>
                <a:gd name="connsiteY54" fmla="*/ 1763055 h 13941544"/>
                <a:gd name="connsiteX55" fmla="*/ 14259509 w 17406190"/>
                <a:gd name="connsiteY55" fmla="*/ 1193454 h 13941544"/>
                <a:gd name="connsiteX56" fmla="*/ 14892468 w 17406190"/>
                <a:gd name="connsiteY56" fmla="*/ 551523 h 13941544"/>
                <a:gd name="connsiteX57" fmla="*/ 15778605 w 17406190"/>
                <a:gd name="connsiteY57" fmla="*/ 3 h 13941544"/>
                <a:gd name="connsiteX58" fmla="*/ 16022739 w 17406190"/>
                <a:gd name="connsiteY58" fmla="*/ 470153 h 13941544"/>
                <a:gd name="connsiteX59" fmla="*/ 16556232 w 17406190"/>
                <a:gd name="connsiteY59" fmla="*/ 1048805 h 13941544"/>
                <a:gd name="connsiteX60" fmla="*/ 17406193 w 17406190"/>
                <a:gd name="connsiteY60" fmla="*/ 198917 h 13941544"/>
                <a:gd name="connsiteX61" fmla="*/ 10152517 w 17406190"/>
                <a:gd name="connsiteY61" fmla="*/ 5264302 h 13941544"/>
                <a:gd name="connsiteX62" fmla="*/ 11109603 w 17406190"/>
                <a:gd name="connsiteY62" fmla="*/ 5635776 h 13941544"/>
                <a:gd name="connsiteX63" fmla="*/ 11919572 w 17406190"/>
                <a:gd name="connsiteY63" fmla="*/ 5909298 h 13941544"/>
                <a:gd name="connsiteX64" fmla="*/ 12868275 w 17406190"/>
                <a:gd name="connsiteY64" fmla="*/ 5664087 h 13941544"/>
                <a:gd name="connsiteX65" fmla="*/ 13844296 w 17406190"/>
                <a:gd name="connsiteY65" fmla="*/ 5062252 h 13941544"/>
                <a:gd name="connsiteX66" fmla="*/ 13886291 w 17406190"/>
                <a:gd name="connsiteY66" fmla="*/ 4227884 h 13941544"/>
                <a:gd name="connsiteX67" fmla="*/ 14370431 w 17406190"/>
                <a:gd name="connsiteY67" fmla="*/ 4736236 h 13941544"/>
                <a:gd name="connsiteX68" fmla="*/ 15323320 w 17406190"/>
                <a:gd name="connsiteY68" fmla="*/ 4834509 h 13941544"/>
                <a:gd name="connsiteX69" fmla="*/ 16350939 w 17406190"/>
                <a:gd name="connsiteY69" fmla="*/ 4959368 h 13941544"/>
                <a:gd name="connsiteX70" fmla="*/ 16362364 w 17406190"/>
                <a:gd name="connsiteY70" fmla="*/ 5266648 h 13941544"/>
                <a:gd name="connsiteX71" fmla="*/ 16682563 w 17406190"/>
                <a:gd name="connsiteY71" fmla="*/ 5704551 h 13941544"/>
                <a:gd name="connsiteX0" fmla="*/ 16682563 w 16682562"/>
                <a:gd name="connsiteY0" fmla="*/ 5704551 h 13941544"/>
                <a:gd name="connsiteX1" fmla="*/ 16432262 w 16682562"/>
                <a:gd name="connsiteY1" fmla="*/ 6731937 h 13941544"/>
                <a:gd name="connsiteX2" fmla="*/ 16106317 w 16682562"/>
                <a:gd name="connsiteY2" fmla="*/ 7273241 h 13941544"/>
                <a:gd name="connsiteX3" fmla="*/ 16305649 w 16682562"/>
                <a:gd name="connsiteY3" fmla="*/ 7660570 h 13941544"/>
                <a:gd name="connsiteX4" fmla="*/ 16287189 w 16682562"/>
                <a:gd name="connsiteY4" fmla="*/ 8057177 h 13941544"/>
                <a:gd name="connsiteX5" fmla="*/ 16372801 w 16682562"/>
                <a:gd name="connsiteY5" fmla="*/ 8623442 h 13941544"/>
                <a:gd name="connsiteX6" fmla="*/ 16070155 w 16682562"/>
                <a:gd name="connsiteY6" fmla="*/ 8843828 h 13941544"/>
                <a:gd name="connsiteX7" fmla="*/ 15805690 w 16682562"/>
                <a:gd name="connsiteY7" fmla="*/ 9338019 h 13941544"/>
                <a:gd name="connsiteX8" fmla="*/ 15195097 w 16682562"/>
                <a:gd name="connsiteY8" fmla="*/ 8999762 h 13941544"/>
                <a:gd name="connsiteX9" fmla="*/ 15011380 w 16682562"/>
                <a:gd name="connsiteY9" fmla="*/ 9954612 h 13941544"/>
                <a:gd name="connsiteX10" fmla="*/ 14908430 w 16682562"/>
                <a:gd name="connsiteY10" fmla="*/ 10843507 h 13941544"/>
                <a:gd name="connsiteX11" fmla="*/ 14904684 w 16682562"/>
                <a:gd name="connsiteY11" fmla="*/ 11666946 h 13941544"/>
                <a:gd name="connsiteX12" fmla="*/ 14929927 w 16682562"/>
                <a:gd name="connsiteY12" fmla="*/ 13297866 h 13941544"/>
                <a:gd name="connsiteX13" fmla="*/ 12952786 w 16682562"/>
                <a:gd name="connsiteY13" fmla="*/ 13748619 h 13941544"/>
                <a:gd name="connsiteX14" fmla="*/ 11934663 w 16682562"/>
                <a:gd name="connsiteY14" fmla="*/ 13796869 h 13941544"/>
                <a:gd name="connsiteX15" fmla="*/ 8506848 w 16682562"/>
                <a:gd name="connsiteY15" fmla="*/ 13941544 h 13941544"/>
                <a:gd name="connsiteX16" fmla="*/ 7985095 w 16682562"/>
                <a:gd name="connsiteY16" fmla="*/ 13296462 h 13941544"/>
                <a:gd name="connsiteX17" fmla="*/ 7400308 w 16682562"/>
                <a:gd name="connsiteY17" fmla="*/ 13266317 h 13941544"/>
                <a:gd name="connsiteX18" fmla="*/ 6972273 w 16682562"/>
                <a:gd name="connsiteY18" fmla="*/ 13537614 h 13941544"/>
                <a:gd name="connsiteX19" fmla="*/ 5181729 w 16682562"/>
                <a:gd name="connsiteY19" fmla="*/ 13453215 h 13941544"/>
                <a:gd name="connsiteX20" fmla="*/ 4397998 w 16682562"/>
                <a:gd name="connsiteY20" fmla="*/ 12820198 h 13941544"/>
                <a:gd name="connsiteX21" fmla="*/ 2908896 w 16682562"/>
                <a:gd name="connsiteY21" fmla="*/ 12012344 h 13941544"/>
                <a:gd name="connsiteX22" fmla="*/ 1263043 w 16682562"/>
                <a:gd name="connsiteY22" fmla="*/ 11300951 h 13941544"/>
                <a:gd name="connsiteX23" fmla="*/ 485320 w 16682562"/>
                <a:gd name="connsiteY23" fmla="*/ 10848794 h 13941544"/>
                <a:gd name="connsiteX24" fmla="*/ 0 w 16682562"/>
                <a:gd name="connsiteY24" fmla="*/ 10555682 h 13941544"/>
                <a:gd name="connsiteX25" fmla="*/ 1003686 w 16682562"/>
                <a:gd name="connsiteY25" fmla="*/ 9809717 h 13941544"/>
                <a:gd name="connsiteX26" fmla="*/ 2902551 w 16682562"/>
                <a:gd name="connsiteY26" fmla="*/ 8625318 h 13941544"/>
                <a:gd name="connsiteX27" fmla="*/ 2558940 w 16682562"/>
                <a:gd name="connsiteY27" fmla="*/ 8091887 h 13941544"/>
                <a:gd name="connsiteX28" fmla="*/ 2402508 w 16682562"/>
                <a:gd name="connsiteY28" fmla="*/ 7404804 h 13941544"/>
                <a:gd name="connsiteX29" fmla="*/ 2730740 w 16682562"/>
                <a:gd name="connsiteY29" fmla="*/ 7377633 h 13941544"/>
                <a:gd name="connsiteX30" fmla="*/ 2947754 w 16682562"/>
                <a:gd name="connsiteY30" fmla="*/ 6907488 h 13941544"/>
                <a:gd name="connsiteX31" fmla="*/ 3499325 w 16682562"/>
                <a:gd name="connsiteY31" fmla="*/ 6464471 h 13941544"/>
                <a:gd name="connsiteX32" fmla="*/ 3680166 w 16682562"/>
                <a:gd name="connsiteY32" fmla="*/ 5587473 h 13941544"/>
                <a:gd name="connsiteX33" fmla="*/ 4186528 w 16682562"/>
                <a:gd name="connsiteY33" fmla="*/ 5596509 h 13941544"/>
                <a:gd name="connsiteX34" fmla="*/ 4837569 w 16682562"/>
                <a:gd name="connsiteY34" fmla="*/ 6066659 h 13941544"/>
                <a:gd name="connsiteX35" fmla="*/ 5352976 w 16682562"/>
                <a:gd name="connsiteY35" fmla="*/ 5985292 h 13941544"/>
                <a:gd name="connsiteX36" fmla="*/ 5741786 w 16682562"/>
                <a:gd name="connsiteY36" fmla="*/ 5614597 h 13941544"/>
                <a:gd name="connsiteX37" fmla="*/ 6157723 w 16682562"/>
                <a:gd name="connsiteY37" fmla="*/ 5451856 h 13941544"/>
                <a:gd name="connsiteX38" fmla="*/ 6745471 w 16682562"/>
                <a:gd name="connsiteY38" fmla="*/ 4882263 h 13941544"/>
                <a:gd name="connsiteX39" fmla="*/ 6890140 w 16682562"/>
                <a:gd name="connsiteY39" fmla="*/ 4032387 h 13941544"/>
                <a:gd name="connsiteX40" fmla="*/ 7568305 w 16682562"/>
                <a:gd name="connsiteY40" fmla="*/ 3462793 h 13941544"/>
                <a:gd name="connsiteX41" fmla="*/ 8137967 w 16682562"/>
                <a:gd name="connsiteY41" fmla="*/ 3019772 h 13941544"/>
                <a:gd name="connsiteX42" fmla="*/ 8463480 w 16682562"/>
                <a:gd name="connsiteY42" fmla="*/ 2215105 h 13941544"/>
                <a:gd name="connsiteX43" fmla="*/ 9024093 w 16682562"/>
                <a:gd name="connsiteY43" fmla="*/ 1862498 h 13941544"/>
                <a:gd name="connsiteX44" fmla="*/ 9675138 w 16682562"/>
                <a:gd name="connsiteY44" fmla="*/ 1509896 h 13941544"/>
                <a:gd name="connsiteX45" fmla="*/ 9558580 w 16682562"/>
                <a:gd name="connsiteY45" fmla="*/ 961612 h 13941544"/>
                <a:gd name="connsiteX46" fmla="*/ 10353296 w 16682562"/>
                <a:gd name="connsiteY46" fmla="*/ 289328 h 13941544"/>
                <a:gd name="connsiteX47" fmla="*/ 10832530 w 16682562"/>
                <a:gd name="connsiteY47" fmla="*/ 216994 h 13941544"/>
                <a:gd name="connsiteX48" fmla="*/ 11058585 w 16682562"/>
                <a:gd name="connsiteY48" fmla="*/ 669063 h 13941544"/>
                <a:gd name="connsiteX49" fmla="*/ 11411229 w 16682562"/>
                <a:gd name="connsiteY49" fmla="*/ 1048794 h 13941544"/>
                <a:gd name="connsiteX50" fmla="*/ 11998974 w 16682562"/>
                <a:gd name="connsiteY50" fmla="*/ 1130164 h 13941544"/>
                <a:gd name="connsiteX51" fmla="*/ 12315449 w 16682562"/>
                <a:gd name="connsiteY51" fmla="*/ 1790176 h 13941544"/>
                <a:gd name="connsiteX52" fmla="*/ 12785642 w 16682562"/>
                <a:gd name="connsiteY52" fmla="*/ 1609347 h 13941544"/>
                <a:gd name="connsiteX53" fmla="*/ 13671776 w 16682562"/>
                <a:gd name="connsiteY53" fmla="*/ 2061408 h 13941544"/>
                <a:gd name="connsiteX54" fmla="*/ 14123886 w 16682562"/>
                <a:gd name="connsiteY54" fmla="*/ 1763055 h 13941544"/>
                <a:gd name="connsiteX55" fmla="*/ 14259509 w 16682562"/>
                <a:gd name="connsiteY55" fmla="*/ 1193454 h 13941544"/>
                <a:gd name="connsiteX56" fmla="*/ 14892468 w 16682562"/>
                <a:gd name="connsiteY56" fmla="*/ 551523 h 13941544"/>
                <a:gd name="connsiteX57" fmla="*/ 15778605 w 16682562"/>
                <a:gd name="connsiteY57" fmla="*/ 3 h 13941544"/>
                <a:gd name="connsiteX58" fmla="*/ 16022739 w 16682562"/>
                <a:gd name="connsiteY58" fmla="*/ 470153 h 13941544"/>
                <a:gd name="connsiteX59" fmla="*/ 16556232 w 16682562"/>
                <a:gd name="connsiteY59" fmla="*/ 1048805 h 13941544"/>
                <a:gd name="connsiteX60" fmla="*/ 10152517 w 16682562"/>
                <a:gd name="connsiteY60" fmla="*/ 5264302 h 13941544"/>
                <a:gd name="connsiteX61" fmla="*/ 11109603 w 16682562"/>
                <a:gd name="connsiteY61" fmla="*/ 5635776 h 13941544"/>
                <a:gd name="connsiteX62" fmla="*/ 11919572 w 16682562"/>
                <a:gd name="connsiteY62" fmla="*/ 5909298 h 13941544"/>
                <a:gd name="connsiteX63" fmla="*/ 12868275 w 16682562"/>
                <a:gd name="connsiteY63" fmla="*/ 5664087 h 13941544"/>
                <a:gd name="connsiteX64" fmla="*/ 13844296 w 16682562"/>
                <a:gd name="connsiteY64" fmla="*/ 5062252 h 13941544"/>
                <a:gd name="connsiteX65" fmla="*/ 13886291 w 16682562"/>
                <a:gd name="connsiteY65" fmla="*/ 4227884 h 13941544"/>
                <a:gd name="connsiteX66" fmla="*/ 14370431 w 16682562"/>
                <a:gd name="connsiteY66" fmla="*/ 4736236 h 13941544"/>
                <a:gd name="connsiteX67" fmla="*/ 15323320 w 16682562"/>
                <a:gd name="connsiteY67" fmla="*/ 4834509 h 13941544"/>
                <a:gd name="connsiteX68" fmla="*/ 16350939 w 16682562"/>
                <a:gd name="connsiteY68" fmla="*/ 4959368 h 13941544"/>
                <a:gd name="connsiteX69" fmla="*/ 16362364 w 16682562"/>
                <a:gd name="connsiteY69" fmla="*/ 5266648 h 13941544"/>
                <a:gd name="connsiteX70" fmla="*/ 16682563 w 16682562"/>
                <a:gd name="connsiteY70" fmla="*/ 5704551 h 13941544"/>
                <a:gd name="connsiteX0" fmla="*/ 16682563 w 16682562"/>
                <a:gd name="connsiteY0" fmla="*/ 5704551 h 13941544"/>
                <a:gd name="connsiteX1" fmla="*/ 16432262 w 16682562"/>
                <a:gd name="connsiteY1" fmla="*/ 6731937 h 13941544"/>
                <a:gd name="connsiteX2" fmla="*/ 16106317 w 16682562"/>
                <a:gd name="connsiteY2" fmla="*/ 7273241 h 13941544"/>
                <a:gd name="connsiteX3" fmla="*/ 16305649 w 16682562"/>
                <a:gd name="connsiteY3" fmla="*/ 7660570 h 13941544"/>
                <a:gd name="connsiteX4" fmla="*/ 16287189 w 16682562"/>
                <a:gd name="connsiteY4" fmla="*/ 8057177 h 13941544"/>
                <a:gd name="connsiteX5" fmla="*/ 16372801 w 16682562"/>
                <a:gd name="connsiteY5" fmla="*/ 8623442 h 13941544"/>
                <a:gd name="connsiteX6" fmla="*/ 16070155 w 16682562"/>
                <a:gd name="connsiteY6" fmla="*/ 8843828 h 13941544"/>
                <a:gd name="connsiteX7" fmla="*/ 15805690 w 16682562"/>
                <a:gd name="connsiteY7" fmla="*/ 9338019 h 13941544"/>
                <a:gd name="connsiteX8" fmla="*/ 15195097 w 16682562"/>
                <a:gd name="connsiteY8" fmla="*/ 8999762 h 13941544"/>
                <a:gd name="connsiteX9" fmla="*/ 15011380 w 16682562"/>
                <a:gd name="connsiteY9" fmla="*/ 9954612 h 13941544"/>
                <a:gd name="connsiteX10" fmla="*/ 14908430 w 16682562"/>
                <a:gd name="connsiteY10" fmla="*/ 10843507 h 13941544"/>
                <a:gd name="connsiteX11" fmla="*/ 14904684 w 16682562"/>
                <a:gd name="connsiteY11" fmla="*/ 11666946 h 13941544"/>
                <a:gd name="connsiteX12" fmla="*/ 14929927 w 16682562"/>
                <a:gd name="connsiteY12" fmla="*/ 13297866 h 13941544"/>
                <a:gd name="connsiteX13" fmla="*/ 12952786 w 16682562"/>
                <a:gd name="connsiteY13" fmla="*/ 13748619 h 13941544"/>
                <a:gd name="connsiteX14" fmla="*/ 11934663 w 16682562"/>
                <a:gd name="connsiteY14" fmla="*/ 13796869 h 13941544"/>
                <a:gd name="connsiteX15" fmla="*/ 8506848 w 16682562"/>
                <a:gd name="connsiteY15" fmla="*/ 13941544 h 13941544"/>
                <a:gd name="connsiteX16" fmla="*/ 7985095 w 16682562"/>
                <a:gd name="connsiteY16" fmla="*/ 13296462 h 13941544"/>
                <a:gd name="connsiteX17" fmla="*/ 7400308 w 16682562"/>
                <a:gd name="connsiteY17" fmla="*/ 13266317 h 13941544"/>
                <a:gd name="connsiteX18" fmla="*/ 6972273 w 16682562"/>
                <a:gd name="connsiteY18" fmla="*/ 13537614 h 13941544"/>
                <a:gd name="connsiteX19" fmla="*/ 5181729 w 16682562"/>
                <a:gd name="connsiteY19" fmla="*/ 13453215 h 13941544"/>
                <a:gd name="connsiteX20" fmla="*/ 4397998 w 16682562"/>
                <a:gd name="connsiteY20" fmla="*/ 12820198 h 13941544"/>
                <a:gd name="connsiteX21" fmla="*/ 2908896 w 16682562"/>
                <a:gd name="connsiteY21" fmla="*/ 12012344 h 13941544"/>
                <a:gd name="connsiteX22" fmla="*/ 1263043 w 16682562"/>
                <a:gd name="connsiteY22" fmla="*/ 11300951 h 13941544"/>
                <a:gd name="connsiteX23" fmla="*/ 485320 w 16682562"/>
                <a:gd name="connsiteY23" fmla="*/ 10848794 h 13941544"/>
                <a:gd name="connsiteX24" fmla="*/ 0 w 16682562"/>
                <a:gd name="connsiteY24" fmla="*/ 10555682 h 13941544"/>
                <a:gd name="connsiteX25" fmla="*/ 1003686 w 16682562"/>
                <a:gd name="connsiteY25" fmla="*/ 9809717 h 13941544"/>
                <a:gd name="connsiteX26" fmla="*/ 2902551 w 16682562"/>
                <a:gd name="connsiteY26" fmla="*/ 8625318 h 13941544"/>
                <a:gd name="connsiteX27" fmla="*/ 2558940 w 16682562"/>
                <a:gd name="connsiteY27" fmla="*/ 8091887 h 13941544"/>
                <a:gd name="connsiteX28" fmla="*/ 2402508 w 16682562"/>
                <a:gd name="connsiteY28" fmla="*/ 7404804 h 13941544"/>
                <a:gd name="connsiteX29" fmla="*/ 2730740 w 16682562"/>
                <a:gd name="connsiteY29" fmla="*/ 7377633 h 13941544"/>
                <a:gd name="connsiteX30" fmla="*/ 2947754 w 16682562"/>
                <a:gd name="connsiteY30" fmla="*/ 6907488 h 13941544"/>
                <a:gd name="connsiteX31" fmla="*/ 3499325 w 16682562"/>
                <a:gd name="connsiteY31" fmla="*/ 6464471 h 13941544"/>
                <a:gd name="connsiteX32" fmla="*/ 3680166 w 16682562"/>
                <a:gd name="connsiteY32" fmla="*/ 5587473 h 13941544"/>
                <a:gd name="connsiteX33" fmla="*/ 4186528 w 16682562"/>
                <a:gd name="connsiteY33" fmla="*/ 5596509 h 13941544"/>
                <a:gd name="connsiteX34" fmla="*/ 4837569 w 16682562"/>
                <a:gd name="connsiteY34" fmla="*/ 6066659 h 13941544"/>
                <a:gd name="connsiteX35" fmla="*/ 5352976 w 16682562"/>
                <a:gd name="connsiteY35" fmla="*/ 5985292 h 13941544"/>
                <a:gd name="connsiteX36" fmla="*/ 5741786 w 16682562"/>
                <a:gd name="connsiteY36" fmla="*/ 5614597 h 13941544"/>
                <a:gd name="connsiteX37" fmla="*/ 6157723 w 16682562"/>
                <a:gd name="connsiteY37" fmla="*/ 5451856 h 13941544"/>
                <a:gd name="connsiteX38" fmla="*/ 6745471 w 16682562"/>
                <a:gd name="connsiteY38" fmla="*/ 4882263 h 13941544"/>
                <a:gd name="connsiteX39" fmla="*/ 6890140 w 16682562"/>
                <a:gd name="connsiteY39" fmla="*/ 4032387 h 13941544"/>
                <a:gd name="connsiteX40" fmla="*/ 7568305 w 16682562"/>
                <a:gd name="connsiteY40" fmla="*/ 3462793 h 13941544"/>
                <a:gd name="connsiteX41" fmla="*/ 8137967 w 16682562"/>
                <a:gd name="connsiteY41" fmla="*/ 3019772 h 13941544"/>
                <a:gd name="connsiteX42" fmla="*/ 8463480 w 16682562"/>
                <a:gd name="connsiteY42" fmla="*/ 2215105 h 13941544"/>
                <a:gd name="connsiteX43" fmla="*/ 9024093 w 16682562"/>
                <a:gd name="connsiteY43" fmla="*/ 1862498 h 13941544"/>
                <a:gd name="connsiteX44" fmla="*/ 9675138 w 16682562"/>
                <a:gd name="connsiteY44" fmla="*/ 1509896 h 13941544"/>
                <a:gd name="connsiteX45" fmla="*/ 9558580 w 16682562"/>
                <a:gd name="connsiteY45" fmla="*/ 961612 h 13941544"/>
                <a:gd name="connsiteX46" fmla="*/ 10353296 w 16682562"/>
                <a:gd name="connsiteY46" fmla="*/ 289328 h 13941544"/>
                <a:gd name="connsiteX47" fmla="*/ 10832530 w 16682562"/>
                <a:gd name="connsiteY47" fmla="*/ 216994 h 13941544"/>
                <a:gd name="connsiteX48" fmla="*/ 11058585 w 16682562"/>
                <a:gd name="connsiteY48" fmla="*/ 669063 h 13941544"/>
                <a:gd name="connsiteX49" fmla="*/ 11411229 w 16682562"/>
                <a:gd name="connsiteY49" fmla="*/ 1048794 h 13941544"/>
                <a:gd name="connsiteX50" fmla="*/ 11998974 w 16682562"/>
                <a:gd name="connsiteY50" fmla="*/ 1130164 h 13941544"/>
                <a:gd name="connsiteX51" fmla="*/ 12315449 w 16682562"/>
                <a:gd name="connsiteY51" fmla="*/ 1790176 h 13941544"/>
                <a:gd name="connsiteX52" fmla="*/ 12785642 w 16682562"/>
                <a:gd name="connsiteY52" fmla="*/ 1609347 h 13941544"/>
                <a:gd name="connsiteX53" fmla="*/ 13671776 w 16682562"/>
                <a:gd name="connsiteY53" fmla="*/ 2061408 h 13941544"/>
                <a:gd name="connsiteX54" fmla="*/ 14123886 w 16682562"/>
                <a:gd name="connsiteY54" fmla="*/ 1763055 h 13941544"/>
                <a:gd name="connsiteX55" fmla="*/ 14259509 w 16682562"/>
                <a:gd name="connsiteY55" fmla="*/ 1193454 h 13941544"/>
                <a:gd name="connsiteX56" fmla="*/ 14892468 w 16682562"/>
                <a:gd name="connsiteY56" fmla="*/ 551523 h 13941544"/>
                <a:gd name="connsiteX57" fmla="*/ 15778605 w 16682562"/>
                <a:gd name="connsiteY57" fmla="*/ 3 h 13941544"/>
                <a:gd name="connsiteX58" fmla="*/ 16022739 w 16682562"/>
                <a:gd name="connsiteY58" fmla="*/ 470153 h 13941544"/>
                <a:gd name="connsiteX59" fmla="*/ 9312071 w 16682562"/>
                <a:gd name="connsiteY59" fmla="*/ 4353992 h 13941544"/>
                <a:gd name="connsiteX60" fmla="*/ 10152517 w 16682562"/>
                <a:gd name="connsiteY60" fmla="*/ 5264302 h 13941544"/>
                <a:gd name="connsiteX61" fmla="*/ 11109603 w 16682562"/>
                <a:gd name="connsiteY61" fmla="*/ 5635776 h 13941544"/>
                <a:gd name="connsiteX62" fmla="*/ 11919572 w 16682562"/>
                <a:gd name="connsiteY62" fmla="*/ 5909298 h 13941544"/>
                <a:gd name="connsiteX63" fmla="*/ 12868275 w 16682562"/>
                <a:gd name="connsiteY63" fmla="*/ 5664087 h 13941544"/>
                <a:gd name="connsiteX64" fmla="*/ 13844296 w 16682562"/>
                <a:gd name="connsiteY64" fmla="*/ 5062252 h 13941544"/>
                <a:gd name="connsiteX65" fmla="*/ 13886291 w 16682562"/>
                <a:gd name="connsiteY65" fmla="*/ 4227884 h 13941544"/>
                <a:gd name="connsiteX66" fmla="*/ 14370431 w 16682562"/>
                <a:gd name="connsiteY66" fmla="*/ 4736236 h 13941544"/>
                <a:gd name="connsiteX67" fmla="*/ 15323320 w 16682562"/>
                <a:gd name="connsiteY67" fmla="*/ 4834509 h 13941544"/>
                <a:gd name="connsiteX68" fmla="*/ 16350939 w 16682562"/>
                <a:gd name="connsiteY68" fmla="*/ 4959368 h 13941544"/>
                <a:gd name="connsiteX69" fmla="*/ 16362364 w 16682562"/>
                <a:gd name="connsiteY69" fmla="*/ 5266648 h 13941544"/>
                <a:gd name="connsiteX70" fmla="*/ 16682563 w 16682562"/>
                <a:gd name="connsiteY70" fmla="*/ 5704551 h 13941544"/>
                <a:gd name="connsiteX0" fmla="*/ 16682563 w 16682562"/>
                <a:gd name="connsiteY0" fmla="*/ 5704551 h 13941544"/>
                <a:gd name="connsiteX1" fmla="*/ 16432262 w 16682562"/>
                <a:gd name="connsiteY1" fmla="*/ 6731937 h 13941544"/>
                <a:gd name="connsiteX2" fmla="*/ 16106317 w 16682562"/>
                <a:gd name="connsiteY2" fmla="*/ 7273241 h 13941544"/>
                <a:gd name="connsiteX3" fmla="*/ 16305649 w 16682562"/>
                <a:gd name="connsiteY3" fmla="*/ 7660570 h 13941544"/>
                <a:gd name="connsiteX4" fmla="*/ 16287189 w 16682562"/>
                <a:gd name="connsiteY4" fmla="*/ 8057177 h 13941544"/>
                <a:gd name="connsiteX5" fmla="*/ 16372801 w 16682562"/>
                <a:gd name="connsiteY5" fmla="*/ 8623442 h 13941544"/>
                <a:gd name="connsiteX6" fmla="*/ 16070155 w 16682562"/>
                <a:gd name="connsiteY6" fmla="*/ 8843828 h 13941544"/>
                <a:gd name="connsiteX7" fmla="*/ 15805690 w 16682562"/>
                <a:gd name="connsiteY7" fmla="*/ 9338019 h 13941544"/>
                <a:gd name="connsiteX8" fmla="*/ 15195097 w 16682562"/>
                <a:gd name="connsiteY8" fmla="*/ 8999762 h 13941544"/>
                <a:gd name="connsiteX9" fmla="*/ 15011380 w 16682562"/>
                <a:gd name="connsiteY9" fmla="*/ 9954612 h 13941544"/>
                <a:gd name="connsiteX10" fmla="*/ 14908430 w 16682562"/>
                <a:gd name="connsiteY10" fmla="*/ 10843507 h 13941544"/>
                <a:gd name="connsiteX11" fmla="*/ 14904684 w 16682562"/>
                <a:gd name="connsiteY11" fmla="*/ 11666946 h 13941544"/>
                <a:gd name="connsiteX12" fmla="*/ 14929927 w 16682562"/>
                <a:gd name="connsiteY12" fmla="*/ 13297866 h 13941544"/>
                <a:gd name="connsiteX13" fmla="*/ 12952786 w 16682562"/>
                <a:gd name="connsiteY13" fmla="*/ 13748619 h 13941544"/>
                <a:gd name="connsiteX14" fmla="*/ 11934663 w 16682562"/>
                <a:gd name="connsiteY14" fmla="*/ 13796869 h 13941544"/>
                <a:gd name="connsiteX15" fmla="*/ 8506848 w 16682562"/>
                <a:gd name="connsiteY15" fmla="*/ 13941544 h 13941544"/>
                <a:gd name="connsiteX16" fmla="*/ 7985095 w 16682562"/>
                <a:gd name="connsiteY16" fmla="*/ 13296462 h 13941544"/>
                <a:gd name="connsiteX17" fmla="*/ 7400308 w 16682562"/>
                <a:gd name="connsiteY17" fmla="*/ 13266317 h 13941544"/>
                <a:gd name="connsiteX18" fmla="*/ 6972273 w 16682562"/>
                <a:gd name="connsiteY18" fmla="*/ 13537614 h 13941544"/>
                <a:gd name="connsiteX19" fmla="*/ 5181729 w 16682562"/>
                <a:gd name="connsiteY19" fmla="*/ 13453215 h 13941544"/>
                <a:gd name="connsiteX20" fmla="*/ 4397998 w 16682562"/>
                <a:gd name="connsiteY20" fmla="*/ 12820198 h 13941544"/>
                <a:gd name="connsiteX21" fmla="*/ 2908896 w 16682562"/>
                <a:gd name="connsiteY21" fmla="*/ 12012344 h 13941544"/>
                <a:gd name="connsiteX22" fmla="*/ 1263043 w 16682562"/>
                <a:gd name="connsiteY22" fmla="*/ 11300951 h 13941544"/>
                <a:gd name="connsiteX23" fmla="*/ 485320 w 16682562"/>
                <a:gd name="connsiteY23" fmla="*/ 10848794 h 13941544"/>
                <a:gd name="connsiteX24" fmla="*/ 0 w 16682562"/>
                <a:gd name="connsiteY24" fmla="*/ 10555682 h 13941544"/>
                <a:gd name="connsiteX25" fmla="*/ 1003686 w 16682562"/>
                <a:gd name="connsiteY25" fmla="*/ 9809717 h 13941544"/>
                <a:gd name="connsiteX26" fmla="*/ 2902551 w 16682562"/>
                <a:gd name="connsiteY26" fmla="*/ 8625318 h 13941544"/>
                <a:gd name="connsiteX27" fmla="*/ 2558940 w 16682562"/>
                <a:gd name="connsiteY27" fmla="*/ 8091887 h 13941544"/>
                <a:gd name="connsiteX28" fmla="*/ 2402508 w 16682562"/>
                <a:gd name="connsiteY28" fmla="*/ 7404804 h 13941544"/>
                <a:gd name="connsiteX29" fmla="*/ 2730740 w 16682562"/>
                <a:gd name="connsiteY29" fmla="*/ 7377633 h 13941544"/>
                <a:gd name="connsiteX30" fmla="*/ 2947754 w 16682562"/>
                <a:gd name="connsiteY30" fmla="*/ 6907488 h 13941544"/>
                <a:gd name="connsiteX31" fmla="*/ 3499325 w 16682562"/>
                <a:gd name="connsiteY31" fmla="*/ 6464471 h 13941544"/>
                <a:gd name="connsiteX32" fmla="*/ 3680166 w 16682562"/>
                <a:gd name="connsiteY32" fmla="*/ 5587473 h 13941544"/>
                <a:gd name="connsiteX33" fmla="*/ 4186528 w 16682562"/>
                <a:gd name="connsiteY33" fmla="*/ 5596509 h 13941544"/>
                <a:gd name="connsiteX34" fmla="*/ 4837569 w 16682562"/>
                <a:gd name="connsiteY34" fmla="*/ 6066659 h 13941544"/>
                <a:gd name="connsiteX35" fmla="*/ 5352976 w 16682562"/>
                <a:gd name="connsiteY35" fmla="*/ 5985292 h 13941544"/>
                <a:gd name="connsiteX36" fmla="*/ 5741786 w 16682562"/>
                <a:gd name="connsiteY36" fmla="*/ 5614597 h 13941544"/>
                <a:gd name="connsiteX37" fmla="*/ 6157723 w 16682562"/>
                <a:gd name="connsiteY37" fmla="*/ 5451856 h 13941544"/>
                <a:gd name="connsiteX38" fmla="*/ 6745471 w 16682562"/>
                <a:gd name="connsiteY38" fmla="*/ 4882263 h 13941544"/>
                <a:gd name="connsiteX39" fmla="*/ 6890140 w 16682562"/>
                <a:gd name="connsiteY39" fmla="*/ 4032387 h 13941544"/>
                <a:gd name="connsiteX40" fmla="*/ 7568305 w 16682562"/>
                <a:gd name="connsiteY40" fmla="*/ 3462793 h 13941544"/>
                <a:gd name="connsiteX41" fmla="*/ 8137967 w 16682562"/>
                <a:gd name="connsiteY41" fmla="*/ 3019772 h 13941544"/>
                <a:gd name="connsiteX42" fmla="*/ 8463480 w 16682562"/>
                <a:gd name="connsiteY42" fmla="*/ 2215105 h 13941544"/>
                <a:gd name="connsiteX43" fmla="*/ 9024093 w 16682562"/>
                <a:gd name="connsiteY43" fmla="*/ 1862498 h 13941544"/>
                <a:gd name="connsiteX44" fmla="*/ 9675138 w 16682562"/>
                <a:gd name="connsiteY44" fmla="*/ 1509896 h 13941544"/>
                <a:gd name="connsiteX45" fmla="*/ 9558580 w 16682562"/>
                <a:gd name="connsiteY45" fmla="*/ 961612 h 13941544"/>
                <a:gd name="connsiteX46" fmla="*/ 10353296 w 16682562"/>
                <a:gd name="connsiteY46" fmla="*/ 289328 h 13941544"/>
                <a:gd name="connsiteX47" fmla="*/ 10832530 w 16682562"/>
                <a:gd name="connsiteY47" fmla="*/ 216994 h 13941544"/>
                <a:gd name="connsiteX48" fmla="*/ 11058585 w 16682562"/>
                <a:gd name="connsiteY48" fmla="*/ 669063 h 13941544"/>
                <a:gd name="connsiteX49" fmla="*/ 11411229 w 16682562"/>
                <a:gd name="connsiteY49" fmla="*/ 1048794 h 13941544"/>
                <a:gd name="connsiteX50" fmla="*/ 11998974 w 16682562"/>
                <a:gd name="connsiteY50" fmla="*/ 1130164 h 13941544"/>
                <a:gd name="connsiteX51" fmla="*/ 12315449 w 16682562"/>
                <a:gd name="connsiteY51" fmla="*/ 1790176 h 13941544"/>
                <a:gd name="connsiteX52" fmla="*/ 12785642 w 16682562"/>
                <a:gd name="connsiteY52" fmla="*/ 1609347 h 13941544"/>
                <a:gd name="connsiteX53" fmla="*/ 13671776 w 16682562"/>
                <a:gd name="connsiteY53" fmla="*/ 2061408 h 13941544"/>
                <a:gd name="connsiteX54" fmla="*/ 14123886 w 16682562"/>
                <a:gd name="connsiteY54" fmla="*/ 1763055 h 13941544"/>
                <a:gd name="connsiteX55" fmla="*/ 14259509 w 16682562"/>
                <a:gd name="connsiteY55" fmla="*/ 1193454 h 13941544"/>
                <a:gd name="connsiteX56" fmla="*/ 14892468 w 16682562"/>
                <a:gd name="connsiteY56" fmla="*/ 551523 h 13941544"/>
                <a:gd name="connsiteX57" fmla="*/ 15778605 w 16682562"/>
                <a:gd name="connsiteY57" fmla="*/ 3 h 13941544"/>
                <a:gd name="connsiteX58" fmla="*/ 16022739 w 16682562"/>
                <a:gd name="connsiteY58" fmla="*/ 470153 h 13941544"/>
                <a:gd name="connsiteX59" fmla="*/ 9761321 w 16682562"/>
                <a:gd name="connsiteY59" fmla="*/ 4466032 h 13941544"/>
                <a:gd name="connsiteX60" fmla="*/ 10152517 w 16682562"/>
                <a:gd name="connsiteY60" fmla="*/ 5264302 h 13941544"/>
                <a:gd name="connsiteX61" fmla="*/ 11109603 w 16682562"/>
                <a:gd name="connsiteY61" fmla="*/ 5635776 h 13941544"/>
                <a:gd name="connsiteX62" fmla="*/ 11919572 w 16682562"/>
                <a:gd name="connsiteY62" fmla="*/ 5909298 h 13941544"/>
                <a:gd name="connsiteX63" fmla="*/ 12868275 w 16682562"/>
                <a:gd name="connsiteY63" fmla="*/ 5664087 h 13941544"/>
                <a:gd name="connsiteX64" fmla="*/ 13844296 w 16682562"/>
                <a:gd name="connsiteY64" fmla="*/ 5062252 h 13941544"/>
                <a:gd name="connsiteX65" fmla="*/ 13886291 w 16682562"/>
                <a:gd name="connsiteY65" fmla="*/ 4227884 h 13941544"/>
                <a:gd name="connsiteX66" fmla="*/ 14370431 w 16682562"/>
                <a:gd name="connsiteY66" fmla="*/ 4736236 h 13941544"/>
                <a:gd name="connsiteX67" fmla="*/ 15323320 w 16682562"/>
                <a:gd name="connsiteY67" fmla="*/ 4834509 h 13941544"/>
                <a:gd name="connsiteX68" fmla="*/ 16350939 w 16682562"/>
                <a:gd name="connsiteY68" fmla="*/ 4959368 h 13941544"/>
                <a:gd name="connsiteX69" fmla="*/ 16362364 w 16682562"/>
                <a:gd name="connsiteY69" fmla="*/ 5266648 h 13941544"/>
                <a:gd name="connsiteX70" fmla="*/ 16682563 w 16682562"/>
                <a:gd name="connsiteY70" fmla="*/ 5704551 h 13941544"/>
                <a:gd name="connsiteX0" fmla="*/ 16682563 w 16682562"/>
                <a:gd name="connsiteY0" fmla="*/ 5704551 h 13941544"/>
                <a:gd name="connsiteX1" fmla="*/ 16432262 w 16682562"/>
                <a:gd name="connsiteY1" fmla="*/ 6731937 h 13941544"/>
                <a:gd name="connsiteX2" fmla="*/ 16106317 w 16682562"/>
                <a:gd name="connsiteY2" fmla="*/ 7273241 h 13941544"/>
                <a:gd name="connsiteX3" fmla="*/ 16305649 w 16682562"/>
                <a:gd name="connsiteY3" fmla="*/ 7660570 h 13941544"/>
                <a:gd name="connsiteX4" fmla="*/ 16287189 w 16682562"/>
                <a:gd name="connsiteY4" fmla="*/ 8057177 h 13941544"/>
                <a:gd name="connsiteX5" fmla="*/ 16372801 w 16682562"/>
                <a:gd name="connsiteY5" fmla="*/ 8623442 h 13941544"/>
                <a:gd name="connsiteX6" fmla="*/ 16070155 w 16682562"/>
                <a:gd name="connsiteY6" fmla="*/ 8843828 h 13941544"/>
                <a:gd name="connsiteX7" fmla="*/ 15805690 w 16682562"/>
                <a:gd name="connsiteY7" fmla="*/ 9338019 h 13941544"/>
                <a:gd name="connsiteX8" fmla="*/ 15195097 w 16682562"/>
                <a:gd name="connsiteY8" fmla="*/ 8999762 h 13941544"/>
                <a:gd name="connsiteX9" fmla="*/ 15011380 w 16682562"/>
                <a:gd name="connsiteY9" fmla="*/ 9954612 h 13941544"/>
                <a:gd name="connsiteX10" fmla="*/ 14908430 w 16682562"/>
                <a:gd name="connsiteY10" fmla="*/ 10843507 h 13941544"/>
                <a:gd name="connsiteX11" fmla="*/ 14904684 w 16682562"/>
                <a:gd name="connsiteY11" fmla="*/ 11666946 h 13941544"/>
                <a:gd name="connsiteX12" fmla="*/ 14929927 w 16682562"/>
                <a:gd name="connsiteY12" fmla="*/ 13297866 h 13941544"/>
                <a:gd name="connsiteX13" fmla="*/ 12952786 w 16682562"/>
                <a:gd name="connsiteY13" fmla="*/ 13748619 h 13941544"/>
                <a:gd name="connsiteX14" fmla="*/ 11934663 w 16682562"/>
                <a:gd name="connsiteY14" fmla="*/ 13796869 h 13941544"/>
                <a:gd name="connsiteX15" fmla="*/ 8506848 w 16682562"/>
                <a:gd name="connsiteY15" fmla="*/ 13941544 h 13941544"/>
                <a:gd name="connsiteX16" fmla="*/ 7985095 w 16682562"/>
                <a:gd name="connsiteY16" fmla="*/ 13296462 h 13941544"/>
                <a:gd name="connsiteX17" fmla="*/ 7400308 w 16682562"/>
                <a:gd name="connsiteY17" fmla="*/ 13266317 h 13941544"/>
                <a:gd name="connsiteX18" fmla="*/ 6972273 w 16682562"/>
                <a:gd name="connsiteY18" fmla="*/ 13537614 h 13941544"/>
                <a:gd name="connsiteX19" fmla="*/ 5181729 w 16682562"/>
                <a:gd name="connsiteY19" fmla="*/ 13453215 h 13941544"/>
                <a:gd name="connsiteX20" fmla="*/ 4397998 w 16682562"/>
                <a:gd name="connsiteY20" fmla="*/ 12820198 h 13941544"/>
                <a:gd name="connsiteX21" fmla="*/ 2908896 w 16682562"/>
                <a:gd name="connsiteY21" fmla="*/ 12012344 h 13941544"/>
                <a:gd name="connsiteX22" fmla="*/ 1263043 w 16682562"/>
                <a:gd name="connsiteY22" fmla="*/ 11300951 h 13941544"/>
                <a:gd name="connsiteX23" fmla="*/ 485320 w 16682562"/>
                <a:gd name="connsiteY23" fmla="*/ 10848794 h 13941544"/>
                <a:gd name="connsiteX24" fmla="*/ 0 w 16682562"/>
                <a:gd name="connsiteY24" fmla="*/ 10555682 h 13941544"/>
                <a:gd name="connsiteX25" fmla="*/ 1003686 w 16682562"/>
                <a:gd name="connsiteY25" fmla="*/ 9809717 h 13941544"/>
                <a:gd name="connsiteX26" fmla="*/ 2902551 w 16682562"/>
                <a:gd name="connsiteY26" fmla="*/ 8625318 h 13941544"/>
                <a:gd name="connsiteX27" fmla="*/ 2558940 w 16682562"/>
                <a:gd name="connsiteY27" fmla="*/ 8091887 h 13941544"/>
                <a:gd name="connsiteX28" fmla="*/ 2402508 w 16682562"/>
                <a:gd name="connsiteY28" fmla="*/ 7404804 h 13941544"/>
                <a:gd name="connsiteX29" fmla="*/ 2730740 w 16682562"/>
                <a:gd name="connsiteY29" fmla="*/ 7377633 h 13941544"/>
                <a:gd name="connsiteX30" fmla="*/ 2947754 w 16682562"/>
                <a:gd name="connsiteY30" fmla="*/ 6907488 h 13941544"/>
                <a:gd name="connsiteX31" fmla="*/ 3499325 w 16682562"/>
                <a:gd name="connsiteY31" fmla="*/ 6464471 h 13941544"/>
                <a:gd name="connsiteX32" fmla="*/ 3680166 w 16682562"/>
                <a:gd name="connsiteY32" fmla="*/ 5587473 h 13941544"/>
                <a:gd name="connsiteX33" fmla="*/ 4186528 w 16682562"/>
                <a:gd name="connsiteY33" fmla="*/ 5596509 h 13941544"/>
                <a:gd name="connsiteX34" fmla="*/ 4837569 w 16682562"/>
                <a:gd name="connsiteY34" fmla="*/ 6066659 h 13941544"/>
                <a:gd name="connsiteX35" fmla="*/ 5352976 w 16682562"/>
                <a:gd name="connsiteY35" fmla="*/ 5985292 h 13941544"/>
                <a:gd name="connsiteX36" fmla="*/ 5741786 w 16682562"/>
                <a:gd name="connsiteY36" fmla="*/ 5614597 h 13941544"/>
                <a:gd name="connsiteX37" fmla="*/ 6157723 w 16682562"/>
                <a:gd name="connsiteY37" fmla="*/ 5451856 h 13941544"/>
                <a:gd name="connsiteX38" fmla="*/ 6745471 w 16682562"/>
                <a:gd name="connsiteY38" fmla="*/ 4882263 h 13941544"/>
                <a:gd name="connsiteX39" fmla="*/ 6890140 w 16682562"/>
                <a:gd name="connsiteY39" fmla="*/ 4032387 h 13941544"/>
                <a:gd name="connsiteX40" fmla="*/ 7568305 w 16682562"/>
                <a:gd name="connsiteY40" fmla="*/ 3462793 h 13941544"/>
                <a:gd name="connsiteX41" fmla="*/ 8137967 w 16682562"/>
                <a:gd name="connsiteY41" fmla="*/ 3019772 h 13941544"/>
                <a:gd name="connsiteX42" fmla="*/ 8463480 w 16682562"/>
                <a:gd name="connsiteY42" fmla="*/ 2215105 h 13941544"/>
                <a:gd name="connsiteX43" fmla="*/ 9024093 w 16682562"/>
                <a:gd name="connsiteY43" fmla="*/ 1862498 h 13941544"/>
                <a:gd name="connsiteX44" fmla="*/ 9675138 w 16682562"/>
                <a:gd name="connsiteY44" fmla="*/ 1509896 h 13941544"/>
                <a:gd name="connsiteX45" fmla="*/ 9558580 w 16682562"/>
                <a:gd name="connsiteY45" fmla="*/ 961612 h 13941544"/>
                <a:gd name="connsiteX46" fmla="*/ 10353296 w 16682562"/>
                <a:gd name="connsiteY46" fmla="*/ 289328 h 13941544"/>
                <a:gd name="connsiteX47" fmla="*/ 10832530 w 16682562"/>
                <a:gd name="connsiteY47" fmla="*/ 216994 h 13941544"/>
                <a:gd name="connsiteX48" fmla="*/ 11058585 w 16682562"/>
                <a:gd name="connsiteY48" fmla="*/ 669063 h 13941544"/>
                <a:gd name="connsiteX49" fmla="*/ 11411229 w 16682562"/>
                <a:gd name="connsiteY49" fmla="*/ 1048794 h 13941544"/>
                <a:gd name="connsiteX50" fmla="*/ 11998974 w 16682562"/>
                <a:gd name="connsiteY50" fmla="*/ 1130164 h 13941544"/>
                <a:gd name="connsiteX51" fmla="*/ 12315449 w 16682562"/>
                <a:gd name="connsiteY51" fmla="*/ 1790176 h 13941544"/>
                <a:gd name="connsiteX52" fmla="*/ 12785642 w 16682562"/>
                <a:gd name="connsiteY52" fmla="*/ 1609347 h 13941544"/>
                <a:gd name="connsiteX53" fmla="*/ 13671776 w 16682562"/>
                <a:gd name="connsiteY53" fmla="*/ 2061408 h 13941544"/>
                <a:gd name="connsiteX54" fmla="*/ 14123886 w 16682562"/>
                <a:gd name="connsiteY54" fmla="*/ 1763055 h 13941544"/>
                <a:gd name="connsiteX55" fmla="*/ 14259509 w 16682562"/>
                <a:gd name="connsiteY55" fmla="*/ 1193454 h 13941544"/>
                <a:gd name="connsiteX56" fmla="*/ 14892468 w 16682562"/>
                <a:gd name="connsiteY56" fmla="*/ 551523 h 13941544"/>
                <a:gd name="connsiteX57" fmla="*/ 15778605 w 16682562"/>
                <a:gd name="connsiteY57" fmla="*/ 3 h 13941544"/>
                <a:gd name="connsiteX58" fmla="*/ 9761321 w 16682562"/>
                <a:gd name="connsiteY58" fmla="*/ 4466032 h 13941544"/>
                <a:gd name="connsiteX59" fmla="*/ 10152517 w 16682562"/>
                <a:gd name="connsiteY59" fmla="*/ 5264302 h 13941544"/>
                <a:gd name="connsiteX60" fmla="*/ 11109603 w 16682562"/>
                <a:gd name="connsiteY60" fmla="*/ 5635776 h 13941544"/>
                <a:gd name="connsiteX61" fmla="*/ 11919572 w 16682562"/>
                <a:gd name="connsiteY61" fmla="*/ 5909298 h 13941544"/>
                <a:gd name="connsiteX62" fmla="*/ 12868275 w 16682562"/>
                <a:gd name="connsiteY62" fmla="*/ 5664087 h 13941544"/>
                <a:gd name="connsiteX63" fmla="*/ 13844296 w 16682562"/>
                <a:gd name="connsiteY63" fmla="*/ 5062252 h 13941544"/>
                <a:gd name="connsiteX64" fmla="*/ 13886291 w 16682562"/>
                <a:gd name="connsiteY64" fmla="*/ 4227884 h 13941544"/>
                <a:gd name="connsiteX65" fmla="*/ 14370431 w 16682562"/>
                <a:gd name="connsiteY65" fmla="*/ 4736236 h 13941544"/>
                <a:gd name="connsiteX66" fmla="*/ 15323320 w 16682562"/>
                <a:gd name="connsiteY66" fmla="*/ 4834509 h 13941544"/>
                <a:gd name="connsiteX67" fmla="*/ 16350939 w 16682562"/>
                <a:gd name="connsiteY67" fmla="*/ 4959368 h 13941544"/>
                <a:gd name="connsiteX68" fmla="*/ 16362364 w 16682562"/>
                <a:gd name="connsiteY68" fmla="*/ 5266648 h 13941544"/>
                <a:gd name="connsiteX69" fmla="*/ 16682563 w 16682562"/>
                <a:gd name="connsiteY69" fmla="*/ 5704551 h 13941544"/>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13671776 w 16682562"/>
                <a:gd name="connsiteY53" fmla="*/ 1844415 h 13724551"/>
                <a:gd name="connsiteX54" fmla="*/ 14123886 w 16682562"/>
                <a:gd name="connsiteY54" fmla="*/ 1546062 h 13724551"/>
                <a:gd name="connsiteX55" fmla="*/ 14259509 w 16682562"/>
                <a:gd name="connsiteY55" fmla="*/ 976461 h 13724551"/>
                <a:gd name="connsiteX56" fmla="*/ 14892468 w 16682562"/>
                <a:gd name="connsiteY56" fmla="*/ 334530 h 13724551"/>
                <a:gd name="connsiteX57" fmla="*/ 9761321 w 16682562"/>
                <a:gd name="connsiteY57" fmla="*/ 4249039 h 13724551"/>
                <a:gd name="connsiteX58" fmla="*/ 10152517 w 16682562"/>
                <a:gd name="connsiteY58" fmla="*/ 5047309 h 13724551"/>
                <a:gd name="connsiteX59" fmla="*/ 11109603 w 16682562"/>
                <a:gd name="connsiteY59" fmla="*/ 5418783 h 13724551"/>
                <a:gd name="connsiteX60" fmla="*/ 11919572 w 16682562"/>
                <a:gd name="connsiteY60" fmla="*/ 5692305 h 13724551"/>
                <a:gd name="connsiteX61" fmla="*/ 12868275 w 16682562"/>
                <a:gd name="connsiteY61" fmla="*/ 5447094 h 13724551"/>
                <a:gd name="connsiteX62" fmla="*/ 13844296 w 16682562"/>
                <a:gd name="connsiteY62" fmla="*/ 4845259 h 13724551"/>
                <a:gd name="connsiteX63" fmla="*/ 13886291 w 16682562"/>
                <a:gd name="connsiteY63" fmla="*/ 4010891 h 13724551"/>
                <a:gd name="connsiteX64" fmla="*/ 14370431 w 16682562"/>
                <a:gd name="connsiteY64" fmla="*/ 4519243 h 13724551"/>
                <a:gd name="connsiteX65" fmla="*/ 15323320 w 16682562"/>
                <a:gd name="connsiteY65" fmla="*/ 4617516 h 13724551"/>
                <a:gd name="connsiteX66" fmla="*/ 16350939 w 16682562"/>
                <a:gd name="connsiteY66" fmla="*/ 4742375 h 13724551"/>
                <a:gd name="connsiteX67" fmla="*/ 16362364 w 16682562"/>
                <a:gd name="connsiteY67" fmla="*/ 5049655 h 13724551"/>
                <a:gd name="connsiteX68" fmla="*/ 16682563 w 16682562"/>
                <a:gd name="connsiteY68"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13671776 w 16682562"/>
                <a:gd name="connsiteY53" fmla="*/ 1844415 h 13724551"/>
                <a:gd name="connsiteX54" fmla="*/ 14123886 w 16682562"/>
                <a:gd name="connsiteY54" fmla="*/ 1546062 h 13724551"/>
                <a:gd name="connsiteX55" fmla="*/ 14259509 w 16682562"/>
                <a:gd name="connsiteY55" fmla="*/ 976461 h 13724551"/>
                <a:gd name="connsiteX56" fmla="*/ 9761321 w 16682562"/>
                <a:gd name="connsiteY56" fmla="*/ 4249039 h 13724551"/>
                <a:gd name="connsiteX57" fmla="*/ 10152517 w 16682562"/>
                <a:gd name="connsiteY57" fmla="*/ 5047309 h 13724551"/>
                <a:gd name="connsiteX58" fmla="*/ 11109603 w 16682562"/>
                <a:gd name="connsiteY58" fmla="*/ 5418783 h 13724551"/>
                <a:gd name="connsiteX59" fmla="*/ 11919572 w 16682562"/>
                <a:gd name="connsiteY59" fmla="*/ 5692305 h 13724551"/>
                <a:gd name="connsiteX60" fmla="*/ 12868275 w 16682562"/>
                <a:gd name="connsiteY60" fmla="*/ 5447094 h 13724551"/>
                <a:gd name="connsiteX61" fmla="*/ 13844296 w 16682562"/>
                <a:gd name="connsiteY61" fmla="*/ 4845259 h 13724551"/>
                <a:gd name="connsiteX62" fmla="*/ 13886291 w 16682562"/>
                <a:gd name="connsiteY62" fmla="*/ 4010891 h 13724551"/>
                <a:gd name="connsiteX63" fmla="*/ 14370431 w 16682562"/>
                <a:gd name="connsiteY63" fmla="*/ 4519243 h 13724551"/>
                <a:gd name="connsiteX64" fmla="*/ 15323320 w 16682562"/>
                <a:gd name="connsiteY64" fmla="*/ 4617516 h 13724551"/>
                <a:gd name="connsiteX65" fmla="*/ 16350939 w 16682562"/>
                <a:gd name="connsiteY65" fmla="*/ 4742375 h 13724551"/>
                <a:gd name="connsiteX66" fmla="*/ 16362364 w 16682562"/>
                <a:gd name="connsiteY66" fmla="*/ 5049655 h 13724551"/>
                <a:gd name="connsiteX67" fmla="*/ 16682563 w 16682562"/>
                <a:gd name="connsiteY67"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13671776 w 16682562"/>
                <a:gd name="connsiteY53" fmla="*/ 1844415 h 13724551"/>
                <a:gd name="connsiteX54" fmla="*/ 14123886 w 16682562"/>
                <a:gd name="connsiteY54" fmla="*/ 1546062 h 13724551"/>
                <a:gd name="connsiteX55" fmla="*/ 9761321 w 16682562"/>
                <a:gd name="connsiteY55" fmla="*/ 4249039 h 13724551"/>
                <a:gd name="connsiteX56" fmla="*/ 10152517 w 16682562"/>
                <a:gd name="connsiteY56" fmla="*/ 5047309 h 13724551"/>
                <a:gd name="connsiteX57" fmla="*/ 11109603 w 16682562"/>
                <a:gd name="connsiteY57" fmla="*/ 5418783 h 13724551"/>
                <a:gd name="connsiteX58" fmla="*/ 11919572 w 16682562"/>
                <a:gd name="connsiteY58" fmla="*/ 5692305 h 13724551"/>
                <a:gd name="connsiteX59" fmla="*/ 12868275 w 16682562"/>
                <a:gd name="connsiteY59" fmla="*/ 5447094 h 13724551"/>
                <a:gd name="connsiteX60" fmla="*/ 13844296 w 16682562"/>
                <a:gd name="connsiteY60" fmla="*/ 4845259 h 13724551"/>
                <a:gd name="connsiteX61" fmla="*/ 13886291 w 16682562"/>
                <a:gd name="connsiteY61" fmla="*/ 4010891 h 13724551"/>
                <a:gd name="connsiteX62" fmla="*/ 14370431 w 16682562"/>
                <a:gd name="connsiteY62" fmla="*/ 4519243 h 13724551"/>
                <a:gd name="connsiteX63" fmla="*/ 15323320 w 16682562"/>
                <a:gd name="connsiteY63" fmla="*/ 4617516 h 13724551"/>
                <a:gd name="connsiteX64" fmla="*/ 16350939 w 16682562"/>
                <a:gd name="connsiteY64" fmla="*/ 4742375 h 13724551"/>
                <a:gd name="connsiteX65" fmla="*/ 16362364 w 16682562"/>
                <a:gd name="connsiteY65" fmla="*/ 5049655 h 13724551"/>
                <a:gd name="connsiteX66" fmla="*/ 16682563 w 16682562"/>
                <a:gd name="connsiteY66"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13671776 w 16682562"/>
                <a:gd name="connsiteY53" fmla="*/ 1844415 h 13724551"/>
                <a:gd name="connsiteX54" fmla="*/ 9761321 w 16682562"/>
                <a:gd name="connsiteY54" fmla="*/ 4249039 h 13724551"/>
                <a:gd name="connsiteX55" fmla="*/ 10152517 w 16682562"/>
                <a:gd name="connsiteY55" fmla="*/ 5047309 h 13724551"/>
                <a:gd name="connsiteX56" fmla="*/ 11109603 w 16682562"/>
                <a:gd name="connsiteY56" fmla="*/ 5418783 h 13724551"/>
                <a:gd name="connsiteX57" fmla="*/ 11919572 w 16682562"/>
                <a:gd name="connsiteY57" fmla="*/ 5692305 h 13724551"/>
                <a:gd name="connsiteX58" fmla="*/ 12868275 w 16682562"/>
                <a:gd name="connsiteY58" fmla="*/ 5447094 h 13724551"/>
                <a:gd name="connsiteX59" fmla="*/ 13844296 w 16682562"/>
                <a:gd name="connsiteY59" fmla="*/ 4845259 h 13724551"/>
                <a:gd name="connsiteX60" fmla="*/ 13886291 w 16682562"/>
                <a:gd name="connsiteY60" fmla="*/ 4010891 h 13724551"/>
                <a:gd name="connsiteX61" fmla="*/ 14370431 w 16682562"/>
                <a:gd name="connsiteY61" fmla="*/ 4519243 h 13724551"/>
                <a:gd name="connsiteX62" fmla="*/ 15323320 w 16682562"/>
                <a:gd name="connsiteY62" fmla="*/ 4617516 h 13724551"/>
                <a:gd name="connsiteX63" fmla="*/ 16350939 w 16682562"/>
                <a:gd name="connsiteY63" fmla="*/ 4742375 h 13724551"/>
                <a:gd name="connsiteX64" fmla="*/ 16362364 w 16682562"/>
                <a:gd name="connsiteY64" fmla="*/ 5049655 h 13724551"/>
                <a:gd name="connsiteX65" fmla="*/ 16682563 w 16682562"/>
                <a:gd name="connsiteY65"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9761321 w 16682562"/>
                <a:gd name="connsiteY53" fmla="*/ 4249039 h 13724551"/>
                <a:gd name="connsiteX54" fmla="*/ 10152517 w 16682562"/>
                <a:gd name="connsiteY54" fmla="*/ 5047309 h 13724551"/>
                <a:gd name="connsiteX55" fmla="*/ 11109603 w 16682562"/>
                <a:gd name="connsiteY55" fmla="*/ 5418783 h 13724551"/>
                <a:gd name="connsiteX56" fmla="*/ 11919572 w 16682562"/>
                <a:gd name="connsiteY56" fmla="*/ 5692305 h 13724551"/>
                <a:gd name="connsiteX57" fmla="*/ 12868275 w 16682562"/>
                <a:gd name="connsiteY57" fmla="*/ 5447094 h 13724551"/>
                <a:gd name="connsiteX58" fmla="*/ 13844296 w 16682562"/>
                <a:gd name="connsiteY58" fmla="*/ 4845259 h 13724551"/>
                <a:gd name="connsiteX59" fmla="*/ 13886291 w 16682562"/>
                <a:gd name="connsiteY59" fmla="*/ 4010891 h 13724551"/>
                <a:gd name="connsiteX60" fmla="*/ 14370431 w 16682562"/>
                <a:gd name="connsiteY60" fmla="*/ 4519243 h 13724551"/>
                <a:gd name="connsiteX61" fmla="*/ 15323320 w 16682562"/>
                <a:gd name="connsiteY61" fmla="*/ 4617516 h 13724551"/>
                <a:gd name="connsiteX62" fmla="*/ 16350939 w 16682562"/>
                <a:gd name="connsiteY62" fmla="*/ 4742375 h 13724551"/>
                <a:gd name="connsiteX63" fmla="*/ 16362364 w 16682562"/>
                <a:gd name="connsiteY63" fmla="*/ 5049655 h 13724551"/>
                <a:gd name="connsiteX64" fmla="*/ 16682563 w 16682562"/>
                <a:gd name="connsiteY64"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8216041 w 16682562"/>
                <a:gd name="connsiteY51" fmla="*/ 3870010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8524896 w 16682562"/>
                <a:gd name="connsiteY51" fmla="*/ 4654291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8348814 w 16682562"/>
                <a:gd name="connsiteY50" fmla="*/ 3770198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9078849 w 16682562"/>
                <a:gd name="connsiteY50" fmla="*/ 3798207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8463027 w 16682562"/>
                <a:gd name="connsiteY49" fmla="*/ 3408723 h 13724551"/>
                <a:gd name="connsiteX50" fmla="*/ 9078849 w 16682562"/>
                <a:gd name="connsiteY50" fmla="*/ 3798207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8856118 w 16682562"/>
                <a:gd name="connsiteY49" fmla="*/ 3184643 h 13724551"/>
                <a:gd name="connsiteX50" fmla="*/ 9078849 w 16682562"/>
                <a:gd name="connsiteY50" fmla="*/ 3798207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8856118 w 16682562"/>
                <a:gd name="connsiteY48" fmla="*/ 3184643 h 13724551"/>
                <a:gd name="connsiteX49" fmla="*/ 9078849 w 16682562"/>
                <a:gd name="connsiteY49" fmla="*/ 3798207 h 13724551"/>
                <a:gd name="connsiteX50" fmla="*/ 9086459 w 16682562"/>
                <a:gd name="connsiteY50" fmla="*/ 4346185 h 13724551"/>
                <a:gd name="connsiteX51" fmla="*/ 9761321 w 16682562"/>
                <a:gd name="connsiteY51" fmla="*/ 4249039 h 13724551"/>
                <a:gd name="connsiteX52" fmla="*/ 10152517 w 16682562"/>
                <a:gd name="connsiteY52" fmla="*/ 5047309 h 13724551"/>
                <a:gd name="connsiteX53" fmla="*/ 11109603 w 16682562"/>
                <a:gd name="connsiteY53" fmla="*/ 5418783 h 13724551"/>
                <a:gd name="connsiteX54" fmla="*/ 11919572 w 16682562"/>
                <a:gd name="connsiteY54" fmla="*/ 5692305 h 13724551"/>
                <a:gd name="connsiteX55" fmla="*/ 12868275 w 16682562"/>
                <a:gd name="connsiteY55" fmla="*/ 5447094 h 13724551"/>
                <a:gd name="connsiteX56" fmla="*/ 13844296 w 16682562"/>
                <a:gd name="connsiteY56" fmla="*/ 4845259 h 13724551"/>
                <a:gd name="connsiteX57" fmla="*/ 13886291 w 16682562"/>
                <a:gd name="connsiteY57" fmla="*/ 4010891 h 13724551"/>
                <a:gd name="connsiteX58" fmla="*/ 14370431 w 16682562"/>
                <a:gd name="connsiteY58" fmla="*/ 4519243 h 13724551"/>
                <a:gd name="connsiteX59" fmla="*/ 15323320 w 16682562"/>
                <a:gd name="connsiteY59" fmla="*/ 4617516 h 13724551"/>
                <a:gd name="connsiteX60" fmla="*/ 16350939 w 16682562"/>
                <a:gd name="connsiteY60" fmla="*/ 4742375 h 13724551"/>
                <a:gd name="connsiteX61" fmla="*/ 16362364 w 16682562"/>
                <a:gd name="connsiteY61" fmla="*/ 5049655 h 13724551"/>
                <a:gd name="connsiteX62" fmla="*/ 16682563 w 16682562"/>
                <a:gd name="connsiteY62" fmla="*/ 5487558 h 13724551"/>
                <a:gd name="connsiteX0" fmla="*/ 16682563 w 16682562"/>
                <a:gd name="connsiteY0" fmla="*/ 5415225 h 13652218"/>
                <a:gd name="connsiteX1" fmla="*/ 16432262 w 16682562"/>
                <a:gd name="connsiteY1" fmla="*/ 6442611 h 13652218"/>
                <a:gd name="connsiteX2" fmla="*/ 16106317 w 16682562"/>
                <a:gd name="connsiteY2" fmla="*/ 6983915 h 13652218"/>
                <a:gd name="connsiteX3" fmla="*/ 16305649 w 16682562"/>
                <a:gd name="connsiteY3" fmla="*/ 7371244 h 13652218"/>
                <a:gd name="connsiteX4" fmla="*/ 16287189 w 16682562"/>
                <a:gd name="connsiteY4" fmla="*/ 7767851 h 13652218"/>
                <a:gd name="connsiteX5" fmla="*/ 16372801 w 16682562"/>
                <a:gd name="connsiteY5" fmla="*/ 8334116 h 13652218"/>
                <a:gd name="connsiteX6" fmla="*/ 16070155 w 16682562"/>
                <a:gd name="connsiteY6" fmla="*/ 8554502 h 13652218"/>
                <a:gd name="connsiteX7" fmla="*/ 15805690 w 16682562"/>
                <a:gd name="connsiteY7" fmla="*/ 9048693 h 13652218"/>
                <a:gd name="connsiteX8" fmla="*/ 15195097 w 16682562"/>
                <a:gd name="connsiteY8" fmla="*/ 8710436 h 13652218"/>
                <a:gd name="connsiteX9" fmla="*/ 15011380 w 16682562"/>
                <a:gd name="connsiteY9" fmla="*/ 9665286 h 13652218"/>
                <a:gd name="connsiteX10" fmla="*/ 14908430 w 16682562"/>
                <a:gd name="connsiteY10" fmla="*/ 10554181 h 13652218"/>
                <a:gd name="connsiteX11" fmla="*/ 14904684 w 16682562"/>
                <a:gd name="connsiteY11" fmla="*/ 11377620 h 13652218"/>
                <a:gd name="connsiteX12" fmla="*/ 14929927 w 16682562"/>
                <a:gd name="connsiteY12" fmla="*/ 13008540 h 13652218"/>
                <a:gd name="connsiteX13" fmla="*/ 12952786 w 16682562"/>
                <a:gd name="connsiteY13" fmla="*/ 13459293 h 13652218"/>
                <a:gd name="connsiteX14" fmla="*/ 11934663 w 16682562"/>
                <a:gd name="connsiteY14" fmla="*/ 13507543 h 13652218"/>
                <a:gd name="connsiteX15" fmla="*/ 8506848 w 16682562"/>
                <a:gd name="connsiteY15" fmla="*/ 13652218 h 13652218"/>
                <a:gd name="connsiteX16" fmla="*/ 7985095 w 16682562"/>
                <a:gd name="connsiteY16" fmla="*/ 13007136 h 13652218"/>
                <a:gd name="connsiteX17" fmla="*/ 7400308 w 16682562"/>
                <a:gd name="connsiteY17" fmla="*/ 12976991 h 13652218"/>
                <a:gd name="connsiteX18" fmla="*/ 6972273 w 16682562"/>
                <a:gd name="connsiteY18" fmla="*/ 13248288 h 13652218"/>
                <a:gd name="connsiteX19" fmla="*/ 5181729 w 16682562"/>
                <a:gd name="connsiteY19" fmla="*/ 13163889 h 13652218"/>
                <a:gd name="connsiteX20" fmla="*/ 4397998 w 16682562"/>
                <a:gd name="connsiteY20" fmla="*/ 12530872 h 13652218"/>
                <a:gd name="connsiteX21" fmla="*/ 2908896 w 16682562"/>
                <a:gd name="connsiteY21" fmla="*/ 11723018 h 13652218"/>
                <a:gd name="connsiteX22" fmla="*/ 1263043 w 16682562"/>
                <a:gd name="connsiteY22" fmla="*/ 11011625 h 13652218"/>
                <a:gd name="connsiteX23" fmla="*/ 485320 w 16682562"/>
                <a:gd name="connsiteY23" fmla="*/ 10559468 h 13652218"/>
                <a:gd name="connsiteX24" fmla="*/ 0 w 16682562"/>
                <a:gd name="connsiteY24" fmla="*/ 10266356 h 13652218"/>
                <a:gd name="connsiteX25" fmla="*/ 1003686 w 16682562"/>
                <a:gd name="connsiteY25" fmla="*/ 9520391 h 13652218"/>
                <a:gd name="connsiteX26" fmla="*/ 2902551 w 16682562"/>
                <a:gd name="connsiteY26" fmla="*/ 8335992 h 13652218"/>
                <a:gd name="connsiteX27" fmla="*/ 2558940 w 16682562"/>
                <a:gd name="connsiteY27" fmla="*/ 7802561 h 13652218"/>
                <a:gd name="connsiteX28" fmla="*/ 2402508 w 16682562"/>
                <a:gd name="connsiteY28" fmla="*/ 7115478 h 13652218"/>
                <a:gd name="connsiteX29" fmla="*/ 2730740 w 16682562"/>
                <a:gd name="connsiteY29" fmla="*/ 7088307 h 13652218"/>
                <a:gd name="connsiteX30" fmla="*/ 2947754 w 16682562"/>
                <a:gd name="connsiteY30" fmla="*/ 6618162 h 13652218"/>
                <a:gd name="connsiteX31" fmla="*/ 3499325 w 16682562"/>
                <a:gd name="connsiteY31" fmla="*/ 6175145 h 13652218"/>
                <a:gd name="connsiteX32" fmla="*/ 3680166 w 16682562"/>
                <a:gd name="connsiteY32" fmla="*/ 5298147 h 13652218"/>
                <a:gd name="connsiteX33" fmla="*/ 4186528 w 16682562"/>
                <a:gd name="connsiteY33" fmla="*/ 5307183 h 13652218"/>
                <a:gd name="connsiteX34" fmla="*/ 4837569 w 16682562"/>
                <a:gd name="connsiteY34" fmla="*/ 5777333 h 13652218"/>
                <a:gd name="connsiteX35" fmla="*/ 5352976 w 16682562"/>
                <a:gd name="connsiteY35" fmla="*/ 5695966 h 13652218"/>
                <a:gd name="connsiteX36" fmla="*/ 5741786 w 16682562"/>
                <a:gd name="connsiteY36" fmla="*/ 5325271 h 13652218"/>
                <a:gd name="connsiteX37" fmla="*/ 6157723 w 16682562"/>
                <a:gd name="connsiteY37" fmla="*/ 5162530 h 13652218"/>
                <a:gd name="connsiteX38" fmla="*/ 6745471 w 16682562"/>
                <a:gd name="connsiteY38" fmla="*/ 4592937 h 13652218"/>
                <a:gd name="connsiteX39" fmla="*/ 6890140 w 16682562"/>
                <a:gd name="connsiteY39" fmla="*/ 3743061 h 13652218"/>
                <a:gd name="connsiteX40" fmla="*/ 7568305 w 16682562"/>
                <a:gd name="connsiteY40" fmla="*/ 3173467 h 13652218"/>
                <a:gd name="connsiteX41" fmla="*/ 8137967 w 16682562"/>
                <a:gd name="connsiteY41" fmla="*/ 2730446 h 13652218"/>
                <a:gd name="connsiteX42" fmla="*/ 8463480 w 16682562"/>
                <a:gd name="connsiteY42" fmla="*/ 1925779 h 13652218"/>
                <a:gd name="connsiteX43" fmla="*/ 9024093 w 16682562"/>
                <a:gd name="connsiteY43" fmla="*/ 1573172 h 13652218"/>
                <a:gd name="connsiteX44" fmla="*/ 9675138 w 16682562"/>
                <a:gd name="connsiteY44" fmla="*/ 1220570 h 13652218"/>
                <a:gd name="connsiteX45" fmla="*/ 9558580 w 16682562"/>
                <a:gd name="connsiteY45" fmla="*/ 672286 h 13652218"/>
                <a:gd name="connsiteX46" fmla="*/ 10353296 w 16682562"/>
                <a:gd name="connsiteY46" fmla="*/ 2 h 13652218"/>
                <a:gd name="connsiteX47" fmla="*/ 8856118 w 16682562"/>
                <a:gd name="connsiteY47" fmla="*/ 3112310 h 13652218"/>
                <a:gd name="connsiteX48" fmla="*/ 9078849 w 16682562"/>
                <a:gd name="connsiteY48" fmla="*/ 3725874 h 13652218"/>
                <a:gd name="connsiteX49" fmla="*/ 9086459 w 16682562"/>
                <a:gd name="connsiteY49" fmla="*/ 4273852 h 13652218"/>
                <a:gd name="connsiteX50" fmla="*/ 9761321 w 16682562"/>
                <a:gd name="connsiteY50" fmla="*/ 4176706 h 13652218"/>
                <a:gd name="connsiteX51" fmla="*/ 10152517 w 16682562"/>
                <a:gd name="connsiteY51" fmla="*/ 4974976 h 13652218"/>
                <a:gd name="connsiteX52" fmla="*/ 11109603 w 16682562"/>
                <a:gd name="connsiteY52" fmla="*/ 5346450 h 13652218"/>
                <a:gd name="connsiteX53" fmla="*/ 11919572 w 16682562"/>
                <a:gd name="connsiteY53" fmla="*/ 5619972 h 13652218"/>
                <a:gd name="connsiteX54" fmla="*/ 12868275 w 16682562"/>
                <a:gd name="connsiteY54" fmla="*/ 5374761 h 13652218"/>
                <a:gd name="connsiteX55" fmla="*/ 13844296 w 16682562"/>
                <a:gd name="connsiteY55" fmla="*/ 4772926 h 13652218"/>
                <a:gd name="connsiteX56" fmla="*/ 13886291 w 16682562"/>
                <a:gd name="connsiteY56" fmla="*/ 3938558 h 13652218"/>
                <a:gd name="connsiteX57" fmla="*/ 14370431 w 16682562"/>
                <a:gd name="connsiteY57" fmla="*/ 4446910 h 13652218"/>
                <a:gd name="connsiteX58" fmla="*/ 15323320 w 16682562"/>
                <a:gd name="connsiteY58" fmla="*/ 4545183 h 13652218"/>
                <a:gd name="connsiteX59" fmla="*/ 16350939 w 16682562"/>
                <a:gd name="connsiteY59" fmla="*/ 4670042 h 13652218"/>
                <a:gd name="connsiteX60" fmla="*/ 16362364 w 16682562"/>
                <a:gd name="connsiteY60" fmla="*/ 4977322 h 13652218"/>
                <a:gd name="connsiteX61" fmla="*/ 16682563 w 16682562"/>
                <a:gd name="connsiteY61" fmla="*/ 5415225 h 13652218"/>
                <a:gd name="connsiteX0" fmla="*/ 16682563 w 16682562"/>
                <a:gd name="connsiteY0" fmla="*/ 4742941 h 12979934"/>
                <a:gd name="connsiteX1" fmla="*/ 16432262 w 16682562"/>
                <a:gd name="connsiteY1" fmla="*/ 5770327 h 12979934"/>
                <a:gd name="connsiteX2" fmla="*/ 16106317 w 16682562"/>
                <a:gd name="connsiteY2" fmla="*/ 6311631 h 12979934"/>
                <a:gd name="connsiteX3" fmla="*/ 16305649 w 16682562"/>
                <a:gd name="connsiteY3" fmla="*/ 6698960 h 12979934"/>
                <a:gd name="connsiteX4" fmla="*/ 16287189 w 16682562"/>
                <a:gd name="connsiteY4" fmla="*/ 7095567 h 12979934"/>
                <a:gd name="connsiteX5" fmla="*/ 16372801 w 16682562"/>
                <a:gd name="connsiteY5" fmla="*/ 7661832 h 12979934"/>
                <a:gd name="connsiteX6" fmla="*/ 16070155 w 16682562"/>
                <a:gd name="connsiteY6" fmla="*/ 7882218 h 12979934"/>
                <a:gd name="connsiteX7" fmla="*/ 15805690 w 16682562"/>
                <a:gd name="connsiteY7" fmla="*/ 8376409 h 12979934"/>
                <a:gd name="connsiteX8" fmla="*/ 15195097 w 16682562"/>
                <a:gd name="connsiteY8" fmla="*/ 8038152 h 12979934"/>
                <a:gd name="connsiteX9" fmla="*/ 15011380 w 16682562"/>
                <a:gd name="connsiteY9" fmla="*/ 8993002 h 12979934"/>
                <a:gd name="connsiteX10" fmla="*/ 14908430 w 16682562"/>
                <a:gd name="connsiteY10" fmla="*/ 9881897 h 12979934"/>
                <a:gd name="connsiteX11" fmla="*/ 14904684 w 16682562"/>
                <a:gd name="connsiteY11" fmla="*/ 10705336 h 12979934"/>
                <a:gd name="connsiteX12" fmla="*/ 14929927 w 16682562"/>
                <a:gd name="connsiteY12" fmla="*/ 12336256 h 12979934"/>
                <a:gd name="connsiteX13" fmla="*/ 12952786 w 16682562"/>
                <a:gd name="connsiteY13" fmla="*/ 12787009 h 12979934"/>
                <a:gd name="connsiteX14" fmla="*/ 11934663 w 16682562"/>
                <a:gd name="connsiteY14" fmla="*/ 12835259 h 12979934"/>
                <a:gd name="connsiteX15" fmla="*/ 8506848 w 16682562"/>
                <a:gd name="connsiteY15" fmla="*/ 12979934 h 12979934"/>
                <a:gd name="connsiteX16" fmla="*/ 7985095 w 16682562"/>
                <a:gd name="connsiteY16" fmla="*/ 12334852 h 12979934"/>
                <a:gd name="connsiteX17" fmla="*/ 7400308 w 16682562"/>
                <a:gd name="connsiteY17" fmla="*/ 12304707 h 12979934"/>
                <a:gd name="connsiteX18" fmla="*/ 6972273 w 16682562"/>
                <a:gd name="connsiteY18" fmla="*/ 12576004 h 12979934"/>
                <a:gd name="connsiteX19" fmla="*/ 5181729 w 16682562"/>
                <a:gd name="connsiteY19" fmla="*/ 12491605 h 12979934"/>
                <a:gd name="connsiteX20" fmla="*/ 4397998 w 16682562"/>
                <a:gd name="connsiteY20" fmla="*/ 11858588 h 12979934"/>
                <a:gd name="connsiteX21" fmla="*/ 2908896 w 16682562"/>
                <a:gd name="connsiteY21" fmla="*/ 11050734 h 12979934"/>
                <a:gd name="connsiteX22" fmla="*/ 1263043 w 16682562"/>
                <a:gd name="connsiteY22" fmla="*/ 10339341 h 12979934"/>
                <a:gd name="connsiteX23" fmla="*/ 485320 w 16682562"/>
                <a:gd name="connsiteY23" fmla="*/ 9887184 h 12979934"/>
                <a:gd name="connsiteX24" fmla="*/ 0 w 16682562"/>
                <a:gd name="connsiteY24" fmla="*/ 9594072 h 12979934"/>
                <a:gd name="connsiteX25" fmla="*/ 1003686 w 16682562"/>
                <a:gd name="connsiteY25" fmla="*/ 8848107 h 12979934"/>
                <a:gd name="connsiteX26" fmla="*/ 2902551 w 16682562"/>
                <a:gd name="connsiteY26" fmla="*/ 7663708 h 12979934"/>
                <a:gd name="connsiteX27" fmla="*/ 2558940 w 16682562"/>
                <a:gd name="connsiteY27" fmla="*/ 7130277 h 12979934"/>
                <a:gd name="connsiteX28" fmla="*/ 2402508 w 16682562"/>
                <a:gd name="connsiteY28" fmla="*/ 6443194 h 12979934"/>
                <a:gd name="connsiteX29" fmla="*/ 2730740 w 16682562"/>
                <a:gd name="connsiteY29" fmla="*/ 6416023 h 12979934"/>
                <a:gd name="connsiteX30" fmla="*/ 2947754 w 16682562"/>
                <a:gd name="connsiteY30" fmla="*/ 5945878 h 12979934"/>
                <a:gd name="connsiteX31" fmla="*/ 3499325 w 16682562"/>
                <a:gd name="connsiteY31" fmla="*/ 5502861 h 12979934"/>
                <a:gd name="connsiteX32" fmla="*/ 3680166 w 16682562"/>
                <a:gd name="connsiteY32" fmla="*/ 4625863 h 12979934"/>
                <a:gd name="connsiteX33" fmla="*/ 4186528 w 16682562"/>
                <a:gd name="connsiteY33" fmla="*/ 4634899 h 12979934"/>
                <a:gd name="connsiteX34" fmla="*/ 4837569 w 16682562"/>
                <a:gd name="connsiteY34" fmla="*/ 5105049 h 12979934"/>
                <a:gd name="connsiteX35" fmla="*/ 5352976 w 16682562"/>
                <a:gd name="connsiteY35" fmla="*/ 5023682 h 12979934"/>
                <a:gd name="connsiteX36" fmla="*/ 5741786 w 16682562"/>
                <a:gd name="connsiteY36" fmla="*/ 4652987 h 12979934"/>
                <a:gd name="connsiteX37" fmla="*/ 6157723 w 16682562"/>
                <a:gd name="connsiteY37" fmla="*/ 4490246 h 12979934"/>
                <a:gd name="connsiteX38" fmla="*/ 6745471 w 16682562"/>
                <a:gd name="connsiteY38" fmla="*/ 3920653 h 12979934"/>
                <a:gd name="connsiteX39" fmla="*/ 6890140 w 16682562"/>
                <a:gd name="connsiteY39" fmla="*/ 3070777 h 12979934"/>
                <a:gd name="connsiteX40" fmla="*/ 7568305 w 16682562"/>
                <a:gd name="connsiteY40" fmla="*/ 2501183 h 12979934"/>
                <a:gd name="connsiteX41" fmla="*/ 8137967 w 16682562"/>
                <a:gd name="connsiteY41" fmla="*/ 2058162 h 12979934"/>
                <a:gd name="connsiteX42" fmla="*/ 8463480 w 16682562"/>
                <a:gd name="connsiteY42" fmla="*/ 1253495 h 12979934"/>
                <a:gd name="connsiteX43" fmla="*/ 9024093 w 16682562"/>
                <a:gd name="connsiteY43" fmla="*/ 900888 h 12979934"/>
                <a:gd name="connsiteX44" fmla="*/ 9675138 w 16682562"/>
                <a:gd name="connsiteY44" fmla="*/ 548286 h 12979934"/>
                <a:gd name="connsiteX45" fmla="*/ 9558580 w 16682562"/>
                <a:gd name="connsiteY45" fmla="*/ 2 h 12979934"/>
                <a:gd name="connsiteX46" fmla="*/ 8856118 w 16682562"/>
                <a:gd name="connsiteY46" fmla="*/ 2440026 h 12979934"/>
                <a:gd name="connsiteX47" fmla="*/ 9078849 w 16682562"/>
                <a:gd name="connsiteY47" fmla="*/ 3053590 h 12979934"/>
                <a:gd name="connsiteX48" fmla="*/ 9086459 w 16682562"/>
                <a:gd name="connsiteY48" fmla="*/ 3601568 h 12979934"/>
                <a:gd name="connsiteX49" fmla="*/ 9761321 w 16682562"/>
                <a:gd name="connsiteY49" fmla="*/ 3504422 h 12979934"/>
                <a:gd name="connsiteX50" fmla="*/ 10152517 w 16682562"/>
                <a:gd name="connsiteY50" fmla="*/ 4302692 h 12979934"/>
                <a:gd name="connsiteX51" fmla="*/ 11109603 w 16682562"/>
                <a:gd name="connsiteY51" fmla="*/ 4674166 h 12979934"/>
                <a:gd name="connsiteX52" fmla="*/ 11919572 w 16682562"/>
                <a:gd name="connsiteY52" fmla="*/ 4947688 h 12979934"/>
                <a:gd name="connsiteX53" fmla="*/ 12868275 w 16682562"/>
                <a:gd name="connsiteY53" fmla="*/ 4702477 h 12979934"/>
                <a:gd name="connsiteX54" fmla="*/ 13844296 w 16682562"/>
                <a:gd name="connsiteY54" fmla="*/ 4100642 h 12979934"/>
                <a:gd name="connsiteX55" fmla="*/ 13886291 w 16682562"/>
                <a:gd name="connsiteY55" fmla="*/ 3266274 h 12979934"/>
                <a:gd name="connsiteX56" fmla="*/ 14370431 w 16682562"/>
                <a:gd name="connsiteY56" fmla="*/ 3774626 h 12979934"/>
                <a:gd name="connsiteX57" fmla="*/ 15323320 w 16682562"/>
                <a:gd name="connsiteY57" fmla="*/ 3872899 h 12979934"/>
                <a:gd name="connsiteX58" fmla="*/ 16350939 w 16682562"/>
                <a:gd name="connsiteY58" fmla="*/ 3997758 h 12979934"/>
                <a:gd name="connsiteX59" fmla="*/ 16362364 w 16682562"/>
                <a:gd name="connsiteY59" fmla="*/ 4305038 h 12979934"/>
                <a:gd name="connsiteX60" fmla="*/ 16682563 w 16682562"/>
                <a:gd name="connsiteY60" fmla="*/ 4742941 h 12979934"/>
                <a:gd name="connsiteX0" fmla="*/ 16682563 w 16682562"/>
                <a:gd name="connsiteY0" fmla="*/ 4194654 h 12431647"/>
                <a:gd name="connsiteX1" fmla="*/ 16432262 w 16682562"/>
                <a:gd name="connsiteY1" fmla="*/ 5222040 h 12431647"/>
                <a:gd name="connsiteX2" fmla="*/ 16106317 w 16682562"/>
                <a:gd name="connsiteY2" fmla="*/ 5763344 h 12431647"/>
                <a:gd name="connsiteX3" fmla="*/ 16305649 w 16682562"/>
                <a:gd name="connsiteY3" fmla="*/ 6150673 h 12431647"/>
                <a:gd name="connsiteX4" fmla="*/ 16287189 w 16682562"/>
                <a:gd name="connsiteY4" fmla="*/ 6547280 h 12431647"/>
                <a:gd name="connsiteX5" fmla="*/ 16372801 w 16682562"/>
                <a:gd name="connsiteY5" fmla="*/ 7113545 h 12431647"/>
                <a:gd name="connsiteX6" fmla="*/ 16070155 w 16682562"/>
                <a:gd name="connsiteY6" fmla="*/ 7333931 h 12431647"/>
                <a:gd name="connsiteX7" fmla="*/ 15805690 w 16682562"/>
                <a:gd name="connsiteY7" fmla="*/ 7828122 h 12431647"/>
                <a:gd name="connsiteX8" fmla="*/ 15195097 w 16682562"/>
                <a:gd name="connsiteY8" fmla="*/ 7489865 h 12431647"/>
                <a:gd name="connsiteX9" fmla="*/ 15011380 w 16682562"/>
                <a:gd name="connsiteY9" fmla="*/ 8444715 h 12431647"/>
                <a:gd name="connsiteX10" fmla="*/ 14908430 w 16682562"/>
                <a:gd name="connsiteY10" fmla="*/ 9333610 h 12431647"/>
                <a:gd name="connsiteX11" fmla="*/ 14904684 w 16682562"/>
                <a:gd name="connsiteY11" fmla="*/ 10157049 h 12431647"/>
                <a:gd name="connsiteX12" fmla="*/ 14929927 w 16682562"/>
                <a:gd name="connsiteY12" fmla="*/ 11787969 h 12431647"/>
                <a:gd name="connsiteX13" fmla="*/ 12952786 w 16682562"/>
                <a:gd name="connsiteY13" fmla="*/ 12238722 h 12431647"/>
                <a:gd name="connsiteX14" fmla="*/ 11934663 w 16682562"/>
                <a:gd name="connsiteY14" fmla="*/ 12286972 h 12431647"/>
                <a:gd name="connsiteX15" fmla="*/ 8506848 w 16682562"/>
                <a:gd name="connsiteY15" fmla="*/ 12431647 h 12431647"/>
                <a:gd name="connsiteX16" fmla="*/ 7985095 w 16682562"/>
                <a:gd name="connsiteY16" fmla="*/ 11786565 h 12431647"/>
                <a:gd name="connsiteX17" fmla="*/ 7400308 w 16682562"/>
                <a:gd name="connsiteY17" fmla="*/ 11756420 h 12431647"/>
                <a:gd name="connsiteX18" fmla="*/ 6972273 w 16682562"/>
                <a:gd name="connsiteY18" fmla="*/ 12027717 h 12431647"/>
                <a:gd name="connsiteX19" fmla="*/ 5181729 w 16682562"/>
                <a:gd name="connsiteY19" fmla="*/ 11943318 h 12431647"/>
                <a:gd name="connsiteX20" fmla="*/ 4397998 w 16682562"/>
                <a:gd name="connsiteY20" fmla="*/ 11310301 h 12431647"/>
                <a:gd name="connsiteX21" fmla="*/ 2908896 w 16682562"/>
                <a:gd name="connsiteY21" fmla="*/ 10502447 h 12431647"/>
                <a:gd name="connsiteX22" fmla="*/ 1263043 w 16682562"/>
                <a:gd name="connsiteY22" fmla="*/ 9791054 h 12431647"/>
                <a:gd name="connsiteX23" fmla="*/ 485320 w 16682562"/>
                <a:gd name="connsiteY23" fmla="*/ 9338897 h 12431647"/>
                <a:gd name="connsiteX24" fmla="*/ 0 w 16682562"/>
                <a:gd name="connsiteY24" fmla="*/ 9045785 h 12431647"/>
                <a:gd name="connsiteX25" fmla="*/ 1003686 w 16682562"/>
                <a:gd name="connsiteY25" fmla="*/ 8299820 h 12431647"/>
                <a:gd name="connsiteX26" fmla="*/ 2902551 w 16682562"/>
                <a:gd name="connsiteY26" fmla="*/ 7115421 h 12431647"/>
                <a:gd name="connsiteX27" fmla="*/ 2558940 w 16682562"/>
                <a:gd name="connsiteY27" fmla="*/ 6581990 h 12431647"/>
                <a:gd name="connsiteX28" fmla="*/ 2402508 w 16682562"/>
                <a:gd name="connsiteY28" fmla="*/ 5894907 h 12431647"/>
                <a:gd name="connsiteX29" fmla="*/ 2730740 w 16682562"/>
                <a:gd name="connsiteY29" fmla="*/ 5867736 h 12431647"/>
                <a:gd name="connsiteX30" fmla="*/ 2947754 w 16682562"/>
                <a:gd name="connsiteY30" fmla="*/ 5397591 h 12431647"/>
                <a:gd name="connsiteX31" fmla="*/ 3499325 w 16682562"/>
                <a:gd name="connsiteY31" fmla="*/ 4954574 h 12431647"/>
                <a:gd name="connsiteX32" fmla="*/ 3680166 w 16682562"/>
                <a:gd name="connsiteY32" fmla="*/ 4077576 h 12431647"/>
                <a:gd name="connsiteX33" fmla="*/ 4186528 w 16682562"/>
                <a:gd name="connsiteY33" fmla="*/ 4086612 h 12431647"/>
                <a:gd name="connsiteX34" fmla="*/ 4837569 w 16682562"/>
                <a:gd name="connsiteY34" fmla="*/ 4556762 h 12431647"/>
                <a:gd name="connsiteX35" fmla="*/ 5352976 w 16682562"/>
                <a:gd name="connsiteY35" fmla="*/ 4475395 h 12431647"/>
                <a:gd name="connsiteX36" fmla="*/ 5741786 w 16682562"/>
                <a:gd name="connsiteY36" fmla="*/ 4104700 h 12431647"/>
                <a:gd name="connsiteX37" fmla="*/ 6157723 w 16682562"/>
                <a:gd name="connsiteY37" fmla="*/ 3941959 h 12431647"/>
                <a:gd name="connsiteX38" fmla="*/ 6745471 w 16682562"/>
                <a:gd name="connsiteY38" fmla="*/ 3372366 h 12431647"/>
                <a:gd name="connsiteX39" fmla="*/ 6890140 w 16682562"/>
                <a:gd name="connsiteY39" fmla="*/ 2522490 h 12431647"/>
                <a:gd name="connsiteX40" fmla="*/ 7568305 w 16682562"/>
                <a:gd name="connsiteY40" fmla="*/ 1952896 h 12431647"/>
                <a:gd name="connsiteX41" fmla="*/ 8137967 w 16682562"/>
                <a:gd name="connsiteY41" fmla="*/ 1509875 h 12431647"/>
                <a:gd name="connsiteX42" fmla="*/ 8463480 w 16682562"/>
                <a:gd name="connsiteY42" fmla="*/ 705208 h 12431647"/>
                <a:gd name="connsiteX43" fmla="*/ 9024093 w 16682562"/>
                <a:gd name="connsiteY43" fmla="*/ 352601 h 12431647"/>
                <a:gd name="connsiteX44" fmla="*/ 9675138 w 16682562"/>
                <a:gd name="connsiteY44" fmla="*/ -1 h 12431647"/>
                <a:gd name="connsiteX45" fmla="*/ 8856118 w 16682562"/>
                <a:gd name="connsiteY45" fmla="*/ 1891739 h 12431647"/>
                <a:gd name="connsiteX46" fmla="*/ 9078849 w 16682562"/>
                <a:gd name="connsiteY46" fmla="*/ 2505303 h 12431647"/>
                <a:gd name="connsiteX47" fmla="*/ 9086459 w 16682562"/>
                <a:gd name="connsiteY47" fmla="*/ 3053281 h 12431647"/>
                <a:gd name="connsiteX48" fmla="*/ 9761321 w 16682562"/>
                <a:gd name="connsiteY48" fmla="*/ 2956135 h 12431647"/>
                <a:gd name="connsiteX49" fmla="*/ 10152517 w 16682562"/>
                <a:gd name="connsiteY49" fmla="*/ 3754405 h 12431647"/>
                <a:gd name="connsiteX50" fmla="*/ 11109603 w 16682562"/>
                <a:gd name="connsiteY50" fmla="*/ 4125879 h 12431647"/>
                <a:gd name="connsiteX51" fmla="*/ 11919572 w 16682562"/>
                <a:gd name="connsiteY51" fmla="*/ 4399401 h 12431647"/>
                <a:gd name="connsiteX52" fmla="*/ 12868275 w 16682562"/>
                <a:gd name="connsiteY52" fmla="*/ 4154190 h 12431647"/>
                <a:gd name="connsiteX53" fmla="*/ 13844296 w 16682562"/>
                <a:gd name="connsiteY53" fmla="*/ 3552355 h 12431647"/>
                <a:gd name="connsiteX54" fmla="*/ 13886291 w 16682562"/>
                <a:gd name="connsiteY54" fmla="*/ 2717987 h 12431647"/>
                <a:gd name="connsiteX55" fmla="*/ 14370431 w 16682562"/>
                <a:gd name="connsiteY55" fmla="*/ 3226339 h 12431647"/>
                <a:gd name="connsiteX56" fmla="*/ 15323320 w 16682562"/>
                <a:gd name="connsiteY56" fmla="*/ 3324612 h 12431647"/>
                <a:gd name="connsiteX57" fmla="*/ 16350939 w 16682562"/>
                <a:gd name="connsiteY57" fmla="*/ 3449471 h 12431647"/>
                <a:gd name="connsiteX58" fmla="*/ 16362364 w 16682562"/>
                <a:gd name="connsiteY58" fmla="*/ 3756751 h 12431647"/>
                <a:gd name="connsiteX59" fmla="*/ 16682563 w 16682562"/>
                <a:gd name="connsiteY59" fmla="*/ 4194654 h 12431647"/>
                <a:gd name="connsiteX0" fmla="*/ 16682563 w 16682562"/>
                <a:gd name="connsiteY0" fmla="*/ 3842051 h 12079044"/>
                <a:gd name="connsiteX1" fmla="*/ 16432262 w 16682562"/>
                <a:gd name="connsiteY1" fmla="*/ 4869437 h 12079044"/>
                <a:gd name="connsiteX2" fmla="*/ 16106317 w 16682562"/>
                <a:gd name="connsiteY2" fmla="*/ 5410741 h 12079044"/>
                <a:gd name="connsiteX3" fmla="*/ 16305649 w 16682562"/>
                <a:gd name="connsiteY3" fmla="*/ 5798070 h 12079044"/>
                <a:gd name="connsiteX4" fmla="*/ 16287189 w 16682562"/>
                <a:gd name="connsiteY4" fmla="*/ 6194677 h 12079044"/>
                <a:gd name="connsiteX5" fmla="*/ 16372801 w 16682562"/>
                <a:gd name="connsiteY5" fmla="*/ 6760942 h 12079044"/>
                <a:gd name="connsiteX6" fmla="*/ 16070155 w 16682562"/>
                <a:gd name="connsiteY6" fmla="*/ 6981328 h 12079044"/>
                <a:gd name="connsiteX7" fmla="*/ 15805690 w 16682562"/>
                <a:gd name="connsiteY7" fmla="*/ 7475519 h 12079044"/>
                <a:gd name="connsiteX8" fmla="*/ 15195097 w 16682562"/>
                <a:gd name="connsiteY8" fmla="*/ 7137262 h 12079044"/>
                <a:gd name="connsiteX9" fmla="*/ 15011380 w 16682562"/>
                <a:gd name="connsiteY9" fmla="*/ 8092112 h 12079044"/>
                <a:gd name="connsiteX10" fmla="*/ 14908430 w 16682562"/>
                <a:gd name="connsiteY10" fmla="*/ 8981007 h 12079044"/>
                <a:gd name="connsiteX11" fmla="*/ 14904684 w 16682562"/>
                <a:gd name="connsiteY11" fmla="*/ 9804446 h 12079044"/>
                <a:gd name="connsiteX12" fmla="*/ 14929927 w 16682562"/>
                <a:gd name="connsiteY12" fmla="*/ 11435366 h 12079044"/>
                <a:gd name="connsiteX13" fmla="*/ 12952786 w 16682562"/>
                <a:gd name="connsiteY13" fmla="*/ 11886119 h 12079044"/>
                <a:gd name="connsiteX14" fmla="*/ 11934663 w 16682562"/>
                <a:gd name="connsiteY14" fmla="*/ 11934369 h 12079044"/>
                <a:gd name="connsiteX15" fmla="*/ 8506848 w 16682562"/>
                <a:gd name="connsiteY15" fmla="*/ 12079044 h 12079044"/>
                <a:gd name="connsiteX16" fmla="*/ 7985095 w 16682562"/>
                <a:gd name="connsiteY16" fmla="*/ 11433962 h 12079044"/>
                <a:gd name="connsiteX17" fmla="*/ 7400308 w 16682562"/>
                <a:gd name="connsiteY17" fmla="*/ 11403817 h 12079044"/>
                <a:gd name="connsiteX18" fmla="*/ 6972273 w 16682562"/>
                <a:gd name="connsiteY18" fmla="*/ 11675114 h 12079044"/>
                <a:gd name="connsiteX19" fmla="*/ 5181729 w 16682562"/>
                <a:gd name="connsiteY19" fmla="*/ 11590715 h 12079044"/>
                <a:gd name="connsiteX20" fmla="*/ 4397998 w 16682562"/>
                <a:gd name="connsiteY20" fmla="*/ 10957698 h 12079044"/>
                <a:gd name="connsiteX21" fmla="*/ 2908896 w 16682562"/>
                <a:gd name="connsiteY21" fmla="*/ 10149844 h 12079044"/>
                <a:gd name="connsiteX22" fmla="*/ 1263043 w 16682562"/>
                <a:gd name="connsiteY22" fmla="*/ 9438451 h 12079044"/>
                <a:gd name="connsiteX23" fmla="*/ 485320 w 16682562"/>
                <a:gd name="connsiteY23" fmla="*/ 8986294 h 12079044"/>
                <a:gd name="connsiteX24" fmla="*/ 0 w 16682562"/>
                <a:gd name="connsiteY24" fmla="*/ 8693182 h 12079044"/>
                <a:gd name="connsiteX25" fmla="*/ 1003686 w 16682562"/>
                <a:gd name="connsiteY25" fmla="*/ 7947217 h 12079044"/>
                <a:gd name="connsiteX26" fmla="*/ 2902551 w 16682562"/>
                <a:gd name="connsiteY26" fmla="*/ 6762818 h 12079044"/>
                <a:gd name="connsiteX27" fmla="*/ 2558940 w 16682562"/>
                <a:gd name="connsiteY27" fmla="*/ 6229387 h 12079044"/>
                <a:gd name="connsiteX28" fmla="*/ 2402508 w 16682562"/>
                <a:gd name="connsiteY28" fmla="*/ 5542304 h 12079044"/>
                <a:gd name="connsiteX29" fmla="*/ 2730740 w 16682562"/>
                <a:gd name="connsiteY29" fmla="*/ 5515133 h 12079044"/>
                <a:gd name="connsiteX30" fmla="*/ 2947754 w 16682562"/>
                <a:gd name="connsiteY30" fmla="*/ 5044988 h 12079044"/>
                <a:gd name="connsiteX31" fmla="*/ 3499325 w 16682562"/>
                <a:gd name="connsiteY31" fmla="*/ 4601971 h 12079044"/>
                <a:gd name="connsiteX32" fmla="*/ 3680166 w 16682562"/>
                <a:gd name="connsiteY32" fmla="*/ 3724973 h 12079044"/>
                <a:gd name="connsiteX33" fmla="*/ 4186528 w 16682562"/>
                <a:gd name="connsiteY33" fmla="*/ 3734009 h 12079044"/>
                <a:gd name="connsiteX34" fmla="*/ 4837569 w 16682562"/>
                <a:gd name="connsiteY34" fmla="*/ 4204159 h 12079044"/>
                <a:gd name="connsiteX35" fmla="*/ 5352976 w 16682562"/>
                <a:gd name="connsiteY35" fmla="*/ 4122792 h 12079044"/>
                <a:gd name="connsiteX36" fmla="*/ 5741786 w 16682562"/>
                <a:gd name="connsiteY36" fmla="*/ 3752097 h 12079044"/>
                <a:gd name="connsiteX37" fmla="*/ 6157723 w 16682562"/>
                <a:gd name="connsiteY37" fmla="*/ 3589356 h 12079044"/>
                <a:gd name="connsiteX38" fmla="*/ 6745471 w 16682562"/>
                <a:gd name="connsiteY38" fmla="*/ 3019763 h 12079044"/>
                <a:gd name="connsiteX39" fmla="*/ 6890140 w 16682562"/>
                <a:gd name="connsiteY39" fmla="*/ 2169887 h 12079044"/>
                <a:gd name="connsiteX40" fmla="*/ 7568305 w 16682562"/>
                <a:gd name="connsiteY40" fmla="*/ 1600293 h 12079044"/>
                <a:gd name="connsiteX41" fmla="*/ 8137967 w 16682562"/>
                <a:gd name="connsiteY41" fmla="*/ 1157272 h 12079044"/>
                <a:gd name="connsiteX42" fmla="*/ 8463480 w 16682562"/>
                <a:gd name="connsiteY42" fmla="*/ 352605 h 12079044"/>
                <a:gd name="connsiteX43" fmla="*/ 9024093 w 16682562"/>
                <a:gd name="connsiteY43" fmla="*/ -2 h 12079044"/>
                <a:gd name="connsiteX44" fmla="*/ 8856118 w 16682562"/>
                <a:gd name="connsiteY44" fmla="*/ 1539136 h 12079044"/>
                <a:gd name="connsiteX45" fmla="*/ 9078849 w 16682562"/>
                <a:gd name="connsiteY45" fmla="*/ 2152700 h 12079044"/>
                <a:gd name="connsiteX46" fmla="*/ 9086459 w 16682562"/>
                <a:gd name="connsiteY46" fmla="*/ 2700678 h 12079044"/>
                <a:gd name="connsiteX47" fmla="*/ 9761321 w 16682562"/>
                <a:gd name="connsiteY47" fmla="*/ 2603532 h 12079044"/>
                <a:gd name="connsiteX48" fmla="*/ 10152517 w 16682562"/>
                <a:gd name="connsiteY48" fmla="*/ 3401802 h 12079044"/>
                <a:gd name="connsiteX49" fmla="*/ 11109603 w 16682562"/>
                <a:gd name="connsiteY49" fmla="*/ 3773276 h 12079044"/>
                <a:gd name="connsiteX50" fmla="*/ 11919572 w 16682562"/>
                <a:gd name="connsiteY50" fmla="*/ 4046798 h 12079044"/>
                <a:gd name="connsiteX51" fmla="*/ 12868275 w 16682562"/>
                <a:gd name="connsiteY51" fmla="*/ 3801587 h 12079044"/>
                <a:gd name="connsiteX52" fmla="*/ 13844296 w 16682562"/>
                <a:gd name="connsiteY52" fmla="*/ 3199752 h 12079044"/>
                <a:gd name="connsiteX53" fmla="*/ 13886291 w 16682562"/>
                <a:gd name="connsiteY53" fmla="*/ 2365384 h 12079044"/>
                <a:gd name="connsiteX54" fmla="*/ 14370431 w 16682562"/>
                <a:gd name="connsiteY54" fmla="*/ 2873736 h 12079044"/>
                <a:gd name="connsiteX55" fmla="*/ 15323320 w 16682562"/>
                <a:gd name="connsiteY55" fmla="*/ 2972009 h 12079044"/>
                <a:gd name="connsiteX56" fmla="*/ 16350939 w 16682562"/>
                <a:gd name="connsiteY56" fmla="*/ 3096868 h 12079044"/>
                <a:gd name="connsiteX57" fmla="*/ 16362364 w 16682562"/>
                <a:gd name="connsiteY57" fmla="*/ 3404148 h 12079044"/>
                <a:gd name="connsiteX58" fmla="*/ 16682563 w 16682562"/>
                <a:gd name="connsiteY58" fmla="*/ 3842051 h 12079044"/>
                <a:gd name="connsiteX0" fmla="*/ 16682563 w 16682562"/>
                <a:gd name="connsiteY0" fmla="*/ 3489448 h 11726441"/>
                <a:gd name="connsiteX1" fmla="*/ 16432262 w 16682562"/>
                <a:gd name="connsiteY1" fmla="*/ 4516834 h 11726441"/>
                <a:gd name="connsiteX2" fmla="*/ 16106317 w 16682562"/>
                <a:gd name="connsiteY2" fmla="*/ 5058138 h 11726441"/>
                <a:gd name="connsiteX3" fmla="*/ 16305649 w 16682562"/>
                <a:gd name="connsiteY3" fmla="*/ 5445467 h 11726441"/>
                <a:gd name="connsiteX4" fmla="*/ 16287189 w 16682562"/>
                <a:gd name="connsiteY4" fmla="*/ 5842074 h 11726441"/>
                <a:gd name="connsiteX5" fmla="*/ 16372801 w 16682562"/>
                <a:gd name="connsiteY5" fmla="*/ 6408339 h 11726441"/>
                <a:gd name="connsiteX6" fmla="*/ 16070155 w 16682562"/>
                <a:gd name="connsiteY6" fmla="*/ 6628725 h 11726441"/>
                <a:gd name="connsiteX7" fmla="*/ 15805690 w 16682562"/>
                <a:gd name="connsiteY7" fmla="*/ 7122916 h 11726441"/>
                <a:gd name="connsiteX8" fmla="*/ 15195097 w 16682562"/>
                <a:gd name="connsiteY8" fmla="*/ 6784659 h 11726441"/>
                <a:gd name="connsiteX9" fmla="*/ 15011380 w 16682562"/>
                <a:gd name="connsiteY9" fmla="*/ 7739509 h 11726441"/>
                <a:gd name="connsiteX10" fmla="*/ 14908430 w 16682562"/>
                <a:gd name="connsiteY10" fmla="*/ 8628404 h 11726441"/>
                <a:gd name="connsiteX11" fmla="*/ 14904684 w 16682562"/>
                <a:gd name="connsiteY11" fmla="*/ 9451843 h 11726441"/>
                <a:gd name="connsiteX12" fmla="*/ 14929927 w 16682562"/>
                <a:gd name="connsiteY12" fmla="*/ 11082763 h 11726441"/>
                <a:gd name="connsiteX13" fmla="*/ 12952786 w 16682562"/>
                <a:gd name="connsiteY13" fmla="*/ 11533516 h 11726441"/>
                <a:gd name="connsiteX14" fmla="*/ 11934663 w 16682562"/>
                <a:gd name="connsiteY14" fmla="*/ 11581766 h 11726441"/>
                <a:gd name="connsiteX15" fmla="*/ 8506848 w 16682562"/>
                <a:gd name="connsiteY15" fmla="*/ 11726441 h 11726441"/>
                <a:gd name="connsiteX16" fmla="*/ 7985095 w 16682562"/>
                <a:gd name="connsiteY16" fmla="*/ 11081359 h 11726441"/>
                <a:gd name="connsiteX17" fmla="*/ 7400308 w 16682562"/>
                <a:gd name="connsiteY17" fmla="*/ 11051214 h 11726441"/>
                <a:gd name="connsiteX18" fmla="*/ 6972273 w 16682562"/>
                <a:gd name="connsiteY18" fmla="*/ 11322511 h 11726441"/>
                <a:gd name="connsiteX19" fmla="*/ 5181729 w 16682562"/>
                <a:gd name="connsiteY19" fmla="*/ 11238112 h 11726441"/>
                <a:gd name="connsiteX20" fmla="*/ 4397998 w 16682562"/>
                <a:gd name="connsiteY20" fmla="*/ 10605095 h 11726441"/>
                <a:gd name="connsiteX21" fmla="*/ 2908896 w 16682562"/>
                <a:gd name="connsiteY21" fmla="*/ 9797241 h 11726441"/>
                <a:gd name="connsiteX22" fmla="*/ 1263043 w 16682562"/>
                <a:gd name="connsiteY22" fmla="*/ 9085848 h 11726441"/>
                <a:gd name="connsiteX23" fmla="*/ 485320 w 16682562"/>
                <a:gd name="connsiteY23" fmla="*/ 8633691 h 11726441"/>
                <a:gd name="connsiteX24" fmla="*/ 0 w 16682562"/>
                <a:gd name="connsiteY24" fmla="*/ 8340579 h 11726441"/>
                <a:gd name="connsiteX25" fmla="*/ 1003686 w 16682562"/>
                <a:gd name="connsiteY25" fmla="*/ 7594614 h 11726441"/>
                <a:gd name="connsiteX26" fmla="*/ 2902551 w 16682562"/>
                <a:gd name="connsiteY26" fmla="*/ 6410215 h 11726441"/>
                <a:gd name="connsiteX27" fmla="*/ 2558940 w 16682562"/>
                <a:gd name="connsiteY27" fmla="*/ 5876784 h 11726441"/>
                <a:gd name="connsiteX28" fmla="*/ 2402508 w 16682562"/>
                <a:gd name="connsiteY28" fmla="*/ 5189701 h 11726441"/>
                <a:gd name="connsiteX29" fmla="*/ 2730740 w 16682562"/>
                <a:gd name="connsiteY29" fmla="*/ 5162530 h 11726441"/>
                <a:gd name="connsiteX30" fmla="*/ 2947754 w 16682562"/>
                <a:gd name="connsiteY30" fmla="*/ 4692385 h 11726441"/>
                <a:gd name="connsiteX31" fmla="*/ 3499325 w 16682562"/>
                <a:gd name="connsiteY31" fmla="*/ 4249368 h 11726441"/>
                <a:gd name="connsiteX32" fmla="*/ 3680166 w 16682562"/>
                <a:gd name="connsiteY32" fmla="*/ 3372370 h 11726441"/>
                <a:gd name="connsiteX33" fmla="*/ 4186528 w 16682562"/>
                <a:gd name="connsiteY33" fmla="*/ 3381406 h 11726441"/>
                <a:gd name="connsiteX34" fmla="*/ 4837569 w 16682562"/>
                <a:gd name="connsiteY34" fmla="*/ 3851556 h 11726441"/>
                <a:gd name="connsiteX35" fmla="*/ 5352976 w 16682562"/>
                <a:gd name="connsiteY35" fmla="*/ 3770189 h 11726441"/>
                <a:gd name="connsiteX36" fmla="*/ 5741786 w 16682562"/>
                <a:gd name="connsiteY36" fmla="*/ 3399494 h 11726441"/>
                <a:gd name="connsiteX37" fmla="*/ 6157723 w 16682562"/>
                <a:gd name="connsiteY37" fmla="*/ 3236753 h 11726441"/>
                <a:gd name="connsiteX38" fmla="*/ 6745471 w 16682562"/>
                <a:gd name="connsiteY38" fmla="*/ 2667160 h 11726441"/>
                <a:gd name="connsiteX39" fmla="*/ 6890140 w 16682562"/>
                <a:gd name="connsiteY39" fmla="*/ 1817284 h 11726441"/>
                <a:gd name="connsiteX40" fmla="*/ 7568305 w 16682562"/>
                <a:gd name="connsiteY40" fmla="*/ 1247690 h 11726441"/>
                <a:gd name="connsiteX41" fmla="*/ 8137967 w 16682562"/>
                <a:gd name="connsiteY41" fmla="*/ 804669 h 11726441"/>
                <a:gd name="connsiteX42" fmla="*/ 8463480 w 16682562"/>
                <a:gd name="connsiteY42" fmla="*/ 2 h 11726441"/>
                <a:gd name="connsiteX43" fmla="*/ 8856118 w 16682562"/>
                <a:gd name="connsiteY43" fmla="*/ 1186533 h 11726441"/>
                <a:gd name="connsiteX44" fmla="*/ 9078849 w 16682562"/>
                <a:gd name="connsiteY44" fmla="*/ 1800097 h 11726441"/>
                <a:gd name="connsiteX45" fmla="*/ 9086459 w 16682562"/>
                <a:gd name="connsiteY45" fmla="*/ 2348075 h 11726441"/>
                <a:gd name="connsiteX46" fmla="*/ 9761321 w 16682562"/>
                <a:gd name="connsiteY46" fmla="*/ 2250929 h 11726441"/>
                <a:gd name="connsiteX47" fmla="*/ 10152517 w 16682562"/>
                <a:gd name="connsiteY47" fmla="*/ 3049199 h 11726441"/>
                <a:gd name="connsiteX48" fmla="*/ 11109603 w 16682562"/>
                <a:gd name="connsiteY48" fmla="*/ 3420673 h 11726441"/>
                <a:gd name="connsiteX49" fmla="*/ 11919572 w 16682562"/>
                <a:gd name="connsiteY49" fmla="*/ 3694195 h 11726441"/>
                <a:gd name="connsiteX50" fmla="*/ 12868275 w 16682562"/>
                <a:gd name="connsiteY50" fmla="*/ 3448984 h 11726441"/>
                <a:gd name="connsiteX51" fmla="*/ 13844296 w 16682562"/>
                <a:gd name="connsiteY51" fmla="*/ 2847149 h 11726441"/>
                <a:gd name="connsiteX52" fmla="*/ 13886291 w 16682562"/>
                <a:gd name="connsiteY52" fmla="*/ 2012781 h 11726441"/>
                <a:gd name="connsiteX53" fmla="*/ 14370431 w 16682562"/>
                <a:gd name="connsiteY53" fmla="*/ 2521133 h 11726441"/>
                <a:gd name="connsiteX54" fmla="*/ 15323320 w 16682562"/>
                <a:gd name="connsiteY54" fmla="*/ 2619406 h 11726441"/>
                <a:gd name="connsiteX55" fmla="*/ 16350939 w 16682562"/>
                <a:gd name="connsiteY55" fmla="*/ 2744265 h 11726441"/>
                <a:gd name="connsiteX56" fmla="*/ 16362364 w 16682562"/>
                <a:gd name="connsiteY56" fmla="*/ 3051545 h 11726441"/>
                <a:gd name="connsiteX57" fmla="*/ 16682563 w 16682562"/>
                <a:gd name="connsiteY57" fmla="*/ 3489448 h 11726441"/>
                <a:gd name="connsiteX0" fmla="*/ 16682563 w 16682562"/>
                <a:gd name="connsiteY0" fmla="*/ 2684781 h 10921774"/>
                <a:gd name="connsiteX1" fmla="*/ 16432262 w 16682562"/>
                <a:gd name="connsiteY1" fmla="*/ 3712167 h 10921774"/>
                <a:gd name="connsiteX2" fmla="*/ 16106317 w 16682562"/>
                <a:gd name="connsiteY2" fmla="*/ 4253471 h 10921774"/>
                <a:gd name="connsiteX3" fmla="*/ 16305649 w 16682562"/>
                <a:gd name="connsiteY3" fmla="*/ 4640800 h 10921774"/>
                <a:gd name="connsiteX4" fmla="*/ 16287189 w 16682562"/>
                <a:gd name="connsiteY4" fmla="*/ 5037407 h 10921774"/>
                <a:gd name="connsiteX5" fmla="*/ 16372801 w 16682562"/>
                <a:gd name="connsiteY5" fmla="*/ 5603672 h 10921774"/>
                <a:gd name="connsiteX6" fmla="*/ 16070155 w 16682562"/>
                <a:gd name="connsiteY6" fmla="*/ 5824058 h 10921774"/>
                <a:gd name="connsiteX7" fmla="*/ 15805690 w 16682562"/>
                <a:gd name="connsiteY7" fmla="*/ 6318249 h 10921774"/>
                <a:gd name="connsiteX8" fmla="*/ 15195097 w 16682562"/>
                <a:gd name="connsiteY8" fmla="*/ 5979992 h 10921774"/>
                <a:gd name="connsiteX9" fmla="*/ 15011380 w 16682562"/>
                <a:gd name="connsiteY9" fmla="*/ 6934842 h 10921774"/>
                <a:gd name="connsiteX10" fmla="*/ 14908430 w 16682562"/>
                <a:gd name="connsiteY10" fmla="*/ 7823737 h 10921774"/>
                <a:gd name="connsiteX11" fmla="*/ 14904684 w 16682562"/>
                <a:gd name="connsiteY11" fmla="*/ 8647176 h 10921774"/>
                <a:gd name="connsiteX12" fmla="*/ 14929927 w 16682562"/>
                <a:gd name="connsiteY12" fmla="*/ 10278096 h 10921774"/>
                <a:gd name="connsiteX13" fmla="*/ 12952786 w 16682562"/>
                <a:gd name="connsiteY13" fmla="*/ 10728849 h 10921774"/>
                <a:gd name="connsiteX14" fmla="*/ 11934663 w 16682562"/>
                <a:gd name="connsiteY14" fmla="*/ 10777099 h 10921774"/>
                <a:gd name="connsiteX15" fmla="*/ 8506848 w 16682562"/>
                <a:gd name="connsiteY15" fmla="*/ 10921774 h 10921774"/>
                <a:gd name="connsiteX16" fmla="*/ 7985095 w 16682562"/>
                <a:gd name="connsiteY16" fmla="*/ 10276692 h 10921774"/>
                <a:gd name="connsiteX17" fmla="*/ 7400308 w 16682562"/>
                <a:gd name="connsiteY17" fmla="*/ 10246547 h 10921774"/>
                <a:gd name="connsiteX18" fmla="*/ 6972273 w 16682562"/>
                <a:gd name="connsiteY18" fmla="*/ 10517844 h 10921774"/>
                <a:gd name="connsiteX19" fmla="*/ 5181729 w 16682562"/>
                <a:gd name="connsiteY19" fmla="*/ 10433445 h 10921774"/>
                <a:gd name="connsiteX20" fmla="*/ 4397998 w 16682562"/>
                <a:gd name="connsiteY20" fmla="*/ 9800428 h 10921774"/>
                <a:gd name="connsiteX21" fmla="*/ 2908896 w 16682562"/>
                <a:gd name="connsiteY21" fmla="*/ 8992574 h 10921774"/>
                <a:gd name="connsiteX22" fmla="*/ 1263043 w 16682562"/>
                <a:gd name="connsiteY22" fmla="*/ 8281181 h 10921774"/>
                <a:gd name="connsiteX23" fmla="*/ 485320 w 16682562"/>
                <a:gd name="connsiteY23" fmla="*/ 7829024 h 10921774"/>
                <a:gd name="connsiteX24" fmla="*/ 0 w 16682562"/>
                <a:gd name="connsiteY24" fmla="*/ 7535912 h 10921774"/>
                <a:gd name="connsiteX25" fmla="*/ 1003686 w 16682562"/>
                <a:gd name="connsiteY25" fmla="*/ 6789947 h 10921774"/>
                <a:gd name="connsiteX26" fmla="*/ 2902551 w 16682562"/>
                <a:gd name="connsiteY26" fmla="*/ 5605548 h 10921774"/>
                <a:gd name="connsiteX27" fmla="*/ 2558940 w 16682562"/>
                <a:gd name="connsiteY27" fmla="*/ 5072117 h 10921774"/>
                <a:gd name="connsiteX28" fmla="*/ 2402508 w 16682562"/>
                <a:gd name="connsiteY28" fmla="*/ 4385034 h 10921774"/>
                <a:gd name="connsiteX29" fmla="*/ 2730740 w 16682562"/>
                <a:gd name="connsiteY29" fmla="*/ 4357863 h 10921774"/>
                <a:gd name="connsiteX30" fmla="*/ 2947754 w 16682562"/>
                <a:gd name="connsiteY30" fmla="*/ 3887718 h 10921774"/>
                <a:gd name="connsiteX31" fmla="*/ 3499325 w 16682562"/>
                <a:gd name="connsiteY31" fmla="*/ 3444701 h 10921774"/>
                <a:gd name="connsiteX32" fmla="*/ 3680166 w 16682562"/>
                <a:gd name="connsiteY32" fmla="*/ 2567703 h 10921774"/>
                <a:gd name="connsiteX33" fmla="*/ 4186528 w 16682562"/>
                <a:gd name="connsiteY33" fmla="*/ 2576739 h 10921774"/>
                <a:gd name="connsiteX34" fmla="*/ 4837569 w 16682562"/>
                <a:gd name="connsiteY34" fmla="*/ 3046889 h 10921774"/>
                <a:gd name="connsiteX35" fmla="*/ 5352976 w 16682562"/>
                <a:gd name="connsiteY35" fmla="*/ 2965522 h 10921774"/>
                <a:gd name="connsiteX36" fmla="*/ 5741786 w 16682562"/>
                <a:gd name="connsiteY36" fmla="*/ 2594827 h 10921774"/>
                <a:gd name="connsiteX37" fmla="*/ 6157723 w 16682562"/>
                <a:gd name="connsiteY37" fmla="*/ 2432086 h 10921774"/>
                <a:gd name="connsiteX38" fmla="*/ 6745471 w 16682562"/>
                <a:gd name="connsiteY38" fmla="*/ 1862493 h 10921774"/>
                <a:gd name="connsiteX39" fmla="*/ 6890140 w 16682562"/>
                <a:gd name="connsiteY39" fmla="*/ 1012617 h 10921774"/>
                <a:gd name="connsiteX40" fmla="*/ 7568305 w 16682562"/>
                <a:gd name="connsiteY40" fmla="*/ 443023 h 10921774"/>
                <a:gd name="connsiteX41" fmla="*/ 8137967 w 16682562"/>
                <a:gd name="connsiteY41" fmla="*/ 2 h 10921774"/>
                <a:gd name="connsiteX42" fmla="*/ 8856118 w 16682562"/>
                <a:gd name="connsiteY42" fmla="*/ 381866 h 10921774"/>
                <a:gd name="connsiteX43" fmla="*/ 9078849 w 16682562"/>
                <a:gd name="connsiteY43" fmla="*/ 995430 h 10921774"/>
                <a:gd name="connsiteX44" fmla="*/ 9086459 w 16682562"/>
                <a:gd name="connsiteY44" fmla="*/ 1543408 h 10921774"/>
                <a:gd name="connsiteX45" fmla="*/ 9761321 w 16682562"/>
                <a:gd name="connsiteY45" fmla="*/ 1446262 h 10921774"/>
                <a:gd name="connsiteX46" fmla="*/ 10152517 w 16682562"/>
                <a:gd name="connsiteY46" fmla="*/ 2244532 h 10921774"/>
                <a:gd name="connsiteX47" fmla="*/ 11109603 w 16682562"/>
                <a:gd name="connsiteY47" fmla="*/ 2616006 h 10921774"/>
                <a:gd name="connsiteX48" fmla="*/ 11919572 w 16682562"/>
                <a:gd name="connsiteY48" fmla="*/ 2889528 h 10921774"/>
                <a:gd name="connsiteX49" fmla="*/ 12868275 w 16682562"/>
                <a:gd name="connsiteY49" fmla="*/ 2644317 h 10921774"/>
                <a:gd name="connsiteX50" fmla="*/ 13844296 w 16682562"/>
                <a:gd name="connsiteY50" fmla="*/ 2042482 h 10921774"/>
                <a:gd name="connsiteX51" fmla="*/ 13886291 w 16682562"/>
                <a:gd name="connsiteY51" fmla="*/ 1208114 h 10921774"/>
                <a:gd name="connsiteX52" fmla="*/ 14370431 w 16682562"/>
                <a:gd name="connsiteY52" fmla="*/ 1716466 h 10921774"/>
                <a:gd name="connsiteX53" fmla="*/ 15323320 w 16682562"/>
                <a:gd name="connsiteY53" fmla="*/ 1814739 h 10921774"/>
                <a:gd name="connsiteX54" fmla="*/ 16350939 w 16682562"/>
                <a:gd name="connsiteY54" fmla="*/ 1939598 h 10921774"/>
                <a:gd name="connsiteX55" fmla="*/ 16362364 w 16682562"/>
                <a:gd name="connsiteY55" fmla="*/ 2246878 h 10921774"/>
                <a:gd name="connsiteX56" fmla="*/ 16682563 w 16682562"/>
                <a:gd name="connsiteY56" fmla="*/ 2684781 h 10921774"/>
                <a:gd name="connsiteX0" fmla="*/ 16682563 w 16682562"/>
                <a:gd name="connsiteY0" fmla="*/ 2908861 h 11145854"/>
                <a:gd name="connsiteX1" fmla="*/ 16432262 w 16682562"/>
                <a:gd name="connsiteY1" fmla="*/ 3936247 h 11145854"/>
                <a:gd name="connsiteX2" fmla="*/ 16106317 w 16682562"/>
                <a:gd name="connsiteY2" fmla="*/ 4477551 h 11145854"/>
                <a:gd name="connsiteX3" fmla="*/ 16305649 w 16682562"/>
                <a:gd name="connsiteY3" fmla="*/ 4864880 h 11145854"/>
                <a:gd name="connsiteX4" fmla="*/ 16287189 w 16682562"/>
                <a:gd name="connsiteY4" fmla="*/ 5261487 h 11145854"/>
                <a:gd name="connsiteX5" fmla="*/ 16372801 w 16682562"/>
                <a:gd name="connsiteY5" fmla="*/ 5827752 h 11145854"/>
                <a:gd name="connsiteX6" fmla="*/ 16070155 w 16682562"/>
                <a:gd name="connsiteY6" fmla="*/ 6048138 h 11145854"/>
                <a:gd name="connsiteX7" fmla="*/ 15805690 w 16682562"/>
                <a:gd name="connsiteY7" fmla="*/ 6542329 h 11145854"/>
                <a:gd name="connsiteX8" fmla="*/ 15195097 w 16682562"/>
                <a:gd name="connsiteY8" fmla="*/ 6204072 h 11145854"/>
                <a:gd name="connsiteX9" fmla="*/ 15011380 w 16682562"/>
                <a:gd name="connsiteY9" fmla="*/ 7158922 h 11145854"/>
                <a:gd name="connsiteX10" fmla="*/ 14908430 w 16682562"/>
                <a:gd name="connsiteY10" fmla="*/ 8047817 h 11145854"/>
                <a:gd name="connsiteX11" fmla="*/ 14904684 w 16682562"/>
                <a:gd name="connsiteY11" fmla="*/ 8871256 h 11145854"/>
                <a:gd name="connsiteX12" fmla="*/ 14929927 w 16682562"/>
                <a:gd name="connsiteY12" fmla="*/ 10502176 h 11145854"/>
                <a:gd name="connsiteX13" fmla="*/ 12952786 w 16682562"/>
                <a:gd name="connsiteY13" fmla="*/ 10952929 h 11145854"/>
                <a:gd name="connsiteX14" fmla="*/ 11934663 w 16682562"/>
                <a:gd name="connsiteY14" fmla="*/ 11001179 h 11145854"/>
                <a:gd name="connsiteX15" fmla="*/ 8506848 w 16682562"/>
                <a:gd name="connsiteY15" fmla="*/ 11145854 h 11145854"/>
                <a:gd name="connsiteX16" fmla="*/ 7985095 w 16682562"/>
                <a:gd name="connsiteY16" fmla="*/ 10500772 h 11145854"/>
                <a:gd name="connsiteX17" fmla="*/ 7400308 w 16682562"/>
                <a:gd name="connsiteY17" fmla="*/ 10470627 h 11145854"/>
                <a:gd name="connsiteX18" fmla="*/ 6972273 w 16682562"/>
                <a:gd name="connsiteY18" fmla="*/ 10741924 h 11145854"/>
                <a:gd name="connsiteX19" fmla="*/ 5181729 w 16682562"/>
                <a:gd name="connsiteY19" fmla="*/ 10657525 h 11145854"/>
                <a:gd name="connsiteX20" fmla="*/ 4397998 w 16682562"/>
                <a:gd name="connsiteY20" fmla="*/ 10024508 h 11145854"/>
                <a:gd name="connsiteX21" fmla="*/ 2908896 w 16682562"/>
                <a:gd name="connsiteY21" fmla="*/ 9216654 h 11145854"/>
                <a:gd name="connsiteX22" fmla="*/ 1263043 w 16682562"/>
                <a:gd name="connsiteY22" fmla="*/ 8505261 h 11145854"/>
                <a:gd name="connsiteX23" fmla="*/ 485320 w 16682562"/>
                <a:gd name="connsiteY23" fmla="*/ 8053104 h 11145854"/>
                <a:gd name="connsiteX24" fmla="*/ 0 w 16682562"/>
                <a:gd name="connsiteY24" fmla="*/ 7759992 h 11145854"/>
                <a:gd name="connsiteX25" fmla="*/ 1003686 w 16682562"/>
                <a:gd name="connsiteY25" fmla="*/ 7014027 h 11145854"/>
                <a:gd name="connsiteX26" fmla="*/ 2902551 w 16682562"/>
                <a:gd name="connsiteY26" fmla="*/ 5829628 h 11145854"/>
                <a:gd name="connsiteX27" fmla="*/ 2558940 w 16682562"/>
                <a:gd name="connsiteY27" fmla="*/ 5296197 h 11145854"/>
                <a:gd name="connsiteX28" fmla="*/ 2402508 w 16682562"/>
                <a:gd name="connsiteY28" fmla="*/ 4609114 h 11145854"/>
                <a:gd name="connsiteX29" fmla="*/ 2730740 w 16682562"/>
                <a:gd name="connsiteY29" fmla="*/ 4581943 h 11145854"/>
                <a:gd name="connsiteX30" fmla="*/ 2947754 w 16682562"/>
                <a:gd name="connsiteY30" fmla="*/ 4111798 h 11145854"/>
                <a:gd name="connsiteX31" fmla="*/ 3499325 w 16682562"/>
                <a:gd name="connsiteY31" fmla="*/ 3668781 h 11145854"/>
                <a:gd name="connsiteX32" fmla="*/ 3680166 w 16682562"/>
                <a:gd name="connsiteY32" fmla="*/ 2791783 h 11145854"/>
                <a:gd name="connsiteX33" fmla="*/ 4186528 w 16682562"/>
                <a:gd name="connsiteY33" fmla="*/ 2800819 h 11145854"/>
                <a:gd name="connsiteX34" fmla="*/ 4837569 w 16682562"/>
                <a:gd name="connsiteY34" fmla="*/ 3270969 h 11145854"/>
                <a:gd name="connsiteX35" fmla="*/ 5352976 w 16682562"/>
                <a:gd name="connsiteY35" fmla="*/ 3189602 h 11145854"/>
                <a:gd name="connsiteX36" fmla="*/ 5741786 w 16682562"/>
                <a:gd name="connsiteY36" fmla="*/ 2818907 h 11145854"/>
                <a:gd name="connsiteX37" fmla="*/ 6157723 w 16682562"/>
                <a:gd name="connsiteY37" fmla="*/ 2656166 h 11145854"/>
                <a:gd name="connsiteX38" fmla="*/ 6745471 w 16682562"/>
                <a:gd name="connsiteY38" fmla="*/ 2086573 h 11145854"/>
                <a:gd name="connsiteX39" fmla="*/ 6890140 w 16682562"/>
                <a:gd name="connsiteY39" fmla="*/ 1236697 h 11145854"/>
                <a:gd name="connsiteX40" fmla="*/ 7568305 w 16682562"/>
                <a:gd name="connsiteY40" fmla="*/ 667103 h 11145854"/>
                <a:gd name="connsiteX41" fmla="*/ 8502979 w 16682562"/>
                <a:gd name="connsiteY41" fmla="*/ 0 h 11145854"/>
                <a:gd name="connsiteX42" fmla="*/ 8856118 w 16682562"/>
                <a:gd name="connsiteY42" fmla="*/ 605946 h 11145854"/>
                <a:gd name="connsiteX43" fmla="*/ 9078849 w 16682562"/>
                <a:gd name="connsiteY43" fmla="*/ 1219510 h 11145854"/>
                <a:gd name="connsiteX44" fmla="*/ 9086459 w 16682562"/>
                <a:gd name="connsiteY44" fmla="*/ 1767488 h 11145854"/>
                <a:gd name="connsiteX45" fmla="*/ 9761321 w 16682562"/>
                <a:gd name="connsiteY45" fmla="*/ 1670342 h 11145854"/>
                <a:gd name="connsiteX46" fmla="*/ 10152517 w 16682562"/>
                <a:gd name="connsiteY46" fmla="*/ 2468612 h 11145854"/>
                <a:gd name="connsiteX47" fmla="*/ 11109603 w 16682562"/>
                <a:gd name="connsiteY47" fmla="*/ 2840086 h 11145854"/>
                <a:gd name="connsiteX48" fmla="*/ 11919572 w 16682562"/>
                <a:gd name="connsiteY48" fmla="*/ 3113608 h 11145854"/>
                <a:gd name="connsiteX49" fmla="*/ 12868275 w 16682562"/>
                <a:gd name="connsiteY49" fmla="*/ 2868397 h 11145854"/>
                <a:gd name="connsiteX50" fmla="*/ 13844296 w 16682562"/>
                <a:gd name="connsiteY50" fmla="*/ 2266562 h 11145854"/>
                <a:gd name="connsiteX51" fmla="*/ 13886291 w 16682562"/>
                <a:gd name="connsiteY51" fmla="*/ 1432194 h 11145854"/>
                <a:gd name="connsiteX52" fmla="*/ 14370431 w 16682562"/>
                <a:gd name="connsiteY52" fmla="*/ 1940546 h 11145854"/>
                <a:gd name="connsiteX53" fmla="*/ 15323320 w 16682562"/>
                <a:gd name="connsiteY53" fmla="*/ 2038819 h 11145854"/>
                <a:gd name="connsiteX54" fmla="*/ 16350939 w 16682562"/>
                <a:gd name="connsiteY54" fmla="*/ 2163678 h 11145854"/>
                <a:gd name="connsiteX55" fmla="*/ 16362364 w 16682562"/>
                <a:gd name="connsiteY55" fmla="*/ 2470958 h 11145854"/>
                <a:gd name="connsiteX56" fmla="*/ 16682563 w 16682562"/>
                <a:gd name="connsiteY56" fmla="*/ 2908861 h 11145854"/>
                <a:gd name="connsiteX0" fmla="*/ 16682563 w 16682562"/>
                <a:gd name="connsiteY0" fmla="*/ 2908861 h 11145854"/>
                <a:gd name="connsiteX1" fmla="*/ 16432262 w 16682562"/>
                <a:gd name="connsiteY1" fmla="*/ 3936247 h 11145854"/>
                <a:gd name="connsiteX2" fmla="*/ 16106317 w 16682562"/>
                <a:gd name="connsiteY2" fmla="*/ 4477551 h 11145854"/>
                <a:gd name="connsiteX3" fmla="*/ 16305649 w 16682562"/>
                <a:gd name="connsiteY3" fmla="*/ 4864880 h 11145854"/>
                <a:gd name="connsiteX4" fmla="*/ 16287189 w 16682562"/>
                <a:gd name="connsiteY4" fmla="*/ 5261487 h 11145854"/>
                <a:gd name="connsiteX5" fmla="*/ 16372801 w 16682562"/>
                <a:gd name="connsiteY5" fmla="*/ 5827752 h 11145854"/>
                <a:gd name="connsiteX6" fmla="*/ 16070155 w 16682562"/>
                <a:gd name="connsiteY6" fmla="*/ 6048138 h 11145854"/>
                <a:gd name="connsiteX7" fmla="*/ 15805690 w 16682562"/>
                <a:gd name="connsiteY7" fmla="*/ 6542329 h 11145854"/>
                <a:gd name="connsiteX8" fmla="*/ 15195097 w 16682562"/>
                <a:gd name="connsiteY8" fmla="*/ 6204072 h 11145854"/>
                <a:gd name="connsiteX9" fmla="*/ 15011380 w 16682562"/>
                <a:gd name="connsiteY9" fmla="*/ 7158922 h 11145854"/>
                <a:gd name="connsiteX10" fmla="*/ 14908430 w 16682562"/>
                <a:gd name="connsiteY10" fmla="*/ 8047817 h 11145854"/>
                <a:gd name="connsiteX11" fmla="*/ 14904684 w 16682562"/>
                <a:gd name="connsiteY11" fmla="*/ 8871256 h 11145854"/>
                <a:gd name="connsiteX12" fmla="*/ 14962237 w 16682562"/>
                <a:gd name="connsiteY12" fmla="*/ 10899713 h 11145854"/>
                <a:gd name="connsiteX13" fmla="*/ 12952786 w 16682562"/>
                <a:gd name="connsiteY13" fmla="*/ 10952929 h 11145854"/>
                <a:gd name="connsiteX14" fmla="*/ 11934663 w 16682562"/>
                <a:gd name="connsiteY14" fmla="*/ 11001179 h 11145854"/>
                <a:gd name="connsiteX15" fmla="*/ 8506848 w 16682562"/>
                <a:gd name="connsiteY15" fmla="*/ 11145854 h 11145854"/>
                <a:gd name="connsiteX16" fmla="*/ 7985095 w 16682562"/>
                <a:gd name="connsiteY16" fmla="*/ 10500772 h 11145854"/>
                <a:gd name="connsiteX17" fmla="*/ 7400308 w 16682562"/>
                <a:gd name="connsiteY17" fmla="*/ 10470627 h 11145854"/>
                <a:gd name="connsiteX18" fmla="*/ 6972273 w 16682562"/>
                <a:gd name="connsiteY18" fmla="*/ 10741924 h 11145854"/>
                <a:gd name="connsiteX19" fmla="*/ 5181729 w 16682562"/>
                <a:gd name="connsiteY19" fmla="*/ 10657525 h 11145854"/>
                <a:gd name="connsiteX20" fmla="*/ 4397998 w 16682562"/>
                <a:gd name="connsiteY20" fmla="*/ 10024508 h 11145854"/>
                <a:gd name="connsiteX21" fmla="*/ 2908896 w 16682562"/>
                <a:gd name="connsiteY21" fmla="*/ 9216654 h 11145854"/>
                <a:gd name="connsiteX22" fmla="*/ 1263043 w 16682562"/>
                <a:gd name="connsiteY22" fmla="*/ 8505261 h 11145854"/>
                <a:gd name="connsiteX23" fmla="*/ 485320 w 16682562"/>
                <a:gd name="connsiteY23" fmla="*/ 8053104 h 11145854"/>
                <a:gd name="connsiteX24" fmla="*/ 0 w 16682562"/>
                <a:gd name="connsiteY24" fmla="*/ 7759992 h 11145854"/>
                <a:gd name="connsiteX25" fmla="*/ 1003686 w 16682562"/>
                <a:gd name="connsiteY25" fmla="*/ 7014027 h 11145854"/>
                <a:gd name="connsiteX26" fmla="*/ 2902551 w 16682562"/>
                <a:gd name="connsiteY26" fmla="*/ 5829628 h 11145854"/>
                <a:gd name="connsiteX27" fmla="*/ 2558940 w 16682562"/>
                <a:gd name="connsiteY27" fmla="*/ 5296197 h 11145854"/>
                <a:gd name="connsiteX28" fmla="*/ 2402508 w 16682562"/>
                <a:gd name="connsiteY28" fmla="*/ 4609114 h 11145854"/>
                <a:gd name="connsiteX29" fmla="*/ 2730740 w 16682562"/>
                <a:gd name="connsiteY29" fmla="*/ 4581943 h 11145854"/>
                <a:gd name="connsiteX30" fmla="*/ 2947754 w 16682562"/>
                <a:gd name="connsiteY30" fmla="*/ 4111798 h 11145854"/>
                <a:gd name="connsiteX31" fmla="*/ 3499325 w 16682562"/>
                <a:gd name="connsiteY31" fmla="*/ 3668781 h 11145854"/>
                <a:gd name="connsiteX32" fmla="*/ 3680166 w 16682562"/>
                <a:gd name="connsiteY32" fmla="*/ 2791783 h 11145854"/>
                <a:gd name="connsiteX33" fmla="*/ 4186528 w 16682562"/>
                <a:gd name="connsiteY33" fmla="*/ 2800819 h 11145854"/>
                <a:gd name="connsiteX34" fmla="*/ 4837569 w 16682562"/>
                <a:gd name="connsiteY34" fmla="*/ 3270969 h 11145854"/>
                <a:gd name="connsiteX35" fmla="*/ 5352976 w 16682562"/>
                <a:gd name="connsiteY35" fmla="*/ 3189602 h 11145854"/>
                <a:gd name="connsiteX36" fmla="*/ 5741786 w 16682562"/>
                <a:gd name="connsiteY36" fmla="*/ 2818907 h 11145854"/>
                <a:gd name="connsiteX37" fmla="*/ 6157723 w 16682562"/>
                <a:gd name="connsiteY37" fmla="*/ 2656166 h 11145854"/>
                <a:gd name="connsiteX38" fmla="*/ 6745471 w 16682562"/>
                <a:gd name="connsiteY38" fmla="*/ 2086573 h 11145854"/>
                <a:gd name="connsiteX39" fmla="*/ 6890140 w 16682562"/>
                <a:gd name="connsiteY39" fmla="*/ 1236697 h 11145854"/>
                <a:gd name="connsiteX40" fmla="*/ 7568305 w 16682562"/>
                <a:gd name="connsiteY40" fmla="*/ 667103 h 11145854"/>
                <a:gd name="connsiteX41" fmla="*/ 8502979 w 16682562"/>
                <a:gd name="connsiteY41" fmla="*/ 0 h 11145854"/>
                <a:gd name="connsiteX42" fmla="*/ 8856118 w 16682562"/>
                <a:gd name="connsiteY42" fmla="*/ 605946 h 11145854"/>
                <a:gd name="connsiteX43" fmla="*/ 9078849 w 16682562"/>
                <a:gd name="connsiteY43" fmla="*/ 1219510 h 11145854"/>
                <a:gd name="connsiteX44" fmla="*/ 9086459 w 16682562"/>
                <a:gd name="connsiteY44" fmla="*/ 1767488 h 11145854"/>
                <a:gd name="connsiteX45" fmla="*/ 9761321 w 16682562"/>
                <a:gd name="connsiteY45" fmla="*/ 1670342 h 11145854"/>
                <a:gd name="connsiteX46" fmla="*/ 10152517 w 16682562"/>
                <a:gd name="connsiteY46" fmla="*/ 2468612 h 11145854"/>
                <a:gd name="connsiteX47" fmla="*/ 11109603 w 16682562"/>
                <a:gd name="connsiteY47" fmla="*/ 2840086 h 11145854"/>
                <a:gd name="connsiteX48" fmla="*/ 11919572 w 16682562"/>
                <a:gd name="connsiteY48" fmla="*/ 3113608 h 11145854"/>
                <a:gd name="connsiteX49" fmla="*/ 12868275 w 16682562"/>
                <a:gd name="connsiteY49" fmla="*/ 2868397 h 11145854"/>
                <a:gd name="connsiteX50" fmla="*/ 13844296 w 16682562"/>
                <a:gd name="connsiteY50" fmla="*/ 2266562 h 11145854"/>
                <a:gd name="connsiteX51" fmla="*/ 13886291 w 16682562"/>
                <a:gd name="connsiteY51" fmla="*/ 1432194 h 11145854"/>
                <a:gd name="connsiteX52" fmla="*/ 14370431 w 16682562"/>
                <a:gd name="connsiteY52" fmla="*/ 1940546 h 11145854"/>
                <a:gd name="connsiteX53" fmla="*/ 15323320 w 16682562"/>
                <a:gd name="connsiteY53" fmla="*/ 2038819 h 11145854"/>
                <a:gd name="connsiteX54" fmla="*/ 16350939 w 16682562"/>
                <a:gd name="connsiteY54" fmla="*/ 2163678 h 11145854"/>
                <a:gd name="connsiteX55" fmla="*/ 16362364 w 16682562"/>
                <a:gd name="connsiteY55" fmla="*/ 2470958 h 11145854"/>
                <a:gd name="connsiteX56" fmla="*/ 16682563 w 16682562"/>
                <a:gd name="connsiteY56" fmla="*/ 2908861 h 11145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6682562" h="11145854">
                  <a:moveTo>
                    <a:pt x="16682563" y="2908861"/>
                  </a:moveTo>
                  <a:lnTo>
                    <a:pt x="16432262" y="3936247"/>
                  </a:lnTo>
                  <a:lnTo>
                    <a:pt x="16106317" y="4477551"/>
                  </a:lnTo>
                  <a:lnTo>
                    <a:pt x="16305649" y="4864880"/>
                  </a:lnTo>
                  <a:lnTo>
                    <a:pt x="16287189" y="5261487"/>
                  </a:lnTo>
                  <a:lnTo>
                    <a:pt x="16372801" y="5827752"/>
                  </a:lnTo>
                  <a:lnTo>
                    <a:pt x="16070155" y="6048138"/>
                  </a:lnTo>
                  <a:lnTo>
                    <a:pt x="15805690" y="6542329"/>
                  </a:lnTo>
                  <a:lnTo>
                    <a:pt x="15195097" y="6204072"/>
                  </a:lnTo>
                  <a:lnTo>
                    <a:pt x="15011380" y="7158922"/>
                  </a:lnTo>
                  <a:lnTo>
                    <a:pt x="14908430" y="8047817"/>
                  </a:lnTo>
                  <a:cubicBezTo>
                    <a:pt x="14907181" y="8322297"/>
                    <a:pt x="14905933" y="8596776"/>
                    <a:pt x="14904684" y="8871256"/>
                  </a:cubicBezTo>
                  <a:lnTo>
                    <a:pt x="14962237" y="10899713"/>
                  </a:lnTo>
                  <a:lnTo>
                    <a:pt x="12952786" y="10952929"/>
                  </a:lnTo>
                  <a:lnTo>
                    <a:pt x="11934663" y="11001179"/>
                  </a:lnTo>
                  <a:lnTo>
                    <a:pt x="8506848" y="11145854"/>
                  </a:lnTo>
                  <a:lnTo>
                    <a:pt x="7985095" y="10500772"/>
                  </a:lnTo>
                  <a:lnTo>
                    <a:pt x="7400308" y="10470627"/>
                  </a:lnTo>
                  <a:lnTo>
                    <a:pt x="6972273" y="10741924"/>
                  </a:lnTo>
                  <a:lnTo>
                    <a:pt x="5181729" y="10657525"/>
                  </a:lnTo>
                  <a:lnTo>
                    <a:pt x="4397998" y="10024508"/>
                  </a:lnTo>
                  <a:lnTo>
                    <a:pt x="2908896" y="9216654"/>
                  </a:lnTo>
                  <a:lnTo>
                    <a:pt x="1263043" y="8505261"/>
                  </a:lnTo>
                  <a:lnTo>
                    <a:pt x="485320" y="8053104"/>
                  </a:lnTo>
                  <a:lnTo>
                    <a:pt x="0" y="7759992"/>
                  </a:lnTo>
                  <a:lnTo>
                    <a:pt x="1003686" y="7014027"/>
                  </a:lnTo>
                  <a:lnTo>
                    <a:pt x="2902551" y="5829628"/>
                  </a:lnTo>
                  <a:lnTo>
                    <a:pt x="2558940" y="5296197"/>
                  </a:lnTo>
                  <a:lnTo>
                    <a:pt x="2402508" y="4609114"/>
                  </a:lnTo>
                  <a:lnTo>
                    <a:pt x="2730740" y="4581943"/>
                  </a:lnTo>
                  <a:lnTo>
                    <a:pt x="2947754" y="4111798"/>
                  </a:lnTo>
                  <a:lnTo>
                    <a:pt x="3499325" y="3668781"/>
                  </a:lnTo>
                  <a:lnTo>
                    <a:pt x="3680166" y="2791783"/>
                  </a:lnTo>
                  <a:lnTo>
                    <a:pt x="4186528" y="2800819"/>
                  </a:lnTo>
                  <a:lnTo>
                    <a:pt x="4837569" y="3270969"/>
                  </a:lnTo>
                  <a:lnTo>
                    <a:pt x="5352976" y="3189602"/>
                  </a:lnTo>
                  <a:lnTo>
                    <a:pt x="5741786" y="2818907"/>
                  </a:lnTo>
                  <a:lnTo>
                    <a:pt x="6157723" y="2656166"/>
                  </a:lnTo>
                  <a:lnTo>
                    <a:pt x="6745471" y="2086573"/>
                  </a:lnTo>
                  <a:lnTo>
                    <a:pt x="6890140" y="1236697"/>
                  </a:lnTo>
                  <a:lnTo>
                    <a:pt x="7568305" y="667103"/>
                  </a:lnTo>
                  <a:lnTo>
                    <a:pt x="8502979" y="0"/>
                  </a:lnTo>
                  <a:lnTo>
                    <a:pt x="8856118" y="605946"/>
                  </a:lnTo>
                  <a:lnTo>
                    <a:pt x="9078849" y="1219510"/>
                  </a:lnTo>
                  <a:lnTo>
                    <a:pt x="9086459" y="1767488"/>
                  </a:lnTo>
                  <a:lnTo>
                    <a:pt x="9761321" y="1670342"/>
                  </a:lnTo>
                  <a:lnTo>
                    <a:pt x="10152517" y="2468612"/>
                  </a:lnTo>
                  <a:lnTo>
                    <a:pt x="11109603" y="2840086"/>
                  </a:lnTo>
                  <a:lnTo>
                    <a:pt x="11919572" y="3113608"/>
                  </a:lnTo>
                  <a:lnTo>
                    <a:pt x="12868275" y="2868397"/>
                  </a:lnTo>
                  <a:lnTo>
                    <a:pt x="13844296" y="2266562"/>
                  </a:lnTo>
                  <a:lnTo>
                    <a:pt x="13886291" y="1432194"/>
                  </a:lnTo>
                  <a:lnTo>
                    <a:pt x="14370431" y="1940546"/>
                  </a:lnTo>
                  <a:lnTo>
                    <a:pt x="15323320" y="2038819"/>
                  </a:lnTo>
                  <a:lnTo>
                    <a:pt x="16350939" y="2163678"/>
                  </a:lnTo>
                  <a:lnTo>
                    <a:pt x="16362364" y="2470958"/>
                  </a:lnTo>
                  <a:lnTo>
                    <a:pt x="16682563" y="2908861"/>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15" name="任意多边形 100">
              <a:extLst>
                <a:ext uri="{FF2B5EF4-FFF2-40B4-BE49-F238E27FC236}">
                  <a16:creationId xmlns:a16="http://schemas.microsoft.com/office/drawing/2014/main" id="{4EF7616B-87DA-08EA-A0F9-FC2F88128113}"/>
                </a:ext>
              </a:extLst>
            </p:cNvPr>
            <p:cNvSpPr>
              <a:spLocks/>
            </p:cNvSpPr>
            <p:nvPr/>
          </p:nvSpPr>
          <p:spPr bwMode="auto">
            <a:xfrm>
              <a:off x="9033346" y="1396896"/>
              <a:ext cx="1968177" cy="2589199"/>
            </a:xfrm>
            <a:custGeom>
              <a:avLst/>
              <a:gdLst>
                <a:gd name="connsiteX0" fmla="*/ 477776 w 18447968"/>
                <a:gd name="connsiteY0" fmla="*/ 7436569 h 15946069"/>
                <a:gd name="connsiteX1" fmla="*/ 271294 w 18447968"/>
                <a:gd name="connsiteY1" fmla="*/ 8060457 h 15946069"/>
                <a:gd name="connsiteX2" fmla="*/ 379812 w 18447968"/>
                <a:gd name="connsiteY2" fmla="*/ 8675382 h 15946069"/>
                <a:gd name="connsiteX3" fmla="*/ 759624 w 18447968"/>
                <a:gd name="connsiteY3" fmla="*/ 9217969 h 15946069"/>
                <a:gd name="connsiteX4" fmla="*/ 687278 w 18447968"/>
                <a:gd name="connsiteY4" fmla="*/ 9670126 h 15946069"/>
                <a:gd name="connsiteX5" fmla="*/ 144687 w 18447968"/>
                <a:gd name="connsiteY5" fmla="*/ 9941420 h 15946069"/>
                <a:gd name="connsiteX6" fmla="*/ 343643 w 18447968"/>
                <a:gd name="connsiteY6" fmla="*/ 10592536 h 15946069"/>
                <a:gd name="connsiteX7" fmla="*/ 940487 w 18447968"/>
                <a:gd name="connsiteY7" fmla="*/ 10954252 h 15946069"/>
                <a:gd name="connsiteX8" fmla="*/ 596844 w 18447968"/>
                <a:gd name="connsiteY8" fmla="*/ 11786221 h 15946069"/>
                <a:gd name="connsiteX9" fmla="*/ 633017 w 18447968"/>
                <a:gd name="connsiteY9" fmla="*/ 12780969 h 15946069"/>
                <a:gd name="connsiteX10" fmla="*/ 198944 w 18447968"/>
                <a:gd name="connsiteY10" fmla="*/ 13341645 h 15946069"/>
                <a:gd name="connsiteX11" fmla="*/ 723451 w 18447968"/>
                <a:gd name="connsiteY11" fmla="*/ 13757629 h 15946069"/>
                <a:gd name="connsiteX12" fmla="*/ 1640036 w 18447968"/>
                <a:gd name="connsiteY12" fmla="*/ 13197151 h 15946069"/>
                <a:gd name="connsiteX13" fmla="*/ 1880971 w 18447968"/>
                <a:gd name="connsiteY13" fmla="*/ 13395906 h 15946069"/>
                <a:gd name="connsiteX14" fmla="*/ 2930086 w 18447968"/>
                <a:gd name="connsiteY14" fmla="*/ 12952832 h 15946069"/>
                <a:gd name="connsiteX15" fmla="*/ 3828256 w 18447968"/>
                <a:gd name="connsiteY15" fmla="*/ 13245188 h 15946069"/>
                <a:gd name="connsiteX16" fmla="*/ 4768739 w 18447968"/>
                <a:gd name="connsiteY16" fmla="*/ 13040205 h 15946069"/>
                <a:gd name="connsiteX17" fmla="*/ 5190751 w 18447968"/>
                <a:gd name="connsiteY17" fmla="*/ 13649115 h 15946069"/>
                <a:gd name="connsiteX18" fmla="*/ 5932290 w 18447968"/>
                <a:gd name="connsiteY18" fmla="*/ 13444132 h 15946069"/>
                <a:gd name="connsiteX19" fmla="*/ 6498992 w 18447968"/>
                <a:gd name="connsiteY19" fmla="*/ 12991975 h 15946069"/>
                <a:gd name="connsiteX20" fmla="*/ 7373161 w 18447968"/>
                <a:gd name="connsiteY20" fmla="*/ 13582800 h 15946069"/>
                <a:gd name="connsiteX21" fmla="*/ 8512588 w 18447968"/>
                <a:gd name="connsiteY21" fmla="*/ 13570738 h 15946069"/>
                <a:gd name="connsiteX22" fmla="*/ 9416903 w 18447968"/>
                <a:gd name="connsiteY22" fmla="*/ 13281357 h 15946069"/>
                <a:gd name="connsiteX23" fmla="*/ 9742454 w 18447968"/>
                <a:gd name="connsiteY23" fmla="*/ 14004811 h 15946069"/>
                <a:gd name="connsiteX24" fmla="*/ 10080066 w 18447968"/>
                <a:gd name="connsiteY24" fmla="*/ 14716204 h 15946069"/>
                <a:gd name="connsiteX25" fmla="*/ 10616683 w 18447968"/>
                <a:gd name="connsiteY25" fmla="*/ 15358294 h 15946069"/>
                <a:gd name="connsiteX26" fmla="*/ 11117010 w 18447968"/>
                <a:gd name="connsiteY26" fmla="*/ 15946069 h 15946069"/>
                <a:gd name="connsiteX27" fmla="*/ 11593335 w 18447968"/>
                <a:gd name="connsiteY27" fmla="*/ 15822497 h 15946069"/>
                <a:gd name="connsiteX28" fmla="*/ 11780218 w 18447968"/>
                <a:gd name="connsiteY28" fmla="*/ 13579811 h 15946069"/>
                <a:gd name="connsiteX29" fmla="*/ 11954994 w 18447968"/>
                <a:gd name="connsiteY29" fmla="*/ 12135890 h 15946069"/>
                <a:gd name="connsiteX30" fmla="*/ 12196146 w 18447968"/>
                <a:gd name="connsiteY30" fmla="*/ 11388328 h 15946069"/>
                <a:gd name="connsiteX31" fmla="*/ 13166775 w 18447968"/>
                <a:gd name="connsiteY31" fmla="*/ 11707856 h 15946069"/>
                <a:gd name="connsiteX32" fmla="*/ 14004775 w 18447968"/>
                <a:gd name="connsiteY32" fmla="*/ 11611395 h 15946069"/>
                <a:gd name="connsiteX33" fmla="*/ 14939235 w 18447968"/>
                <a:gd name="connsiteY33" fmla="*/ 11322014 h 15946069"/>
                <a:gd name="connsiteX34" fmla="*/ 15409477 w 18447968"/>
                <a:gd name="connsiteY34" fmla="*/ 11882693 h 15946069"/>
                <a:gd name="connsiteX35" fmla="*/ 15861634 w 18447968"/>
                <a:gd name="connsiteY35" fmla="*/ 11273783 h 15946069"/>
                <a:gd name="connsiteX36" fmla="*/ 16413199 w 18447968"/>
                <a:gd name="connsiteY36" fmla="*/ 10920339 h 15946069"/>
                <a:gd name="connsiteX37" fmla="*/ 16765948 w 18447968"/>
                <a:gd name="connsiteY37" fmla="*/ 10200671 h 15946069"/>
                <a:gd name="connsiteX38" fmla="*/ 16428336 w 18447968"/>
                <a:gd name="connsiteY38" fmla="*/ 9374732 h 15946069"/>
                <a:gd name="connsiteX39" fmla="*/ 15946033 w 18447968"/>
                <a:gd name="connsiteY39" fmla="*/ 8440272 h 15946069"/>
                <a:gd name="connsiteX40" fmla="*/ 16024409 w 18447968"/>
                <a:gd name="connsiteY40" fmla="*/ 7433474 h 15946069"/>
                <a:gd name="connsiteX41" fmla="*/ 16958870 w 18447968"/>
                <a:gd name="connsiteY41" fmla="*/ 6776350 h 15946069"/>
                <a:gd name="connsiteX42" fmla="*/ 17911414 w 18447968"/>
                <a:gd name="connsiteY42" fmla="*/ 6083041 h 15946069"/>
                <a:gd name="connsiteX43" fmla="*/ 17694370 w 18447968"/>
                <a:gd name="connsiteY43" fmla="*/ 5570592 h 15946069"/>
                <a:gd name="connsiteX44" fmla="*/ 17385711 w 18447968"/>
                <a:gd name="connsiteY44" fmla="*/ 5219213 h 15946069"/>
                <a:gd name="connsiteX45" fmla="*/ 17637701 w 18447968"/>
                <a:gd name="connsiteY45" fmla="*/ 4819407 h 15946069"/>
                <a:gd name="connsiteX46" fmla="*/ 18171858 w 18447968"/>
                <a:gd name="connsiteY46" fmla="*/ 4701949 h 15946069"/>
                <a:gd name="connsiteX47" fmla="*/ 18447970 w 18447968"/>
                <a:gd name="connsiteY47" fmla="*/ 4316604 h 15946069"/>
                <a:gd name="connsiteX48" fmla="*/ 17814953 w 18447968"/>
                <a:gd name="connsiteY48" fmla="*/ 4117660 h 15946069"/>
                <a:gd name="connsiteX49" fmla="*/ 17067422 w 18447968"/>
                <a:gd name="connsiteY49" fmla="*/ 3472551 h 15946069"/>
                <a:gd name="connsiteX50" fmla="*/ 16852763 w 18447968"/>
                <a:gd name="connsiteY50" fmla="*/ 3282076 h 15946069"/>
                <a:gd name="connsiteX51" fmla="*/ 16161870 w 18447968"/>
                <a:gd name="connsiteY51" fmla="*/ 4063407 h 15946069"/>
                <a:gd name="connsiteX52" fmla="*/ 14429201 w 18447968"/>
                <a:gd name="connsiteY52" fmla="*/ 4027238 h 15946069"/>
                <a:gd name="connsiteX53" fmla="*/ 13383819 w 18447968"/>
                <a:gd name="connsiteY53" fmla="*/ 2963756 h 15946069"/>
                <a:gd name="connsiteX54" fmla="*/ 12493981 w 18447968"/>
                <a:gd name="connsiteY54" fmla="*/ 2927587 h 15946069"/>
                <a:gd name="connsiteX55" fmla="*/ 11976717 w 18447968"/>
                <a:gd name="connsiteY55" fmla="*/ 2139025 h 15946069"/>
                <a:gd name="connsiteX56" fmla="*/ 11484768 w 18447968"/>
                <a:gd name="connsiteY56" fmla="*/ 1495155 h 15946069"/>
                <a:gd name="connsiteX57" fmla="*/ 10830043 w 18447968"/>
                <a:gd name="connsiteY57" fmla="*/ 1256418 h 15946069"/>
                <a:gd name="connsiteX58" fmla="*/ 10323633 w 18447968"/>
                <a:gd name="connsiteY58" fmla="*/ 1220249 h 15946069"/>
                <a:gd name="connsiteX59" fmla="*/ 9802745 w 18447968"/>
                <a:gd name="connsiteY59" fmla="*/ 1603676 h 15946069"/>
                <a:gd name="connsiteX60" fmla="*/ 9223982 w 18447968"/>
                <a:gd name="connsiteY60" fmla="*/ 1621761 h 15946069"/>
                <a:gd name="connsiteX61" fmla="*/ 8782678 w 18447968"/>
                <a:gd name="connsiteY61" fmla="*/ 2171586 h 15946069"/>
                <a:gd name="connsiteX62" fmla="*/ 8272645 w 18447968"/>
                <a:gd name="connsiteY62" fmla="*/ 2102856 h 15946069"/>
                <a:gd name="connsiteX63" fmla="*/ 7853048 w 18447968"/>
                <a:gd name="connsiteY63" fmla="*/ 2526075 h 15946069"/>
                <a:gd name="connsiteX64" fmla="*/ 7323799 w 18447968"/>
                <a:gd name="connsiteY64" fmla="*/ 2632907 h 15946069"/>
                <a:gd name="connsiteX65" fmla="*/ 6977672 w 18447968"/>
                <a:gd name="connsiteY65" fmla="*/ 2178817 h 15946069"/>
                <a:gd name="connsiteX66" fmla="*/ 6594245 w 18447968"/>
                <a:gd name="connsiteY66" fmla="*/ 2055834 h 15946069"/>
                <a:gd name="connsiteX67" fmla="*/ 6431470 w 18447968"/>
                <a:gd name="connsiteY67" fmla="*/ 1314295 h 15946069"/>
                <a:gd name="connsiteX68" fmla="*/ 5642908 w 18447968"/>
                <a:gd name="connsiteY68" fmla="*/ 1343233 h 15946069"/>
                <a:gd name="connsiteX69" fmla="*/ 5150959 w 18447968"/>
                <a:gd name="connsiteY69" fmla="*/ 1610907 h 15946069"/>
                <a:gd name="connsiteX70" fmla="*/ 5480133 w 18447968"/>
                <a:gd name="connsiteY70" fmla="*/ 2167963 h 15946069"/>
                <a:gd name="connsiteX71" fmla="*/ 4742216 w 18447968"/>
                <a:gd name="connsiteY71" fmla="*/ 2862495 h 15946069"/>
                <a:gd name="connsiteX72" fmla="*/ 2658667 w 18447968"/>
                <a:gd name="connsiteY72" fmla="*/ 0 h 15946069"/>
                <a:gd name="connsiteX73" fmla="*/ 2658682 w 18447968"/>
                <a:gd name="connsiteY73" fmla="*/ 1018890 h 15946069"/>
                <a:gd name="connsiteX74" fmla="*/ 1850829 w 18447968"/>
                <a:gd name="connsiteY74" fmla="*/ 1730283 h 15946069"/>
                <a:gd name="connsiteX75" fmla="*/ 1404694 w 18447968"/>
                <a:gd name="connsiteY75" fmla="*/ 2272862 h 15946069"/>
                <a:gd name="connsiteX76" fmla="*/ 2351216 w 18447968"/>
                <a:gd name="connsiteY76" fmla="*/ 3388182 h 15946069"/>
                <a:gd name="connsiteX77" fmla="*/ 2658682 w 18447968"/>
                <a:gd name="connsiteY77" fmla="*/ 4286458 h 15946069"/>
                <a:gd name="connsiteX78" fmla="*/ 1935228 w 18447968"/>
                <a:gd name="connsiteY78" fmla="*/ 5220918 h 15946069"/>
                <a:gd name="connsiteX79" fmla="*/ 875281 w 18447968"/>
                <a:gd name="connsiteY79" fmla="*/ 5166646 h 15946069"/>
                <a:gd name="connsiteX80" fmla="*/ 0 w 18447968"/>
                <a:gd name="connsiteY80" fmla="*/ 5890112 h 15946069"/>
                <a:gd name="connsiteX81" fmla="*/ 72345 w 18447968"/>
                <a:gd name="connsiteY81" fmla="*/ 6921032 h 15946069"/>
                <a:gd name="connsiteX82" fmla="*/ 477776 w 18447968"/>
                <a:gd name="connsiteY82" fmla="*/ 7436569 h 15946069"/>
                <a:gd name="connsiteX0" fmla="*/ 477776 w 18447968"/>
                <a:gd name="connsiteY0" fmla="*/ 7436569 h 15946069"/>
                <a:gd name="connsiteX1" fmla="*/ 271294 w 18447968"/>
                <a:gd name="connsiteY1" fmla="*/ 8060457 h 15946069"/>
                <a:gd name="connsiteX2" fmla="*/ 379812 w 18447968"/>
                <a:gd name="connsiteY2" fmla="*/ 8675382 h 15946069"/>
                <a:gd name="connsiteX3" fmla="*/ 759624 w 18447968"/>
                <a:gd name="connsiteY3" fmla="*/ 9217969 h 15946069"/>
                <a:gd name="connsiteX4" fmla="*/ 687278 w 18447968"/>
                <a:gd name="connsiteY4" fmla="*/ 9670126 h 15946069"/>
                <a:gd name="connsiteX5" fmla="*/ 144687 w 18447968"/>
                <a:gd name="connsiteY5" fmla="*/ 9941420 h 15946069"/>
                <a:gd name="connsiteX6" fmla="*/ 343643 w 18447968"/>
                <a:gd name="connsiteY6" fmla="*/ 10592536 h 15946069"/>
                <a:gd name="connsiteX7" fmla="*/ 940487 w 18447968"/>
                <a:gd name="connsiteY7" fmla="*/ 10954252 h 15946069"/>
                <a:gd name="connsiteX8" fmla="*/ 596844 w 18447968"/>
                <a:gd name="connsiteY8" fmla="*/ 11786221 h 15946069"/>
                <a:gd name="connsiteX9" fmla="*/ 633017 w 18447968"/>
                <a:gd name="connsiteY9" fmla="*/ 12780969 h 15946069"/>
                <a:gd name="connsiteX10" fmla="*/ 198944 w 18447968"/>
                <a:gd name="connsiteY10" fmla="*/ 13341645 h 15946069"/>
                <a:gd name="connsiteX11" fmla="*/ 723451 w 18447968"/>
                <a:gd name="connsiteY11" fmla="*/ 13757629 h 15946069"/>
                <a:gd name="connsiteX12" fmla="*/ 1640036 w 18447968"/>
                <a:gd name="connsiteY12" fmla="*/ 13197151 h 15946069"/>
                <a:gd name="connsiteX13" fmla="*/ 1880971 w 18447968"/>
                <a:gd name="connsiteY13" fmla="*/ 13395906 h 15946069"/>
                <a:gd name="connsiteX14" fmla="*/ 2930086 w 18447968"/>
                <a:gd name="connsiteY14" fmla="*/ 12952832 h 15946069"/>
                <a:gd name="connsiteX15" fmla="*/ 3828256 w 18447968"/>
                <a:gd name="connsiteY15" fmla="*/ 13245188 h 15946069"/>
                <a:gd name="connsiteX16" fmla="*/ 4768739 w 18447968"/>
                <a:gd name="connsiteY16" fmla="*/ 13040205 h 15946069"/>
                <a:gd name="connsiteX17" fmla="*/ 5190751 w 18447968"/>
                <a:gd name="connsiteY17" fmla="*/ 13649115 h 15946069"/>
                <a:gd name="connsiteX18" fmla="*/ 5932290 w 18447968"/>
                <a:gd name="connsiteY18" fmla="*/ 13444132 h 15946069"/>
                <a:gd name="connsiteX19" fmla="*/ 6498992 w 18447968"/>
                <a:gd name="connsiteY19" fmla="*/ 12991975 h 15946069"/>
                <a:gd name="connsiteX20" fmla="*/ 7373161 w 18447968"/>
                <a:gd name="connsiteY20" fmla="*/ 13582800 h 15946069"/>
                <a:gd name="connsiteX21" fmla="*/ 8512588 w 18447968"/>
                <a:gd name="connsiteY21" fmla="*/ 13570738 h 15946069"/>
                <a:gd name="connsiteX22" fmla="*/ 9416903 w 18447968"/>
                <a:gd name="connsiteY22" fmla="*/ 13281357 h 15946069"/>
                <a:gd name="connsiteX23" fmla="*/ 9742454 w 18447968"/>
                <a:gd name="connsiteY23" fmla="*/ 14004811 h 15946069"/>
                <a:gd name="connsiteX24" fmla="*/ 10080066 w 18447968"/>
                <a:gd name="connsiteY24" fmla="*/ 14716204 h 15946069"/>
                <a:gd name="connsiteX25" fmla="*/ 10616683 w 18447968"/>
                <a:gd name="connsiteY25" fmla="*/ 15358294 h 15946069"/>
                <a:gd name="connsiteX26" fmla="*/ 11117010 w 18447968"/>
                <a:gd name="connsiteY26" fmla="*/ 15946069 h 15946069"/>
                <a:gd name="connsiteX27" fmla="*/ 11593335 w 18447968"/>
                <a:gd name="connsiteY27" fmla="*/ 15822497 h 15946069"/>
                <a:gd name="connsiteX28" fmla="*/ 11780218 w 18447968"/>
                <a:gd name="connsiteY28" fmla="*/ 13579811 h 15946069"/>
                <a:gd name="connsiteX29" fmla="*/ 11954994 w 18447968"/>
                <a:gd name="connsiteY29" fmla="*/ 12135890 h 15946069"/>
                <a:gd name="connsiteX30" fmla="*/ 12196146 w 18447968"/>
                <a:gd name="connsiteY30" fmla="*/ 11388328 h 15946069"/>
                <a:gd name="connsiteX31" fmla="*/ 13166775 w 18447968"/>
                <a:gd name="connsiteY31" fmla="*/ 11707856 h 15946069"/>
                <a:gd name="connsiteX32" fmla="*/ 14004775 w 18447968"/>
                <a:gd name="connsiteY32" fmla="*/ 11611395 h 15946069"/>
                <a:gd name="connsiteX33" fmla="*/ 14939235 w 18447968"/>
                <a:gd name="connsiteY33" fmla="*/ 11322014 h 15946069"/>
                <a:gd name="connsiteX34" fmla="*/ 15409477 w 18447968"/>
                <a:gd name="connsiteY34" fmla="*/ 11882693 h 15946069"/>
                <a:gd name="connsiteX35" fmla="*/ 15861634 w 18447968"/>
                <a:gd name="connsiteY35" fmla="*/ 11273783 h 15946069"/>
                <a:gd name="connsiteX36" fmla="*/ 16413199 w 18447968"/>
                <a:gd name="connsiteY36" fmla="*/ 10920339 h 15946069"/>
                <a:gd name="connsiteX37" fmla="*/ 16765948 w 18447968"/>
                <a:gd name="connsiteY37" fmla="*/ 10200671 h 15946069"/>
                <a:gd name="connsiteX38" fmla="*/ 16428336 w 18447968"/>
                <a:gd name="connsiteY38" fmla="*/ 9374732 h 15946069"/>
                <a:gd name="connsiteX39" fmla="*/ 15946033 w 18447968"/>
                <a:gd name="connsiteY39" fmla="*/ 8440272 h 15946069"/>
                <a:gd name="connsiteX40" fmla="*/ 16024409 w 18447968"/>
                <a:gd name="connsiteY40" fmla="*/ 7433474 h 15946069"/>
                <a:gd name="connsiteX41" fmla="*/ 16958870 w 18447968"/>
                <a:gd name="connsiteY41" fmla="*/ 6776350 h 15946069"/>
                <a:gd name="connsiteX42" fmla="*/ 17911414 w 18447968"/>
                <a:gd name="connsiteY42" fmla="*/ 6083041 h 15946069"/>
                <a:gd name="connsiteX43" fmla="*/ 17694370 w 18447968"/>
                <a:gd name="connsiteY43" fmla="*/ 5570592 h 15946069"/>
                <a:gd name="connsiteX44" fmla="*/ 17385711 w 18447968"/>
                <a:gd name="connsiteY44" fmla="*/ 5219213 h 15946069"/>
                <a:gd name="connsiteX45" fmla="*/ 17637701 w 18447968"/>
                <a:gd name="connsiteY45" fmla="*/ 4819407 h 15946069"/>
                <a:gd name="connsiteX46" fmla="*/ 18171858 w 18447968"/>
                <a:gd name="connsiteY46" fmla="*/ 4701949 h 15946069"/>
                <a:gd name="connsiteX47" fmla="*/ 18447970 w 18447968"/>
                <a:gd name="connsiteY47" fmla="*/ 4316604 h 15946069"/>
                <a:gd name="connsiteX48" fmla="*/ 17814953 w 18447968"/>
                <a:gd name="connsiteY48" fmla="*/ 4117660 h 15946069"/>
                <a:gd name="connsiteX49" fmla="*/ 17067422 w 18447968"/>
                <a:gd name="connsiteY49" fmla="*/ 3472551 h 15946069"/>
                <a:gd name="connsiteX50" fmla="*/ 16852763 w 18447968"/>
                <a:gd name="connsiteY50" fmla="*/ 3282076 h 15946069"/>
                <a:gd name="connsiteX51" fmla="*/ 14429201 w 18447968"/>
                <a:gd name="connsiteY51" fmla="*/ 4027238 h 15946069"/>
                <a:gd name="connsiteX52" fmla="*/ 13383819 w 18447968"/>
                <a:gd name="connsiteY52" fmla="*/ 2963756 h 15946069"/>
                <a:gd name="connsiteX53" fmla="*/ 12493981 w 18447968"/>
                <a:gd name="connsiteY53" fmla="*/ 2927587 h 15946069"/>
                <a:gd name="connsiteX54" fmla="*/ 11976717 w 18447968"/>
                <a:gd name="connsiteY54" fmla="*/ 2139025 h 15946069"/>
                <a:gd name="connsiteX55" fmla="*/ 11484768 w 18447968"/>
                <a:gd name="connsiteY55" fmla="*/ 1495155 h 15946069"/>
                <a:gd name="connsiteX56" fmla="*/ 10830043 w 18447968"/>
                <a:gd name="connsiteY56" fmla="*/ 1256418 h 15946069"/>
                <a:gd name="connsiteX57" fmla="*/ 10323633 w 18447968"/>
                <a:gd name="connsiteY57" fmla="*/ 1220249 h 15946069"/>
                <a:gd name="connsiteX58" fmla="*/ 9802745 w 18447968"/>
                <a:gd name="connsiteY58" fmla="*/ 1603676 h 15946069"/>
                <a:gd name="connsiteX59" fmla="*/ 9223982 w 18447968"/>
                <a:gd name="connsiteY59" fmla="*/ 1621761 h 15946069"/>
                <a:gd name="connsiteX60" fmla="*/ 8782678 w 18447968"/>
                <a:gd name="connsiteY60" fmla="*/ 2171586 h 15946069"/>
                <a:gd name="connsiteX61" fmla="*/ 8272645 w 18447968"/>
                <a:gd name="connsiteY61" fmla="*/ 2102856 h 15946069"/>
                <a:gd name="connsiteX62" fmla="*/ 7853048 w 18447968"/>
                <a:gd name="connsiteY62" fmla="*/ 2526075 h 15946069"/>
                <a:gd name="connsiteX63" fmla="*/ 7323799 w 18447968"/>
                <a:gd name="connsiteY63" fmla="*/ 2632907 h 15946069"/>
                <a:gd name="connsiteX64" fmla="*/ 6977672 w 18447968"/>
                <a:gd name="connsiteY64" fmla="*/ 2178817 h 15946069"/>
                <a:gd name="connsiteX65" fmla="*/ 6594245 w 18447968"/>
                <a:gd name="connsiteY65" fmla="*/ 2055834 h 15946069"/>
                <a:gd name="connsiteX66" fmla="*/ 6431470 w 18447968"/>
                <a:gd name="connsiteY66" fmla="*/ 1314295 h 15946069"/>
                <a:gd name="connsiteX67" fmla="*/ 5642908 w 18447968"/>
                <a:gd name="connsiteY67" fmla="*/ 1343233 h 15946069"/>
                <a:gd name="connsiteX68" fmla="*/ 5150959 w 18447968"/>
                <a:gd name="connsiteY68" fmla="*/ 1610907 h 15946069"/>
                <a:gd name="connsiteX69" fmla="*/ 5480133 w 18447968"/>
                <a:gd name="connsiteY69" fmla="*/ 2167963 h 15946069"/>
                <a:gd name="connsiteX70" fmla="*/ 4742216 w 18447968"/>
                <a:gd name="connsiteY70" fmla="*/ 2862495 h 15946069"/>
                <a:gd name="connsiteX71" fmla="*/ 2658667 w 18447968"/>
                <a:gd name="connsiteY71" fmla="*/ 0 h 15946069"/>
                <a:gd name="connsiteX72" fmla="*/ 2658682 w 18447968"/>
                <a:gd name="connsiteY72" fmla="*/ 1018890 h 15946069"/>
                <a:gd name="connsiteX73" fmla="*/ 1850829 w 18447968"/>
                <a:gd name="connsiteY73" fmla="*/ 1730283 h 15946069"/>
                <a:gd name="connsiteX74" fmla="*/ 1404694 w 18447968"/>
                <a:gd name="connsiteY74" fmla="*/ 2272862 h 15946069"/>
                <a:gd name="connsiteX75" fmla="*/ 2351216 w 18447968"/>
                <a:gd name="connsiteY75" fmla="*/ 3388182 h 15946069"/>
                <a:gd name="connsiteX76" fmla="*/ 2658682 w 18447968"/>
                <a:gd name="connsiteY76" fmla="*/ 4286458 h 15946069"/>
                <a:gd name="connsiteX77" fmla="*/ 1935228 w 18447968"/>
                <a:gd name="connsiteY77" fmla="*/ 5220918 h 15946069"/>
                <a:gd name="connsiteX78" fmla="*/ 875281 w 18447968"/>
                <a:gd name="connsiteY78" fmla="*/ 5166646 h 15946069"/>
                <a:gd name="connsiteX79" fmla="*/ 0 w 18447968"/>
                <a:gd name="connsiteY79" fmla="*/ 5890112 h 15946069"/>
                <a:gd name="connsiteX80" fmla="*/ 72345 w 18447968"/>
                <a:gd name="connsiteY80" fmla="*/ 6921032 h 15946069"/>
                <a:gd name="connsiteX81" fmla="*/ 477776 w 18447968"/>
                <a:gd name="connsiteY81" fmla="*/ 7436569 h 15946069"/>
                <a:gd name="connsiteX0" fmla="*/ 477776 w 18447968"/>
                <a:gd name="connsiteY0" fmla="*/ 7436569 h 15946069"/>
                <a:gd name="connsiteX1" fmla="*/ 271294 w 18447968"/>
                <a:gd name="connsiteY1" fmla="*/ 8060457 h 15946069"/>
                <a:gd name="connsiteX2" fmla="*/ 379812 w 18447968"/>
                <a:gd name="connsiteY2" fmla="*/ 8675382 h 15946069"/>
                <a:gd name="connsiteX3" fmla="*/ 759624 w 18447968"/>
                <a:gd name="connsiteY3" fmla="*/ 9217969 h 15946069"/>
                <a:gd name="connsiteX4" fmla="*/ 687278 w 18447968"/>
                <a:gd name="connsiteY4" fmla="*/ 9670126 h 15946069"/>
                <a:gd name="connsiteX5" fmla="*/ 144687 w 18447968"/>
                <a:gd name="connsiteY5" fmla="*/ 9941420 h 15946069"/>
                <a:gd name="connsiteX6" fmla="*/ 343643 w 18447968"/>
                <a:gd name="connsiteY6" fmla="*/ 10592536 h 15946069"/>
                <a:gd name="connsiteX7" fmla="*/ 940487 w 18447968"/>
                <a:gd name="connsiteY7" fmla="*/ 10954252 h 15946069"/>
                <a:gd name="connsiteX8" fmla="*/ 596844 w 18447968"/>
                <a:gd name="connsiteY8" fmla="*/ 11786221 h 15946069"/>
                <a:gd name="connsiteX9" fmla="*/ 633017 w 18447968"/>
                <a:gd name="connsiteY9" fmla="*/ 12780969 h 15946069"/>
                <a:gd name="connsiteX10" fmla="*/ 198944 w 18447968"/>
                <a:gd name="connsiteY10" fmla="*/ 13341645 h 15946069"/>
                <a:gd name="connsiteX11" fmla="*/ 723451 w 18447968"/>
                <a:gd name="connsiteY11" fmla="*/ 13757629 h 15946069"/>
                <a:gd name="connsiteX12" fmla="*/ 1640036 w 18447968"/>
                <a:gd name="connsiteY12" fmla="*/ 13197151 h 15946069"/>
                <a:gd name="connsiteX13" fmla="*/ 1880971 w 18447968"/>
                <a:gd name="connsiteY13" fmla="*/ 13395906 h 15946069"/>
                <a:gd name="connsiteX14" fmla="*/ 2930086 w 18447968"/>
                <a:gd name="connsiteY14" fmla="*/ 12952832 h 15946069"/>
                <a:gd name="connsiteX15" fmla="*/ 3828256 w 18447968"/>
                <a:gd name="connsiteY15" fmla="*/ 13245188 h 15946069"/>
                <a:gd name="connsiteX16" fmla="*/ 4768739 w 18447968"/>
                <a:gd name="connsiteY16" fmla="*/ 13040205 h 15946069"/>
                <a:gd name="connsiteX17" fmla="*/ 5190751 w 18447968"/>
                <a:gd name="connsiteY17" fmla="*/ 13649115 h 15946069"/>
                <a:gd name="connsiteX18" fmla="*/ 5932290 w 18447968"/>
                <a:gd name="connsiteY18" fmla="*/ 13444132 h 15946069"/>
                <a:gd name="connsiteX19" fmla="*/ 6498992 w 18447968"/>
                <a:gd name="connsiteY19" fmla="*/ 12991975 h 15946069"/>
                <a:gd name="connsiteX20" fmla="*/ 7373161 w 18447968"/>
                <a:gd name="connsiteY20" fmla="*/ 13582800 h 15946069"/>
                <a:gd name="connsiteX21" fmla="*/ 8512588 w 18447968"/>
                <a:gd name="connsiteY21" fmla="*/ 13570738 h 15946069"/>
                <a:gd name="connsiteX22" fmla="*/ 9416903 w 18447968"/>
                <a:gd name="connsiteY22" fmla="*/ 13281357 h 15946069"/>
                <a:gd name="connsiteX23" fmla="*/ 9742454 w 18447968"/>
                <a:gd name="connsiteY23" fmla="*/ 14004811 h 15946069"/>
                <a:gd name="connsiteX24" fmla="*/ 10080066 w 18447968"/>
                <a:gd name="connsiteY24" fmla="*/ 14716204 h 15946069"/>
                <a:gd name="connsiteX25" fmla="*/ 10616683 w 18447968"/>
                <a:gd name="connsiteY25" fmla="*/ 15358294 h 15946069"/>
                <a:gd name="connsiteX26" fmla="*/ 11117010 w 18447968"/>
                <a:gd name="connsiteY26" fmla="*/ 15946069 h 15946069"/>
                <a:gd name="connsiteX27" fmla="*/ 11593335 w 18447968"/>
                <a:gd name="connsiteY27" fmla="*/ 15822497 h 15946069"/>
                <a:gd name="connsiteX28" fmla="*/ 11780218 w 18447968"/>
                <a:gd name="connsiteY28" fmla="*/ 13579811 h 15946069"/>
                <a:gd name="connsiteX29" fmla="*/ 11954994 w 18447968"/>
                <a:gd name="connsiteY29" fmla="*/ 12135890 h 15946069"/>
                <a:gd name="connsiteX30" fmla="*/ 12196146 w 18447968"/>
                <a:gd name="connsiteY30" fmla="*/ 11388328 h 15946069"/>
                <a:gd name="connsiteX31" fmla="*/ 13166775 w 18447968"/>
                <a:gd name="connsiteY31" fmla="*/ 11707856 h 15946069"/>
                <a:gd name="connsiteX32" fmla="*/ 14004775 w 18447968"/>
                <a:gd name="connsiteY32" fmla="*/ 11611395 h 15946069"/>
                <a:gd name="connsiteX33" fmla="*/ 14939235 w 18447968"/>
                <a:gd name="connsiteY33" fmla="*/ 11322014 h 15946069"/>
                <a:gd name="connsiteX34" fmla="*/ 15409477 w 18447968"/>
                <a:gd name="connsiteY34" fmla="*/ 11882693 h 15946069"/>
                <a:gd name="connsiteX35" fmla="*/ 15861634 w 18447968"/>
                <a:gd name="connsiteY35" fmla="*/ 11273783 h 15946069"/>
                <a:gd name="connsiteX36" fmla="*/ 16413199 w 18447968"/>
                <a:gd name="connsiteY36" fmla="*/ 10920339 h 15946069"/>
                <a:gd name="connsiteX37" fmla="*/ 16765948 w 18447968"/>
                <a:gd name="connsiteY37" fmla="*/ 10200671 h 15946069"/>
                <a:gd name="connsiteX38" fmla="*/ 16428336 w 18447968"/>
                <a:gd name="connsiteY38" fmla="*/ 9374732 h 15946069"/>
                <a:gd name="connsiteX39" fmla="*/ 15946033 w 18447968"/>
                <a:gd name="connsiteY39" fmla="*/ 8440272 h 15946069"/>
                <a:gd name="connsiteX40" fmla="*/ 16024409 w 18447968"/>
                <a:gd name="connsiteY40" fmla="*/ 7433474 h 15946069"/>
                <a:gd name="connsiteX41" fmla="*/ 16958870 w 18447968"/>
                <a:gd name="connsiteY41" fmla="*/ 6776350 h 15946069"/>
                <a:gd name="connsiteX42" fmla="*/ 17911414 w 18447968"/>
                <a:gd name="connsiteY42" fmla="*/ 6083041 h 15946069"/>
                <a:gd name="connsiteX43" fmla="*/ 17694370 w 18447968"/>
                <a:gd name="connsiteY43" fmla="*/ 5570592 h 15946069"/>
                <a:gd name="connsiteX44" fmla="*/ 17385711 w 18447968"/>
                <a:gd name="connsiteY44" fmla="*/ 5219213 h 15946069"/>
                <a:gd name="connsiteX45" fmla="*/ 17637701 w 18447968"/>
                <a:gd name="connsiteY45" fmla="*/ 4819407 h 15946069"/>
                <a:gd name="connsiteX46" fmla="*/ 18171858 w 18447968"/>
                <a:gd name="connsiteY46" fmla="*/ 4701949 h 15946069"/>
                <a:gd name="connsiteX47" fmla="*/ 18447970 w 18447968"/>
                <a:gd name="connsiteY47" fmla="*/ 4316604 h 15946069"/>
                <a:gd name="connsiteX48" fmla="*/ 17814953 w 18447968"/>
                <a:gd name="connsiteY48" fmla="*/ 4117660 h 15946069"/>
                <a:gd name="connsiteX49" fmla="*/ 16852763 w 18447968"/>
                <a:gd name="connsiteY49" fmla="*/ 3282076 h 15946069"/>
                <a:gd name="connsiteX50" fmla="*/ 14429201 w 18447968"/>
                <a:gd name="connsiteY50" fmla="*/ 4027238 h 15946069"/>
                <a:gd name="connsiteX51" fmla="*/ 13383819 w 18447968"/>
                <a:gd name="connsiteY51" fmla="*/ 2963756 h 15946069"/>
                <a:gd name="connsiteX52" fmla="*/ 12493981 w 18447968"/>
                <a:gd name="connsiteY52" fmla="*/ 2927587 h 15946069"/>
                <a:gd name="connsiteX53" fmla="*/ 11976717 w 18447968"/>
                <a:gd name="connsiteY53" fmla="*/ 2139025 h 15946069"/>
                <a:gd name="connsiteX54" fmla="*/ 11484768 w 18447968"/>
                <a:gd name="connsiteY54" fmla="*/ 1495155 h 15946069"/>
                <a:gd name="connsiteX55" fmla="*/ 10830043 w 18447968"/>
                <a:gd name="connsiteY55" fmla="*/ 1256418 h 15946069"/>
                <a:gd name="connsiteX56" fmla="*/ 10323633 w 18447968"/>
                <a:gd name="connsiteY56" fmla="*/ 1220249 h 15946069"/>
                <a:gd name="connsiteX57" fmla="*/ 9802745 w 18447968"/>
                <a:gd name="connsiteY57" fmla="*/ 1603676 h 15946069"/>
                <a:gd name="connsiteX58" fmla="*/ 9223982 w 18447968"/>
                <a:gd name="connsiteY58" fmla="*/ 1621761 h 15946069"/>
                <a:gd name="connsiteX59" fmla="*/ 8782678 w 18447968"/>
                <a:gd name="connsiteY59" fmla="*/ 2171586 h 15946069"/>
                <a:gd name="connsiteX60" fmla="*/ 8272645 w 18447968"/>
                <a:gd name="connsiteY60" fmla="*/ 2102856 h 15946069"/>
                <a:gd name="connsiteX61" fmla="*/ 7853048 w 18447968"/>
                <a:gd name="connsiteY61" fmla="*/ 2526075 h 15946069"/>
                <a:gd name="connsiteX62" fmla="*/ 7323799 w 18447968"/>
                <a:gd name="connsiteY62" fmla="*/ 2632907 h 15946069"/>
                <a:gd name="connsiteX63" fmla="*/ 6977672 w 18447968"/>
                <a:gd name="connsiteY63" fmla="*/ 2178817 h 15946069"/>
                <a:gd name="connsiteX64" fmla="*/ 6594245 w 18447968"/>
                <a:gd name="connsiteY64" fmla="*/ 2055834 h 15946069"/>
                <a:gd name="connsiteX65" fmla="*/ 6431470 w 18447968"/>
                <a:gd name="connsiteY65" fmla="*/ 1314295 h 15946069"/>
                <a:gd name="connsiteX66" fmla="*/ 5642908 w 18447968"/>
                <a:gd name="connsiteY66" fmla="*/ 1343233 h 15946069"/>
                <a:gd name="connsiteX67" fmla="*/ 5150959 w 18447968"/>
                <a:gd name="connsiteY67" fmla="*/ 1610907 h 15946069"/>
                <a:gd name="connsiteX68" fmla="*/ 5480133 w 18447968"/>
                <a:gd name="connsiteY68" fmla="*/ 2167963 h 15946069"/>
                <a:gd name="connsiteX69" fmla="*/ 4742216 w 18447968"/>
                <a:gd name="connsiteY69" fmla="*/ 2862495 h 15946069"/>
                <a:gd name="connsiteX70" fmla="*/ 2658667 w 18447968"/>
                <a:gd name="connsiteY70" fmla="*/ 0 h 15946069"/>
                <a:gd name="connsiteX71" fmla="*/ 2658682 w 18447968"/>
                <a:gd name="connsiteY71" fmla="*/ 1018890 h 15946069"/>
                <a:gd name="connsiteX72" fmla="*/ 1850829 w 18447968"/>
                <a:gd name="connsiteY72" fmla="*/ 1730283 h 15946069"/>
                <a:gd name="connsiteX73" fmla="*/ 1404694 w 18447968"/>
                <a:gd name="connsiteY73" fmla="*/ 2272862 h 15946069"/>
                <a:gd name="connsiteX74" fmla="*/ 2351216 w 18447968"/>
                <a:gd name="connsiteY74" fmla="*/ 3388182 h 15946069"/>
                <a:gd name="connsiteX75" fmla="*/ 2658682 w 18447968"/>
                <a:gd name="connsiteY75" fmla="*/ 4286458 h 15946069"/>
                <a:gd name="connsiteX76" fmla="*/ 1935228 w 18447968"/>
                <a:gd name="connsiteY76" fmla="*/ 5220918 h 15946069"/>
                <a:gd name="connsiteX77" fmla="*/ 875281 w 18447968"/>
                <a:gd name="connsiteY77" fmla="*/ 5166646 h 15946069"/>
                <a:gd name="connsiteX78" fmla="*/ 0 w 18447968"/>
                <a:gd name="connsiteY78" fmla="*/ 5890112 h 15946069"/>
                <a:gd name="connsiteX79" fmla="*/ 72345 w 18447968"/>
                <a:gd name="connsiteY79" fmla="*/ 6921032 h 15946069"/>
                <a:gd name="connsiteX80" fmla="*/ 477776 w 18447968"/>
                <a:gd name="connsiteY8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5946033 w 18171859"/>
                <a:gd name="connsiteY39" fmla="*/ 8440272 h 15946069"/>
                <a:gd name="connsiteX40" fmla="*/ 16024409 w 18171859"/>
                <a:gd name="connsiteY40" fmla="*/ 7433474 h 15946069"/>
                <a:gd name="connsiteX41" fmla="*/ 16958870 w 18171859"/>
                <a:gd name="connsiteY41" fmla="*/ 6776350 h 15946069"/>
                <a:gd name="connsiteX42" fmla="*/ 17911414 w 18171859"/>
                <a:gd name="connsiteY42" fmla="*/ 6083041 h 15946069"/>
                <a:gd name="connsiteX43" fmla="*/ 17694370 w 18171859"/>
                <a:gd name="connsiteY43" fmla="*/ 5570592 h 15946069"/>
                <a:gd name="connsiteX44" fmla="*/ 17385711 w 18171859"/>
                <a:gd name="connsiteY44" fmla="*/ 5219213 h 15946069"/>
                <a:gd name="connsiteX45" fmla="*/ 17637701 w 18171859"/>
                <a:gd name="connsiteY45" fmla="*/ 4819407 h 15946069"/>
                <a:gd name="connsiteX46" fmla="*/ 18171858 w 18171859"/>
                <a:gd name="connsiteY46" fmla="*/ 4701949 h 15946069"/>
                <a:gd name="connsiteX47" fmla="*/ 17814953 w 18171859"/>
                <a:gd name="connsiteY47" fmla="*/ 4117660 h 15946069"/>
                <a:gd name="connsiteX48" fmla="*/ 16852763 w 18171859"/>
                <a:gd name="connsiteY48" fmla="*/ 3282076 h 15946069"/>
                <a:gd name="connsiteX49" fmla="*/ 14429201 w 18171859"/>
                <a:gd name="connsiteY49" fmla="*/ 4027238 h 15946069"/>
                <a:gd name="connsiteX50" fmla="*/ 13383819 w 18171859"/>
                <a:gd name="connsiteY50" fmla="*/ 2963756 h 15946069"/>
                <a:gd name="connsiteX51" fmla="*/ 12493981 w 18171859"/>
                <a:gd name="connsiteY51" fmla="*/ 2927587 h 15946069"/>
                <a:gd name="connsiteX52" fmla="*/ 11976717 w 18171859"/>
                <a:gd name="connsiteY52" fmla="*/ 2139025 h 15946069"/>
                <a:gd name="connsiteX53" fmla="*/ 11484768 w 18171859"/>
                <a:gd name="connsiteY53" fmla="*/ 1495155 h 15946069"/>
                <a:gd name="connsiteX54" fmla="*/ 10830043 w 18171859"/>
                <a:gd name="connsiteY54" fmla="*/ 1256418 h 15946069"/>
                <a:gd name="connsiteX55" fmla="*/ 10323633 w 18171859"/>
                <a:gd name="connsiteY55" fmla="*/ 1220249 h 15946069"/>
                <a:gd name="connsiteX56" fmla="*/ 9802745 w 18171859"/>
                <a:gd name="connsiteY56" fmla="*/ 1603676 h 15946069"/>
                <a:gd name="connsiteX57" fmla="*/ 9223982 w 18171859"/>
                <a:gd name="connsiteY57" fmla="*/ 1621761 h 15946069"/>
                <a:gd name="connsiteX58" fmla="*/ 8782678 w 18171859"/>
                <a:gd name="connsiteY58" fmla="*/ 2171586 h 15946069"/>
                <a:gd name="connsiteX59" fmla="*/ 8272645 w 18171859"/>
                <a:gd name="connsiteY59" fmla="*/ 2102856 h 15946069"/>
                <a:gd name="connsiteX60" fmla="*/ 7853048 w 18171859"/>
                <a:gd name="connsiteY60" fmla="*/ 2526075 h 15946069"/>
                <a:gd name="connsiteX61" fmla="*/ 7323799 w 18171859"/>
                <a:gd name="connsiteY61" fmla="*/ 2632907 h 15946069"/>
                <a:gd name="connsiteX62" fmla="*/ 6977672 w 18171859"/>
                <a:gd name="connsiteY62" fmla="*/ 2178817 h 15946069"/>
                <a:gd name="connsiteX63" fmla="*/ 6594245 w 18171859"/>
                <a:gd name="connsiteY63" fmla="*/ 2055834 h 15946069"/>
                <a:gd name="connsiteX64" fmla="*/ 6431470 w 18171859"/>
                <a:gd name="connsiteY64" fmla="*/ 1314295 h 15946069"/>
                <a:gd name="connsiteX65" fmla="*/ 5642908 w 18171859"/>
                <a:gd name="connsiteY65" fmla="*/ 1343233 h 15946069"/>
                <a:gd name="connsiteX66" fmla="*/ 5150959 w 18171859"/>
                <a:gd name="connsiteY66" fmla="*/ 1610907 h 15946069"/>
                <a:gd name="connsiteX67" fmla="*/ 5480133 w 18171859"/>
                <a:gd name="connsiteY67" fmla="*/ 2167963 h 15946069"/>
                <a:gd name="connsiteX68" fmla="*/ 4742216 w 18171859"/>
                <a:gd name="connsiteY68" fmla="*/ 2862495 h 15946069"/>
                <a:gd name="connsiteX69" fmla="*/ 2658667 w 18171859"/>
                <a:gd name="connsiteY69" fmla="*/ 0 h 15946069"/>
                <a:gd name="connsiteX70" fmla="*/ 2658682 w 18171859"/>
                <a:gd name="connsiteY70" fmla="*/ 1018890 h 15946069"/>
                <a:gd name="connsiteX71" fmla="*/ 1850829 w 18171859"/>
                <a:gd name="connsiteY71" fmla="*/ 1730283 h 15946069"/>
                <a:gd name="connsiteX72" fmla="*/ 1404694 w 18171859"/>
                <a:gd name="connsiteY72" fmla="*/ 2272862 h 15946069"/>
                <a:gd name="connsiteX73" fmla="*/ 2351216 w 18171859"/>
                <a:gd name="connsiteY73" fmla="*/ 3388182 h 15946069"/>
                <a:gd name="connsiteX74" fmla="*/ 2658682 w 18171859"/>
                <a:gd name="connsiteY74" fmla="*/ 4286458 h 15946069"/>
                <a:gd name="connsiteX75" fmla="*/ 1935228 w 18171859"/>
                <a:gd name="connsiteY75" fmla="*/ 5220918 h 15946069"/>
                <a:gd name="connsiteX76" fmla="*/ 875281 w 18171859"/>
                <a:gd name="connsiteY76" fmla="*/ 5166646 h 15946069"/>
                <a:gd name="connsiteX77" fmla="*/ 0 w 18171859"/>
                <a:gd name="connsiteY77" fmla="*/ 5890112 h 15946069"/>
                <a:gd name="connsiteX78" fmla="*/ 72345 w 18171859"/>
                <a:gd name="connsiteY78" fmla="*/ 6921032 h 15946069"/>
                <a:gd name="connsiteX79" fmla="*/ 477776 w 18171859"/>
                <a:gd name="connsiteY79"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5946033 w 18171859"/>
                <a:gd name="connsiteY39" fmla="*/ 8440272 h 15946069"/>
                <a:gd name="connsiteX40" fmla="*/ 16024409 w 18171859"/>
                <a:gd name="connsiteY40" fmla="*/ 7433474 h 15946069"/>
                <a:gd name="connsiteX41" fmla="*/ 16958870 w 18171859"/>
                <a:gd name="connsiteY41" fmla="*/ 6776350 h 15946069"/>
                <a:gd name="connsiteX42" fmla="*/ 17911414 w 18171859"/>
                <a:gd name="connsiteY42" fmla="*/ 6083041 h 15946069"/>
                <a:gd name="connsiteX43" fmla="*/ 17694370 w 18171859"/>
                <a:gd name="connsiteY43" fmla="*/ 5570592 h 15946069"/>
                <a:gd name="connsiteX44" fmla="*/ 17385711 w 18171859"/>
                <a:gd name="connsiteY44" fmla="*/ 5219213 h 15946069"/>
                <a:gd name="connsiteX45" fmla="*/ 18171858 w 18171859"/>
                <a:gd name="connsiteY45" fmla="*/ 4701949 h 15946069"/>
                <a:gd name="connsiteX46" fmla="*/ 17814953 w 18171859"/>
                <a:gd name="connsiteY46" fmla="*/ 4117660 h 15946069"/>
                <a:gd name="connsiteX47" fmla="*/ 16852763 w 18171859"/>
                <a:gd name="connsiteY47" fmla="*/ 3282076 h 15946069"/>
                <a:gd name="connsiteX48" fmla="*/ 14429201 w 18171859"/>
                <a:gd name="connsiteY48" fmla="*/ 4027238 h 15946069"/>
                <a:gd name="connsiteX49" fmla="*/ 13383819 w 18171859"/>
                <a:gd name="connsiteY49" fmla="*/ 2963756 h 15946069"/>
                <a:gd name="connsiteX50" fmla="*/ 12493981 w 18171859"/>
                <a:gd name="connsiteY50" fmla="*/ 2927587 h 15946069"/>
                <a:gd name="connsiteX51" fmla="*/ 11976717 w 18171859"/>
                <a:gd name="connsiteY51" fmla="*/ 2139025 h 15946069"/>
                <a:gd name="connsiteX52" fmla="*/ 11484768 w 18171859"/>
                <a:gd name="connsiteY52" fmla="*/ 1495155 h 15946069"/>
                <a:gd name="connsiteX53" fmla="*/ 10830043 w 18171859"/>
                <a:gd name="connsiteY53" fmla="*/ 1256418 h 15946069"/>
                <a:gd name="connsiteX54" fmla="*/ 10323633 w 18171859"/>
                <a:gd name="connsiteY54" fmla="*/ 1220249 h 15946069"/>
                <a:gd name="connsiteX55" fmla="*/ 9802745 w 18171859"/>
                <a:gd name="connsiteY55" fmla="*/ 1603676 h 15946069"/>
                <a:gd name="connsiteX56" fmla="*/ 9223982 w 18171859"/>
                <a:gd name="connsiteY56" fmla="*/ 1621761 h 15946069"/>
                <a:gd name="connsiteX57" fmla="*/ 8782678 w 18171859"/>
                <a:gd name="connsiteY57" fmla="*/ 2171586 h 15946069"/>
                <a:gd name="connsiteX58" fmla="*/ 8272645 w 18171859"/>
                <a:gd name="connsiteY58" fmla="*/ 2102856 h 15946069"/>
                <a:gd name="connsiteX59" fmla="*/ 7853048 w 18171859"/>
                <a:gd name="connsiteY59" fmla="*/ 2526075 h 15946069"/>
                <a:gd name="connsiteX60" fmla="*/ 7323799 w 18171859"/>
                <a:gd name="connsiteY60" fmla="*/ 2632907 h 15946069"/>
                <a:gd name="connsiteX61" fmla="*/ 6977672 w 18171859"/>
                <a:gd name="connsiteY61" fmla="*/ 2178817 h 15946069"/>
                <a:gd name="connsiteX62" fmla="*/ 6594245 w 18171859"/>
                <a:gd name="connsiteY62" fmla="*/ 2055834 h 15946069"/>
                <a:gd name="connsiteX63" fmla="*/ 6431470 w 18171859"/>
                <a:gd name="connsiteY63" fmla="*/ 1314295 h 15946069"/>
                <a:gd name="connsiteX64" fmla="*/ 5642908 w 18171859"/>
                <a:gd name="connsiteY64" fmla="*/ 1343233 h 15946069"/>
                <a:gd name="connsiteX65" fmla="*/ 5150959 w 18171859"/>
                <a:gd name="connsiteY65" fmla="*/ 1610907 h 15946069"/>
                <a:gd name="connsiteX66" fmla="*/ 5480133 w 18171859"/>
                <a:gd name="connsiteY66" fmla="*/ 2167963 h 15946069"/>
                <a:gd name="connsiteX67" fmla="*/ 4742216 w 18171859"/>
                <a:gd name="connsiteY67" fmla="*/ 2862495 h 15946069"/>
                <a:gd name="connsiteX68" fmla="*/ 2658667 w 18171859"/>
                <a:gd name="connsiteY68" fmla="*/ 0 h 15946069"/>
                <a:gd name="connsiteX69" fmla="*/ 2658682 w 18171859"/>
                <a:gd name="connsiteY69" fmla="*/ 1018890 h 15946069"/>
                <a:gd name="connsiteX70" fmla="*/ 1850829 w 18171859"/>
                <a:gd name="connsiteY70" fmla="*/ 1730283 h 15946069"/>
                <a:gd name="connsiteX71" fmla="*/ 1404694 w 18171859"/>
                <a:gd name="connsiteY71" fmla="*/ 2272862 h 15946069"/>
                <a:gd name="connsiteX72" fmla="*/ 2351216 w 18171859"/>
                <a:gd name="connsiteY72" fmla="*/ 3388182 h 15946069"/>
                <a:gd name="connsiteX73" fmla="*/ 2658682 w 18171859"/>
                <a:gd name="connsiteY73" fmla="*/ 4286458 h 15946069"/>
                <a:gd name="connsiteX74" fmla="*/ 1935228 w 18171859"/>
                <a:gd name="connsiteY74" fmla="*/ 5220918 h 15946069"/>
                <a:gd name="connsiteX75" fmla="*/ 875281 w 18171859"/>
                <a:gd name="connsiteY75" fmla="*/ 5166646 h 15946069"/>
                <a:gd name="connsiteX76" fmla="*/ 0 w 18171859"/>
                <a:gd name="connsiteY76" fmla="*/ 5890112 h 15946069"/>
                <a:gd name="connsiteX77" fmla="*/ 72345 w 18171859"/>
                <a:gd name="connsiteY77" fmla="*/ 6921032 h 15946069"/>
                <a:gd name="connsiteX78" fmla="*/ 477776 w 18171859"/>
                <a:gd name="connsiteY78"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5946033 w 18171859"/>
                <a:gd name="connsiteY39" fmla="*/ 8440272 h 15946069"/>
                <a:gd name="connsiteX40" fmla="*/ 16024409 w 18171859"/>
                <a:gd name="connsiteY40" fmla="*/ 7433474 h 15946069"/>
                <a:gd name="connsiteX41" fmla="*/ 16958870 w 18171859"/>
                <a:gd name="connsiteY41" fmla="*/ 6776350 h 15946069"/>
                <a:gd name="connsiteX42" fmla="*/ 17911414 w 18171859"/>
                <a:gd name="connsiteY42" fmla="*/ 6083041 h 15946069"/>
                <a:gd name="connsiteX43" fmla="*/ 17385711 w 18171859"/>
                <a:gd name="connsiteY43" fmla="*/ 5219213 h 15946069"/>
                <a:gd name="connsiteX44" fmla="*/ 18171858 w 18171859"/>
                <a:gd name="connsiteY44" fmla="*/ 4701949 h 15946069"/>
                <a:gd name="connsiteX45" fmla="*/ 17814953 w 18171859"/>
                <a:gd name="connsiteY45" fmla="*/ 4117660 h 15946069"/>
                <a:gd name="connsiteX46" fmla="*/ 16852763 w 18171859"/>
                <a:gd name="connsiteY46" fmla="*/ 3282076 h 15946069"/>
                <a:gd name="connsiteX47" fmla="*/ 14429201 w 18171859"/>
                <a:gd name="connsiteY47" fmla="*/ 4027238 h 15946069"/>
                <a:gd name="connsiteX48" fmla="*/ 13383819 w 18171859"/>
                <a:gd name="connsiteY48" fmla="*/ 2963756 h 15946069"/>
                <a:gd name="connsiteX49" fmla="*/ 12493981 w 18171859"/>
                <a:gd name="connsiteY49" fmla="*/ 2927587 h 15946069"/>
                <a:gd name="connsiteX50" fmla="*/ 11976717 w 18171859"/>
                <a:gd name="connsiteY50" fmla="*/ 2139025 h 15946069"/>
                <a:gd name="connsiteX51" fmla="*/ 11484768 w 18171859"/>
                <a:gd name="connsiteY51" fmla="*/ 1495155 h 15946069"/>
                <a:gd name="connsiteX52" fmla="*/ 10830043 w 18171859"/>
                <a:gd name="connsiteY52" fmla="*/ 1256418 h 15946069"/>
                <a:gd name="connsiteX53" fmla="*/ 10323633 w 18171859"/>
                <a:gd name="connsiteY53" fmla="*/ 1220249 h 15946069"/>
                <a:gd name="connsiteX54" fmla="*/ 9802745 w 18171859"/>
                <a:gd name="connsiteY54" fmla="*/ 1603676 h 15946069"/>
                <a:gd name="connsiteX55" fmla="*/ 9223982 w 18171859"/>
                <a:gd name="connsiteY55" fmla="*/ 1621761 h 15946069"/>
                <a:gd name="connsiteX56" fmla="*/ 8782678 w 18171859"/>
                <a:gd name="connsiteY56" fmla="*/ 2171586 h 15946069"/>
                <a:gd name="connsiteX57" fmla="*/ 8272645 w 18171859"/>
                <a:gd name="connsiteY57" fmla="*/ 2102856 h 15946069"/>
                <a:gd name="connsiteX58" fmla="*/ 7853048 w 18171859"/>
                <a:gd name="connsiteY58" fmla="*/ 2526075 h 15946069"/>
                <a:gd name="connsiteX59" fmla="*/ 7323799 w 18171859"/>
                <a:gd name="connsiteY59" fmla="*/ 2632907 h 15946069"/>
                <a:gd name="connsiteX60" fmla="*/ 6977672 w 18171859"/>
                <a:gd name="connsiteY60" fmla="*/ 2178817 h 15946069"/>
                <a:gd name="connsiteX61" fmla="*/ 6594245 w 18171859"/>
                <a:gd name="connsiteY61" fmla="*/ 2055834 h 15946069"/>
                <a:gd name="connsiteX62" fmla="*/ 6431470 w 18171859"/>
                <a:gd name="connsiteY62" fmla="*/ 1314295 h 15946069"/>
                <a:gd name="connsiteX63" fmla="*/ 5642908 w 18171859"/>
                <a:gd name="connsiteY63" fmla="*/ 1343233 h 15946069"/>
                <a:gd name="connsiteX64" fmla="*/ 5150959 w 18171859"/>
                <a:gd name="connsiteY64" fmla="*/ 1610907 h 15946069"/>
                <a:gd name="connsiteX65" fmla="*/ 5480133 w 18171859"/>
                <a:gd name="connsiteY65" fmla="*/ 2167963 h 15946069"/>
                <a:gd name="connsiteX66" fmla="*/ 4742216 w 18171859"/>
                <a:gd name="connsiteY66" fmla="*/ 2862495 h 15946069"/>
                <a:gd name="connsiteX67" fmla="*/ 2658667 w 18171859"/>
                <a:gd name="connsiteY67" fmla="*/ 0 h 15946069"/>
                <a:gd name="connsiteX68" fmla="*/ 2658682 w 18171859"/>
                <a:gd name="connsiteY68" fmla="*/ 1018890 h 15946069"/>
                <a:gd name="connsiteX69" fmla="*/ 1850829 w 18171859"/>
                <a:gd name="connsiteY69" fmla="*/ 1730283 h 15946069"/>
                <a:gd name="connsiteX70" fmla="*/ 1404694 w 18171859"/>
                <a:gd name="connsiteY70" fmla="*/ 2272862 h 15946069"/>
                <a:gd name="connsiteX71" fmla="*/ 2351216 w 18171859"/>
                <a:gd name="connsiteY71" fmla="*/ 3388182 h 15946069"/>
                <a:gd name="connsiteX72" fmla="*/ 2658682 w 18171859"/>
                <a:gd name="connsiteY72" fmla="*/ 4286458 h 15946069"/>
                <a:gd name="connsiteX73" fmla="*/ 1935228 w 18171859"/>
                <a:gd name="connsiteY73" fmla="*/ 5220918 h 15946069"/>
                <a:gd name="connsiteX74" fmla="*/ 875281 w 18171859"/>
                <a:gd name="connsiteY74" fmla="*/ 5166646 h 15946069"/>
                <a:gd name="connsiteX75" fmla="*/ 0 w 18171859"/>
                <a:gd name="connsiteY75" fmla="*/ 5890112 h 15946069"/>
                <a:gd name="connsiteX76" fmla="*/ 72345 w 18171859"/>
                <a:gd name="connsiteY76" fmla="*/ 6921032 h 15946069"/>
                <a:gd name="connsiteX77" fmla="*/ 477776 w 18171859"/>
                <a:gd name="connsiteY77"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5946033 w 18171859"/>
                <a:gd name="connsiteY39" fmla="*/ 8440272 h 15946069"/>
                <a:gd name="connsiteX40" fmla="*/ 16024409 w 18171859"/>
                <a:gd name="connsiteY40" fmla="*/ 7433474 h 15946069"/>
                <a:gd name="connsiteX41" fmla="*/ 17911414 w 18171859"/>
                <a:gd name="connsiteY41" fmla="*/ 6083041 h 15946069"/>
                <a:gd name="connsiteX42" fmla="*/ 17385711 w 18171859"/>
                <a:gd name="connsiteY42" fmla="*/ 5219213 h 15946069"/>
                <a:gd name="connsiteX43" fmla="*/ 18171858 w 18171859"/>
                <a:gd name="connsiteY43" fmla="*/ 4701949 h 15946069"/>
                <a:gd name="connsiteX44" fmla="*/ 17814953 w 18171859"/>
                <a:gd name="connsiteY44" fmla="*/ 4117660 h 15946069"/>
                <a:gd name="connsiteX45" fmla="*/ 16852763 w 18171859"/>
                <a:gd name="connsiteY45" fmla="*/ 3282076 h 15946069"/>
                <a:gd name="connsiteX46" fmla="*/ 14429201 w 18171859"/>
                <a:gd name="connsiteY46" fmla="*/ 4027238 h 15946069"/>
                <a:gd name="connsiteX47" fmla="*/ 13383819 w 18171859"/>
                <a:gd name="connsiteY47" fmla="*/ 2963756 h 15946069"/>
                <a:gd name="connsiteX48" fmla="*/ 12493981 w 18171859"/>
                <a:gd name="connsiteY48" fmla="*/ 2927587 h 15946069"/>
                <a:gd name="connsiteX49" fmla="*/ 11976717 w 18171859"/>
                <a:gd name="connsiteY49" fmla="*/ 2139025 h 15946069"/>
                <a:gd name="connsiteX50" fmla="*/ 11484768 w 18171859"/>
                <a:gd name="connsiteY50" fmla="*/ 1495155 h 15946069"/>
                <a:gd name="connsiteX51" fmla="*/ 10830043 w 18171859"/>
                <a:gd name="connsiteY51" fmla="*/ 1256418 h 15946069"/>
                <a:gd name="connsiteX52" fmla="*/ 10323633 w 18171859"/>
                <a:gd name="connsiteY52" fmla="*/ 1220249 h 15946069"/>
                <a:gd name="connsiteX53" fmla="*/ 9802745 w 18171859"/>
                <a:gd name="connsiteY53" fmla="*/ 1603676 h 15946069"/>
                <a:gd name="connsiteX54" fmla="*/ 9223982 w 18171859"/>
                <a:gd name="connsiteY54" fmla="*/ 1621761 h 15946069"/>
                <a:gd name="connsiteX55" fmla="*/ 8782678 w 18171859"/>
                <a:gd name="connsiteY55" fmla="*/ 2171586 h 15946069"/>
                <a:gd name="connsiteX56" fmla="*/ 8272645 w 18171859"/>
                <a:gd name="connsiteY56" fmla="*/ 2102856 h 15946069"/>
                <a:gd name="connsiteX57" fmla="*/ 7853048 w 18171859"/>
                <a:gd name="connsiteY57" fmla="*/ 2526075 h 15946069"/>
                <a:gd name="connsiteX58" fmla="*/ 7323799 w 18171859"/>
                <a:gd name="connsiteY58" fmla="*/ 2632907 h 15946069"/>
                <a:gd name="connsiteX59" fmla="*/ 6977672 w 18171859"/>
                <a:gd name="connsiteY59" fmla="*/ 2178817 h 15946069"/>
                <a:gd name="connsiteX60" fmla="*/ 6594245 w 18171859"/>
                <a:gd name="connsiteY60" fmla="*/ 2055834 h 15946069"/>
                <a:gd name="connsiteX61" fmla="*/ 6431470 w 18171859"/>
                <a:gd name="connsiteY61" fmla="*/ 1314295 h 15946069"/>
                <a:gd name="connsiteX62" fmla="*/ 5642908 w 18171859"/>
                <a:gd name="connsiteY62" fmla="*/ 1343233 h 15946069"/>
                <a:gd name="connsiteX63" fmla="*/ 5150959 w 18171859"/>
                <a:gd name="connsiteY63" fmla="*/ 1610907 h 15946069"/>
                <a:gd name="connsiteX64" fmla="*/ 5480133 w 18171859"/>
                <a:gd name="connsiteY64" fmla="*/ 2167963 h 15946069"/>
                <a:gd name="connsiteX65" fmla="*/ 4742216 w 18171859"/>
                <a:gd name="connsiteY65" fmla="*/ 2862495 h 15946069"/>
                <a:gd name="connsiteX66" fmla="*/ 2658667 w 18171859"/>
                <a:gd name="connsiteY66" fmla="*/ 0 h 15946069"/>
                <a:gd name="connsiteX67" fmla="*/ 2658682 w 18171859"/>
                <a:gd name="connsiteY67" fmla="*/ 1018890 h 15946069"/>
                <a:gd name="connsiteX68" fmla="*/ 1850829 w 18171859"/>
                <a:gd name="connsiteY68" fmla="*/ 1730283 h 15946069"/>
                <a:gd name="connsiteX69" fmla="*/ 1404694 w 18171859"/>
                <a:gd name="connsiteY69" fmla="*/ 2272862 h 15946069"/>
                <a:gd name="connsiteX70" fmla="*/ 2351216 w 18171859"/>
                <a:gd name="connsiteY70" fmla="*/ 3388182 h 15946069"/>
                <a:gd name="connsiteX71" fmla="*/ 2658682 w 18171859"/>
                <a:gd name="connsiteY71" fmla="*/ 4286458 h 15946069"/>
                <a:gd name="connsiteX72" fmla="*/ 1935228 w 18171859"/>
                <a:gd name="connsiteY72" fmla="*/ 5220918 h 15946069"/>
                <a:gd name="connsiteX73" fmla="*/ 875281 w 18171859"/>
                <a:gd name="connsiteY73" fmla="*/ 5166646 h 15946069"/>
                <a:gd name="connsiteX74" fmla="*/ 0 w 18171859"/>
                <a:gd name="connsiteY74" fmla="*/ 5890112 h 15946069"/>
                <a:gd name="connsiteX75" fmla="*/ 72345 w 18171859"/>
                <a:gd name="connsiteY75" fmla="*/ 6921032 h 15946069"/>
                <a:gd name="connsiteX76" fmla="*/ 477776 w 18171859"/>
                <a:gd name="connsiteY76"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6024409 w 18171859"/>
                <a:gd name="connsiteY39" fmla="*/ 7433474 h 15946069"/>
                <a:gd name="connsiteX40" fmla="*/ 17911414 w 18171859"/>
                <a:gd name="connsiteY40" fmla="*/ 6083041 h 15946069"/>
                <a:gd name="connsiteX41" fmla="*/ 17385711 w 18171859"/>
                <a:gd name="connsiteY41" fmla="*/ 5219213 h 15946069"/>
                <a:gd name="connsiteX42" fmla="*/ 18171858 w 18171859"/>
                <a:gd name="connsiteY42" fmla="*/ 4701949 h 15946069"/>
                <a:gd name="connsiteX43" fmla="*/ 17814953 w 18171859"/>
                <a:gd name="connsiteY43" fmla="*/ 4117660 h 15946069"/>
                <a:gd name="connsiteX44" fmla="*/ 16852763 w 18171859"/>
                <a:gd name="connsiteY44" fmla="*/ 3282076 h 15946069"/>
                <a:gd name="connsiteX45" fmla="*/ 14429201 w 18171859"/>
                <a:gd name="connsiteY45" fmla="*/ 4027238 h 15946069"/>
                <a:gd name="connsiteX46" fmla="*/ 13383819 w 18171859"/>
                <a:gd name="connsiteY46" fmla="*/ 2963756 h 15946069"/>
                <a:gd name="connsiteX47" fmla="*/ 12493981 w 18171859"/>
                <a:gd name="connsiteY47" fmla="*/ 2927587 h 15946069"/>
                <a:gd name="connsiteX48" fmla="*/ 11976717 w 18171859"/>
                <a:gd name="connsiteY48" fmla="*/ 2139025 h 15946069"/>
                <a:gd name="connsiteX49" fmla="*/ 11484768 w 18171859"/>
                <a:gd name="connsiteY49" fmla="*/ 1495155 h 15946069"/>
                <a:gd name="connsiteX50" fmla="*/ 10830043 w 18171859"/>
                <a:gd name="connsiteY50" fmla="*/ 1256418 h 15946069"/>
                <a:gd name="connsiteX51" fmla="*/ 10323633 w 18171859"/>
                <a:gd name="connsiteY51" fmla="*/ 1220249 h 15946069"/>
                <a:gd name="connsiteX52" fmla="*/ 9802745 w 18171859"/>
                <a:gd name="connsiteY52" fmla="*/ 1603676 h 15946069"/>
                <a:gd name="connsiteX53" fmla="*/ 9223982 w 18171859"/>
                <a:gd name="connsiteY53" fmla="*/ 1621761 h 15946069"/>
                <a:gd name="connsiteX54" fmla="*/ 8782678 w 18171859"/>
                <a:gd name="connsiteY54" fmla="*/ 2171586 h 15946069"/>
                <a:gd name="connsiteX55" fmla="*/ 8272645 w 18171859"/>
                <a:gd name="connsiteY55" fmla="*/ 2102856 h 15946069"/>
                <a:gd name="connsiteX56" fmla="*/ 7853048 w 18171859"/>
                <a:gd name="connsiteY56" fmla="*/ 2526075 h 15946069"/>
                <a:gd name="connsiteX57" fmla="*/ 7323799 w 18171859"/>
                <a:gd name="connsiteY57" fmla="*/ 2632907 h 15946069"/>
                <a:gd name="connsiteX58" fmla="*/ 6977672 w 18171859"/>
                <a:gd name="connsiteY58" fmla="*/ 2178817 h 15946069"/>
                <a:gd name="connsiteX59" fmla="*/ 6594245 w 18171859"/>
                <a:gd name="connsiteY59" fmla="*/ 2055834 h 15946069"/>
                <a:gd name="connsiteX60" fmla="*/ 6431470 w 18171859"/>
                <a:gd name="connsiteY60" fmla="*/ 1314295 h 15946069"/>
                <a:gd name="connsiteX61" fmla="*/ 5642908 w 18171859"/>
                <a:gd name="connsiteY61" fmla="*/ 1343233 h 15946069"/>
                <a:gd name="connsiteX62" fmla="*/ 5150959 w 18171859"/>
                <a:gd name="connsiteY62" fmla="*/ 1610907 h 15946069"/>
                <a:gd name="connsiteX63" fmla="*/ 5480133 w 18171859"/>
                <a:gd name="connsiteY63" fmla="*/ 2167963 h 15946069"/>
                <a:gd name="connsiteX64" fmla="*/ 4742216 w 18171859"/>
                <a:gd name="connsiteY64" fmla="*/ 2862495 h 15946069"/>
                <a:gd name="connsiteX65" fmla="*/ 2658667 w 18171859"/>
                <a:gd name="connsiteY65" fmla="*/ 0 h 15946069"/>
                <a:gd name="connsiteX66" fmla="*/ 2658682 w 18171859"/>
                <a:gd name="connsiteY66" fmla="*/ 1018890 h 15946069"/>
                <a:gd name="connsiteX67" fmla="*/ 1850829 w 18171859"/>
                <a:gd name="connsiteY67" fmla="*/ 1730283 h 15946069"/>
                <a:gd name="connsiteX68" fmla="*/ 1404694 w 18171859"/>
                <a:gd name="connsiteY68" fmla="*/ 2272862 h 15946069"/>
                <a:gd name="connsiteX69" fmla="*/ 2351216 w 18171859"/>
                <a:gd name="connsiteY69" fmla="*/ 3388182 h 15946069"/>
                <a:gd name="connsiteX70" fmla="*/ 2658682 w 18171859"/>
                <a:gd name="connsiteY70" fmla="*/ 4286458 h 15946069"/>
                <a:gd name="connsiteX71" fmla="*/ 1935228 w 18171859"/>
                <a:gd name="connsiteY71" fmla="*/ 5220918 h 15946069"/>
                <a:gd name="connsiteX72" fmla="*/ 875281 w 18171859"/>
                <a:gd name="connsiteY72" fmla="*/ 5166646 h 15946069"/>
                <a:gd name="connsiteX73" fmla="*/ 0 w 18171859"/>
                <a:gd name="connsiteY73" fmla="*/ 5890112 h 15946069"/>
                <a:gd name="connsiteX74" fmla="*/ 72345 w 18171859"/>
                <a:gd name="connsiteY74" fmla="*/ 6921032 h 15946069"/>
                <a:gd name="connsiteX75" fmla="*/ 477776 w 18171859"/>
                <a:gd name="connsiteY75"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428336 w 18171859"/>
                <a:gd name="connsiteY37" fmla="*/ 9374732 h 15946069"/>
                <a:gd name="connsiteX38" fmla="*/ 16024409 w 18171859"/>
                <a:gd name="connsiteY38" fmla="*/ 7433474 h 15946069"/>
                <a:gd name="connsiteX39" fmla="*/ 17911414 w 18171859"/>
                <a:gd name="connsiteY39" fmla="*/ 6083041 h 15946069"/>
                <a:gd name="connsiteX40" fmla="*/ 17385711 w 18171859"/>
                <a:gd name="connsiteY40" fmla="*/ 5219213 h 15946069"/>
                <a:gd name="connsiteX41" fmla="*/ 18171858 w 18171859"/>
                <a:gd name="connsiteY41" fmla="*/ 4701949 h 15946069"/>
                <a:gd name="connsiteX42" fmla="*/ 17814953 w 18171859"/>
                <a:gd name="connsiteY42" fmla="*/ 4117660 h 15946069"/>
                <a:gd name="connsiteX43" fmla="*/ 16852763 w 18171859"/>
                <a:gd name="connsiteY43" fmla="*/ 3282076 h 15946069"/>
                <a:gd name="connsiteX44" fmla="*/ 14429201 w 18171859"/>
                <a:gd name="connsiteY44" fmla="*/ 4027238 h 15946069"/>
                <a:gd name="connsiteX45" fmla="*/ 13383819 w 18171859"/>
                <a:gd name="connsiteY45" fmla="*/ 2963756 h 15946069"/>
                <a:gd name="connsiteX46" fmla="*/ 12493981 w 18171859"/>
                <a:gd name="connsiteY46" fmla="*/ 2927587 h 15946069"/>
                <a:gd name="connsiteX47" fmla="*/ 11976717 w 18171859"/>
                <a:gd name="connsiteY47" fmla="*/ 2139025 h 15946069"/>
                <a:gd name="connsiteX48" fmla="*/ 11484768 w 18171859"/>
                <a:gd name="connsiteY48" fmla="*/ 1495155 h 15946069"/>
                <a:gd name="connsiteX49" fmla="*/ 10830043 w 18171859"/>
                <a:gd name="connsiteY49" fmla="*/ 1256418 h 15946069"/>
                <a:gd name="connsiteX50" fmla="*/ 10323633 w 18171859"/>
                <a:gd name="connsiteY50" fmla="*/ 1220249 h 15946069"/>
                <a:gd name="connsiteX51" fmla="*/ 9802745 w 18171859"/>
                <a:gd name="connsiteY51" fmla="*/ 1603676 h 15946069"/>
                <a:gd name="connsiteX52" fmla="*/ 9223982 w 18171859"/>
                <a:gd name="connsiteY52" fmla="*/ 1621761 h 15946069"/>
                <a:gd name="connsiteX53" fmla="*/ 8782678 w 18171859"/>
                <a:gd name="connsiteY53" fmla="*/ 2171586 h 15946069"/>
                <a:gd name="connsiteX54" fmla="*/ 8272645 w 18171859"/>
                <a:gd name="connsiteY54" fmla="*/ 2102856 h 15946069"/>
                <a:gd name="connsiteX55" fmla="*/ 7853048 w 18171859"/>
                <a:gd name="connsiteY55" fmla="*/ 2526075 h 15946069"/>
                <a:gd name="connsiteX56" fmla="*/ 7323799 w 18171859"/>
                <a:gd name="connsiteY56" fmla="*/ 2632907 h 15946069"/>
                <a:gd name="connsiteX57" fmla="*/ 6977672 w 18171859"/>
                <a:gd name="connsiteY57" fmla="*/ 2178817 h 15946069"/>
                <a:gd name="connsiteX58" fmla="*/ 6594245 w 18171859"/>
                <a:gd name="connsiteY58" fmla="*/ 2055834 h 15946069"/>
                <a:gd name="connsiteX59" fmla="*/ 6431470 w 18171859"/>
                <a:gd name="connsiteY59" fmla="*/ 1314295 h 15946069"/>
                <a:gd name="connsiteX60" fmla="*/ 5642908 w 18171859"/>
                <a:gd name="connsiteY60" fmla="*/ 1343233 h 15946069"/>
                <a:gd name="connsiteX61" fmla="*/ 5150959 w 18171859"/>
                <a:gd name="connsiteY61" fmla="*/ 1610907 h 15946069"/>
                <a:gd name="connsiteX62" fmla="*/ 5480133 w 18171859"/>
                <a:gd name="connsiteY62" fmla="*/ 2167963 h 15946069"/>
                <a:gd name="connsiteX63" fmla="*/ 4742216 w 18171859"/>
                <a:gd name="connsiteY63" fmla="*/ 2862495 h 15946069"/>
                <a:gd name="connsiteX64" fmla="*/ 2658667 w 18171859"/>
                <a:gd name="connsiteY64" fmla="*/ 0 h 15946069"/>
                <a:gd name="connsiteX65" fmla="*/ 2658682 w 18171859"/>
                <a:gd name="connsiteY65" fmla="*/ 1018890 h 15946069"/>
                <a:gd name="connsiteX66" fmla="*/ 1850829 w 18171859"/>
                <a:gd name="connsiteY66" fmla="*/ 1730283 h 15946069"/>
                <a:gd name="connsiteX67" fmla="*/ 1404694 w 18171859"/>
                <a:gd name="connsiteY67" fmla="*/ 2272862 h 15946069"/>
                <a:gd name="connsiteX68" fmla="*/ 2351216 w 18171859"/>
                <a:gd name="connsiteY68" fmla="*/ 3388182 h 15946069"/>
                <a:gd name="connsiteX69" fmla="*/ 2658682 w 18171859"/>
                <a:gd name="connsiteY69" fmla="*/ 4286458 h 15946069"/>
                <a:gd name="connsiteX70" fmla="*/ 1935228 w 18171859"/>
                <a:gd name="connsiteY70" fmla="*/ 5220918 h 15946069"/>
                <a:gd name="connsiteX71" fmla="*/ 875281 w 18171859"/>
                <a:gd name="connsiteY71" fmla="*/ 5166646 h 15946069"/>
                <a:gd name="connsiteX72" fmla="*/ 0 w 18171859"/>
                <a:gd name="connsiteY72" fmla="*/ 5890112 h 15946069"/>
                <a:gd name="connsiteX73" fmla="*/ 72345 w 18171859"/>
                <a:gd name="connsiteY73" fmla="*/ 6921032 h 15946069"/>
                <a:gd name="connsiteX74" fmla="*/ 477776 w 18171859"/>
                <a:gd name="connsiteY74"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6413199 w 18171859"/>
                <a:gd name="connsiteY35" fmla="*/ 10920339 h 15946069"/>
                <a:gd name="connsiteX36" fmla="*/ 16428336 w 18171859"/>
                <a:gd name="connsiteY36" fmla="*/ 9374732 h 15946069"/>
                <a:gd name="connsiteX37" fmla="*/ 16024409 w 18171859"/>
                <a:gd name="connsiteY37" fmla="*/ 7433474 h 15946069"/>
                <a:gd name="connsiteX38" fmla="*/ 17911414 w 18171859"/>
                <a:gd name="connsiteY38" fmla="*/ 6083041 h 15946069"/>
                <a:gd name="connsiteX39" fmla="*/ 17385711 w 18171859"/>
                <a:gd name="connsiteY39" fmla="*/ 5219213 h 15946069"/>
                <a:gd name="connsiteX40" fmla="*/ 18171858 w 18171859"/>
                <a:gd name="connsiteY40" fmla="*/ 4701949 h 15946069"/>
                <a:gd name="connsiteX41" fmla="*/ 17814953 w 18171859"/>
                <a:gd name="connsiteY41" fmla="*/ 4117660 h 15946069"/>
                <a:gd name="connsiteX42" fmla="*/ 16852763 w 18171859"/>
                <a:gd name="connsiteY42" fmla="*/ 3282076 h 15946069"/>
                <a:gd name="connsiteX43" fmla="*/ 14429201 w 18171859"/>
                <a:gd name="connsiteY43" fmla="*/ 4027238 h 15946069"/>
                <a:gd name="connsiteX44" fmla="*/ 13383819 w 18171859"/>
                <a:gd name="connsiteY44" fmla="*/ 2963756 h 15946069"/>
                <a:gd name="connsiteX45" fmla="*/ 12493981 w 18171859"/>
                <a:gd name="connsiteY45" fmla="*/ 2927587 h 15946069"/>
                <a:gd name="connsiteX46" fmla="*/ 11976717 w 18171859"/>
                <a:gd name="connsiteY46" fmla="*/ 2139025 h 15946069"/>
                <a:gd name="connsiteX47" fmla="*/ 11484768 w 18171859"/>
                <a:gd name="connsiteY47" fmla="*/ 1495155 h 15946069"/>
                <a:gd name="connsiteX48" fmla="*/ 10830043 w 18171859"/>
                <a:gd name="connsiteY48" fmla="*/ 1256418 h 15946069"/>
                <a:gd name="connsiteX49" fmla="*/ 10323633 w 18171859"/>
                <a:gd name="connsiteY49" fmla="*/ 1220249 h 15946069"/>
                <a:gd name="connsiteX50" fmla="*/ 9802745 w 18171859"/>
                <a:gd name="connsiteY50" fmla="*/ 1603676 h 15946069"/>
                <a:gd name="connsiteX51" fmla="*/ 9223982 w 18171859"/>
                <a:gd name="connsiteY51" fmla="*/ 1621761 h 15946069"/>
                <a:gd name="connsiteX52" fmla="*/ 8782678 w 18171859"/>
                <a:gd name="connsiteY52" fmla="*/ 2171586 h 15946069"/>
                <a:gd name="connsiteX53" fmla="*/ 8272645 w 18171859"/>
                <a:gd name="connsiteY53" fmla="*/ 2102856 h 15946069"/>
                <a:gd name="connsiteX54" fmla="*/ 7853048 w 18171859"/>
                <a:gd name="connsiteY54" fmla="*/ 2526075 h 15946069"/>
                <a:gd name="connsiteX55" fmla="*/ 7323799 w 18171859"/>
                <a:gd name="connsiteY55" fmla="*/ 2632907 h 15946069"/>
                <a:gd name="connsiteX56" fmla="*/ 6977672 w 18171859"/>
                <a:gd name="connsiteY56" fmla="*/ 2178817 h 15946069"/>
                <a:gd name="connsiteX57" fmla="*/ 6594245 w 18171859"/>
                <a:gd name="connsiteY57" fmla="*/ 2055834 h 15946069"/>
                <a:gd name="connsiteX58" fmla="*/ 6431470 w 18171859"/>
                <a:gd name="connsiteY58" fmla="*/ 1314295 h 15946069"/>
                <a:gd name="connsiteX59" fmla="*/ 5642908 w 18171859"/>
                <a:gd name="connsiteY59" fmla="*/ 1343233 h 15946069"/>
                <a:gd name="connsiteX60" fmla="*/ 5150959 w 18171859"/>
                <a:gd name="connsiteY60" fmla="*/ 1610907 h 15946069"/>
                <a:gd name="connsiteX61" fmla="*/ 5480133 w 18171859"/>
                <a:gd name="connsiteY61" fmla="*/ 2167963 h 15946069"/>
                <a:gd name="connsiteX62" fmla="*/ 4742216 w 18171859"/>
                <a:gd name="connsiteY62" fmla="*/ 2862495 h 15946069"/>
                <a:gd name="connsiteX63" fmla="*/ 2658667 w 18171859"/>
                <a:gd name="connsiteY63" fmla="*/ 0 h 15946069"/>
                <a:gd name="connsiteX64" fmla="*/ 2658682 w 18171859"/>
                <a:gd name="connsiteY64" fmla="*/ 1018890 h 15946069"/>
                <a:gd name="connsiteX65" fmla="*/ 1850829 w 18171859"/>
                <a:gd name="connsiteY65" fmla="*/ 1730283 h 15946069"/>
                <a:gd name="connsiteX66" fmla="*/ 1404694 w 18171859"/>
                <a:gd name="connsiteY66" fmla="*/ 2272862 h 15946069"/>
                <a:gd name="connsiteX67" fmla="*/ 2351216 w 18171859"/>
                <a:gd name="connsiteY67" fmla="*/ 3388182 h 15946069"/>
                <a:gd name="connsiteX68" fmla="*/ 2658682 w 18171859"/>
                <a:gd name="connsiteY68" fmla="*/ 4286458 h 15946069"/>
                <a:gd name="connsiteX69" fmla="*/ 1935228 w 18171859"/>
                <a:gd name="connsiteY69" fmla="*/ 5220918 h 15946069"/>
                <a:gd name="connsiteX70" fmla="*/ 875281 w 18171859"/>
                <a:gd name="connsiteY70" fmla="*/ 5166646 h 15946069"/>
                <a:gd name="connsiteX71" fmla="*/ 0 w 18171859"/>
                <a:gd name="connsiteY71" fmla="*/ 5890112 h 15946069"/>
                <a:gd name="connsiteX72" fmla="*/ 72345 w 18171859"/>
                <a:gd name="connsiteY72" fmla="*/ 6921032 h 15946069"/>
                <a:gd name="connsiteX73" fmla="*/ 477776 w 18171859"/>
                <a:gd name="connsiteY73"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5409477 w 18171859"/>
                <a:gd name="connsiteY33" fmla="*/ 11882693 h 15946069"/>
                <a:gd name="connsiteX34" fmla="*/ 16413199 w 18171859"/>
                <a:gd name="connsiteY34" fmla="*/ 10920339 h 15946069"/>
                <a:gd name="connsiteX35" fmla="*/ 16428336 w 18171859"/>
                <a:gd name="connsiteY35" fmla="*/ 9374732 h 15946069"/>
                <a:gd name="connsiteX36" fmla="*/ 16024409 w 18171859"/>
                <a:gd name="connsiteY36" fmla="*/ 7433474 h 15946069"/>
                <a:gd name="connsiteX37" fmla="*/ 17911414 w 18171859"/>
                <a:gd name="connsiteY37" fmla="*/ 6083041 h 15946069"/>
                <a:gd name="connsiteX38" fmla="*/ 17385711 w 18171859"/>
                <a:gd name="connsiteY38" fmla="*/ 5219213 h 15946069"/>
                <a:gd name="connsiteX39" fmla="*/ 18171858 w 18171859"/>
                <a:gd name="connsiteY39" fmla="*/ 4701949 h 15946069"/>
                <a:gd name="connsiteX40" fmla="*/ 17814953 w 18171859"/>
                <a:gd name="connsiteY40" fmla="*/ 4117660 h 15946069"/>
                <a:gd name="connsiteX41" fmla="*/ 16852763 w 18171859"/>
                <a:gd name="connsiteY41" fmla="*/ 3282076 h 15946069"/>
                <a:gd name="connsiteX42" fmla="*/ 14429201 w 18171859"/>
                <a:gd name="connsiteY42" fmla="*/ 4027238 h 15946069"/>
                <a:gd name="connsiteX43" fmla="*/ 13383819 w 18171859"/>
                <a:gd name="connsiteY43" fmla="*/ 2963756 h 15946069"/>
                <a:gd name="connsiteX44" fmla="*/ 12493981 w 18171859"/>
                <a:gd name="connsiteY44" fmla="*/ 2927587 h 15946069"/>
                <a:gd name="connsiteX45" fmla="*/ 11976717 w 18171859"/>
                <a:gd name="connsiteY45" fmla="*/ 2139025 h 15946069"/>
                <a:gd name="connsiteX46" fmla="*/ 11484768 w 18171859"/>
                <a:gd name="connsiteY46" fmla="*/ 1495155 h 15946069"/>
                <a:gd name="connsiteX47" fmla="*/ 10830043 w 18171859"/>
                <a:gd name="connsiteY47" fmla="*/ 1256418 h 15946069"/>
                <a:gd name="connsiteX48" fmla="*/ 10323633 w 18171859"/>
                <a:gd name="connsiteY48" fmla="*/ 1220249 h 15946069"/>
                <a:gd name="connsiteX49" fmla="*/ 9802745 w 18171859"/>
                <a:gd name="connsiteY49" fmla="*/ 1603676 h 15946069"/>
                <a:gd name="connsiteX50" fmla="*/ 9223982 w 18171859"/>
                <a:gd name="connsiteY50" fmla="*/ 1621761 h 15946069"/>
                <a:gd name="connsiteX51" fmla="*/ 8782678 w 18171859"/>
                <a:gd name="connsiteY51" fmla="*/ 2171586 h 15946069"/>
                <a:gd name="connsiteX52" fmla="*/ 8272645 w 18171859"/>
                <a:gd name="connsiteY52" fmla="*/ 2102856 h 15946069"/>
                <a:gd name="connsiteX53" fmla="*/ 7853048 w 18171859"/>
                <a:gd name="connsiteY53" fmla="*/ 2526075 h 15946069"/>
                <a:gd name="connsiteX54" fmla="*/ 7323799 w 18171859"/>
                <a:gd name="connsiteY54" fmla="*/ 2632907 h 15946069"/>
                <a:gd name="connsiteX55" fmla="*/ 6977672 w 18171859"/>
                <a:gd name="connsiteY55" fmla="*/ 2178817 h 15946069"/>
                <a:gd name="connsiteX56" fmla="*/ 6594245 w 18171859"/>
                <a:gd name="connsiteY56" fmla="*/ 2055834 h 15946069"/>
                <a:gd name="connsiteX57" fmla="*/ 6431470 w 18171859"/>
                <a:gd name="connsiteY57" fmla="*/ 1314295 h 15946069"/>
                <a:gd name="connsiteX58" fmla="*/ 5642908 w 18171859"/>
                <a:gd name="connsiteY58" fmla="*/ 1343233 h 15946069"/>
                <a:gd name="connsiteX59" fmla="*/ 5150959 w 18171859"/>
                <a:gd name="connsiteY59" fmla="*/ 1610907 h 15946069"/>
                <a:gd name="connsiteX60" fmla="*/ 5480133 w 18171859"/>
                <a:gd name="connsiteY60" fmla="*/ 2167963 h 15946069"/>
                <a:gd name="connsiteX61" fmla="*/ 4742216 w 18171859"/>
                <a:gd name="connsiteY61" fmla="*/ 2862495 h 15946069"/>
                <a:gd name="connsiteX62" fmla="*/ 2658667 w 18171859"/>
                <a:gd name="connsiteY62" fmla="*/ 0 h 15946069"/>
                <a:gd name="connsiteX63" fmla="*/ 2658682 w 18171859"/>
                <a:gd name="connsiteY63" fmla="*/ 1018890 h 15946069"/>
                <a:gd name="connsiteX64" fmla="*/ 1850829 w 18171859"/>
                <a:gd name="connsiteY64" fmla="*/ 1730283 h 15946069"/>
                <a:gd name="connsiteX65" fmla="*/ 1404694 w 18171859"/>
                <a:gd name="connsiteY65" fmla="*/ 2272862 h 15946069"/>
                <a:gd name="connsiteX66" fmla="*/ 2351216 w 18171859"/>
                <a:gd name="connsiteY66" fmla="*/ 3388182 h 15946069"/>
                <a:gd name="connsiteX67" fmla="*/ 2658682 w 18171859"/>
                <a:gd name="connsiteY67" fmla="*/ 4286458 h 15946069"/>
                <a:gd name="connsiteX68" fmla="*/ 1935228 w 18171859"/>
                <a:gd name="connsiteY68" fmla="*/ 5220918 h 15946069"/>
                <a:gd name="connsiteX69" fmla="*/ 875281 w 18171859"/>
                <a:gd name="connsiteY69" fmla="*/ 5166646 h 15946069"/>
                <a:gd name="connsiteX70" fmla="*/ 0 w 18171859"/>
                <a:gd name="connsiteY70" fmla="*/ 5890112 h 15946069"/>
                <a:gd name="connsiteX71" fmla="*/ 72345 w 18171859"/>
                <a:gd name="connsiteY71" fmla="*/ 6921032 h 15946069"/>
                <a:gd name="connsiteX72" fmla="*/ 477776 w 18171859"/>
                <a:gd name="connsiteY72"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4004775 w 18171859"/>
                <a:gd name="connsiteY31" fmla="*/ 11611395 h 15946069"/>
                <a:gd name="connsiteX32" fmla="*/ 15409477 w 18171859"/>
                <a:gd name="connsiteY32" fmla="*/ 11882693 h 15946069"/>
                <a:gd name="connsiteX33" fmla="*/ 16413199 w 18171859"/>
                <a:gd name="connsiteY33" fmla="*/ 10920339 h 15946069"/>
                <a:gd name="connsiteX34" fmla="*/ 16428336 w 18171859"/>
                <a:gd name="connsiteY34" fmla="*/ 9374732 h 15946069"/>
                <a:gd name="connsiteX35" fmla="*/ 16024409 w 18171859"/>
                <a:gd name="connsiteY35" fmla="*/ 7433474 h 15946069"/>
                <a:gd name="connsiteX36" fmla="*/ 17911414 w 18171859"/>
                <a:gd name="connsiteY36" fmla="*/ 6083041 h 15946069"/>
                <a:gd name="connsiteX37" fmla="*/ 17385711 w 18171859"/>
                <a:gd name="connsiteY37" fmla="*/ 5219213 h 15946069"/>
                <a:gd name="connsiteX38" fmla="*/ 18171858 w 18171859"/>
                <a:gd name="connsiteY38" fmla="*/ 4701949 h 15946069"/>
                <a:gd name="connsiteX39" fmla="*/ 17814953 w 18171859"/>
                <a:gd name="connsiteY39" fmla="*/ 4117660 h 15946069"/>
                <a:gd name="connsiteX40" fmla="*/ 16852763 w 18171859"/>
                <a:gd name="connsiteY40" fmla="*/ 3282076 h 15946069"/>
                <a:gd name="connsiteX41" fmla="*/ 14429201 w 18171859"/>
                <a:gd name="connsiteY41" fmla="*/ 4027238 h 15946069"/>
                <a:gd name="connsiteX42" fmla="*/ 13383819 w 18171859"/>
                <a:gd name="connsiteY42" fmla="*/ 2963756 h 15946069"/>
                <a:gd name="connsiteX43" fmla="*/ 12493981 w 18171859"/>
                <a:gd name="connsiteY43" fmla="*/ 2927587 h 15946069"/>
                <a:gd name="connsiteX44" fmla="*/ 11976717 w 18171859"/>
                <a:gd name="connsiteY44" fmla="*/ 2139025 h 15946069"/>
                <a:gd name="connsiteX45" fmla="*/ 11484768 w 18171859"/>
                <a:gd name="connsiteY45" fmla="*/ 1495155 h 15946069"/>
                <a:gd name="connsiteX46" fmla="*/ 10830043 w 18171859"/>
                <a:gd name="connsiteY46" fmla="*/ 1256418 h 15946069"/>
                <a:gd name="connsiteX47" fmla="*/ 10323633 w 18171859"/>
                <a:gd name="connsiteY47" fmla="*/ 1220249 h 15946069"/>
                <a:gd name="connsiteX48" fmla="*/ 9802745 w 18171859"/>
                <a:gd name="connsiteY48" fmla="*/ 1603676 h 15946069"/>
                <a:gd name="connsiteX49" fmla="*/ 9223982 w 18171859"/>
                <a:gd name="connsiteY49" fmla="*/ 1621761 h 15946069"/>
                <a:gd name="connsiteX50" fmla="*/ 8782678 w 18171859"/>
                <a:gd name="connsiteY50" fmla="*/ 2171586 h 15946069"/>
                <a:gd name="connsiteX51" fmla="*/ 8272645 w 18171859"/>
                <a:gd name="connsiteY51" fmla="*/ 2102856 h 15946069"/>
                <a:gd name="connsiteX52" fmla="*/ 7853048 w 18171859"/>
                <a:gd name="connsiteY52" fmla="*/ 2526075 h 15946069"/>
                <a:gd name="connsiteX53" fmla="*/ 7323799 w 18171859"/>
                <a:gd name="connsiteY53" fmla="*/ 2632907 h 15946069"/>
                <a:gd name="connsiteX54" fmla="*/ 6977672 w 18171859"/>
                <a:gd name="connsiteY54" fmla="*/ 2178817 h 15946069"/>
                <a:gd name="connsiteX55" fmla="*/ 6594245 w 18171859"/>
                <a:gd name="connsiteY55" fmla="*/ 2055834 h 15946069"/>
                <a:gd name="connsiteX56" fmla="*/ 6431470 w 18171859"/>
                <a:gd name="connsiteY56" fmla="*/ 1314295 h 15946069"/>
                <a:gd name="connsiteX57" fmla="*/ 5642908 w 18171859"/>
                <a:gd name="connsiteY57" fmla="*/ 1343233 h 15946069"/>
                <a:gd name="connsiteX58" fmla="*/ 5150959 w 18171859"/>
                <a:gd name="connsiteY58" fmla="*/ 1610907 h 15946069"/>
                <a:gd name="connsiteX59" fmla="*/ 5480133 w 18171859"/>
                <a:gd name="connsiteY59" fmla="*/ 2167963 h 15946069"/>
                <a:gd name="connsiteX60" fmla="*/ 4742216 w 18171859"/>
                <a:gd name="connsiteY60" fmla="*/ 2862495 h 15946069"/>
                <a:gd name="connsiteX61" fmla="*/ 2658667 w 18171859"/>
                <a:gd name="connsiteY61" fmla="*/ 0 h 15946069"/>
                <a:gd name="connsiteX62" fmla="*/ 2658682 w 18171859"/>
                <a:gd name="connsiteY62" fmla="*/ 1018890 h 15946069"/>
                <a:gd name="connsiteX63" fmla="*/ 1850829 w 18171859"/>
                <a:gd name="connsiteY63" fmla="*/ 1730283 h 15946069"/>
                <a:gd name="connsiteX64" fmla="*/ 1404694 w 18171859"/>
                <a:gd name="connsiteY64" fmla="*/ 2272862 h 15946069"/>
                <a:gd name="connsiteX65" fmla="*/ 2351216 w 18171859"/>
                <a:gd name="connsiteY65" fmla="*/ 3388182 h 15946069"/>
                <a:gd name="connsiteX66" fmla="*/ 2658682 w 18171859"/>
                <a:gd name="connsiteY66" fmla="*/ 4286458 h 15946069"/>
                <a:gd name="connsiteX67" fmla="*/ 1935228 w 18171859"/>
                <a:gd name="connsiteY67" fmla="*/ 5220918 h 15946069"/>
                <a:gd name="connsiteX68" fmla="*/ 875281 w 18171859"/>
                <a:gd name="connsiteY68" fmla="*/ 5166646 h 15946069"/>
                <a:gd name="connsiteX69" fmla="*/ 0 w 18171859"/>
                <a:gd name="connsiteY69" fmla="*/ 5890112 h 15946069"/>
                <a:gd name="connsiteX70" fmla="*/ 72345 w 18171859"/>
                <a:gd name="connsiteY70" fmla="*/ 6921032 h 15946069"/>
                <a:gd name="connsiteX71" fmla="*/ 477776 w 18171859"/>
                <a:gd name="connsiteY7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2196146 w 18171859"/>
                <a:gd name="connsiteY29" fmla="*/ 11388328 h 15946069"/>
                <a:gd name="connsiteX30" fmla="*/ 14004775 w 18171859"/>
                <a:gd name="connsiteY30" fmla="*/ 11611395 h 15946069"/>
                <a:gd name="connsiteX31" fmla="*/ 15409477 w 18171859"/>
                <a:gd name="connsiteY31" fmla="*/ 11882693 h 15946069"/>
                <a:gd name="connsiteX32" fmla="*/ 16413199 w 18171859"/>
                <a:gd name="connsiteY32" fmla="*/ 10920339 h 15946069"/>
                <a:gd name="connsiteX33" fmla="*/ 16428336 w 18171859"/>
                <a:gd name="connsiteY33" fmla="*/ 9374732 h 15946069"/>
                <a:gd name="connsiteX34" fmla="*/ 16024409 w 18171859"/>
                <a:gd name="connsiteY34" fmla="*/ 7433474 h 15946069"/>
                <a:gd name="connsiteX35" fmla="*/ 17911414 w 18171859"/>
                <a:gd name="connsiteY35" fmla="*/ 6083041 h 15946069"/>
                <a:gd name="connsiteX36" fmla="*/ 17385711 w 18171859"/>
                <a:gd name="connsiteY36" fmla="*/ 5219213 h 15946069"/>
                <a:gd name="connsiteX37" fmla="*/ 18171858 w 18171859"/>
                <a:gd name="connsiteY37" fmla="*/ 4701949 h 15946069"/>
                <a:gd name="connsiteX38" fmla="*/ 17814953 w 18171859"/>
                <a:gd name="connsiteY38" fmla="*/ 4117660 h 15946069"/>
                <a:gd name="connsiteX39" fmla="*/ 16852763 w 18171859"/>
                <a:gd name="connsiteY39" fmla="*/ 3282076 h 15946069"/>
                <a:gd name="connsiteX40" fmla="*/ 14429201 w 18171859"/>
                <a:gd name="connsiteY40" fmla="*/ 4027238 h 15946069"/>
                <a:gd name="connsiteX41" fmla="*/ 13383819 w 18171859"/>
                <a:gd name="connsiteY41" fmla="*/ 2963756 h 15946069"/>
                <a:gd name="connsiteX42" fmla="*/ 12493981 w 18171859"/>
                <a:gd name="connsiteY42" fmla="*/ 2927587 h 15946069"/>
                <a:gd name="connsiteX43" fmla="*/ 11976717 w 18171859"/>
                <a:gd name="connsiteY43" fmla="*/ 2139025 h 15946069"/>
                <a:gd name="connsiteX44" fmla="*/ 11484768 w 18171859"/>
                <a:gd name="connsiteY44" fmla="*/ 1495155 h 15946069"/>
                <a:gd name="connsiteX45" fmla="*/ 10830043 w 18171859"/>
                <a:gd name="connsiteY45" fmla="*/ 1256418 h 15946069"/>
                <a:gd name="connsiteX46" fmla="*/ 10323633 w 18171859"/>
                <a:gd name="connsiteY46" fmla="*/ 1220249 h 15946069"/>
                <a:gd name="connsiteX47" fmla="*/ 9802745 w 18171859"/>
                <a:gd name="connsiteY47" fmla="*/ 1603676 h 15946069"/>
                <a:gd name="connsiteX48" fmla="*/ 9223982 w 18171859"/>
                <a:gd name="connsiteY48" fmla="*/ 1621761 h 15946069"/>
                <a:gd name="connsiteX49" fmla="*/ 8782678 w 18171859"/>
                <a:gd name="connsiteY49" fmla="*/ 2171586 h 15946069"/>
                <a:gd name="connsiteX50" fmla="*/ 8272645 w 18171859"/>
                <a:gd name="connsiteY50" fmla="*/ 2102856 h 15946069"/>
                <a:gd name="connsiteX51" fmla="*/ 7853048 w 18171859"/>
                <a:gd name="connsiteY51" fmla="*/ 2526075 h 15946069"/>
                <a:gd name="connsiteX52" fmla="*/ 7323799 w 18171859"/>
                <a:gd name="connsiteY52" fmla="*/ 2632907 h 15946069"/>
                <a:gd name="connsiteX53" fmla="*/ 6977672 w 18171859"/>
                <a:gd name="connsiteY53" fmla="*/ 2178817 h 15946069"/>
                <a:gd name="connsiteX54" fmla="*/ 6594245 w 18171859"/>
                <a:gd name="connsiteY54" fmla="*/ 2055834 h 15946069"/>
                <a:gd name="connsiteX55" fmla="*/ 6431470 w 18171859"/>
                <a:gd name="connsiteY55" fmla="*/ 1314295 h 15946069"/>
                <a:gd name="connsiteX56" fmla="*/ 5642908 w 18171859"/>
                <a:gd name="connsiteY56" fmla="*/ 1343233 h 15946069"/>
                <a:gd name="connsiteX57" fmla="*/ 5150959 w 18171859"/>
                <a:gd name="connsiteY57" fmla="*/ 1610907 h 15946069"/>
                <a:gd name="connsiteX58" fmla="*/ 5480133 w 18171859"/>
                <a:gd name="connsiteY58" fmla="*/ 2167963 h 15946069"/>
                <a:gd name="connsiteX59" fmla="*/ 4742216 w 18171859"/>
                <a:gd name="connsiteY59" fmla="*/ 2862495 h 15946069"/>
                <a:gd name="connsiteX60" fmla="*/ 2658667 w 18171859"/>
                <a:gd name="connsiteY60" fmla="*/ 0 h 15946069"/>
                <a:gd name="connsiteX61" fmla="*/ 2658682 w 18171859"/>
                <a:gd name="connsiteY61" fmla="*/ 1018890 h 15946069"/>
                <a:gd name="connsiteX62" fmla="*/ 1850829 w 18171859"/>
                <a:gd name="connsiteY62" fmla="*/ 1730283 h 15946069"/>
                <a:gd name="connsiteX63" fmla="*/ 1404694 w 18171859"/>
                <a:gd name="connsiteY63" fmla="*/ 2272862 h 15946069"/>
                <a:gd name="connsiteX64" fmla="*/ 2351216 w 18171859"/>
                <a:gd name="connsiteY64" fmla="*/ 3388182 h 15946069"/>
                <a:gd name="connsiteX65" fmla="*/ 2658682 w 18171859"/>
                <a:gd name="connsiteY65" fmla="*/ 4286458 h 15946069"/>
                <a:gd name="connsiteX66" fmla="*/ 1935228 w 18171859"/>
                <a:gd name="connsiteY66" fmla="*/ 5220918 h 15946069"/>
                <a:gd name="connsiteX67" fmla="*/ 875281 w 18171859"/>
                <a:gd name="connsiteY67" fmla="*/ 5166646 h 15946069"/>
                <a:gd name="connsiteX68" fmla="*/ 0 w 18171859"/>
                <a:gd name="connsiteY68" fmla="*/ 5890112 h 15946069"/>
                <a:gd name="connsiteX69" fmla="*/ 72345 w 18171859"/>
                <a:gd name="connsiteY69" fmla="*/ 6921032 h 15946069"/>
                <a:gd name="connsiteX70" fmla="*/ 477776 w 18171859"/>
                <a:gd name="connsiteY7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780218 w 18171859"/>
                <a:gd name="connsiteY27" fmla="*/ 13579811 h 15946069"/>
                <a:gd name="connsiteX28" fmla="*/ 12196146 w 18171859"/>
                <a:gd name="connsiteY28" fmla="*/ 11388328 h 15946069"/>
                <a:gd name="connsiteX29" fmla="*/ 14004775 w 18171859"/>
                <a:gd name="connsiteY29" fmla="*/ 11611395 h 15946069"/>
                <a:gd name="connsiteX30" fmla="*/ 15409477 w 18171859"/>
                <a:gd name="connsiteY30" fmla="*/ 11882693 h 15946069"/>
                <a:gd name="connsiteX31" fmla="*/ 16413199 w 18171859"/>
                <a:gd name="connsiteY31" fmla="*/ 10920339 h 15946069"/>
                <a:gd name="connsiteX32" fmla="*/ 16428336 w 18171859"/>
                <a:gd name="connsiteY32" fmla="*/ 9374732 h 15946069"/>
                <a:gd name="connsiteX33" fmla="*/ 16024409 w 18171859"/>
                <a:gd name="connsiteY33" fmla="*/ 7433474 h 15946069"/>
                <a:gd name="connsiteX34" fmla="*/ 17911414 w 18171859"/>
                <a:gd name="connsiteY34" fmla="*/ 6083041 h 15946069"/>
                <a:gd name="connsiteX35" fmla="*/ 17385711 w 18171859"/>
                <a:gd name="connsiteY35" fmla="*/ 5219213 h 15946069"/>
                <a:gd name="connsiteX36" fmla="*/ 18171858 w 18171859"/>
                <a:gd name="connsiteY36" fmla="*/ 4701949 h 15946069"/>
                <a:gd name="connsiteX37" fmla="*/ 17814953 w 18171859"/>
                <a:gd name="connsiteY37" fmla="*/ 4117660 h 15946069"/>
                <a:gd name="connsiteX38" fmla="*/ 16852763 w 18171859"/>
                <a:gd name="connsiteY38" fmla="*/ 3282076 h 15946069"/>
                <a:gd name="connsiteX39" fmla="*/ 14429201 w 18171859"/>
                <a:gd name="connsiteY39" fmla="*/ 4027238 h 15946069"/>
                <a:gd name="connsiteX40" fmla="*/ 13383819 w 18171859"/>
                <a:gd name="connsiteY40" fmla="*/ 2963756 h 15946069"/>
                <a:gd name="connsiteX41" fmla="*/ 12493981 w 18171859"/>
                <a:gd name="connsiteY41" fmla="*/ 2927587 h 15946069"/>
                <a:gd name="connsiteX42" fmla="*/ 11976717 w 18171859"/>
                <a:gd name="connsiteY42" fmla="*/ 2139025 h 15946069"/>
                <a:gd name="connsiteX43" fmla="*/ 11484768 w 18171859"/>
                <a:gd name="connsiteY43" fmla="*/ 1495155 h 15946069"/>
                <a:gd name="connsiteX44" fmla="*/ 10830043 w 18171859"/>
                <a:gd name="connsiteY44" fmla="*/ 1256418 h 15946069"/>
                <a:gd name="connsiteX45" fmla="*/ 10323633 w 18171859"/>
                <a:gd name="connsiteY45" fmla="*/ 1220249 h 15946069"/>
                <a:gd name="connsiteX46" fmla="*/ 9802745 w 18171859"/>
                <a:gd name="connsiteY46" fmla="*/ 1603676 h 15946069"/>
                <a:gd name="connsiteX47" fmla="*/ 9223982 w 18171859"/>
                <a:gd name="connsiteY47" fmla="*/ 1621761 h 15946069"/>
                <a:gd name="connsiteX48" fmla="*/ 8782678 w 18171859"/>
                <a:gd name="connsiteY48" fmla="*/ 2171586 h 15946069"/>
                <a:gd name="connsiteX49" fmla="*/ 8272645 w 18171859"/>
                <a:gd name="connsiteY49" fmla="*/ 2102856 h 15946069"/>
                <a:gd name="connsiteX50" fmla="*/ 7853048 w 18171859"/>
                <a:gd name="connsiteY50" fmla="*/ 2526075 h 15946069"/>
                <a:gd name="connsiteX51" fmla="*/ 7323799 w 18171859"/>
                <a:gd name="connsiteY51" fmla="*/ 2632907 h 15946069"/>
                <a:gd name="connsiteX52" fmla="*/ 6977672 w 18171859"/>
                <a:gd name="connsiteY52" fmla="*/ 2178817 h 15946069"/>
                <a:gd name="connsiteX53" fmla="*/ 6594245 w 18171859"/>
                <a:gd name="connsiteY53" fmla="*/ 2055834 h 15946069"/>
                <a:gd name="connsiteX54" fmla="*/ 6431470 w 18171859"/>
                <a:gd name="connsiteY54" fmla="*/ 1314295 h 15946069"/>
                <a:gd name="connsiteX55" fmla="*/ 5642908 w 18171859"/>
                <a:gd name="connsiteY55" fmla="*/ 1343233 h 15946069"/>
                <a:gd name="connsiteX56" fmla="*/ 5150959 w 18171859"/>
                <a:gd name="connsiteY56" fmla="*/ 1610907 h 15946069"/>
                <a:gd name="connsiteX57" fmla="*/ 5480133 w 18171859"/>
                <a:gd name="connsiteY57" fmla="*/ 2167963 h 15946069"/>
                <a:gd name="connsiteX58" fmla="*/ 4742216 w 18171859"/>
                <a:gd name="connsiteY58" fmla="*/ 2862495 h 15946069"/>
                <a:gd name="connsiteX59" fmla="*/ 2658667 w 18171859"/>
                <a:gd name="connsiteY59" fmla="*/ 0 h 15946069"/>
                <a:gd name="connsiteX60" fmla="*/ 2658682 w 18171859"/>
                <a:gd name="connsiteY60" fmla="*/ 1018890 h 15946069"/>
                <a:gd name="connsiteX61" fmla="*/ 1850829 w 18171859"/>
                <a:gd name="connsiteY61" fmla="*/ 1730283 h 15946069"/>
                <a:gd name="connsiteX62" fmla="*/ 1404694 w 18171859"/>
                <a:gd name="connsiteY62" fmla="*/ 2272862 h 15946069"/>
                <a:gd name="connsiteX63" fmla="*/ 2351216 w 18171859"/>
                <a:gd name="connsiteY63" fmla="*/ 3388182 h 15946069"/>
                <a:gd name="connsiteX64" fmla="*/ 2658682 w 18171859"/>
                <a:gd name="connsiteY64" fmla="*/ 4286458 h 15946069"/>
                <a:gd name="connsiteX65" fmla="*/ 1935228 w 18171859"/>
                <a:gd name="connsiteY65" fmla="*/ 5220918 h 15946069"/>
                <a:gd name="connsiteX66" fmla="*/ 875281 w 18171859"/>
                <a:gd name="connsiteY66" fmla="*/ 5166646 h 15946069"/>
                <a:gd name="connsiteX67" fmla="*/ 0 w 18171859"/>
                <a:gd name="connsiteY67" fmla="*/ 5890112 h 15946069"/>
                <a:gd name="connsiteX68" fmla="*/ 72345 w 18171859"/>
                <a:gd name="connsiteY68" fmla="*/ 6921032 h 15946069"/>
                <a:gd name="connsiteX69" fmla="*/ 477776 w 18171859"/>
                <a:gd name="connsiteY69"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616683 w 18171859"/>
                <a:gd name="connsiteY24" fmla="*/ 15358294 h 15946069"/>
                <a:gd name="connsiteX25" fmla="*/ 11117010 w 18171859"/>
                <a:gd name="connsiteY25" fmla="*/ 15946069 h 15946069"/>
                <a:gd name="connsiteX26" fmla="*/ 11780218 w 18171859"/>
                <a:gd name="connsiteY26" fmla="*/ 13579811 h 15946069"/>
                <a:gd name="connsiteX27" fmla="*/ 12196146 w 18171859"/>
                <a:gd name="connsiteY27" fmla="*/ 11388328 h 15946069"/>
                <a:gd name="connsiteX28" fmla="*/ 14004775 w 18171859"/>
                <a:gd name="connsiteY28" fmla="*/ 11611395 h 15946069"/>
                <a:gd name="connsiteX29" fmla="*/ 15409477 w 18171859"/>
                <a:gd name="connsiteY29" fmla="*/ 11882693 h 15946069"/>
                <a:gd name="connsiteX30" fmla="*/ 16413199 w 18171859"/>
                <a:gd name="connsiteY30" fmla="*/ 10920339 h 15946069"/>
                <a:gd name="connsiteX31" fmla="*/ 16428336 w 18171859"/>
                <a:gd name="connsiteY31" fmla="*/ 9374732 h 15946069"/>
                <a:gd name="connsiteX32" fmla="*/ 16024409 w 18171859"/>
                <a:gd name="connsiteY32" fmla="*/ 7433474 h 15946069"/>
                <a:gd name="connsiteX33" fmla="*/ 17911414 w 18171859"/>
                <a:gd name="connsiteY33" fmla="*/ 6083041 h 15946069"/>
                <a:gd name="connsiteX34" fmla="*/ 17385711 w 18171859"/>
                <a:gd name="connsiteY34" fmla="*/ 5219213 h 15946069"/>
                <a:gd name="connsiteX35" fmla="*/ 18171858 w 18171859"/>
                <a:gd name="connsiteY35" fmla="*/ 4701949 h 15946069"/>
                <a:gd name="connsiteX36" fmla="*/ 17814953 w 18171859"/>
                <a:gd name="connsiteY36" fmla="*/ 4117660 h 15946069"/>
                <a:gd name="connsiteX37" fmla="*/ 16852763 w 18171859"/>
                <a:gd name="connsiteY37" fmla="*/ 3282076 h 15946069"/>
                <a:gd name="connsiteX38" fmla="*/ 14429201 w 18171859"/>
                <a:gd name="connsiteY38" fmla="*/ 4027238 h 15946069"/>
                <a:gd name="connsiteX39" fmla="*/ 13383819 w 18171859"/>
                <a:gd name="connsiteY39" fmla="*/ 2963756 h 15946069"/>
                <a:gd name="connsiteX40" fmla="*/ 12493981 w 18171859"/>
                <a:gd name="connsiteY40" fmla="*/ 2927587 h 15946069"/>
                <a:gd name="connsiteX41" fmla="*/ 11976717 w 18171859"/>
                <a:gd name="connsiteY41" fmla="*/ 2139025 h 15946069"/>
                <a:gd name="connsiteX42" fmla="*/ 11484768 w 18171859"/>
                <a:gd name="connsiteY42" fmla="*/ 1495155 h 15946069"/>
                <a:gd name="connsiteX43" fmla="*/ 10830043 w 18171859"/>
                <a:gd name="connsiteY43" fmla="*/ 1256418 h 15946069"/>
                <a:gd name="connsiteX44" fmla="*/ 10323633 w 18171859"/>
                <a:gd name="connsiteY44" fmla="*/ 1220249 h 15946069"/>
                <a:gd name="connsiteX45" fmla="*/ 9802745 w 18171859"/>
                <a:gd name="connsiteY45" fmla="*/ 1603676 h 15946069"/>
                <a:gd name="connsiteX46" fmla="*/ 9223982 w 18171859"/>
                <a:gd name="connsiteY46" fmla="*/ 1621761 h 15946069"/>
                <a:gd name="connsiteX47" fmla="*/ 8782678 w 18171859"/>
                <a:gd name="connsiteY47" fmla="*/ 2171586 h 15946069"/>
                <a:gd name="connsiteX48" fmla="*/ 8272645 w 18171859"/>
                <a:gd name="connsiteY48" fmla="*/ 2102856 h 15946069"/>
                <a:gd name="connsiteX49" fmla="*/ 7853048 w 18171859"/>
                <a:gd name="connsiteY49" fmla="*/ 2526075 h 15946069"/>
                <a:gd name="connsiteX50" fmla="*/ 7323799 w 18171859"/>
                <a:gd name="connsiteY50" fmla="*/ 2632907 h 15946069"/>
                <a:gd name="connsiteX51" fmla="*/ 6977672 w 18171859"/>
                <a:gd name="connsiteY51" fmla="*/ 2178817 h 15946069"/>
                <a:gd name="connsiteX52" fmla="*/ 6594245 w 18171859"/>
                <a:gd name="connsiteY52" fmla="*/ 2055834 h 15946069"/>
                <a:gd name="connsiteX53" fmla="*/ 6431470 w 18171859"/>
                <a:gd name="connsiteY53" fmla="*/ 1314295 h 15946069"/>
                <a:gd name="connsiteX54" fmla="*/ 5642908 w 18171859"/>
                <a:gd name="connsiteY54" fmla="*/ 1343233 h 15946069"/>
                <a:gd name="connsiteX55" fmla="*/ 5150959 w 18171859"/>
                <a:gd name="connsiteY55" fmla="*/ 1610907 h 15946069"/>
                <a:gd name="connsiteX56" fmla="*/ 5480133 w 18171859"/>
                <a:gd name="connsiteY56" fmla="*/ 2167963 h 15946069"/>
                <a:gd name="connsiteX57" fmla="*/ 4742216 w 18171859"/>
                <a:gd name="connsiteY57" fmla="*/ 2862495 h 15946069"/>
                <a:gd name="connsiteX58" fmla="*/ 2658667 w 18171859"/>
                <a:gd name="connsiteY58" fmla="*/ 0 h 15946069"/>
                <a:gd name="connsiteX59" fmla="*/ 2658682 w 18171859"/>
                <a:gd name="connsiteY59" fmla="*/ 1018890 h 15946069"/>
                <a:gd name="connsiteX60" fmla="*/ 1850829 w 18171859"/>
                <a:gd name="connsiteY60" fmla="*/ 1730283 h 15946069"/>
                <a:gd name="connsiteX61" fmla="*/ 1404694 w 18171859"/>
                <a:gd name="connsiteY61" fmla="*/ 2272862 h 15946069"/>
                <a:gd name="connsiteX62" fmla="*/ 2351216 w 18171859"/>
                <a:gd name="connsiteY62" fmla="*/ 3388182 h 15946069"/>
                <a:gd name="connsiteX63" fmla="*/ 2658682 w 18171859"/>
                <a:gd name="connsiteY63" fmla="*/ 4286458 h 15946069"/>
                <a:gd name="connsiteX64" fmla="*/ 1935228 w 18171859"/>
                <a:gd name="connsiteY64" fmla="*/ 5220918 h 15946069"/>
                <a:gd name="connsiteX65" fmla="*/ 875281 w 18171859"/>
                <a:gd name="connsiteY65" fmla="*/ 5166646 h 15946069"/>
                <a:gd name="connsiteX66" fmla="*/ 0 w 18171859"/>
                <a:gd name="connsiteY66" fmla="*/ 5890112 h 15946069"/>
                <a:gd name="connsiteX67" fmla="*/ 72345 w 18171859"/>
                <a:gd name="connsiteY67" fmla="*/ 6921032 h 15946069"/>
                <a:gd name="connsiteX68" fmla="*/ 477776 w 18171859"/>
                <a:gd name="connsiteY68"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2493981 w 18171859"/>
                <a:gd name="connsiteY39" fmla="*/ 2927587 h 15946069"/>
                <a:gd name="connsiteX40" fmla="*/ 11976717 w 18171859"/>
                <a:gd name="connsiteY40" fmla="*/ 2139025 h 15946069"/>
                <a:gd name="connsiteX41" fmla="*/ 11484768 w 18171859"/>
                <a:gd name="connsiteY41" fmla="*/ 1495155 h 15946069"/>
                <a:gd name="connsiteX42" fmla="*/ 10830043 w 18171859"/>
                <a:gd name="connsiteY42" fmla="*/ 1256418 h 15946069"/>
                <a:gd name="connsiteX43" fmla="*/ 10323633 w 18171859"/>
                <a:gd name="connsiteY43" fmla="*/ 1220249 h 15946069"/>
                <a:gd name="connsiteX44" fmla="*/ 9802745 w 18171859"/>
                <a:gd name="connsiteY44" fmla="*/ 1603676 h 15946069"/>
                <a:gd name="connsiteX45" fmla="*/ 9223982 w 18171859"/>
                <a:gd name="connsiteY45" fmla="*/ 1621761 h 15946069"/>
                <a:gd name="connsiteX46" fmla="*/ 8782678 w 18171859"/>
                <a:gd name="connsiteY46" fmla="*/ 2171586 h 15946069"/>
                <a:gd name="connsiteX47" fmla="*/ 8272645 w 18171859"/>
                <a:gd name="connsiteY47" fmla="*/ 2102856 h 15946069"/>
                <a:gd name="connsiteX48" fmla="*/ 7853048 w 18171859"/>
                <a:gd name="connsiteY48" fmla="*/ 2526075 h 15946069"/>
                <a:gd name="connsiteX49" fmla="*/ 7323799 w 18171859"/>
                <a:gd name="connsiteY49" fmla="*/ 2632907 h 15946069"/>
                <a:gd name="connsiteX50" fmla="*/ 6977672 w 18171859"/>
                <a:gd name="connsiteY50" fmla="*/ 2178817 h 15946069"/>
                <a:gd name="connsiteX51" fmla="*/ 6594245 w 18171859"/>
                <a:gd name="connsiteY51" fmla="*/ 2055834 h 15946069"/>
                <a:gd name="connsiteX52" fmla="*/ 6431470 w 18171859"/>
                <a:gd name="connsiteY52" fmla="*/ 1314295 h 15946069"/>
                <a:gd name="connsiteX53" fmla="*/ 5642908 w 18171859"/>
                <a:gd name="connsiteY53" fmla="*/ 1343233 h 15946069"/>
                <a:gd name="connsiteX54" fmla="*/ 5150959 w 18171859"/>
                <a:gd name="connsiteY54" fmla="*/ 1610907 h 15946069"/>
                <a:gd name="connsiteX55" fmla="*/ 5480133 w 18171859"/>
                <a:gd name="connsiteY55" fmla="*/ 2167963 h 15946069"/>
                <a:gd name="connsiteX56" fmla="*/ 4742216 w 18171859"/>
                <a:gd name="connsiteY56" fmla="*/ 2862495 h 15946069"/>
                <a:gd name="connsiteX57" fmla="*/ 2658667 w 18171859"/>
                <a:gd name="connsiteY57" fmla="*/ 0 h 15946069"/>
                <a:gd name="connsiteX58" fmla="*/ 2658682 w 18171859"/>
                <a:gd name="connsiteY58" fmla="*/ 1018890 h 15946069"/>
                <a:gd name="connsiteX59" fmla="*/ 1850829 w 18171859"/>
                <a:gd name="connsiteY59" fmla="*/ 1730283 h 15946069"/>
                <a:gd name="connsiteX60" fmla="*/ 1404694 w 18171859"/>
                <a:gd name="connsiteY60" fmla="*/ 2272862 h 15946069"/>
                <a:gd name="connsiteX61" fmla="*/ 2351216 w 18171859"/>
                <a:gd name="connsiteY61" fmla="*/ 3388182 h 15946069"/>
                <a:gd name="connsiteX62" fmla="*/ 2658682 w 18171859"/>
                <a:gd name="connsiteY62" fmla="*/ 4286458 h 15946069"/>
                <a:gd name="connsiteX63" fmla="*/ 1935228 w 18171859"/>
                <a:gd name="connsiteY63" fmla="*/ 5220918 h 15946069"/>
                <a:gd name="connsiteX64" fmla="*/ 875281 w 18171859"/>
                <a:gd name="connsiteY64" fmla="*/ 5166646 h 15946069"/>
                <a:gd name="connsiteX65" fmla="*/ 0 w 18171859"/>
                <a:gd name="connsiteY65" fmla="*/ 5890112 h 15946069"/>
                <a:gd name="connsiteX66" fmla="*/ 72345 w 18171859"/>
                <a:gd name="connsiteY66" fmla="*/ 6921032 h 15946069"/>
                <a:gd name="connsiteX67" fmla="*/ 477776 w 18171859"/>
                <a:gd name="connsiteY67"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1484768 w 18171859"/>
                <a:gd name="connsiteY40" fmla="*/ 1495155 h 15946069"/>
                <a:gd name="connsiteX41" fmla="*/ 10830043 w 18171859"/>
                <a:gd name="connsiteY41" fmla="*/ 1256418 h 15946069"/>
                <a:gd name="connsiteX42" fmla="*/ 10323633 w 18171859"/>
                <a:gd name="connsiteY42" fmla="*/ 1220249 h 15946069"/>
                <a:gd name="connsiteX43" fmla="*/ 9802745 w 18171859"/>
                <a:gd name="connsiteY43" fmla="*/ 1603676 h 15946069"/>
                <a:gd name="connsiteX44" fmla="*/ 9223982 w 18171859"/>
                <a:gd name="connsiteY44" fmla="*/ 1621761 h 15946069"/>
                <a:gd name="connsiteX45" fmla="*/ 8782678 w 18171859"/>
                <a:gd name="connsiteY45" fmla="*/ 2171586 h 15946069"/>
                <a:gd name="connsiteX46" fmla="*/ 8272645 w 18171859"/>
                <a:gd name="connsiteY46" fmla="*/ 2102856 h 15946069"/>
                <a:gd name="connsiteX47" fmla="*/ 7853048 w 18171859"/>
                <a:gd name="connsiteY47" fmla="*/ 2526075 h 15946069"/>
                <a:gd name="connsiteX48" fmla="*/ 7323799 w 18171859"/>
                <a:gd name="connsiteY48" fmla="*/ 2632907 h 15946069"/>
                <a:gd name="connsiteX49" fmla="*/ 6977672 w 18171859"/>
                <a:gd name="connsiteY49" fmla="*/ 2178817 h 15946069"/>
                <a:gd name="connsiteX50" fmla="*/ 6594245 w 18171859"/>
                <a:gd name="connsiteY50" fmla="*/ 2055834 h 15946069"/>
                <a:gd name="connsiteX51" fmla="*/ 6431470 w 18171859"/>
                <a:gd name="connsiteY51" fmla="*/ 1314295 h 15946069"/>
                <a:gd name="connsiteX52" fmla="*/ 5642908 w 18171859"/>
                <a:gd name="connsiteY52" fmla="*/ 1343233 h 15946069"/>
                <a:gd name="connsiteX53" fmla="*/ 5150959 w 18171859"/>
                <a:gd name="connsiteY53" fmla="*/ 1610907 h 15946069"/>
                <a:gd name="connsiteX54" fmla="*/ 5480133 w 18171859"/>
                <a:gd name="connsiteY54" fmla="*/ 2167963 h 15946069"/>
                <a:gd name="connsiteX55" fmla="*/ 4742216 w 18171859"/>
                <a:gd name="connsiteY55" fmla="*/ 2862495 h 15946069"/>
                <a:gd name="connsiteX56" fmla="*/ 2658667 w 18171859"/>
                <a:gd name="connsiteY56" fmla="*/ 0 h 15946069"/>
                <a:gd name="connsiteX57" fmla="*/ 2658682 w 18171859"/>
                <a:gd name="connsiteY57" fmla="*/ 1018890 h 15946069"/>
                <a:gd name="connsiteX58" fmla="*/ 1850829 w 18171859"/>
                <a:gd name="connsiteY58" fmla="*/ 1730283 h 15946069"/>
                <a:gd name="connsiteX59" fmla="*/ 1404694 w 18171859"/>
                <a:gd name="connsiteY59" fmla="*/ 2272862 h 15946069"/>
                <a:gd name="connsiteX60" fmla="*/ 2351216 w 18171859"/>
                <a:gd name="connsiteY60" fmla="*/ 3388182 h 15946069"/>
                <a:gd name="connsiteX61" fmla="*/ 2658682 w 18171859"/>
                <a:gd name="connsiteY61" fmla="*/ 4286458 h 15946069"/>
                <a:gd name="connsiteX62" fmla="*/ 1935228 w 18171859"/>
                <a:gd name="connsiteY62" fmla="*/ 5220918 h 15946069"/>
                <a:gd name="connsiteX63" fmla="*/ 875281 w 18171859"/>
                <a:gd name="connsiteY63" fmla="*/ 5166646 h 15946069"/>
                <a:gd name="connsiteX64" fmla="*/ 0 w 18171859"/>
                <a:gd name="connsiteY64" fmla="*/ 5890112 h 15946069"/>
                <a:gd name="connsiteX65" fmla="*/ 72345 w 18171859"/>
                <a:gd name="connsiteY65" fmla="*/ 6921032 h 15946069"/>
                <a:gd name="connsiteX66" fmla="*/ 477776 w 18171859"/>
                <a:gd name="connsiteY66"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10323633 w 18171859"/>
                <a:gd name="connsiteY41" fmla="*/ 1220249 h 15946069"/>
                <a:gd name="connsiteX42" fmla="*/ 9802745 w 18171859"/>
                <a:gd name="connsiteY42" fmla="*/ 1603676 h 15946069"/>
                <a:gd name="connsiteX43" fmla="*/ 9223982 w 18171859"/>
                <a:gd name="connsiteY43" fmla="*/ 1621761 h 15946069"/>
                <a:gd name="connsiteX44" fmla="*/ 8782678 w 18171859"/>
                <a:gd name="connsiteY44" fmla="*/ 2171586 h 15946069"/>
                <a:gd name="connsiteX45" fmla="*/ 8272645 w 18171859"/>
                <a:gd name="connsiteY45" fmla="*/ 2102856 h 15946069"/>
                <a:gd name="connsiteX46" fmla="*/ 7853048 w 18171859"/>
                <a:gd name="connsiteY46" fmla="*/ 2526075 h 15946069"/>
                <a:gd name="connsiteX47" fmla="*/ 7323799 w 18171859"/>
                <a:gd name="connsiteY47" fmla="*/ 2632907 h 15946069"/>
                <a:gd name="connsiteX48" fmla="*/ 6977672 w 18171859"/>
                <a:gd name="connsiteY48" fmla="*/ 2178817 h 15946069"/>
                <a:gd name="connsiteX49" fmla="*/ 6594245 w 18171859"/>
                <a:gd name="connsiteY49" fmla="*/ 2055834 h 15946069"/>
                <a:gd name="connsiteX50" fmla="*/ 6431470 w 18171859"/>
                <a:gd name="connsiteY50" fmla="*/ 1314295 h 15946069"/>
                <a:gd name="connsiteX51" fmla="*/ 5642908 w 18171859"/>
                <a:gd name="connsiteY51" fmla="*/ 1343233 h 15946069"/>
                <a:gd name="connsiteX52" fmla="*/ 5150959 w 18171859"/>
                <a:gd name="connsiteY52" fmla="*/ 1610907 h 15946069"/>
                <a:gd name="connsiteX53" fmla="*/ 5480133 w 18171859"/>
                <a:gd name="connsiteY53" fmla="*/ 2167963 h 15946069"/>
                <a:gd name="connsiteX54" fmla="*/ 4742216 w 18171859"/>
                <a:gd name="connsiteY54" fmla="*/ 2862495 h 15946069"/>
                <a:gd name="connsiteX55" fmla="*/ 2658667 w 18171859"/>
                <a:gd name="connsiteY55" fmla="*/ 0 h 15946069"/>
                <a:gd name="connsiteX56" fmla="*/ 2658682 w 18171859"/>
                <a:gd name="connsiteY56" fmla="*/ 1018890 h 15946069"/>
                <a:gd name="connsiteX57" fmla="*/ 1850829 w 18171859"/>
                <a:gd name="connsiteY57" fmla="*/ 1730283 h 15946069"/>
                <a:gd name="connsiteX58" fmla="*/ 1404694 w 18171859"/>
                <a:gd name="connsiteY58" fmla="*/ 2272862 h 15946069"/>
                <a:gd name="connsiteX59" fmla="*/ 2351216 w 18171859"/>
                <a:gd name="connsiteY59" fmla="*/ 3388182 h 15946069"/>
                <a:gd name="connsiteX60" fmla="*/ 2658682 w 18171859"/>
                <a:gd name="connsiteY60" fmla="*/ 4286458 h 15946069"/>
                <a:gd name="connsiteX61" fmla="*/ 1935228 w 18171859"/>
                <a:gd name="connsiteY61" fmla="*/ 5220918 h 15946069"/>
                <a:gd name="connsiteX62" fmla="*/ 875281 w 18171859"/>
                <a:gd name="connsiteY62" fmla="*/ 5166646 h 15946069"/>
                <a:gd name="connsiteX63" fmla="*/ 0 w 18171859"/>
                <a:gd name="connsiteY63" fmla="*/ 5890112 h 15946069"/>
                <a:gd name="connsiteX64" fmla="*/ 72345 w 18171859"/>
                <a:gd name="connsiteY64" fmla="*/ 6921032 h 15946069"/>
                <a:gd name="connsiteX65" fmla="*/ 477776 w 18171859"/>
                <a:gd name="connsiteY65"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9223982 w 18171859"/>
                <a:gd name="connsiteY42" fmla="*/ 1621761 h 15946069"/>
                <a:gd name="connsiteX43" fmla="*/ 8782678 w 18171859"/>
                <a:gd name="connsiteY43" fmla="*/ 2171586 h 15946069"/>
                <a:gd name="connsiteX44" fmla="*/ 8272645 w 18171859"/>
                <a:gd name="connsiteY44" fmla="*/ 2102856 h 15946069"/>
                <a:gd name="connsiteX45" fmla="*/ 7853048 w 18171859"/>
                <a:gd name="connsiteY45" fmla="*/ 2526075 h 15946069"/>
                <a:gd name="connsiteX46" fmla="*/ 7323799 w 18171859"/>
                <a:gd name="connsiteY46" fmla="*/ 2632907 h 15946069"/>
                <a:gd name="connsiteX47" fmla="*/ 6977672 w 18171859"/>
                <a:gd name="connsiteY47" fmla="*/ 2178817 h 15946069"/>
                <a:gd name="connsiteX48" fmla="*/ 6594245 w 18171859"/>
                <a:gd name="connsiteY48" fmla="*/ 2055834 h 15946069"/>
                <a:gd name="connsiteX49" fmla="*/ 6431470 w 18171859"/>
                <a:gd name="connsiteY49" fmla="*/ 1314295 h 15946069"/>
                <a:gd name="connsiteX50" fmla="*/ 5642908 w 18171859"/>
                <a:gd name="connsiteY50" fmla="*/ 1343233 h 15946069"/>
                <a:gd name="connsiteX51" fmla="*/ 5150959 w 18171859"/>
                <a:gd name="connsiteY51" fmla="*/ 1610907 h 15946069"/>
                <a:gd name="connsiteX52" fmla="*/ 5480133 w 18171859"/>
                <a:gd name="connsiteY52" fmla="*/ 2167963 h 15946069"/>
                <a:gd name="connsiteX53" fmla="*/ 4742216 w 18171859"/>
                <a:gd name="connsiteY53" fmla="*/ 2862495 h 15946069"/>
                <a:gd name="connsiteX54" fmla="*/ 2658667 w 18171859"/>
                <a:gd name="connsiteY54" fmla="*/ 0 h 15946069"/>
                <a:gd name="connsiteX55" fmla="*/ 2658682 w 18171859"/>
                <a:gd name="connsiteY55" fmla="*/ 1018890 h 15946069"/>
                <a:gd name="connsiteX56" fmla="*/ 1850829 w 18171859"/>
                <a:gd name="connsiteY56" fmla="*/ 1730283 h 15946069"/>
                <a:gd name="connsiteX57" fmla="*/ 1404694 w 18171859"/>
                <a:gd name="connsiteY57" fmla="*/ 2272862 h 15946069"/>
                <a:gd name="connsiteX58" fmla="*/ 2351216 w 18171859"/>
                <a:gd name="connsiteY58" fmla="*/ 3388182 h 15946069"/>
                <a:gd name="connsiteX59" fmla="*/ 2658682 w 18171859"/>
                <a:gd name="connsiteY59" fmla="*/ 4286458 h 15946069"/>
                <a:gd name="connsiteX60" fmla="*/ 1935228 w 18171859"/>
                <a:gd name="connsiteY60" fmla="*/ 5220918 h 15946069"/>
                <a:gd name="connsiteX61" fmla="*/ 875281 w 18171859"/>
                <a:gd name="connsiteY61" fmla="*/ 5166646 h 15946069"/>
                <a:gd name="connsiteX62" fmla="*/ 0 w 18171859"/>
                <a:gd name="connsiteY62" fmla="*/ 5890112 h 15946069"/>
                <a:gd name="connsiteX63" fmla="*/ 72345 w 18171859"/>
                <a:gd name="connsiteY63" fmla="*/ 6921032 h 15946069"/>
                <a:gd name="connsiteX64" fmla="*/ 477776 w 18171859"/>
                <a:gd name="connsiteY64"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782678 w 18171859"/>
                <a:gd name="connsiteY42" fmla="*/ 2171586 h 15946069"/>
                <a:gd name="connsiteX43" fmla="*/ 8272645 w 18171859"/>
                <a:gd name="connsiteY43" fmla="*/ 2102856 h 15946069"/>
                <a:gd name="connsiteX44" fmla="*/ 7853048 w 18171859"/>
                <a:gd name="connsiteY44" fmla="*/ 2526075 h 15946069"/>
                <a:gd name="connsiteX45" fmla="*/ 7323799 w 18171859"/>
                <a:gd name="connsiteY45" fmla="*/ 2632907 h 15946069"/>
                <a:gd name="connsiteX46" fmla="*/ 6977672 w 18171859"/>
                <a:gd name="connsiteY46" fmla="*/ 2178817 h 15946069"/>
                <a:gd name="connsiteX47" fmla="*/ 6594245 w 18171859"/>
                <a:gd name="connsiteY47" fmla="*/ 2055834 h 15946069"/>
                <a:gd name="connsiteX48" fmla="*/ 6431470 w 18171859"/>
                <a:gd name="connsiteY48" fmla="*/ 1314295 h 15946069"/>
                <a:gd name="connsiteX49" fmla="*/ 5642908 w 18171859"/>
                <a:gd name="connsiteY49" fmla="*/ 1343233 h 15946069"/>
                <a:gd name="connsiteX50" fmla="*/ 5150959 w 18171859"/>
                <a:gd name="connsiteY50" fmla="*/ 1610907 h 15946069"/>
                <a:gd name="connsiteX51" fmla="*/ 5480133 w 18171859"/>
                <a:gd name="connsiteY51" fmla="*/ 2167963 h 15946069"/>
                <a:gd name="connsiteX52" fmla="*/ 4742216 w 18171859"/>
                <a:gd name="connsiteY52" fmla="*/ 2862495 h 15946069"/>
                <a:gd name="connsiteX53" fmla="*/ 2658667 w 18171859"/>
                <a:gd name="connsiteY53" fmla="*/ 0 h 15946069"/>
                <a:gd name="connsiteX54" fmla="*/ 2658682 w 18171859"/>
                <a:gd name="connsiteY54" fmla="*/ 1018890 h 15946069"/>
                <a:gd name="connsiteX55" fmla="*/ 1850829 w 18171859"/>
                <a:gd name="connsiteY55" fmla="*/ 1730283 h 15946069"/>
                <a:gd name="connsiteX56" fmla="*/ 1404694 w 18171859"/>
                <a:gd name="connsiteY56" fmla="*/ 2272862 h 15946069"/>
                <a:gd name="connsiteX57" fmla="*/ 2351216 w 18171859"/>
                <a:gd name="connsiteY57" fmla="*/ 3388182 h 15946069"/>
                <a:gd name="connsiteX58" fmla="*/ 2658682 w 18171859"/>
                <a:gd name="connsiteY58" fmla="*/ 4286458 h 15946069"/>
                <a:gd name="connsiteX59" fmla="*/ 1935228 w 18171859"/>
                <a:gd name="connsiteY59" fmla="*/ 5220918 h 15946069"/>
                <a:gd name="connsiteX60" fmla="*/ 875281 w 18171859"/>
                <a:gd name="connsiteY60" fmla="*/ 5166646 h 15946069"/>
                <a:gd name="connsiteX61" fmla="*/ 0 w 18171859"/>
                <a:gd name="connsiteY61" fmla="*/ 5890112 h 15946069"/>
                <a:gd name="connsiteX62" fmla="*/ 72345 w 18171859"/>
                <a:gd name="connsiteY62" fmla="*/ 6921032 h 15946069"/>
                <a:gd name="connsiteX63" fmla="*/ 477776 w 18171859"/>
                <a:gd name="connsiteY63"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782678 w 18171859"/>
                <a:gd name="connsiteY42" fmla="*/ 2171586 h 15946069"/>
                <a:gd name="connsiteX43" fmla="*/ 7853048 w 18171859"/>
                <a:gd name="connsiteY43" fmla="*/ 2526075 h 15946069"/>
                <a:gd name="connsiteX44" fmla="*/ 7323799 w 18171859"/>
                <a:gd name="connsiteY44" fmla="*/ 2632907 h 15946069"/>
                <a:gd name="connsiteX45" fmla="*/ 6977672 w 18171859"/>
                <a:gd name="connsiteY45" fmla="*/ 2178817 h 15946069"/>
                <a:gd name="connsiteX46" fmla="*/ 6594245 w 18171859"/>
                <a:gd name="connsiteY46" fmla="*/ 2055834 h 15946069"/>
                <a:gd name="connsiteX47" fmla="*/ 6431470 w 18171859"/>
                <a:gd name="connsiteY47" fmla="*/ 1314295 h 15946069"/>
                <a:gd name="connsiteX48" fmla="*/ 5642908 w 18171859"/>
                <a:gd name="connsiteY48" fmla="*/ 1343233 h 15946069"/>
                <a:gd name="connsiteX49" fmla="*/ 5150959 w 18171859"/>
                <a:gd name="connsiteY49" fmla="*/ 1610907 h 15946069"/>
                <a:gd name="connsiteX50" fmla="*/ 5480133 w 18171859"/>
                <a:gd name="connsiteY50" fmla="*/ 2167963 h 15946069"/>
                <a:gd name="connsiteX51" fmla="*/ 4742216 w 18171859"/>
                <a:gd name="connsiteY51" fmla="*/ 2862495 h 15946069"/>
                <a:gd name="connsiteX52" fmla="*/ 2658667 w 18171859"/>
                <a:gd name="connsiteY52" fmla="*/ 0 h 15946069"/>
                <a:gd name="connsiteX53" fmla="*/ 2658682 w 18171859"/>
                <a:gd name="connsiteY53" fmla="*/ 1018890 h 15946069"/>
                <a:gd name="connsiteX54" fmla="*/ 1850829 w 18171859"/>
                <a:gd name="connsiteY54" fmla="*/ 1730283 h 15946069"/>
                <a:gd name="connsiteX55" fmla="*/ 1404694 w 18171859"/>
                <a:gd name="connsiteY55" fmla="*/ 2272862 h 15946069"/>
                <a:gd name="connsiteX56" fmla="*/ 2351216 w 18171859"/>
                <a:gd name="connsiteY56" fmla="*/ 3388182 h 15946069"/>
                <a:gd name="connsiteX57" fmla="*/ 2658682 w 18171859"/>
                <a:gd name="connsiteY57" fmla="*/ 4286458 h 15946069"/>
                <a:gd name="connsiteX58" fmla="*/ 1935228 w 18171859"/>
                <a:gd name="connsiteY58" fmla="*/ 5220918 h 15946069"/>
                <a:gd name="connsiteX59" fmla="*/ 875281 w 18171859"/>
                <a:gd name="connsiteY59" fmla="*/ 5166646 h 15946069"/>
                <a:gd name="connsiteX60" fmla="*/ 0 w 18171859"/>
                <a:gd name="connsiteY60" fmla="*/ 5890112 h 15946069"/>
                <a:gd name="connsiteX61" fmla="*/ 72345 w 18171859"/>
                <a:gd name="connsiteY61" fmla="*/ 6921032 h 15946069"/>
                <a:gd name="connsiteX62" fmla="*/ 477776 w 18171859"/>
                <a:gd name="connsiteY62"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782678 w 18171859"/>
                <a:gd name="connsiteY42" fmla="*/ 2171586 h 15946069"/>
                <a:gd name="connsiteX43" fmla="*/ 7853048 w 18171859"/>
                <a:gd name="connsiteY43" fmla="*/ 2526075 h 15946069"/>
                <a:gd name="connsiteX44" fmla="*/ 6977672 w 18171859"/>
                <a:gd name="connsiteY44" fmla="*/ 2178817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878357 w 18171859"/>
                <a:gd name="connsiteY42" fmla="*/ 3865809 h 15946069"/>
                <a:gd name="connsiteX43" fmla="*/ 7853048 w 18171859"/>
                <a:gd name="connsiteY43" fmla="*/ 2526075 h 15946069"/>
                <a:gd name="connsiteX44" fmla="*/ 6977672 w 18171859"/>
                <a:gd name="connsiteY44" fmla="*/ 2178817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878357 w 18171859"/>
                <a:gd name="connsiteY42" fmla="*/ 3865809 h 15946069"/>
                <a:gd name="connsiteX43" fmla="*/ 7446446 w 18171859"/>
                <a:gd name="connsiteY43" fmla="*/ 3504429 h 15946069"/>
                <a:gd name="connsiteX44" fmla="*/ 6977672 w 18171859"/>
                <a:gd name="connsiteY44" fmla="*/ 2178817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878357 w 18171859"/>
                <a:gd name="connsiteY42" fmla="*/ 3865809 h 15946069"/>
                <a:gd name="connsiteX43" fmla="*/ 7446446 w 18171859"/>
                <a:gd name="connsiteY43" fmla="*/ 3504429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878357 w 18171859"/>
                <a:gd name="connsiteY42" fmla="*/ 3865809 h 15946069"/>
                <a:gd name="connsiteX43" fmla="*/ 7637793 w 18171859"/>
                <a:gd name="connsiteY43" fmla="*/ 2526072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7706376 w 18171859"/>
                <a:gd name="connsiteY42" fmla="*/ 4987336 h 15946069"/>
                <a:gd name="connsiteX43" fmla="*/ 7637793 w 18171859"/>
                <a:gd name="connsiteY43" fmla="*/ 2526072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112983 w 18171859"/>
                <a:gd name="connsiteY42" fmla="*/ 3770361 h 15946069"/>
                <a:gd name="connsiteX43" fmla="*/ 7637793 w 18171859"/>
                <a:gd name="connsiteY43" fmla="*/ 2526072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10161509 w 18171859"/>
                <a:gd name="connsiteY41" fmla="*/ 5230746 h 15946069"/>
                <a:gd name="connsiteX42" fmla="*/ 8112983 w 18171859"/>
                <a:gd name="connsiteY42" fmla="*/ 3770361 h 15946069"/>
                <a:gd name="connsiteX43" fmla="*/ 7637793 w 18171859"/>
                <a:gd name="connsiteY43" fmla="*/ 2526072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9801570 w 18171859"/>
                <a:gd name="connsiteY40" fmla="*/ 6243641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6859659 w 18171859"/>
                <a:gd name="connsiteY40" fmla="*/ 6315230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6285626 w 18171859"/>
                <a:gd name="connsiteY40" fmla="*/ 5551639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5998609 w 18171859"/>
                <a:gd name="connsiteY40" fmla="*/ 5074389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6309547 w 18171859"/>
                <a:gd name="connsiteY40" fmla="*/ 5647086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6166035 w 18171859"/>
                <a:gd name="connsiteY40" fmla="*/ 540846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9704505 w 18171859"/>
                <a:gd name="connsiteY39" fmla="*/ 7102384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7982404 w 18171859"/>
                <a:gd name="connsiteY39" fmla="*/ 7508044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6017067 w 18171859"/>
                <a:gd name="connsiteY38" fmla="*/ 9931550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0076123 w 18171859"/>
                <a:gd name="connsiteY37" fmla="*/ 8513358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9844788 w 18171859"/>
                <a:gd name="connsiteY36" fmla="*/ 9748760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9366431 w 18171859"/>
                <a:gd name="connsiteY36" fmla="*/ 5930786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8218364 w 18171859"/>
                <a:gd name="connsiteY36" fmla="*/ 7219350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9318595 w 18171859"/>
                <a:gd name="connsiteY36" fmla="*/ 5859197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0639545 w 18171859"/>
                <a:gd name="connsiteY35" fmla="*/ 7482246 h 15946069"/>
                <a:gd name="connsiteX36" fmla="*/ 9318595 w 18171859"/>
                <a:gd name="connsiteY36" fmla="*/ 5859197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0017677 w 18171859"/>
                <a:gd name="connsiteY35" fmla="*/ 5883475 h 15946069"/>
                <a:gd name="connsiteX36" fmla="*/ 9318595 w 18171859"/>
                <a:gd name="connsiteY36" fmla="*/ 5859197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17385711 w 17911411"/>
                <a:gd name="connsiteY33" fmla="*/ 5219213 h 15946069"/>
                <a:gd name="connsiteX34" fmla="*/ 11259549 w 17911411"/>
                <a:gd name="connsiteY34" fmla="*/ 7947227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17385711 w 17911411"/>
                <a:gd name="connsiteY33" fmla="*/ 5219213 h 15946069"/>
                <a:gd name="connsiteX34" fmla="*/ 8628570 w 17911411"/>
                <a:gd name="connsiteY34" fmla="*/ 7994950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17385711 w 17911411"/>
                <a:gd name="connsiteY33" fmla="*/ 5219213 h 15946069"/>
                <a:gd name="connsiteX34" fmla="*/ 10709437 w 17911411"/>
                <a:gd name="connsiteY34" fmla="*/ 6730245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9779785 w 17911411"/>
                <a:gd name="connsiteY33" fmla="*/ 9514428 h 15946069"/>
                <a:gd name="connsiteX34" fmla="*/ 10709437 w 17911411"/>
                <a:gd name="connsiteY34" fmla="*/ 6730245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9301422 w 17911411"/>
                <a:gd name="connsiteY33" fmla="*/ 7486132 h 15946069"/>
                <a:gd name="connsiteX34" fmla="*/ 10709437 w 17911411"/>
                <a:gd name="connsiteY34" fmla="*/ 6730245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10425568 w 17911411"/>
                <a:gd name="connsiteY33" fmla="*/ 7223642 h 15946069"/>
                <a:gd name="connsiteX34" fmla="*/ 10709437 w 17911411"/>
                <a:gd name="connsiteY34" fmla="*/ 6730245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6024409 w 16428338"/>
                <a:gd name="connsiteY31" fmla="*/ 7433474 h 15946069"/>
                <a:gd name="connsiteX32" fmla="*/ 10161984 w 16428338"/>
                <a:gd name="connsiteY32" fmla="*/ 8636304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6024409 w 16428338"/>
                <a:gd name="connsiteY31" fmla="*/ 7433474 h 15946069"/>
                <a:gd name="connsiteX32" fmla="*/ 11118705 w 16428338"/>
                <a:gd name="connsiteY32" fmla="*/ 7156845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1886591 w 16428338"/>
                <a:gd name="connsiteY31" fmla="*/ 8912940 h 15946069"/>
                <a:gd name="connsiteX32" fmla="*/ 11118705 w 16428338"/>
                <a:gd name="connsiteY32" fmla="*/ 7156845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0451507 w 16428338"/>
                <a:gd name="connsiteY31" fmla="*/ 8889075 h 15946069"/>
                <a:gd name="connsiteX32" fmla="*/ 11118705 w 16428338"/>
                <a:gd name="connsiteY32" fmla="*/ 7156845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2149687 w 16428338"/>
                <a:gd name="connsiteY31" fmla="*/ 8101619 h 15946069"/>
                <a:gd name="connsiteX32" fmla="*/ 11118705 w 16428338"/>
                <a:gd name="connsiteY32" fmla="*/ 7156845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13202"/>
                <a:gd name="connsiteY0" fmla="*/ 7436569 h 15946069"/>
                <a:gd name="connsiteX1" fmla="*/ 271294 w 16413202"/>
                <a:gd name="connsiteY1" fmla="*/ 8060457 h 15946069"/>
                <a:gd name="connsiteX2" fmla="*/ 379812 w 16413202"/>
                <a:gd name="connsiteY2" fmla="*/ 8675382 h 15946069"/>
                <a:gd name="connsiteX3" fmla="*/ 759624 w 16413202"/>
                <a:gd name="connsiteY3" fmla="*/ 9217969 h 15946069"/>
                <a:gd name="connsiteX4" fmla="*/ 687278 w 16413202"/>
                <a:gd name="connsiteY4" fmla="*/ 9670126 h 15946069"/>
                <a:gd name="connsiteX5" fmla="*/ 144687 w 16413202"/>
                <a:gd name="connsiteY5" fmla="*/ 9941420 h 15946069"/>
                <a:gd name="connsiteX6" fmla="*/ 343643 w 16413202"/>
                <a:gd name="connsiteY6" fmla="*/ 10592536 h 15946069"/>
                <a:gd name="connsiteX7" fmla="*/ 940487 w 16413202"/>
                <a:gd name="connsiteY7" fmla="*/ 10954252 h 15946069"/>
                <a:gd name="connsiteX8" fmla="*/ 596844 w 16413202"/>
                <a:gd name="connsiteY8" fmla="*/ 11786221 h 15946069"/>
                <a:gd name="connsiteX9" fmla="*/ 633017 w 16413202"/>
                <a:gd name="connsiteY9" fmla="*/ 12780969 h 15946069"/>
                <a:gd name="connsiteX10" fmla="*/ 198944 w 16413202"/>
                <a:gd name="connsiteY10" fmla="*/ 13341645 h 15946069"/>
                <a:gd name="connsiteX11" fmla="*/ 723451 w 16413202"/>
                <a:gd name="connsiteY11" fmla="*/ 13757629 h 15946069"/>
                <a:gd name="connsiteX12" fmla="*/ 1640036 w 16413202"/>
                <a:gd name="connsiteY12" fmla="*/ 13197151 h 15946069"/>
                <a:gd name="connsiteX13" fmla="*/ 1880971 w 16413202"/>
                <a:gd name="connsiteY13" fmla="*/ 13395906 h 15946069"/>
                <a:gd name="connsiteX14" fmla="*/ 2930086 w 16413202"/>
                <a:gd name="connsiteY14" fmla="*/ 12952832 h 15946069"/>
                <a:gd name="connsiteX15" fmla="*/ 3828256 w 16413202"/>
                <a:gd name="connsiteY15" fmla="*/ 13245188 h 15946069"/>
                <a:gd name="connsiteX16" fmla="*/ 4768739 w 16413202"/>
                <a:gd name="connsiteY16" fmla="*/ 13040205 h 15946069"/>
                <a:gd name="connsiteX17" fmla="*/ 5190751 w 16413202"/>
                <a:gd name="connsiteY17" fmla="*/ 13649115 h 15946069"/>
                <a:gd name="connsiteX18" fmla="*/ 5932290 w 16413202"/>
                <a:gd name="connsiteY18" fmla="*/ 13444132 h 15946069"/>
                <a:gd name="connsiteX19" fmla="*/ 6498992 w 16413202"/>
                <a:gd name="connsiteY19" fmla="*/ 12991975 h 15946069"/>
                <a:gd name="connsiteX20" fmla="*/ 7373161 w 16413202"/>
                <a:gd name="connsiteY20" fmla="*/ 13582800 h 15946069"/>
                <a:gd name="connsiteX21" fmla="*/ 8512588 w 16413202"/>
                <a:gd name="connsiteY21" fmla="*/ 13570738 h 15946069"/>
                <a:gd name="connsiteX22" fmla="*/ 9742454 w 16413202"/>
                <a:gd name="connsiteY22" fmla="*/ 14004811 h 15946069"/>
                <a:gd name="connsiteX23" fmla="*/ 10616683 w 16413202"/>
                <a:gd name="connsiteY23" fmla="*/ 15358294 h 15946069"/>
                <a:gd name="connsiteX24" fmla="*/ 11117010 w 16413202"/>
                <a:gd name="connsiteY24" fmla="*/ 15946069 h 15946069"/>
                <a:gd name="connsiteX25" fmla="*/ 11780218 w 16413202"/>
                <a:gd name="connsiteY25" fmla="*/ 13579811 h 15946069"/>
                <a:gd name="connsiteX26" fmla="*/ 12196146 w 16413202"/>
                <a:gd name="connsiteY26" fmla="*/ 11388328 h 15946069"/>
                <a:gd name="connsiteX27" fmla="*/ 14004775 w 16413202"/>
                <a:gd name="connsiteY27" fmla="*/ 11611395 h 15946069"/>
                <a:gd name="connsiteX28" fmla="*/ 15409477 w 16413202"/>
                <a:gd name="connsiteY28" fmla="*/ 11882693 h 15946069"/>
                <a:gd name="connsiteX29" fmla="*/ 16413199 w 16413202"/>
                <a:gd name="connsiteY29" fmla="*/ 10920339 h 15946069"/>
                <a:gd name="connsiteX30" fmla="*/ 10305329 w 16413202"/>
                <a:gd name="connsiteY30" fmla="*/ 10066739 h 15946069"/>
                <a:gd name="connsiteX31" fmla="*/ 12149687 w 16413202"/>
                <a:gd name="connsiteY31" fmla="*/ 8101619 h 15946069"/>
                <a:gd name="connsiteX32" fmla="*/ 11118705 w 16413202"/>
                <a:gd name="connsiteY32" fmla="*/ 7156845 h 15946069"/>
                <a:gd name="connsiteX33" fmla="*/ 10425568 w 16413202"/>
                <a:gd name="connsiteY33" fmla="*/ 7223642 h 15946069"/>
                <a:gd name="connsiteX34" fmla="*/ 10709437 w 16413202"/>
                <a:gd name="connsiteY34" fmla="*/ 6730245 h 15946069"/>
                <a:gd name="connsiteX35" fmla="*/ 10017677 w 16413202"/>
                <a:gd name="connsiteY35" fmla="*/ 5883475 h 15946069"/>
                <a:gd name="connsiteX36" fmla="*/ 9318595 w 16413202"/>
                <a:gd name="connsiteY36" fmla="*/ 5859197 h 15946069"/>
                <a:gd name="connsiteX37" fmla="*/ 9215073 w 16413202"/>
                <a:gd name="connsiteY37" fmla="*/ 5387392 h 15946069"/>
                <a:gd name="connsiteX38" fmla="*/ 8600211 w 16413202"/>
                <a:gd name="connsiteY38" fmla="*/ 5564744 h 15946069"/>
                <a:gd name="connsiteX39" fmla="*/ 8412926 w 16413202"/>
                <a:gd name="connsiteY39" fmla="*/ 4835463 h 15946069"/>
                <a:gd name="connsiteX40" fmla="*/ 7744624 w 16413202"/>
                <a:gd name="connsiteY40" fmla="*/ 4382387 h 15946069"/>
                <a:gd name="connsiteX41" fmla="*/ 8112983 w 16413202"/>
                <a:gd name="connsiteY41" fmla="*/ 3770361 h 15946069"/>
                <a:gd name="connsiteX42" fmla="*/ 7637793 w 16413202"/>
                <a:gd name="connsiteY42" fmla="*/ 2526072 h 15946069"/>
                <a:gd name="connsiteX43" fmla="*/ 7264687 w 16413202"/>
                <a:gd name="connsiteY43" fmla="*/ 2131091 h 15946069"/>
                <a:gd name="connsiteX44" fmla="*/ 6594245 w 16413202"/>
                <a:gd name="connsiteY44" fmla="*/ 2055834 h 15946069"/>
                <a:gd name="connsiteX45" fmla="*/ 6431470 w 16413202"/>
                <a:gd name="connsiteY45" fmla="*/ 1314295 h 15946069"/>
                <a:gd name="connsiteX46" fmla="*/ 5642908 w 16413202"/>
                <a:gd name="connsiteY46" fmla="*/ 1343233 h 15946069"/>
                <a:gd name="connsiteX47" fmla="*/ 5150959 w 16413202"/>
                <a:gd name="connsiteY47" fmla="*/ 1610907 h 15946069"/>
                <a:gd name="connsiteX48" fmla="*/ 5480133 w 16413202"/>
                <a:gd name="connsiteY48" fmla="*/ 2167963 h 15946069"/>
                <a:gd name="connsiteX49" fmla="*/ 4742216 w 16413202"/>
                <a:gd name="connsiteY49" fmla="*/ 2862495 h 15946069"/>
                <a:gd name="connsiteX50" fmla="*/ 2658667 w 16413202"/>
                <a:gd name="connsiteY50" fmla="*/ 0 h 15946069"/>
                <a:gd name="connsiteX51" fmla="*/ 2658682 w 16413202"/>
                <a:gd name="connsiteY51" fmla="*/ 1018890 h 15946069"/>
                <a:gd name="connsiteX52" fmla="*/ 1850829 w 16413202"/>
                <a:gd name="connsiteY52" fmla="*/ 1730283 h 15946069"/>
                <a:gd name="connsiteX53" fmla="*/ 1404694 w 16413202"/>
                <a:gd name="connsiteY53" fmla="*/ 2272862 h 15946069"/>
                <a:gd name="connsiteX54" fmla="*/ 2351216 w 16413202"/>
                <a:gd name="connsiteY54" fmla="*/ 3388182 h 15946069"/>
                <a:gd name="connsiteX55" fmla="*/ 2658682 w 16413202"/>
                <a:gd name="connsiteY55" fmla="*/ 4286458 h 15946069"/>
                <a:gd name="connsiteX56" fmla="*/ 1935228 w 16413202"/>
                <a:gd name="connsiteY56" fmla="*/ 5220918 h 15946069"/>
                <a:gd name="connsiteX57" fmla="*/ 875281 w 16413202"/>
                <a:gd name="connsiteY57" fmla="*/ 5166646 h 15946069"/>
                <a:gd name="connsiteX58" fmla="*/ 0 w 16413202"/>
                <a:gd name="connsiteY58" fmla="*/ 5890112 h 15946069"/>
                <a:gd name="connsiteX59" fmla="*/ 72345 w 16413202"/>
                <a:gd name="connsiteY59" fmla="*/ 6921032 h 15946069"/>
                <a:gd name="connsiteX60" fmla="*/ 477776 w 16413202"/>
                <a:gd name="connsiteY60" fmla="*/ 7436569 h 15946069"/>
                <a:gd name="connsiteX0" fmla="*/ 477776 w 16413202"/>
                <a:gd name="connsiteY0" fmla="*/ 7436569 h 15946069"/>
                <a:gd name="connsiteX1" fmla="*/ 271294 w 16413202"/>
                <a:gd name="connsiteY1" fmla="*/ 8060457 h 15946069"/>
                <a:gd name="connsiteX2" fmla="*/ 379812 w 16413202"/>
                <a:gd name="connsiteY2" fmla="*/ 8675382 h 15946069"/>
                <a:gd name="connsiteX3" fmla="*/ 759624 w 16413202"/>
                <a:gd name="connsiteY3" fmla="*/ 9217969 h 15946069"/>
                <a:gd name="connsiteX4" fmla="*/ 687278 w 16413202"/>
                <a:gd name="connsiteY4" fmla="*/ 9670126 h 15946069"/>
                <a:gd name="connsiteX5" fmla="*/ 144687 w 16413202"/>
                <a:gd name="connsiteY5" fmla="*/ 9941420 h 15946069"/>
                <a:gd name="connsiteX6" fmla="*/ 343643 w 16413202"/>
                <a:gd name="connsiteY6" fmla="*/ 10592536 h 15946069"/>
                <a:gd name="connsiteX7" fmla="*/ 940487 w 16413202"/>
                <a:gd name="connsiteY7" fmla="*/ 10954252 h 15946069"/>
                <a:gd name="connsiteX8" fmla="*/ 596844 w 16413202"/>
                <a:gd name="connsiteY8" fmla="*/ 11786221 h 15946069"/>
                <a:gd name="connsiteX9" fmla="*/ 633017 w 16413202"/>
                <a:gd name="connsiteY9" fmla="*/ 12780969 h 15946069"/>
                <a:gd name="connsiteX10" fmla="*/ 198944 w 16413202"/>
                <a:gd name="connsiteY10" fmla="*/ 13341645 h 15946069"/>
                <a:gd name="connsiteX11" fmla="*/ 723451 w 16413202"/>
                <a:gd name="connsiteY11" fmla="*/ 13757629 h 15946069"/>
                <a:gd name="connsiteX12" fmla="*/ 1640036 w 16413202"/>
                <a:gd name="connsiteY12" fmla="*/ 13197151 h 15946069"/>
                <a:gd name="connsiteX13" fmla="*/ 1880971 w 16413202"/>
                <a:gd name="connsiteY13" fmla="*/ 13395906 h 15946069"/>
                <a:gd name="connsiteX14" fmla="*/ 2930086 w 16413202"/>
                <a:gd name="connsiteY14" fmla="*/ 12952832 h 15946069"/>
                <a:gd name="connsiteX15" fmla="*/ 3828256 w 16413202"/>
                <a:gd name="connsiteY15" fmla="*/ 13245188 h 15946069"/>
                <a:gd name="connsiteX16" fmla="*/ 4768739 w 16413202"/>
                <a:gd name="connsiteY16" fmla="*/ 13040205 h 15946069"/>
                <a:gd name="connsiteX17" fmla="*/ 5190751 w 16413202"/>
                <a:gd name="connsiteY17" fmla="*/ 13649115 h 15946069"/>
                <a:gd name="connsiteX18" fmla="*/ 5932290 w 16413202"/>
                <a:gd name="connsiteY18" fmla="*/ 13444132 h 15946069"/>
                <a:gd name="connsiteX19" fmla="*/ 6498992 w 16413202"/>
                <a:gd name="connsiteY19" fmla="*/ 12991975 h 15946069"/>
                <a:gd name="connsiteX20" fmla="*/ 7373161 w 16413202"/>
                <a:gd name="connsiteY20" fmla="*/ 13582800 h 15946069"/>
                <a:gd name="connsiteX21" fmla="*/ 8512588 w 16413202"/>
                <a:gd name="connsiteY21" fmla="*/ 13570738 h 15946069"/>
                <a:gd name="connsiteX22" fmla="*/ 9742454 w 16413202"/>
                <a:gd name="connsiteY22" fmla="*/ 14004811 h 15946069"/>
                <a:gd name="connsiteX23" fmla="*/ 10616683 w 16413202"/>
                <a:gd name="connsiteY23" fmla="*/ 15358294 h 15946069"/>
                <a:gd name="connsiteX24" fmla="*/ 11117010 w 16413202"/>
                <a:gd name="connsiteY24" fmla="*/ 15946069 h 15946069"/>
                <a:gd name="connsiteX25" fmla="*/ 11780218 w 16413202"/>
                <a:gd name="connsiteY25" fmla="*/ 13579811 h 15946069"/>
                <a:gd name="connsiteX26" fmla="*/ 12196146 w 16413202"/>
                <a:gd name="connsiteY26" fmla="*/ 11388328 h 15946069"/>
                <a:gd name="connsiteX27" fmla="*/ 14004775 w 16413202"/>
                <a:gd name="connsiteY27" fmla="*/ 11611395 h 15946069"/>
                <a:gd name="connsiteX28" fmla="*/ 15409477 w 16413202"/>
                <a:gd name="connsiteY28" fmla="*/ 11882693 h 15946069"/>
                <a:gd name="connsiteX29" fmla="*/ 16413199 w 16413202"/>
                <a:gd name="connsiteY29" fmla="*/ 10920339 h 15946069"/>
                <a:gd name="connsiteX30" fmla="*/ 9276853 w 16413202"/>
                <a:gd name="connsiteY30" fmla="*/ 9446319 h 15946069"/>
                <a:gd name="connsiteX31" fmla="*/ 12149687 w 16413202"/>
                <a:gd name="connsiteY31" fmla="*/ 8101619 h 15946069"/>
                <a:gd name="connsiteX32" fmla="*/ 11118705 w 16413202"/>
                <a:gd name="connsiteY32" fmla="*/ 7156845 h 15946069"/>
                <a:gd name="connsiteX33" fmla="*/ 10425568 w 16413202"/>
                <a:gd name="connsiteY33" fmla="*/ 7223642 h 15946069"/>
                <a:gd name="connsiteX34" fmla="*/ 10709437 w 16413202"/>
                <a:gd name="connsiteY34" fmla="*/ 6730245 h 15946069"/>
                <a:gd name="connsiteX35" fmla="*/ 10017677 w 16413202"/>
                <a:gd name="connsiteY35" fmla="*/ 5883475 h 15946069"/>
                <a:gd name="connsiteX36" fmla="*/ 9318595 w 16413202"/>
                <a:gd name="connsiteY36" fmla="*/ 5859197 h 15946069"/>
                <a:gd name="connsiteX37" fmla="*/ 9215073 w 16413202"/>
                <a:gd name="connsiteY37" fmla="*/ 5387392 h 15946069"/>
                <a:gd name="connsiteX38" fmla="*/ 8600211 w 16413202"/>
                <a:gd name="connsiteY38" fmla="*/ 5564744 h 15946069"/>
                <a:gd name="connsiteX39" fmla="*/ 8412926 w 16413202"/>
                <a:gd name="connsiteY39" fmla="*/ 4835463 h 15946069"/>
                <a:gd name="connsiteX40" fmla="*/ 7744624 w 16413202"/>
                <a:gd name="connsiteY40" fmla="*/ 4382387 h 15946069"/>
                <a:gd name="connsiteX41" fmla="*/ 8112983 w 16413202"/>
                <a:gd name="connsiteY41" fmla="*/ 3770361 h 15946069"/>
                <a:gd name="connsiteX42" fmla="*/ 7637793 w 16413202"/>
                <a:gd name="connsiteY42" fmla="*/ 2526072 h 15946069"/>
                <a:gd name="connsiteX43" fmla="*/ 7264687 w 16413202"/>
                <a:gd name="connsiteY43" fmla="*/ 2131091 h 15946069"/>
                <a:gd name="connsiteX44" fmla="*/ 6594245 w 16413202"/>
                <a:gd name="connsiteY44" fmla="*/ 2055834 h 15946069"/>
                <a:gd name="connsiteX45" fmla="*/ 6431470 w 16413202"/>
                <a:gd name="connsiteY45" fmla="*/ 1314295 h 15946069"/>
                <a:gd name="connsiteX46" fmla="*/ 5642908 w 16413202"/>
                <a:gd name="connsiteY46" fmla="*/ 1343233 h 15946069"/>
                <a:gd name="connsiteX47" fmla="*/ 5150959 w 16413202"/>
                <a:gd name="connsiteY47" fmla="*/ 1610907 h 15946069"/>
                <a:gd name="connsiteX48" fmla="*/ 5480133 w 16413202"/>
                <a:gd name="connsiteY48" fmla="*/ 2167963 h 15946069"/>
                <a:gd name="connsiteX49" fmla="*/ 4742216 w 16413202"/>
                <a:gd name="connsiteY49" fmla="*/ 2862495 h 15946069"/>
                <a:gd name="connsiteX50" fmla="*/ 2658667 w 16413202"/>
                <a:gd name="connsiteY50" fmla="*/ 0 h 15946069"/>
                <a:gd name="connsiteX51" fmla="*/ 2658682 w 16413202"/>
                <a:gd name="connsiteY51" fmla="*/ 1018890 h 15946069"/>
                <a:gd name="connsiteX52" fmla="*/ 1850829 w 16413202"/>
                <a:gd name="connsiteY52" fmla="*/ 1730283 h 15946069"/>
                <a:gd name="connsiteX53" fmla="*/ 1404694 w 16413202"/>
                <a:gd name="connsiteY53" fmla="*/ 2272862 h 15946069"/>
                <a:gd name="connsiteX54" fmla="*/ 2351216 w 16413202"/>
                <a:gd name="connsiteY54" fmla="*/ 3388182 h 15946069"/>
                <a:gd name="connsiteX55" fmla="*/ 2658682 w 16413202"/>
                <a:gd name="connsiteY55" fmla="*/ 4286458 h 15946069"/>
                <a:gd name="connsiteX56" fmla="*/ 1935228 w 16413202"/>
                <a:gd name="connsiteY56" fmla="*/ 5220918 h 15946069"/>
                <a:gd name="connsiteX57" fmla="*/ 875281 w 16413202"/>
                <a:gd name="connsiteY57" fmla="*/ 5166646 h 15946069"/>
                <a:gd name="connsiteX58" fmla="*/ 0 w 16413202"/>
                <a:gd name="connsiteY58" fmla="*/ 5890112 h 15946069"/>
                <a:gd name="connsiteX59" fmla="*/ 72345 w 16413202"/>
                <a:gd name="connsiteY59" fmla="*/ 6921032 h 15946069"/>
                <a:gd name="connsiteX60" fmla="*/ 477776 w 16413202"/>
                <a:gd name="connsiteY60" fmla="*/ 7436569 h 15946069"/>
                <a:gd name="connsiteX0" fmla="*/ 477776 w 16413202"/>
                <a:gd name="connsiteY0" fmla="*/ 7436569 h 15946069"/>
                <a:gd name="connsiteX1" fmla="*/ 271294 w 16413202"/>
                <a:gd name="connsiteY1" fmla="*/ 8060457 h 15946069"/>
                <a:gd name="connsiteX2" fmla="*/ 379812 w 16413202"/>
                <a:gd name="connsiteY2" fmla="*/ 8675382 h 15946069"/>
                <a:gd name="connsiteX3" fmla="*/ 759624 w 16413202"/>
                <a:gd name="connsiteY3" fmla="*/ 9217969 h 15946069"/>
                <a:gd name="connsiteX4" fmla="*/ 687278 w 16413202"/>
                <a:gd name="connsiteY4" fmla="*/ 9670126 h 15946069"/>
                <a:gd name="connsiteX5" fmla="*/ 144687 w 16413202"/>
                <a:gd name="connsiteY5" fmla="*/ 9941420 h 15946069"/>
                <a:gd name="connsiteX6" fmla="*/ 343643 w 16413202"/>
                <a:gd name="connsiteY6" fmla="*/ 10592536 h 15946069"/>
                <a:gd name="connsiteX7" fmla="*/ 940487 w 16413202"/>
                <a:gd name="connsiteY7" fmla="*/ 10954252 h 15946069"/>
                <a:gd name="connsiteX8" fmla="*/ 596844 w 16413202"/>
                <a:gd name="connsiteY8" fmla="*/ 11786221 h 15946069"/>
                <a:gd name="connsiteX9" fmla="*/ 633017 w 16413202"/>
                <a:gd name="connsiteY9" fmla="*/ 12780969 h 15946069"/>
                <a:gd name="connsiteX10" fmla="*/ 198944 w 16413202"/>
                <a:gd name="connsiteY10" fmla="*/ 13341645 h 15946069"/>
                <a:gd name="connsiteX11" fmla="*/ 723451 w 16413202"/>
                <a:gd name="connsiteY11" fmla="*/ 13757629 h 15946069"/>
                <a:gd name="connsiteX12" fmla="*/ 1640036 w 16413202"/>
                <a:gd name="connsiteY12" fmla="*/ 13197151 h 15946069"/>
                <a:gd name="connsiteX13" fmla="*/ 1880971 w 16413202"/>
                <a:gd name="connsiteY13" fmla="*/ 13395906 h 15946069"/>
                <a:gd name="connsiteX14" fmla="*/ 2930086 w 16413202"/>
                <a:gd name="connsiteY14" fmla="*/ 12952832 h 15946069"/>
                <a:gd name="connsiteX15" fmla="*/ 3828256 w 16413202"/>
                <a:gd name="connsiteY15" fmla="*/ 13245188 h 15946069"/>
                <a:gd name="connsiteX16" fmla="*/ 4768739 w 16413202"/>
                <a:gd name="connsiteY16" fmla="*/ 13040205 h 15946069"/>
                <a:gd name="connsiteX17" fmla="*/ 5190751 w 16413202"/>
                <a:gd name="connsiteY17" fmla="*/ 13649115 h 15946069"/>
                <a:gd name="connsiteX18" fmla="*/ 5932290 w 16413202"/>
                <a:gd name="connsiteY18" fmla="*/ 13444132 h 15946069"/>
                <a:gd name="connsiteX19" fmla="*/ 6498992 w 16413202"/>
                <a:gd name="connsiteY19" fmla="*/ 12991975 h 15946069"/>
                <a:gd name="connsiteX20" fmla="*/ 7373161 w 16413202"/>
                <a:gd name="connsiteY20" fmla="*/ 13582800 h 15946069"/>
                <a:gd name="connsiteX21" fmla="*/ 8512588 w 16413202"/>
                <a:gd name="connsiteY21" fmla="*/ 13570738 h 15946069"/>
                <a:gd name="connsiteX22" fmla="*/ 9742454 w 16413202"/>
                <a:gd name="connsiteY22" fmla="*/ 14004811 h 15946069"/>
                <a:gd name="connsiteX23" fmla="*/ 10616683 w 16413202"/>
                <a:gd name="connsiteY23" fmla="*/ 15358294 h 15946069"/>
                <a:gd name="connsiteX24" fmla="*/ 11117010 w 16413202"/>
                <a:gd name="connsiteY24" fmla="*/ 15946069 h 15946069"/>
                <a:gd name="connsiteX25" fmla="*/ 11780218 w 16413202"/>
                <a:gd name="connsiteY25" fmla="*/ 13579811 h 15946069"/>
                <a:gd name="connsiteX26" fmla="*/ 12196146 w 16413202"/>
                <a:gd name="connsiteY26" fmla="*/ 11388328 h 15946069"/>
                <a:gd name="connsiteX27" fmla="*/ 14004775 w 16413202"/>
                <a:gd name="connsiteY27" fmla="*/ 11611395 h 15946069"/>
                <a:gd name="connsiteX28" fmla="*/ 15409477 w 16413202"/>
                <a:gd name="connsiteY28" fmla="*/ 11882693 h 15946069"/>
                <a:gd name="connsiteX29" fmla="*/ 16413199 w 16413202"/>
                <a:gd name="connsiteY29" fmla="*/ 10920339 h 15946069"/>
                <a:gd name="connsiteX30" fmla="*/ 11668657 w 16413202"/>
                <a:gd name="connsiteY30" fmla="*/ 8754316 h 15946069"/>
                <a:gd name="connsiteX31" fmla="*/ 12149687 w 16413202"/>
                <a:gd name="connsiteY31" fmla="*/ 8101619 h 15946069"/>
                <a:gd name="connsiteX32" fmla="*/ 11118705 w 16413202"/>
                <a:gd name="connsiteY32" fmla="*/ 7156845 h 15946069"/>
                <a:gd name="connsiteX33" fmla="*/ 10425568 w 16413202"/>
                <a:gd name="connsiteY33" fmla="*/ 7223642 h 15946069"/>
                <a:gd name="connsiteX34" fmla="*/ 10709437 w 16413202"/>
                <a:gd name="connsiteY34" fmla="*/ 6730245 h 15946069"/>
                <a:gd name="connsiteX35" fmla="*/ 10017677 w 16413202"/>
                <a:gd name="connsiteY35" fmla="*/ 5883475 h 15946069"/>
                <a:gd name="connsiteX36" fmla="*/ 9318595 w 16413202"/>
                <a:gd name="connsiteY36" fmla="*/ 5859197 h 15946069"/>
                <a:gd name="connsiteX37" fmla="*/ 9215073 w 16413202"/>
                <a:gd name="connsiteY37" fmla="*/ 5387392 h 15946069"/>
                <a:gd name="connsiteX38" fmla="*/ 8600211 w 16413202"/>
                <a:gd name="connsiteY38" fmla="*/ 5564744 h 15946069"/>
                <a:gd name="connsiteX39" fmla="*/ 8412926 w 16413202"/>
                <a:gd name="connsiteY39" fmla="*/ 4835463 h 15946069"/>
                <a:gd name="connsiteX40" fmla="*/ 7744624 w 16413202"/>
                <a:gd name="connsiteY40" fmla="*/ 4382387 h 15946069"/>
                <a:gd name="connsiteX41" fmla="*/ 8112983 w 16413202"/>
                <a:gd name="connsiteY41" fmla="*/ 3770361 h 15946069"/>
                <a:gd name="connsiteX42" fmla="*/ 7637793 w 16413202"/>
                <a:gd name="connsiteY42" fmla="*/ 2526072 h 15946069"/>
                <a:gd name="connsiteX43" fmla="*/ 7264687 w 16413202"/>
                <a:gd name="connsiteY43" fmla="*/ 2131091 h 15946069"/>
                <a:gd name="connsiteX44" fmla="*/ 6594245 w 16413202"/>
                <a:gd name="connsiteY44" fmla="*/ 2055834 h 15946069"/>
                <a:gd name="connsiteX45" fmla="*/ 6431470 w 16413202"/>
                <a:gd name="connsiteY45" fmla="*/ 1314295 h 15946069"/>
                <a:gd name="connsiteX46" fmla="*/ 5642908 w 16413202"/>
                <a:gd name="connsiteY46" fmla="*/ 1343233 h 15946069"/>
                <a:gd name="connsiteX47" fmla="*/ 5150959 w 16413202"/>
                <a:gd name="connsiteY47" fmla="*/ 1610907 h 15946069"/>
                <a:gd name="connsiteX48" fmla="*/ 5480133 w 16413202"/>
                <a:gd name="connsiteY48" fmla="*/ 2167963 h 15946069"/>
                <a:gd name="connsiteX49" fmla="*/ 4742216 w 16413202"/>
                <a:gd name="connsiteY49" fmla="*/ 2862495 h 15946069"/>
                <a:gd name="connsiteX50" fmla="*/ 2658667 w 16413202"/>
                <a:gd name="connsiteY50" fmla="*/ 0 h 15946069"/>
                <a:gd name="connsiteX51" fmla="*/ 2658682 w 16413202"/>
                <a:gd name="connsiteY51" fmla="*/ 1018890 h 15946069"/>
                <a:gd name="connsiteX52" fmla="*/ 1850829 w 16413202"/>
                <a:gd name="connsiteY52" fmla="*/ 1730283 h 15946069"/>
                <a:gd name="connsiteX53" fmla="*/ 1404694 w 16413202"/>
                <a:gd name="connsiteY53" fmla="*/ 2272862 h 15946069"/>
                <a:gd name="connsiteX54" fmla="*/ 2351216 w 16413202"/>
                <a:gd name="connsiteY54" fmla="*/ 3388182 h 15946069"/>
                <a:gd name="connsiteX55" fmla="*/ 2658682 w 16413202"/>
                <a:gd name="connsiteY55" fmla="*/ 4286458 h 15946069"/>
                <a:gd name="connsiteX56" fmla="*/ 1935228 w 16413202"/>
                <a:gd name="connsiteY56" fmla="*/ 5220918 h 15946069"/>
                <a:gd name="connsiteX57" fmla="*/ 875281 w 16413202"/>
                <a:gd name="connsiteY57" fmla="*/ 5166646 h 15946069"/>
                <a:gd name="connsiteX58" fmla="*/ 0 w 16413202"/>
                <a:gd name="connsiteY58" fmla="*/ 5890112 h 15946069"/>
                <a:gd name="connsiteX59" fmla="*/ 72345 w 16413202"/>
                <a:gd name="connsiteY59" fmla="*/ 6921032 h 15946069"/>
                <a:gd name="connsiteX60" fmla="*/ 477776 w 16413202"/>
                <a:gd name="connsiteY60" fmla="*/ 7436569 h 15946069"/>
                <a:gd name="connsiteX0" fmla="*/ 477776 w 15409480"/>
                <a:gd name="connsiteY0" fmla="*/ 7436569 h 15946069"/>
                <a:gd name="connsiteX1" fmla="*/ 271294 w 15409480"/>
                <a:gd name="connsiteY1" fmla="*/ 8060457 h 15946069"/>
                <a:gd name="connsiteX2" fmla="*/ 379812 w 15409480"/>
                <a:gd name="connsiteY2" fmla="*/ 8675382 h 15946069"/>
                <a:gd name="connsiteX3" fmla="*/ 759624 w 15409480"/>
                <a:gd name="connsiteY3" fmla="*/ 9217969 h 15946069"/>
                <a:gd name="connsiteX4" fmla="*/ 687278 w 15409480"/>
                <a:gd name="connsiteY4" fmla="*/ 9670126 h 15946069"/>
                <a:gd name="connsiteX5" fmla="*/ 144687 w 15409480"/>
                <a:gd name="connsiteY5" fmla="*/ 9941420 h 15946069"/>
                <a:gd name="connsiteX6" fmla="*/ 343643 w 15409480"/>
                <a:gd name="connsiteY6" fmla="*/ 10592536 h 15946069"/>
                <a:gd name="connsiteX7" fmla="*/ 940487 w 15409480"/>
                <a:gd name="connsiteY7" fmla="*/ 10954252 h 15946069"/>
                <a:gd name="connsiteX8" fmla="*/ 596844 w 15409480"/>
                <a:gd name="connsiteY8" fmla="*/ 11786221 h 15946069"/>
                <a:gd name="connsiteX9" fmla="*/ 633017 w 15409480"/>
                <a:gd name="connsiteY9" fmla="*/ 12780969 h 15946069"/>
                <a:gd name="connsiteX10" fmla="*/ 198944 w 15409480"/>
                <a:gd name="connsiteY10" fmla="*/ 13341645 h 15946069"/>
                <a:gd name="connsiteX11" fmla="*/ 723451 w 15409480"/>
                <a:gd name="connsiteY11" fmla="*/ 13757629 h 15946069"/>
                <a:gd name="connsiteX12" fmla="*/ 1640036 w 15409480"/>
                <a:gd name="connsiteY12" fmla="*/ 13197151 h 15946069"/>
                <a:gd name="connsiteX13" fmla="*/ 1880971 w 15409480"/>
                <a:gd name="connsiteY13" fmla="*/ 13395906 h 15946069"/>
                <a:gd name="connsiteX14" fmla="*/ 2930086 w 15409480"/>
                <a:gd name="connsiteY14" fmla="*/ 12952832 h 15946069"/>
                <a:gd name="connsiteX15" fmla="*/ 3828256 w 15409480"/>
                <a:gd name="connsiteY15" fmla="*/ 13245188 h 15946069"/>
                <a:gd name="connsiteX16" fmla="*/ 4768739 w 15409480"/>
                <a:gd name="connsiteY16" fmla="*/ 13040205 h 15946069"/>
                <a:gd name="connsiteX17" fmla="*/ 5190751 w 15409480"/>
                <a:gd name="connsiteY17" fmla="*/ 13649115 h 15946069"/>
                <a:gd name="connsiteX18" fmla="*/ 5932290 w 15409480"/>
                <a:gd name="connsiteY18" fmla="*/ 13444132 h 15946069"/>
                <a:gd name="connsiteX19" fmla="*/ 6498992 w 15409480"/>
                <a:gd name="connsiteY19" fmla="*/ 12991975 h 15946069"/>
                <a:gd name="connsiteX20" fmla="*/ 7373161 w 15409480"/>
                <a:gd name="connsiteY20" fmla="*/ 13582800 h 15946069"/>
                <a:gd name="connsiteX21" fmla="*/ 8512588 w 15409480"/>
                <a:gd name="connsiteY21" fmla="*/ 13570738 h 15946069"/>
                <a:gd name="connsiteX22" fmla="*/ 9742454 w 15409480"/>
                <a:gd name="connsiteY22" fmla="*/ 14004811 h 15946069"/>
                <a:gd name="connsiteX23" fmla="*/ 10616683 w 15409480"/>
                <a:gd name="connsiteY23" fmla="*/ 15358294 h 15946069"/>
                <a:gd name="connsiteX24" fmla="*/ 11117010 w 15409480"/>
                <a:gd name="connsiteY24" fmla="*/ 15946069 h 15946069"/>
                <a:gd name="connsiteX25" fmla="*/ 11780218 w 15409480"/>
                <a:gd name="connsiteY25" fmla="*/ 13579811 h 15946069"/>
                <a:gd name="connsiteX26" fmla="*/ 12196146 w 15409480"/>
                <a:gd name="connsiteY26" fmla="*/ 11388328 h 15946069"/>
                <a:gd name="connsiteX27" fmla="*/ 14004775 w 15409480"/>
                <a:gd name="connsiteY27" fmla="*/ 11611395 h 15946069"/>
                <a:gd name="connsiteX28" fmla="*/ 15409477 w 15409480"/>
                <a:gd name="connsiteY28" fmla="*/ 11882693 h 15946069"/>
                <a:gd name="connsiteX29" fmla="*/ 10457619 w 15409480"/>
                <a:gd name="connsiteY29" fmla="*/ 10753303 h 15946069"/>
                <a:gd name="connsiteX30" fmla="*/ 11668657 w 15409480"/>
                <a:gd name="connsiteY30" fmla="*/ 8754316 h 15946069"/>
                <a:gd name="connsiteX31" fmla="*/ 12149687 w 15409480"/>
                <a:gd name="connsiteY31" fmla="*/ 8101619 h 15946069"/>
                <a:gd name="connsiteX32" fmla="*/ 11118705 w 15409480"/>
                <a:gd name="connsiteY32" fmla="*/ 7156845 h 15946069"/>
                <a:gd name="connsiteX33" fmla="*/ 10425568 w 15409480"/>
                <a:gd name="connsiteY33" fmla="*/ 7223642 h 15946069"/>
                <a:gd name="connsiteX34" fmla="*/ 10709437 w 15409480"/>
                <a:gd name="connsiteY34" fmla="*/ 6730245 h 15946069"/>
                <a:gd name="connsiteX35" fmla="*/ 10017677 w 15409480"/>
                <a:gd name="connsiteY35" fmla="*/ 5883475 h 15946069"/>
                <a:gd name="connsiteX36" fmla="*/ 9318595 w 15409480"/>
                <a:gd name="connsiteY36" fmla="*/ 5859197 h 15946069"/>
                <a:gd name="connsiteX37" fmla="*/ 9215073 w 15409480"/>
                <a:gd name="connsiteY37" fmla="*/ 5387392 h 15946069"/>
                <a:gd name="connsiteX38" fmla="*/ 8600211 w 15409480"/>
                <a:gd name="connsiteY38" fmla="*/ 5564744 h 15946069"/>
                <a:gd name="connsiteX39" fmla="*/ 8412926 w 15409480"/>
                <a:gd name="connsiteY39" fmla="*/ 4835463 h 15946069"/>
                <a:gd name="connsiteX40" fmla="*/ 7744624 w 15409480"/>
                <a:gd name="connsiteY40" fmla="*/ 4382387 h 15946069"/>
                <a:gd name="connsiteX41" fmla="*/ 8112983 w 15409480"/>
                <a:gd name="connsiteY41" fmla="*/ 3770361 h 15946069"/>
                <a:gd name="connsiteX42" fmla="*/ 7637793 w 15409480"/>
                <a:gd name="connsiteY42" fmla="*/ 2526072 h 15946069"/>
                <a:gd name="connsiteX43" fmla="*/ 7264687 w 15409480"/>
                <a:gd name="connsiteY43" fmla="*/ 2131091 h 15946069"/>
                <a:gd name="connsiteX44" fmla="*/ 6594245 w 15409480"/>
                <a:gd name="connsiteY44" fmla="*/ 2055834 h 15946069"/>
                <a:gd name="connsiteX45" fmla="*/ 6431470 w 15409480"/>
                <a:gd name="connsiteY45" fmla="*/ 1314295 h 15946069"/>
                <a:gd name="connsiteX46" fmla="*/ 5642908 w 15409480"/>
                <a:gd name="connsiteY46" fmla="*/ 1343233 h 15946069"/>
                <a:gd name="connsiteX47" fmla="*/ 5150959 w 15409480"/>
                <a:gd name="connsiteY47" fmla="*/ 1610907 h 15946069"/>
                <a:gd name="connsiteX48" fmla="*/ 5480133 w 15409480"/>
                <a:gd name="connsiteY48" fmla="*/ 2167963 h 15946069"/>
                <a:gd name="connsiteX49" fmla="*/ 4742216 w 15409480"/>
                <a:gd name="connsiteY49" fmla="*/ 2862495 h 15946069"/>
                <a:gd name="connsiteX50" fmla="*/ 2658667 w 15409480"/>
                <a:gd name="connsiteY50" fmla="*/ 0 h 15946069"/>
                <a:gd name="connsiteX51" fmla="*/ 2658682 w 15409480"/>
                <a:gd name="connsiteY51" fmla="*/ 1018890 h 15946069"/>
                <a:gd name="connsiteX52" fmla="*/ 1850829 w 15409480"/>
                <a:gd name="connsiteY52" fmla="*/ 1730283 h 15946069"/>
                <a:gd name="connsiteX53" fmla="*/ 1404694 w 15409480"/>
                <a:gd name="connsiteY53" fmla="*/ 2272862 h 15946069"/>
                <a:gd name="connsiteX54" fmla="*/ 2351216 w 15409480"/>
                <a:gd name="connsiteY54" fmla="*/ 3388182 h 15946069"/>
                <a:gd name="connsiteX55" fmla="*/ 2658682 w 15409480"/>
                <a:gd name="connsiteY55" fmla="*/ 4286458 h 15946069"/>
                <a:gd name="connsiteX56" fmla="*/ 1935228 w 15409480"/>
                <a:gd name="connsiteY56" fmla="*/ 5220918 h 15946069"/>
                <a:gd name="connsiteX57" fmla="*/ 875281 w 15409480"/>
                <a:gd name="connsiteY57" fmla="*/ 5166646 h 15946069"/>
                <a:gd name="connsiteX58" fmla="*/ 0 w 15409480"/>
                <a:gd name="connsiteY58" fmla="*/ 5890112 h 15946069"/>
                <a:gd name="connsiteX59" fmla="*/ 72345 w 15409480"/>
                <a:gd name="connsiteY59" fmla="*/ 6921032 h 15946069"/>
                <a:gd name="connsiteX60" fmla="*/ 477776 w 15409480"/>
                <a:gd name="connsiteY60" fmla="*/ 7436569 h 15946069"/>
                <a:gd name="connsiteX0" fmla="*/ 477776 w 15409480"/>
                <a:gd name="connsiteY0" fmla="*/ 7436569 h 15946069"/>
                <a:gd name="connsiteX1" fmla="*/ 271294 w 15409480"/>
                <a:gd name="connsiteY1" fmla="*/ 8060457 h 15946069"/>
                <a:gd name="connsiteX2" fmla="*/ 379812 w 15409480"/>
                <a:gd name="connsiteY2" fmla="*/ 8675382 h 15946069"/>
                <a:gd name="connsiteX3" fmla="*/ 759624 w 15409480"/>
                <a:gd name="connsiteY3" fmla="*/ 9217969 h 15946069"/>
                <a:gd name="connsiteX4" fmla="*/ 687278 w 15409480"/>
                <a:gd name="connsiteY4" fmla="*/ 9670126 h 15946069"/>
                <a:gd name="connsiteX5" fmla="*/ 144687 w 15409480"/>
                <a:gd name="connsiteY5" fmla="*/ 9941420 h 15946069"/>
                <a:gd name="connsiteX6" fmla="*/ 343643 w 15409480"/>
                <a:gd name="connsiteY6" fmla="*/ 10592536 h 15946069"/>
                <a:gd name="connsiteX7" fmla="*/ 940487 w 15409480"/>
                <a:gd name="connsiteY7" fmla="*/ 10954252 h 15946069"/>
                <a:gd name="connsiteX8" fmla="*/ 596844 w 15409480"/>
                <a:gd name="connsiteY8" fmla="*/ 11786221 h 15946069"/>
                <a:gd name="connsiteX9" fmla="*/ 633017 w 15409480"/>
                <a:gd name="connsiteY9" fmla="*/ 12780969 h 15946069"/>
                <a:gd name="connsiteX10" fmla="*/ 198944 w 15409480"/>
                <a:gd name="connsiteY10" fmla="*/ 13341645 h 15946069"/>
                <a:gd name="connsiteX11" fmla="*/ 723451 w 15409480"/>
                <a:gd name="connsiteY11" fmla="*/ 13757629 h 15946069"/>
                <a:gd name="connsiteX12" fmla="*/ 1640036 w 15409480"/>
                <a:gd name="connsiteY12" fmla="*/ 13197151 h 15946069"/>
                <a:gd name="connsiteX13" fmla="*/ 1880971 w 15409480"/>
                <a:gd name="connsiteY13" fmla="*/ 13395906 h 15946069"/>
                <a:gd name="connsiteX14" fmla="*/ 2930086 w 15409480"/>
                <a:gd name="connsiteY14" fmla="*/ 12952832 h 15946069"/>
                <a:gd name="connsiteX15" fmla="*/ 3828256 w 15409480"/>
                <a:gd name="connsiteY15" fmla="*/ 13245188 h 15946069"/>
                <a:gd name="connsiteX16" fmla="*/ 4768739 w 15409480"/>
                <a:gd name="connsiteY16" fmla="*/ 13040205 h 15946069"/>
                <a:gd name="connsiteX17" fmla="*/ 5190751 w 15409480"/>
                <a:gd name="connsiteY17" fmla="*/ 13649115 h 15946069"/>
                <a:gd name="connsiteX18" fmla="*/ 5932290 w 15409480"/>
                <a:gd name="connsiteY18" fmla="*/ 13444132 h 15946069"/>
                <a:gd name="connsiteX19" fmla="*/ 6498992 w 15409480"/>
                <a:gd name="connsiteY19" fmla="*/ 12991975 h 15946069"/>
                <a:gd name="connsiteX20" fmla="*/ 7373161 w 15409480"/>
                <a:gd name="connsiteY20" fmla="*/ 13582800 h 15946069"/>
                <a:gd name="connsiteX21" fmla="*/ 8512588 w 15409480"/>
                <a:gd name="connsiteY21" fmla="*/ 13570738 h 15946069"/>
                <a:gd name="connsiteX22" fmla="*/ 9742454 w 15409480"/>
                <a:gd name="connsiteY22" fmla="*/ 14004811 h 15946069"/>
                <a:gd name="connsiteX23" fmla="*/ 10616683 w 15409480"/>
                <a:gd name="connsiteY23" fmla="*/ 15358294 h 15946069"/>
                <a:gd name="connsiteX24" fmla="*/ 11117010 w 15409480"/>
                <a:gd name="connsiteY24" fmla="*/ 15946069 h 15946069"/>
                <a:gd name="connsiteX25" fmla="*/ 11780218 w 15409480"/>
                <a:gd name="connsiteY25" fmla="*/ 13579811 h 15946069"/>
                <a:gd name="connsiteX26" fmla="*/ 12196146 w 15409480"/>
                <a:gd name="connsiteY26" fmla="*/ 11388328 h 15946069"/>
                <a:gd name="connsiteX27" fmla="*/ 14004775 w 15409480"/>
                <a:gd name="connsiteY27" fmla="*/ 11611395 h 15946069"/>
                <a:gd name="connsiteX28" fmla="*/ 15409477 w 15409480"/>
                <a:gd name="connsiteY28" fmla="*/ 11882693 h 15946069"/>
                <a:gd name="connsiteX29" fmla="*/ 10146682 w 15409480"/>
                <a:gd name="connsiteY29" fmla="*/ 10061295 h 15946069"/>
                <a:gd name="connsiteX30" fmla="*/ 11668657 w 15409480"/>
                <a:gd name="connsiteY30" fmla="*/ 8754316 h 15946069"/>
                <a:gd name="connsiteX31" fmla="*/ 12149687 w 15409480"/>
                <a:gd name="connsiteY31" fmla="*/ 8101619 h 15946069"/>
                <a:gd name="connsiteX32" fmla="*/ 11118705 w 15409480"/>
                <a:gd name="connsiteY32" fmla="*/ 7156845 h 15946069"/>
                <a:gd name="connsiteX33" fmla="*/ 10425568 w 15409480"/>
                <a:gd name="connsiteY33" fmla="*/ 7223642 h 15946069"/>
                <a:gd name="connsiteX34" fmla="*/ 10709437 w 15409480"/>
                <a:gd name="connsiteY34" fmla="*/ 6730245 h 15946069"/>
                <a:gd name="connsiteX35" fmla="*/ 10017677 w 15409480"/>
                <a:gd name="connsiteY35" fmla="*/ 5883475 h 15946069"/>
                <a:gd name="connsiteX36" fmla="*/ 9318595 w 15409480"/>
                <a:gd name="connsiteY36" fmla="*/ 5859197 h 15946069"/>
                <a:gd name="connsiteX37" fmla="*/ 9215073 w 15409480"/>
                <a:gd name="connsiteY37" fmla="*/ 5387392 h 15946069"/>
                <a:gd name="connsiteX38" fmla="*/ 8600211 w 15409480"/>
                <a:gd name="connsiteY38" fmla="*/ 5564744 h 15946069"/>
                <a:gd name="connsiteX39" fmla="*/ 8412926 w 15409480"/>
                <a:gd name="connsiteY39" fmla="*/ 4835463 h 15946069"/>
                <a:gd name="connsiteX40" fmla="*/ 7744624 w 15409480"/>
                <a:gd name="connsiteY40" fmla="*/ 4382387 h 15946069"/>
                <a:gd name="connsiteX41" fmla="*/ 8112983 w 15409480"/>
                <a:gd name="connsiteY41" fmla="*/ 3770361 h 15946069"/>
                <a:gd name="connsiteX42" fmla="*/ 7637793 w 15409480"/>
                <a:gd name="connsiteY42" fmla="*/ 2526072 h 15946069"/>
                <a:gd name="connsiteX43" fmla="*/ 7264687 w 15409480"/>
                <a:gd name="connsiteY43" fmla="*/ 2131091 h 15946069"/>
                <a:gd name="connsiteX44" fmla="*/ 6594245 w 15409480"/>
                <a:gd name="connsiteY44" fmla="*/ 2055834 h 15946069"/>
                <a:gd name="connsiteX45" fmla="*/ 6431470 w 15409480"/>
                <a:gd name="connsiteY45" fmla="*/ 1314295 h 15946069"/>
                <a:gd name="connsiteX46" fmla="*/ 5642908 w 15409480"/>
                <a:gd name="connsiteY46" fmla="*/ 1343233 h 15946069"/>
                <a:gd name="connsiteX47" fmla="*/ 5150959 w 15409480"/>
                <a:gd name="connsiteY47" fmla="*/ 1610907 h 15946069"/>
                <a:gd name="connsiteX48" fmla="*/ 5480133 w 15409480"/>
                <a:gd name="connsiteY48" fmla="*/ 2167963 h 15946069"/>
                <a:gd name="connsiteX49" fmla="*/ 4742216 w 15409480"/>
                <a:gd name="connsiteY49" fmla="*/ 2862495 h 15946069"/>
                <a:gd name="connsiteX50" fmla="*/ 2658667 w 15409480"/>
                <a:gd name="connsiteY50" fmla="*/ 0 h 15946069"/>
                <a:gd name="connsiteX51" fmla="*/ 2658682 w 15409480"/>
                <a:gd name="connsiteY51" fmla="*/ 1018890 h 15946069"/>
                <a:gd name="connsiteX52" fmla="*/ 1850829 w 15409480"/>
                <a:gd name="connsiteY52" fmla="*/ 1730283 h 15946069"/>
                <a:gd name="connsiteX53" fmla="*/ 1404694 w 15409480"/>
                <a:gd name="connsiteY53" fmla="*/ 2272862 h 15946069"/>
                <a:gd name="connsiteX54" fmla="*/ 2351216 w 15409480"/>
                <a:gd name="connsiteY54" fmla="*/ 3388182 h 15946069"/>
                <a:gd name="connsiteX55" fmla="*/ 2658682 w 15409480"/>
                <a:gd name="connsiteY55" fmla="*/ 4286458 h 15946069"/>
                <a:gd name="connsiteX56" fmla="*/ 1935228 w 15409480"/>
                <a:gd name="connsiteY56" fmla="*/ 5220918 h 15946069"/>
                <a:gd name="connsiteX57" fmla="*/ 875281 w 15409480"/>
                <a:gd name="connsiteY57" fmla="*/ 5166646 h 15946069"/>
                <a:gd name="connsiteX58" fmla="*/ 0 w 15409480"/>
                <a:gd name="connsiteY58" fmla="*/ 5890112 h 15946069"/>
                <a:gd name="connsiteX59" fmla="*/ 72345 w 15409480"/>
                <a:gd name="connsiteY59" fmla="*/ 6921032 h 15946069"/>
                <a:gd name="connsiteX60" fmla="*/ 477776 w 15409480"/>
                <a:gd name="connsiteY60" fmla="*/ 7436569 h 15946069"/>
                <a:gd name="connsiteX0" fmla="*/ 477776 w 15409480"/>
                <a:gd name="connsiteY0" fmla="*/ 7436569 h 15946069"/>
                <a:gd name="connsiteX1" fmla="*/ 271294 w 15409480"/>
                <a:gd name="connsiteY1" fmla="*/ 8060457 h 15946069"/>
                <a:gd name="connsiteX2" fmla="*/ 379812 w 15409480"/>
                <a:gd name="connsiteY2" fmla="*/ 8675382 h 15946069"/>
                <a:gd name="connsiteX3" fmla="*/ 759624 w 15409480"/>
                <a:gd name="connsiteY3" fmla="*/ 9217969 h 15946069"/>
                <a:gd name="connsiteX4" fmla="*/ 687278 w 15409480"/>
                <a:gd name="connsiteY4" fmla="*/ 9670126 h 15946069"/>
                <a:gd name="connsiteX5" fmla="*/ 144687 w 15409480"/>
                <a:gd name="connsiteY5" fmla="*/ 9941420 h 15946069"/>
                <a:gd name="connsiteX6" fmla="*/ 343643 w 15409480"/>
                <a:gd name="connsiteY6" fmla="*/ 10592536 h 15946069"/>
                <a:gd name="connsiteX7" fmla="*/ 940487 w 15409480"/>
                <a:gd name="connsiteY7" fmla="*/ 10954252 h 15946069"/>
                <a:gd name="connsiteX8" fmla="*/ 596844 w 15409480"/>
                <a:gd name="connsiteY8" fmla="*/ 11786221 h 15946069"/>
                <a:gd name="connsiteX9" fmla="*/ 633017 w 15409480"/>
                <a:gd name="connsiteY9" fmla="*/ 12780969 h 15946069"/>
                <a:gd name="connsiteX10" fmla="*/ 198944 w 15409480"/>
                <a:gd name="connsiteY10" fmla="*/ 13341645 h 15946069"/>
                <a:gd name="connsiteX11" fmla="*/ 723451 w 15409480"/>
                <a:gd name="connsiteY11" fmla="*/ 13757629 h 15946069"/>
                <a:gd name="connsiteX12" fmla="*/ 1640036 w 15409480"/>
                <a:gd name="connsiteY12" fmla="*/ 13197151 h 15946069"/>
                <a:gd name="connsiteX13" fmla="*/ 1880971 w 15409480"/>
                <a:gd name="connsiteY13" fmla="*/ 13395906 h 15946069"/>
                <a:gd name="connsiteX14" fmla="*/ 2930086 w 15409480"/>
                <a:gd name="connsiteY14" fmla="*/ 12952832 h 15946069"/>
                <a:gd name="connsiteX15" fmla="*/ 3828256 w 15409480"/>
                <a:gd name="connsiteY15" fmla="*/ 13245188 h 15946069"/>
                <a:gd name="connsiteX16" fmla="*/ 4768739 w 15409480"/>
                <a:gd name="connsiteY16" fmla="*/ 13040205 h 15946069"/>
                <a:gd name="connsiteX17" fmla="*/ 5190751 w 15409480"/>
                <a:gd name="connsiteY17" fmla="*/ 13649115 h 15946069"/>
                <a:gd name="connsiteX18" fmla="*/ 5932290 w 15409480"/>
                <a:gd name="connsiteY18" fmla="*/ 13444132 h 15946069"/>
                <a:gd name="connsiteX19" fmla="*/ 6498992 w 15409480"/>
                <a:gd name="connsiteY19" fmla="*/ 12991975 h 15946069"/>
                <a:gd name="connsiteX20" fmla="*/ 7373161 w 15409480"/>
                <a:gd name="connsiteY20" fmla="*/ 13582800 h 15946069"/>
                <a:gd name="connsiteX21" fmla="*/ 8512588 w 15409480"/>
                <a:gd name="connsiteY21" fmla="*/ 13570738 h 15946069"/>
                <a:gd name="connsiteX22" fmla="*/ 9742454 w 15409480"/>
                <a:gd name="connsiteY22" fmla="*/ 14004811 h 15946069"/>
                <a:gd name="connsiteX23" fmla="*/ 10616683 w 15409480"/>
                <a:gd name="connsiteY23" fmla="*/ 15358294 h 15946069"/>
                <a:gd name="connsiteX24" fmla="*/ 11117010 w 15409480"/>
                <a:gd name="connsiteY24" fmla="*/ 15946069 h 15946069"/>
                <a:gd name="connsiteX25" fmla="*/ 11780218 w 15409480"/>
                <a:gd name="connsiteY25" fmla="*/ 13579811 h 15946069"/>
                <a:gd name="connsiteX26" fmla="*/ 12196146 w 15409480"/>
                <a:gd name="connsiteY26" fmla="*/ 11388328 h 15946069"/>
                <a:gd name="connsiteX27" fmla="*/ 14004775 w 15409480"/>
                <a:gd name="connsiteY27" fmla="*/ 11611395 h 15946069"/>
                <a:gd name="connsiteX28" fmla="*/ 15409477 w 15409480"/>
                <a:gd name="connsiteY28" fmla="*/ 11882693 h 15946069"/>
                <a:gd name="connsiteX29" fmla="*/ 11533930 w 15409480"/>
                <a:gd name="connsiteY29" fmla="*/ 9393151 h 15946069"/>
                <a:gd name="connsiteX30" fmla="*/ 11668657 w 15409480"/>
                <a:gd name="connsiteY30" fmla="*/ 8754316 h 15946069"/>
                <a:gd name="connsiteX31" fmla="*/ 12149687 w 15409480"/>
                <a:gd name="connsiteY31" fmla="*/ 8101619 h 15946069"/>
                <a:gd name="connsiteX32" fmla="*/ 11118705 w 15409480"/>
                <a:gd name="connsiteY32" fmla="*/ 7156845 h 15946069"/>
                <a:gd name="connsiteX33" fmla="*/ 10425568 w 15409480"/>
                <a:gd name="connsiteY33" fmla="*/ 7223642 h 15946069"/>
                <a:gd name="connsiteX34" fmla="*/ 10709437 w 15409480"/>
                <a:gd name="connsiteY34" fmla="*/ 6730245 h 15946069"/>
                <a:gd name="connsiteX35" fmla="*/ 10017677 w 15409480"/>
                <a:gd name="connsiteY35" fmla="*/ 5883475 h 15946069"/>
                <a:gd name="connsiteX36" fmla="*/ 9318595 w 15409480"/>
                <a:gd name="connsiteY36" fmla="*/ 5859197 h 15946069"/>
                <a:gd name="connsiteX37" fmla="*/ 9215073 w 15409480"/>
                <a:gd name="connsiteY37" fmla="*/ 5387392 h 15946069"/>
                <a:gd name="connsiteX38" fmla="*/ 8600211 w 15409480"/>
                <a:gd name="connsiteY38" fmla="*/ 5564744 h 15946069"/>
                <a:gd name="connsiteX39" fmla="*/ 8412926 w 15409480"/>
                <a:gd name="connsiteY39" fmla="*/ 4835463 h 15946069"/>
                <a:gd name="connsiteX40" fmla="*/ 7744624 w 15409480"/>
                <a:gd name="connsiteY40" fmla="*/ 4382387 h 15946069"/>
                <a:gd name="connsiteX41" fmla="*/ 8112983 w 15409480"/>
                <a:gd name="connsiteY41" fmla="*/ 3770361 h 15946069"/>
                <a:gd name="connsiteX42" fmla="*/ 7637793 w 15409480"/>
                <a:gd name="connsiteY42" fmla="*/ 2526072 h 15946069"/>
                <a:gd name="connsiteX43" fmla="*/ 7264687 w 15409480"/>
                <a:gd name="connsiteY43" fmla="*/ 2131091 h 15946069"/>
                <a:gd name="connsiteX44" fmla="*/ 6594245 w 15409480"/>
                <a:gd name="connsiteY44" fmla="*/ 2055834 h 15946069"/>
                <a:gd name="connsiteX45" fmla="*/ 6431470 w 15409480"/>
                <a:gd name="connsiteY45" fmla="*/ 1314295 h 15946069"/>
                <a:gd name="connsiteX46" fmla="*/ 5642908 w 15409480"/>
                <a:gd name="connsiteY46" fmla="*/ 1343233 h 15946069"/>
                <a:gd name="connsiteX47" fmla="*/ 5150959 w 15409480"/>
                <a:gd name="connsiteY47" fmla="*/ 1610907 h 15946069"/>
                <a:gd name="connsiteX48" fmla="*/ 5480133 w 15409480"/>
                <a:gd name="connsiteY48" fmla="*/ 2167963 h 15946069"/>
                <a:gd name="connsiteX49" fmla="*/ 4742216 w 15409480"/>
                <a:gd name="connsiteY49" fmla="*/ 2862495 h 15946069"/>
                <a:gd name="connsiteX50" fmla="*/ 2658667 w 15409480"/>
                <a:gd name="connsiteY50" fmla="*/ 0 h 15946069"/>
                <a:gd name="connsiteX51" fmla="*/ 2658682 w 15409480"/>
                <a:gd name="connsiteY51" fmla="*/ 1018890 h 15946069"/>
                <a:gd name="connsiteX52" fmla="*/ 1850829 w 15409480"/>
                <a:gd name="connsiteY52" fmla="*/ 1730283 h 15946069"/>
                <a:gd name="connsiteX53" fmla="*/ 1404694 w 15409480"/>
                <a:gd name="connsiteY53" fmla="*/ 2272862 h 15946069"/>
                <a:gd name="connsiteX54" fmla="*/ 2351216 w 15409480"/>
                <a:gd name="connsiteY54" fmla="*/ 3388182 h 15946069"/>
                <a:gd name="connsiteX55" fmla="*/ 2658682 w 15409480"/>
                <a:gd name="connsiteY55" fmla="*/ 4286458 h 15946069"/>
                <a:gd name="connsiteX56" fmla="*/ 1935228 w 15409480"/>
                <a:gd name="connsiteY56" fmla="*/ 5220918 h 15946069"/>
                <a:gd name="connsiteX57" fmla="*/ 875281 w 15409480"/>
                <a:gd name="connsiteY57" fmla="*/ 5166646 h 15946069"/>
                <a:gd name="connsiteX58" fmla="*/ 0 w 15409480"/>
                <a:gd name="connsiteY58" fmla="*/ 5890112 h 15946069"/>
                <a:gd name="connsiteX59" fmla="*/ 72345 w 15409480"/>
                <a:gd name="connsiteY59" fmla="*/ 6921032 h 15946069"/>
                <a:gd name="connsiteX60" fmla="*/ 477776 w 15409480"/>
                <a:gd name="connsiteY60" fmla="*/ 7436569 h 15946069"/>
                <a:gd name="connsiteX0" fmla="*/ 477776 w 14004774"/>
                <a:gd name="connsiteY0" fmla="*/ 7436569 h 15946069"/>
                <a:gd name="connsiteX1" fmla="*/ 271294 w 14004774"/>
                <a:gd name="connsiteY1" fmla="*/ 8060457 h 15946069"/>
                <a:gd name="connsiteX2" fmla="*/ 379812 w 14004774"/>
                <a:gd name="connsiteY2" fmla="*/ 8675382 h 15946069"/>
                <a:gd name="connsiteX3" fmla="*/ 759624 w 14004774"/>
                <a:gd name="connsiteY3" fmla="*/ 9217969 h 15946069"/>
                <a:gd name="connsiteX4" fmla="*/ 687278 w 14004774"/>
                <a:gd name="connsiteY4" fmla="*/ 9670126 h 15946069"/>
                <a:gd name="connsiteX5" fmla="*/ 144687 w 14004774"/>
                <a:gd name="connsiteY5" fmla="*/ 9941420 h 15946069"/>
                <a:gd name="connsiteX6" fmla="*/ 343643 w 14004774"/>
                <a:gd name="connsiteY6" fmla="*/ 10592536 h 15946069"/>
                <a:gd name="connsiteX7" fmla="*/ 940487 w 14004774"/>
                <a:gd name="connsiteY7" fmla="*/ 10954252 h 15946069"/>
                <a:gd name="connsiteX8" fmla="*/ 596844 w 14004774"/>
                <a:gd name="connsiteY8" fmla="*/ 11786221 h 15946069"/>
                <a:gd name="connsiteX9" fmla="*/ 633017 w 14004774"/>
                <a:gd name="connsiteY9" fmla="*/ 12780969 h 15946069"/>
                <a:gd name="connsiteX10" fmla="*/ 198944 w 14004774"/>
                <a:gd name="connsiteY10" fmla="*/ 13341645 h 15946069"/>
                <a:gd name="connsiteX11" fmla="*/ 723451 w 14004774"/>
                <a:gd name="connsiteY11" fmla="*/ 13757629 h 15946069"/>
                <a:gd name="connsiteX12" fmla="*/ 1640036 w 14004774"/>
                <a:gd name="connsiteY12" fmla="*/ 13197151 h 15946069"/>
                <a:gd name="connsiteX13" fmla="*/ 1880971 w 14004774"/>
                <a:gd name="connsiteY13" fmla="*/ 13395906 h 15946069"/>
                <a:gd name="connsiteX14" fmla="*/ 2930086 w 14004774"/>
                <a:gd name="connsiteY14" fmla="*/ 12952832 h 15946069"/>
                <a:gd name="connsiteX15" fmla="*/ 3828256 w 14004774"/>
                <a:gd name="connsiteY15" fmla="*/ 13245188 h 15946069"/>
                <a:gd name="connsiteX16" fmla="*/ 4768739 w 14004774"/>
                <a:gd name="connsiteY16" fmla="*/ 13040205 h 15946069"/>
                <a:gd name="connsiteX17" fmla="*/ 5190751 w 14004774"/>
                <a:gd name="connsiteY17" fmla="*/ 13649115 h 15946069"/>
                <a:gd name="connsiteX18" fmla="*/ 5932290 w 14004774"/>
                <a:gd name="connsiteY18" fmla="*/ 13444132 h 15946069"/>
                <a:gd name="connsiteX19" fmla="*/ 6498992 w 14004774"/>
                <a:gd name="connsiteY19" fmla="*/ 12991975 h 15946069"/>
                <a:gd name="connsiteX20" fmla="*/ 7373161 w 14004774"/>
                <a:gd name="connsiteY20" fmla="*/ 13582800 h 15946069"/>
                <a:gd name="connsiteX21" fmla="*/ 8512588 w 14004774"/>
                <a:gd name="connsiteY21" fmla="*/ 13570738 h 15946069"/>
                <a:gd name="connsiteX22" fmla="*/ 9742454 w 14004774"/>
                <a:gd name="connsiteY22" fmla="*/ 14004811 h 15946069"/>
                <a:gd name="connsiteX23" fmla="*/ 10616683 w 14004774"/>
                <a:gd name="connsiteY23" fmla="*/ 15358294 h 15946069"/>
                <a:gd name="connsiteX24" fmla="*/ 11117010 w 14004774"/>
                <a:gd name="connsiteY24" fmla="*/ 15946069 h 15946069"/>
                <a:gd name="connsiteX25" fmla="*/ 11780218 w 14004774"/>
                <a:gd name="connsiteY25" fmla="*/ 13579811 h 15946069"/>
                <a:gd name="connsiteX26" fmla="*/ 12196146 w 14004774"/>
                <a:gd name="connsiteY26" fmla="*/ 11388328 h 15946069"/>
                <a:gd name="connsiteX27" fmla="*/ 14004775 w 14004774"/>
                <a:gd name="connsiteY27" fmla="*/ 11611395 h 15946069"/>
                <a:gd name="connsiteX28" fmla="*/ 10195350 w 14004774"/>
                <a:gd name="connsiteY28" fmla="*/ 10617991 h 15946069"/>
                <a:gd name="connsiteX29" fmla="*/ 11533930 w 14004774"/>
                <a:gd name="connsiteY29" fmla="*/ 9393151 h 15946069"/>
                <a:gd name="connsiteX30" fmla="*/ 11668657 w 14004774"/>
                <a:gd name="connsiteY30" fmla="*/ 8754316 h 15946069"/>
                <a:gd name="connsiteX31" fmla="*/ 12149687 w 14004774"/>
                <a:gd name="connsiteY31" fmla="*/ 8101619 h 15946069"/>
                <a:gd name="connsiteX32" fmla="*/ 11118705 w 14004774"/>
                <a:gd name="connsiteY32" fmla="*/ 7156845 h 15946069"/>
                <a:gd name="connsiteX33" fmla="*/ 10425568 w 14004774"/>
                <a:gd name="connsiteY33" fmla="*/ 7223642 h 15946069"/>
                <a:gd name="connsiteX34" fmla="*/ 10709437 w 14004774"/>
                <a:gd name="connsiteY34" fmla="*/ 6730245 h 15946069"/>
                <a:gd name="connsiteX35" fmla="*/ 10017677 w 14004774"/>
                <a:gd name="connsiteY35" fmla="*/ 5883475 h 15946069"/>
                <a:gd name="connsiteX36" fmla="*/ 9318595 w 14004774"/>
                <a:gd name="connsiteY36" fmla="*/ 5859197 h 15946069"/>
                <a:gd name="connsiteX37" fmla="*/ 9215073 w 14004774"/>
                <a:gd name="connsiteY37" fmla="*/ 5387392 h 15946069"/>
                <a:gd name="connsiteX38" fmla="*/ 8600211 w 14004774"/>
                <a:gd name="connsiteY38" fmla="*/ 5564744 h 15946069"/>
                <a:gd name="connsiteX39" fmla="*/ 8412926 w 14004774"/>
                <a:gd name="connsiteY39" fmla="*/ 4835463 h 15946069"/>
                <a:gd name="connsiteX40" fmla="*/ 7744624 w 14004774"/>
                <a:gd name="connsiteY40" fmla="*/ 4382387 h 15946069"/>
                <a:gd name="connsiteX41" fmla="*/ 8112983 w 14004774"/>
                <a:gd name="connsiteY41" fmla="*/ 3770361 h 15946069"/>
                <a:gd name="connsiteX42" fmla="*/ 7637793 w 14004774"/>
                <a:gd name="connsiteY42" fmla="*/ 2526072 h 15946069"/>
                <a:gd name="connsiteX43" fmla="*/ 7264687 w 14004774"/>
                <a:gd name="connsiteY43" fmla="*/ 2131091 h 15946069"/>
                <a:gd name="connsiteX44" fmla="*/ 6594245 w 14004774"/>
                <a:gd name="connsiteY44" fmla="*/ 2055834 h 15946069"/>
                <a:gd name="connsiteX45" fmla="*/ 6431470 w 14004774"/>
                <a:gd name="connsiteY45" fmla="*/ 1314295 h 15946069"/>
                <a:gd name="connsiteX46" fmla="*/ 5642908 w 14004774"/>
                <a:gd name="connsiteY46" fmla="*/ 1343233 h 15946069"/>
                <a:gd name="connsiteX47" fmla="*/ 5150959 w 14004774"/>
                <a:gd name="connsiteY47" fmla="*/ 1610907 h 15946069"/>
                <a:gd name="connsiteX48" fmla="*/ 5480133 w 14004774"/>
                <a:gd name="connsiteY48" fmla="*/ 2167963 h 15946069"/>
                <a:gd name="connsiteX49" fmla="*/ 4742216 w 14004774"/>
                <a:gd name="connsiteY49" fmla="*/ 2862495 h 15946069"/>
                <a:gd name="connsiteX50" fmla="*/ 2658667 w 14004774"/>
                <a:gd name="connsiteY50" fmla="*/ 0 h 15946069"/>
                <a:gd name="connsiteX51" fmla="*/ 2658682 w 14004774"/>
                <a:gd name="connsiteY51" fmla="*/ 1018890 h 15946069"/>
                <a:gd name="connsiteX52" fmla="*/ 1850829 w 14004774"/>
                <a:gd name="connsiteY52" fmla="*/ 1730283 h 15946069"/>
                <a:gd name="connsiteX53" fmla="*/ 1404694 w 14004774"/>
                <a:gd name="connsiteY53" fmla="*/ 2272862 h 15946069"/>
                <a:gd name="connsiteX54" fmla="*/ 2351216 w 14004774"/>
                <a:gd name="connsiteY54" fmla="*/ 3388182 h 15946069"/>
                <a:gd name="connsiteX55" fmla="*/ 2658682 w 14004774"/>
                <a:gd name="connsiteY55" fmla="*/ 4286458 h 15946069"/>
                <a:gd name="connsiteX56" fmla="*/ 1935228 w 14004774"/>
                <a:gd name="connsiteY56" fmla="*/ 5220918 h 15946069"/>
                <a:gd name="connsiteX57" fmla="*/ 875281 w 14004774"/>
                <a:gd name="connsiteY57" fmla="*/ 5166646 h 15946069"/>
                <a:gd name="connsiteX58" fmla="*/ 0 w 14004774"/>
                <a:gd name="connsiteY58" fmla="*/ 5890112 h 15946069"/>
                <a:gd name="connsiteX59" fmla="*/ 72345 w 14004774"/>
                <a:gd name="connsiteY59" fmla="*/ 6921032 h 15946069"/>
                <a:gd name="connsiteX60" fmla="*/ 477776 w 14004774"/>
                <a:gd name="connsiteY60" fmla="*/ 7436569 h 15946069"/>
                <a:gd name="connsiteX0" fmla="*/ 477776 w 14004774"/>
                <a:gd name="connsiteY0" fmla="*/ 7436569 h 15946069"/>
                <a:gd name="connsiteX1" fmla="*/ 271294 w 14004774"/>
                <a:gd name="connsiteY1" fmla="*/ 8060457 h 15946069"/>
                <a:gd name="connsiteX2" fmla="*/ 379812 w 14004774"/>
                <a:gd name="connsiteY2" fmla="*/ 8675382 h 15946069"/>
                <a:gd name="connsiteX3" fmla="*/ 759624 w 14004774"/>
                <a:gd name="connsiteY3" fmla="*/ 9217969 h 15946069"/>
                <a:gd name="connsiteX4" fmla="*/ 687278 w 14004774"/>
                <a:gd name="connsiteY4" fmla="*/ 9670126 h 15946069"/>
                <a:gd name="connsiteX5" fmla="*/ 144687 w 14004774"/>
                <a:gd name="connsiteY5" fmla="*/ 9941420 h 15946069"/>
                <a:gd name="connsiteX6" fmla="*/ 343643 w 14004774"/>
                <a:gd name="connsiteY6" fmla="*/ 10592536 h 15946069"/>
                <a:gd name="connsiteX7" fmla="*/ 940487 w 14004774"/>
                <a:gd name="connsiteY7" fmla="*/ 10954252 h 15946069"/>
                <a:gd name="connsiteX8" fmla="*/ 596844 w 14004774"/>
                <a:gd name="connsiteY8" fmla="*/ 11786221 h 15946069"/>
                <a:gd name="connsiteX9" fmla="*/ 633017 w 14004774"/>
                <a:gd name="connsiteY9" fmla="*/ 12780969 h 15946069"/>
                <a:gd name="connsiteX10" fmla="*/ 198944 w 14004774"/>
                <a:gd name="connsiteY10" fmla="*/ 13341645 h 15946069"/>
                <a:gd name="connsiteX11" fmla="*/ 723451 w 14004774"/>
                <a:gd name="connsiteY11" fmla="*/ 13757629 h 15946069"/>
                <a:gd name="connsiteX12" fmla="*/ 1640036 w 14004774"/>
                <a:gd name="connsiteY12" fmla="*/ 13197151 h 15946069"/>
                <a:gd name="connsiteX13" fmla="*/ 1880971 w 14004774"/>
                <a:gd name="connsiteY13" fmla="*/ 13395906 h 15946069"/>
                <a:gd name="connsiteX14" fmla="*/ 2930086 w 14004774"/>
                <a:gd name="connsiteY14" fmla="*/ 12952832 h 15946069"/>
                <a:gd name="connsiteX15" fmla="*/ 3828256 w 14004774"/>
                <a:gd name="connsiteY15" fmla="*/ 13245188 h 15946069"/>
                <a:gd name="connsiteX16" fmla="*/ 4768739 w 14004774"/>
                <a:gd name="connsiteY16" fmla="*/ 13040205 h 15946069"/>
                <a:gd name="connsiteX17" fmla="*/ 5190751 w 14004774"/>
                <a:gd name="connsiteY17" fmla="*/ 13649115 h 15946069"/>
                <a:gd name="connsiteX18" fmla="*/ 5932290 w 14004774"/>
                <a:gd name="connsiteY18" fmla="*/ 13444132 h 15946069"/>
                <a:gd name="connsiteX19" fmla="*/ 6498992 w 14004774"/>
                <a:gd name="connsiteY19" fmla="*/ 12991975 h 15946069"/>
                <a:gd name="connsiteX20" fmla="*/ 7373161 w 14004774"/>
                <a:gd name="connsiteY20" fmla="*/ 13582800 h 15946069"/>
                <a:gd name="connsiteX21" fmla="*/ 8512588 w 14004774"/>
                <a:gd name="connsiteY21" fmla="*/ 13570738 h 15946069"/>
                <a:gd name="connsiteX22" fmla="*/ 9742454 w 14004774"/>
                <a:gd name="connsiteY22" fmla="*/ 14004811 h 15946069"/>
                <a:gd name="connsiteX23" fmla="*/ 10616683 w 14004774"/>
                <a:gd name="connsiteY23" fmla="*/ 15358294 h 15946069"/>
                <a:gd name="connsiteX24" fmla="*/ 11117010 w 14004774"/>
                <a:gd name="connsiteY24" fmla="*/ 15946069 h 15946069"/>
                <a:gd name="connsiteX25" fmla="*/ 11780218 w 14004774"/>
                <a:gd name="connsiteY25" fmla="*/ 13579811 h 15946069"/>
                <a:gd name="connsiteX26" fmla="*/ 12196146 w 14004774"/>
                <a:gd name="connsiteY26" fmla="*/ 11388328 h 15946069"/>
                <a:gd name="connsiteX27" fmla="*/ 14004775 w 14004774"/>
                <a:gd name="connsiteY27" fmla="*/ 11611395 h 15946069"/>
                <a:gd name="connsiteX28" fmla="*/ 11893530 w 14004774"/>
                <a:gd name="connsiteY28" fmla="*/ 10283919 h 15946069"/>
                <a:gd name="connsiteX29" fmla="*/ 11533930 w 14004774"/>
                <a:gd name="connsiteY29" fmla="*/ 9393151 h 15946069"/>
                <a:gd name="connsiteX30" fmla="*/ 11668657 w 14004774"/>
                <a:gd name="connsiteY30" fmla="*/ 8754316 h 15946069"/>
                <a:gd name="connsiteX31" fmla="*/ 12149687 w 14004774"/>
                <a:gd name="connsiteY31" fmla="*/ 8101619 h 15946069"/>
                <a:gd name="connsiteX32" fmla="*/ 11118705 w 14004774"/>
                <a:gd name="connsiteY32" fmla="*/ 7156845 h 15946069"/>
                <a:gd name="connsiteX33" fmla="*/ 10425568 w 14004774"/>
                <a:gd name="connsiteY33" fmla="*/ 7223642 h 15946069"/>
                <a:gd name="connsiteX34" fmla="*/ 10709437 w 14004774"/>
                <a:gd name="connsiteY34" fmla="*/ 6730245 h 15946069"/>
                <a:gd name="connsiteX35" fmla="*/ 10017677 w 14004774"/>
                <a:gd name="connsiteY35" fmla="*/ 5883475 h 15946069"/>
                <a:gd name="connsiteX36" fmla="*/ 9318595 w 14004774"/>
                <a:gd name="connsiteY36" fmla="*/ 5859197 h 15946069"/>
                <a:gd name="connsiteX37" fmla="*/ 9215073 w 14004774"/>
                <a:gd name="connsiteY37" fmla="*/ 5387392 h 15946069"/>
                <a:gd name="connsiteX38" fmla="*/ 8600211 w 14004774"/>
                <a:gd name="connsiteY38" fmla="*/ 5564744 h 15946069"/>
                <a:gd name="connsiteX39" fmla="*/ 8412926 w 14004774"/>
                <a:gd name="connsiteY39" fmla="*/ 4835463 h 15946069"/>
                <a:gd name="connsiteX40" fmla="*/ 7744624 w 14004774"/>
                <a:gd name="connsiteY40" fmla="*/ 4382387 h 15946069"/>
                <a:gd name="connsiteX41" fmla="*/ 8112983 w 14004774"/>
                <a:gd name="connsiteY41" fmla="*/ 3770361 h 15946069"/>
                <a:gd name="connsiteX42" fmla="*/ 7637793 w 14004774"/>
                <a:gd name="connsiteY42" fmla="*/ 2526072 h 15946069"/>
                <a:gd name="connsiteX43" fmla="*/ 7264687 w 14004774"/>
                <a:gd name="connsiteY43" fmla="*/ 2131091 h 15946069"/>
                <a:gd name="connsiteX44" fmla="*/ 6594245 w 14004774"/>
                <a:gd name="connsiteY44" fmla="*/ 2055834 h 15946069"/>
                <a:gd name="connsiteX45" fmla="*/ 6431470 w 14004774"/>
                <a:gd name="connsiteY45" fmla="*/ 1314295 h 15946069"/>
                <a:gd name="connsiteX46" fmla="*/ 5642908 w 14004774"/>
                <a:gd name="connsiteY46" fmla="*/ 1343233 h 15946069"/>
                <a:gd name="connsiteX47" fmla="*/ 5150959 w 14004774"/>
                <a:gd name="connsiteY47" fmla="*/ 1610907 h 15946069"/>
                <a:gd name="connsiteX48" fmla="*/ 5480133 w 14004774"/>
                <a:gd name="connsiteY48" fmla="*/ 2167963 h 15946069"/>
                <a:gd name="connsiteX49" fmla="*/ 4742216 w 14004774"/>
                <a:gd name="connsiteY49" fmla="*/ 2862495 h 15946069"/>
                <a:gd name="connsiteX50" fmla="*/ 2658667 w 14004774"/>
                <a:gd name="connsiteY50" fmla="*/ 0 h 15946069"/>
                <a:gd name="connsiteX51" fmla="*/ 2658682 w 14004774"/>
                <a:gd name="connsiteY51" fmla="*/ 1018890 h 15946069"/>
                <a:gd name="connsiteX52" fmla="*/ 1850829 w 14004774"/>
                <a:gd name="connsiteY52" fmla="*/ 1730283 h 15946069"/>
                <a:gd name="connsiteX53" fmla="*/ 1404694 w 14004774"/>
                <a:gd name="connsiteY53" fmla="*/ 2272862 h 15946069"/>
                <a:gd name="connsiteX54" fmla="*/ 2351216 w 14004774"/>
                <a:gd name="connsiteY54" fmla="*/ 3388182 h 15946069"/>
                <a:gd name="connsiteX55" fmla="*/ 2658682 w 14004774"/>
                <a:gd name="connsiteY55" fmla="*/ 4286458 h 15946069"/>
                <a:gd name="connsiteX56" fmla="*/ 1935228 w 14004774"/>
                <a:gd name="connsiteY56" fmla="*/ 5220918 h 15946069"/>
                <a:gd name="connsiteX57" fmla="*/ 875281 w 14004774"/>
                <a:gd name="connsiteY57" fmla="*/ 5166646 h 15946069"/>
                <a:gd name="connsiteX58" fmla="*/ 0 w 14004774"/>
                <a:gd name="connsiteY58" fmla="*/ 5890112 h 15946069"/>
                <a:gd name="connsiteX59" fmla="*/ 72345 w 14004774"/>
                <a:gd name="connsiteY59" fmla="*/ 6921032 h 15946069"/>
                <a:gd name="connsiteX60" fmla="*/ 477776 w 14004774"/>
                <a:gd name="connsiteY60" fmla="*/ 7436569 h 15946069"/>
                <a:gd name="connsiteX0" fmla="*/ 477776 w 12196146"/>
                <a:gd name="connsiteY0" fmla="*/ 7436569 h 15946069"/>
                <a:gd name="connsiteX1" fmla="*/ 271294 w 12196146"/>
                <a:gd name="connsiteY1" fmla="*/ 8060457 h 15946069"/>
                <a:gd name="connsiteX2" fmla="*/ 379812 w 12196146"/>
                <a:gd name="connsiteY2" fmla="*/ 8675382 h 15946069"/>
                <a:gd name="connsiteX3" fmla="*/ 759624 w 12196146"/>
                <a:gd name="connsiteY3" fmla="*/ 9217969 h 15946069"/>
                <a:gd name="connsiteX4" fmla="*/ 687278 w 12196146"/>
                <a:gd name="connsiteY4" fmla="*/ 9670126 h 15946069"/>
                <a:gd name="connsiteX5" fmla="*/ 144687 w 12196146"/>
                <a:gd name="connsiteY5" fmla="*/ 9941420 h 15946069"/>
                <a:gd name="connsiteX6" fmla="*/ 343643 w 12196146"/>
                <a:gd name="connsiteY6" fmla="*/ 10592536 h 15946069"/>
                <a:gd name="connsiteX7" fmla="*/ 940487 w 12196146"/>
                <a:gd name="connsiteY7" fmla="*/ 10954252 h 15946069"/>
                <a:gd name="connsiteX8" fmla="*/ 596844 w 12196146"/>
                <a:gd name="connsiteY8" fmla="*/ 11786221 h 15946069"/>
                <a:gd name="connsiteX9" fmla="*/ 633017 w 12196146"/>
                <a:gd name="connsiteY9" fmla="*/ 12780969 h 15946069"/>
                <a:gd name="connsiteX10" fmla="*/ 198944 w 12196146"/>
                <a:gd name="connsiteY10" fmla="*/ 13341645 h 15946069"/>
                <a:gd name="connsiteX11" fmla="*/ 723451 w 12196146"/>
                <a:gd name="connsiteY11" fmla="*/ 13757629 h 15946069"/>
                <a:gd name="connsiteX12" fmla="*/ 1640036 w 12196146"/>
                <a:gd name="connsiteY12" fmla="*/ 13197151 h 15946069"/>
                <a:gd name="connsiteX13" fmla="*/ 1880971 w 12196146"/>
                <a:gd name="connsiteY13" fmla="*/ 13395906 h 15946069"/>
                <a:gd name="connsiteX14" fmla="*/ 2930086 w 12196146"/>
                <a:gd name="connsiteY14" fmla="*/ 12952832 h 15946069"/>
                <a:gd name="connsiteX15" fmla="*/ 3828256 w 12196146"/>
                <a:gd name="connsiteY15" fmla="*/ 13245188 h 15946069"/>
                <a:gd name="connsiteX16" fmla="*/ 4768739 w 12196146"/>
                <a:gd name="connsiteY16" fmla="*/ 13040205 h 15946069"/>
                <a:gd name="connsiteX17" fmla="*/ 5190751 w 12196146"/>
                <a:gd name="connsiteY17" fmla="*/ 13649115 h 15946069"/>
                <a:gd name="connsiteX18" fmla="*/ 5932290 w 12196146"/>
                <a:gd name="connsiteY18" fmla="*/ 13444132 h 15946069"/>
                <a:gd name="connsiteX19" fmla="*/ 6498992 w 12196146"/>
                <a:gd name="connsiteY19" fmla="*/ 12991975 h 15946069"/>
                <a:gd name="connsiteX20" fmla="*/ 7373161 w 12196146"/>
                <a:gd name="connsiteY20" fmla="*/ 13582800 h 15946069"/>
                <a:gd name="connsiteX21" fmla="*/ 8512588 w 12196146"/>
                <a:gd name="connsiteY21" fmla="*/ 13570738 h 15946069"/>
                <a:gd name="connsiteX22" fmla="*/ 9742454 w 12196146"/>
                <a:gd name="connsiteY22" fmla="*/ 14004811 h 15946069"/>
                <a:gd name="connsiteX23" fmla="*/ 10616683 w 12196146"/>
                <a:gd name="connsiteY23" fmla="*/ 15358294 h 15946069"/>
                <a:gd name="connsiteX24" fmla="*/ 11117010 w 12196146"/>
                <a:gd name="connsiteY24" fmla="*/ 15946069 h 15946069"/>
                <a:gd name="connsiteX25" fmla="*/ 11780218 w 12196146"/>
                <a:gd name="connsiteY25" fmla="*/ 13579811 h 15946069"/>
                <a:gd name="connsiteX26" fmla="*/ 12196146 w 12196146"/>
                <a:gd name="connsiteY26" fmla="*/ 11388328 h 15946069"/>
                <a:gd name="connsiteX27" fmla="*/ 9651694 w 12196146"/>
                <a:gd name="connsiteY27" fmla="*/ 10609178 h 15946069"/>
                <a:gd name="connsiteX28" fmla="*/ 11893530 w 12196146"/>
                <a:gd name="connsiteY28" fmla="*/ 10283919 h 15946069"/>
                <a:gd name="connsiteX29" fmla="*/ 11533930 w 12196146"/>
                <a:gd name="connsiteY29" fmla="*/ 9393151 h 15946069"/>
                <a:gd name="connsiteX30" fmla="*/ 11668657 w 12196146"/>
                <a:gd name="connsiteY30" fmla="*/ 8754316 h 15946069"/>
                <a:gd name="connsiteX31" fmla="*/ 12149687 w 12196146"/>
                <a:gd name="connsiteY31" fmla="*/ 8101619 h 15946069"/>
                <a:gd name="connsiteX32" fmla="*/ 11118705 w 12196146"/>
                <a:gd name="connsiteY32" fmla="*/ 7156845 h 15946069"/>
                <a:gd name="connsiteX33" fmla="*/ 10425568 w 12196146"/>
                <a:gd name="connsiteY33" fmla="*/ 7223642 h 15946069"/>
                <a:gd name="connsiteX34" fmla="*/ 10709437 w 12196146"/>
                <a:gd name="connsiteY34" fmla="*/ 6730245 h 15946069"/>
                <a:gd name="connsiteX35" fmla="*/ 10017677 w 12196146"/>
                <a:gd name="connsiteY35" fmla="*/ 5883475 h 15946069"/>
                <a:gd name="connsiteX36" fmla="*/ 9318595 w 12196146"/>
                <a:gd name="connsiteY36" fmla="*/ 5859197 h 15946069"/>
                <a:gd name="connsiteX37" fmla="*/ 9215073 w 12196146"/>
                <a:gd name="connsiteY37" fmla="*/ 5387392 h 15946069"/>
                <a:gd name="connsiteX38" fmla="*/ 8600211 w 12196146"/>
                <a:gd name="connsiteY38" fmla="*/ 5564744 h 15946069"/>
                <a:gd name="connsiteX39" fmla="*/ 8412926 w 12196146"/>
                <a:gd name="connsiteY39" fmla="*/ 4835463 h 15946069"/>
                <a:gd name="connsiteX40" fmla="*/ 7744624 w 12196146"/>
                <a:gd name="connsiteY40" fmla="*/ 4382387 h 15946069"/>
                <a:gd name="connsiteX41" fmla="*/ 8112983 w 12196146"/>
                <a:gd name="connsiteY41" fmla="*/ 3770361 h 15946069"/>
                <a:gd name="connsiteX42" fmla="*/ 7637793 w 12196146"/>
                <a:gd name="connsiteY42" fmla="*/ 2526072 h 15946069"/>
                <a:gd name="connsiteX43" fmla="*/ 7264687 w 12196146"/>
                <a:gd name="connsiteY43" fmla="*/ 2131091 h 15946069"/>
                <a:gd name="connsiteX44" fmla="*/ 6594245 w 12196146"/>
                <a:gd name="connsiteY44" fmla="*/ 2055834 h 15946069"/>
                <a:gd name="connsiteX45" fmla="*/ 6431470 w 12196146"/>
                <a:gd name="connsiteY45" fmla="*/ 1314295 h 15946069"/>
                <a:gd name="connsiteX46" fmla="*/ 5642908 w 12196146"/>
                <a:gd name="connsiteY46" fmla="*/ 1343233 h 15946069"/>
                <a:gd name="connsiteX47" fmla="*/ 5150959 w 12196146"/>
                <a:gd name="connsiteY47" fmla="*/ 1610907 h 15946069"/>
                <a:gd name="connsiteX48" fmla="*/ 5480133 w 12196146"/>
                <a:gd name="connsiteY48" fmla="*/ 2167963 h 15946069"/>
                <a:gd name="connsiteX49" fmla="*/ 4742216 w 12196146"/>
                <a:gd name="connsiteY49" fmla="*/ 2862495 h 15946069"/>
                <a:gd name="connsiteX50" fmla="*/ 2658667 w 12196146"/>
                <a:gd name="connsiteY50" fmla="*/ 0 h 15946069"/>
                <a:gd name="connsiteX51" fmla="*/ 2658682 w 12196146"/>
                <a:gd name="connsiteY51" fmla="*/ 1018890 h 15946069"/>
                <a:gd name="connsiteX52" fmla="*/ 1850829 w 12196146"/>
                <a:gd name="connsiteY52" fmla="*/ 1730283 h 15946069"/>
                <a:gd name="connsiteX53" fmla="*/ 1404694 w 12196146"/>
                <a:gd name="connsiteY53" fmla="*/ 2272862 h 15946069"/>
                <a:gd name="connsiteX54" fmla="*/ 2351216 w 12196146"/>
                <a:gd name="connsiteY54" fmla="*/ 3388182 h 15946069"/>
                <a:gd name="connsiteX55" fmla="*/ 2658682 w 12196146"/>
                <a:gd name="connsiteY55" fmla="*/ 4286458 h 15946069"/>
                <a:gd name="connsiteX56" fmla="*/ 1935228 w 12196146"/>
                <a:gd name="connsiteY56" fmla="*/ 5220918 h 15946069"/>
                <a:gd name="connsiteX57" fmla="*/ 875281 w 12196146"/>
                <a:gd name="connsiteY57" fmla="*/ 5166646 h 15946069"/>
                <a:gd name="connsiteX58" fmla="*/ 0 w 12196146"/>
                <a:gd name="connsiteY58" fmla="*/ 5890112 h 15946069"/>
                <a:gd name="connsiteX59" fmla="*/ 72345 w 12196146"/>
                <a:gd name="connsiteY59" fmla="*/ 6921032 h 15946069"/>
                <a:gd name="connsiteX60" fmla="*/ 477776 w 12196146"/>
                <a:gd name="connsiteY60" fmla="*/ 7436569 h 15946069"/>
                <a:gd name="connsiteX0" fmla="*/ 477776 w 12196146"/>
                <a:gd name="connsiteY0" fmla="*/ 7436569 h 15946069"/>
                <a:gd name="connsiteX1" fmla="*/ 271294 w 12196146"/>
                <a:gd name="connsiteY1" fmla="*/ 8060457 h 15946069"/>
                <a:gd name="connsiteX2" fmla="*/ 379812 w 12196146"/>
                <a:gd name="connsiteY2" fmla="*/ 8675382 h 15946069"/>
                <a:gd name="connsiteX3" fmla="*/ 759624 w 12196146"/>
                <a:gd name="connsiteY3" fmla="*/ 9217969 h 15946069"/>
                <a:gd name="connsiteX4" fmla="*/ 687278 w 12196146"/>
                <a:gd name="connsiteY4" fmla="*/ 9670126 h 15946069"/>
                <a:gd name="connsiteX5" fmla="*/ 144687 w 12196146"/>
                <a:gd name="connsiteY5" fmla="*/ 9941420 h 15946069"/>
                <a:gd name="connsiteX6" fmla="*/ 343643 w 12196146"/>
                <a:gd name="connsiteY6" fmla="*/ 10592536 h 15946069"/>
                <a:gd name="connsiteX7" fmla="*/ 940487 w 12196146"/>
                <a:gd name="connsiteY7" fmla="*/ 10954252 h 15946069"/>
                <a:gd name="connsiteX8" fmla="*/ 596844 w 12196146"/>
                <a:gd name="connsiteY8" fmla="*/ 11786221 h 15946069"/>
                <a:gd name="connsiteX9" fmla="*/ 633017 w 12196146"/>
                <a:gd name="connsiteY9" fmla="*/ 12780969 h 15946069"/>
                <a:gd name="connsiteX10" fmla="*/ 198944 w 12196146"/>
                <a:gd name="connsiteY10" fmla="*/ 13341645 h 15946069"/>
                <a:gd name="connsiteX11" fmla="*/ 723451 w 12196146"/>
                <a:gd name="connsiteY11" fmla="*/ 13757629 h 15946069"/>
                <a:gd name="connsiteX12" fmla="*/ 1640036 w 12196146"/>
                <a:gd name="connsiteY12" fmla="*/ 13197151 h 15946069"/>
                <a:gd name="connsiteX13" fmla="*/ 1880971 w 12196146"/>
                <a:gd name="connsiteY13" fmla="*/ 13395906 h 15946069"/>
                <a:gd name="connsiteX14" fmla="*/ 2930086 w 12196146"/>
                <a:gd name="connsiteY14" fmla="*/ 12952832 h 15946069"/>
                <a:gd name="connsiteX15" fmla="*/ 3828256 w 12196146"/>
                <a:gd name="connsiteY15" fmla="*/ 13245188 h 15946069"/>
                <a:gd name="connsiteX16" fmla="*/ 4768739 w 12196146"/>
                <a:gd name="connsiteY16" fmla="*/ 13040205 h 15946069"/>
                <a:gd name="connsiteX17" fmla="*/ 5190751 w 12196146"/>
                <a:gd name="connsiteY17" fmla="*/ 13649115 h 15946069"/>
                <a:gd name="connsiteX18" fmla="*/ 5932290 w 12196146"/>
                <a:gd name="connsiteY18" fmla="*/ 13444132 h 15946069"/>
                <a:gd name="connsiteX19" fmla="*/ 6498992 w 12196146"/>
                <a:gd name="connsiteY19" fmla="*/ 12991975 h 15946069"/>
                <a:gd name="connsiteX20" fmla="*/ 7373161 w 12196146"/>
                <a:gd name="connsiteY20" fmla="*/ 13582800 h 15946069"/>
                <a:gd name="connsiteX21" fmla="*/ 8512588 w 12196146"/>
                <a:gd name="connsiteY21" fmla="*/ 13570738 h 15946069"/>
                <a:gd name="connsiteX22" fmla="*/ 9742454 w 12196146"/>
                <a:gd name="connsiteY22" fmla="*/ 14004811 h 15946069"/>
                <a:gd name="connsiteX23" fmla="*/ 10616683 w 12196146"/>
                <a:gd name="connsiteY23" fmla="*/ 15358294 h 15946069"/>
                <a:gd name="connsiteX24" fmla="*/ 11117010 w 12196146"/>
                <a:gd name="connsiteY24" fmla="*/ 15946069 h 15946069"/>
                <a:gd name="connsiteX25" fmla="*/ 11780218 w 12196146"/>
                <a:gd name="connsiteY25" fmla="*/ 13579811 h 15946069"/>
                <a:gd name="connsiteX26" fmla="*/ 12196146 w 12196146"/>
                <a:gd name="connsiteY26" fmla="*/ 11388328 h 15946069"/>
                <a:gd name="connsiteX27" fmla="*/ 11899987 w 12196146"/>
                <a:gd name="connsiteY27" fmla="*/ 10752355 h 15946069"/>
                <a:gd name="connsiteX28" fmla="*/ 11893530 w 12196146"/>
                <a:gd name="connsiteY28" fmla="*/ 10283919 h 15946069"/>
                <a:gd name="connsiteX29" fmla="*/ 11533930 w 12196146"/>
                <a:gd name="connsiteY29" fmla="*/ 9393151 h 15946069"/>
                <a:gd name="connsiteX30" fmla="*/ 11668657 w 12196146"/>
                <a:gd name="connsiteY30" fmla="*/ 8754316 h 15946069"/>
                <a:gd name="connsiteX31" fmla="*/ 12149687 w 12196146"/>
                <a:gd name="connsiteY31" fmla="*/ 8101619 h 15946069"/>
                <a:gd name="connsiteX32" fmla="*/ 11118705 w 12196146"/>
                <a:gd name="connsiteY32" fmla="*/ 7156845 h 15946069"/>
                <a:gd name="connsiteX33" fmla="*/ 10425568 w 12196146"/>
                <a:gd name="connsiteY33" fmla="*/ 7223642 h 15946069"/>
                <a:gd name="connsiteX34" fmla="*/ 10709437 w 12196146"/>
                <a:gd name="connsiteY34" fmla="*/ 6730245 h 15946069"/>
                <a:gd name="connsiteX35" fmla="*/ 10017677 w 12196146"/>
                <a:gd name="connsiteY35" fmla="*/ 5883475 h 15946069"/>
                <a:gd name="connsiteX36" fmla="*/ 9318595 w 12196146"/>
                <a:gd name="connsiteY36" fmla="*/ 5859197 h 15946069"/>
                <a:gd name="connsiteX37" fmla="*/ 9215073 w 12196146"/>
                <a:gd name="connsiteY37" fmla="*/ 5387392 h 15946069"/>
                <a:gd name="connsiteX38" fmla="*/ 8600211 w 12196146"/>
                <a:gd name="connsiteY38" fmla="*/ 5564744 h 15946069"/>
                <a:gd name="connsiteX39" fmla="*/ 8412926 w 12196146"/>
                <a:gd name="connsiteY39" fmla="*/ 4835463 h 15946069"/>
                <a:gd name="connsiteX40" fmla="*/ 7744624 w 12196146"/>
                <a:gd name="connsiteY40" fmla="*/ 4382387 h 15946069"/>
                <a:gd name="connsiteX41" fmla="*/ 8112983 w 12196146"/>
                <a:gd name="connsiteY41" fmla="*/ 3770361 h 15946069"/>
                <a:gd name="connsiteX42" fmla="*/ 7637793 w 12196146"/>
                <a:gd name="connsiteY42" fmla="*/ 2526072 h 15946069"/>
                <a:gd name="connsiteX43" fmla="*/ 7264687 w 12196146"/>
                <a:gd name="connsiteY43" fmla="*/ 2131091 h 15946069"/>
                <a:gd name="connsiteX44" fmla="*/ 6594245 w 12196146"/>
                <a:gd name="connsiteY44" fmla="*/ 2055834 h 15946069"/>
                <a:gd name="connsiteX45" fmla="*/ 6431470 w 12196146"/>
                <a:gd name="connsiteY45" fmla="*/ 1314295 h 15946069"/>
                <a:gd name="connsiteX46" fmla="*/ 5642908 w 12196146"/>
                <a:gd name="connsiteY46" fmla="*/ 1343233 h 15946069"/>
                <a:gd name="connsiteX47" fmla="*/ 5150959 w 12196146"/>
                <a:gd name="connsiteY47" fmla="*/ 1610907 h 15946069"/>
                <a:gd name="connsiteX48" fmla="*/ 5480133 w 12196146"/>
                <a:gd name="connsiteY48" fmla="*/ 2167963 h 15946069"/>
                <a:gd name="connsiteX49" fmla="*/ 4742216 w 12196146"/>
                <a:gd name="connsiteY49" fmla="*/ 2862495 h 15946069"/>
                <a:gd name="connsiteX50" fmla="*/ 2658667 w 12196146"/>
                <a:gd name="connsiteY50" fmla="*/ 0 h 15946069"/>
                <a:gd name="connsiteX51" fmla="*/ 2658682 w 12196146"/>
                <a:gd name="connsiteY51" fmla="*/ 1018890 h 15946069"/>
                <a:gd name="connsiteX52" fmla="*/ 1850829 w 12196146"/>
                <a:gd name="connsiteY52" fmla="*/ 1730283 h 15946069"/>
                <a:gd name="connsiteX53" fmla="*/ 1404694 w 12196146"/>
                <a:gd name="connsiteY53" fmla="*/ 2272862 h 15946069"/>
                <a:gd name="connsiteX54" fmla="*/ 2351216 w 12196146"/>
                <a:gd name="connsiteY54" fmla="*/ 3388182 h 15946069"/>
                <a:gd name="connsiteX55" fmla="*/ 2658682 w 12196146"/>
                <a:gd name="connsiteY55" fmla="*/ 4286458 h 15946069"/>
                <a:gd name="connsiteX56" fmla="*/ 1935228 w 12196146"/>
                <a:gd name="connsiteY56" fmla="*/ 5220918 h 15946069"/>
                <a:gd name="connsiteX57" fmla="*/ 875281 w 12196146"/>
                <a:gd name="connsiteY57" fmla="*/ 5166646 h 15946069"/>
                <a:gd name="connsiteX58" fmla="*/ 0 w 12196146"/>
                <a:gd name="connsiteY58" fmla="*/ 5890112 h 15946069"/>
                <a:gd name="connsiteX59" fmla="*/ 72345 w 12196146"/>
                <a:gd name="connsiteY59" fmla="*/ 6921032 h 15946069"/>
                <a:gd name="connsiteX60" fmla="*/ 477776 w 12196146"/>
                <a:gd name="connsiteY60" fmla="*/ 7436569 h 15946069"/>
                <a:gd name="connsiteX0" fmla="*/ 477776 w 12149688"/>
                <a:gd name="connsiteY0" fmla="*/ 7436569 h 15946069"/>
                <a:gd name="connsiteX1" fmla="*/ 271294 w 12149688"/>
                <a:gd name="connsiteY1" fmla="*/ 8060457 h 15946069"/>
                <a:gd name="connsiteX2" fmla="*/ 379812 w 12149688"/>
                <a:gd name="connsiteY2" fmla="*/ 8675382 h 15946069"/>
                <a:gd name="connsiteX3" fmla="*/ 759624 w 12149688"/>
                <a:gd name="connsiteY3" fmla="*/ 9217969 h 15946069"/>
                <a:gd name="connsiteX4" fmla="*/ 687278 w 12149688"/>
                <a:gd name="connsiteY4" fmla="*/ 9670126 h 15946069"/>
                <a:gd name="connsiteX5" fmla="*/ 144687 w 12149688"/>
                <a:gd name="connsiteY5" fmla="*/ 9941420 h 15946069"/>
                <a:gd name="connsiteX6" fmla="*/ 343643 w 12149688"/>
                <a:gd name="connsiteY6" fmla="*/ 10592536 h 15946069"/>
                <a:gd name="connsiteX7" fmla="*/ 940487 w 12149688"/>
                <a:gd name="connsiteY7" fmla="*/ 10954252 h 15946069"/>
                <a:gd name="connsiteX8" fmla="*/ 596844 w 12149688"/>
                <a:gd name="connsiteY8" fmla="*/ 11786221 h 15946069"/>
                <a:gd name="connsiteX9" fmla="*/ 633017 w 12149688"/>
                <a:gd name="connsiteY9" fmla="*/ 12780969 h 15946069"/>
                <a:gd name="connsiteX10" fmla="*/ 198944 w 12149688"/>
                <a:gd name="connsiteY10" fmla="*/ 13341645 h 15946069"/>
                <a:gd name="connsiteX11" fmla="*/ 723451 w 12149688"/>
                <a:gd name="connsiteY11" fmla="*/ 13757629 h 15946069"/>
                <a:gd name="connsiteX12" fmla="*/ 1640036 w 12149688"/>
                <a:gd name="connsiteY12" fmla="*/ 13197151 h 15946069"/>
                <a:gd name="connsiteX13" fmla="*/ 1880971 w 12149688"/>
                <a:gd name="connsiteY13" fmla="*/ 13395906 h 15946069"/>
                <a:gd name="connsiteX14" fmla="*/ 2930086 w 12149688"/>
                <a:gd name="connsiteY14" fmla="*/ 12952832 h 15946069"/>
                <a:gd name="connsiteX15" fmla="*/ 3828256 w 12149688"/>
                <a:gd name="connsiteY15" fmla="*/ 13245188 h 15946069"/>
                <a:gd name="connsiteX16" fmla="*/ 4768739 w 12149688"/>
                <a:gd name="connsiteY16" fmla="*/ 13040205 h 15946069"/>
                <a:gd name="connsiteX17" fmla="*/ 5190751 w 12149688"/>
                <a:gd name="connsiteY17" fmla="*/ 13649115 h 15946069"/>
                <a:gd name="connsiteX18" fmla="*/ 5932290 w 12149688"/>
                <a:gd name="connsiteY18" fmla="*/ 13444132 h 15946069"/>
                <a:gd name="connsiteX19" fmla="*/ 6498992 w 12149688"/>
                <a:gd name="connsiteY19" fmla="*/ 12991975 h 15946069"/>
                <a:gd name="connsiteX20" fmla="*/ 7373161 w 12149688"/>
                <a:gd name="connsiteY20" fmla="*/ 13582800 h 15946069"/>
                <a:gd name="connsiteX21" fmla="*/ 8512588 w 12149688"/>
                <a:gd name="connsiteY21" fmla="*/ 13570738 h 15946069"/>
                <a:gd name="connsiteX22" fmla="*/ 9742454 w 12149688"/>
                <a:gd name="connsiteY22" fmla="*/ 14004811 h 15946069"/>
                <a:gd name="connsiteX23" fmla="*/ 10616683 w 12149688"/>
                <a:gd name="connsiteY23" fmla="*/ 15358294 h 15946069"/>
                <a:gd name="connsiteX24" fmla="*/ 11117010 w 12149688"/>
                <a:gd name="connsiteY24" fmla="*/ 15946069 h 15946069"/>
                <a:gd name="connsiteX25" fmla="*/ 11780218 w 12149688"/>
                <a:gd name="connsiteY25" fmla="*/ 13579811 h 15946069"/>
                <a:gd name="connsiteX26" fmla="*/ 8823707 w 12149688"/>
                <a:gd name="connsiteY26" fmla="*/ 11436049 h 15946069"/>
                <a:gd name="connsiteX27" fmla="*/ 11899987 w 12149688"/>
                <a:gd name="connsiteY27" fmla="*/ 10752355 h 15946069"/>
                <a:gd name="connsiteX28" fmla="*/ 11893530 w 12149688"/>
                <a:gd name="connsiteY28" fmla="*/ 10283919 h 15946069"/>
                <a:gd name="connsiteX29" fmla="*/ 11533930 w 12149688"/>
                <a:gd name="connsiteY29" fmla="*/ 9393151 h 15946069"/>
                <a:gd name="connsiteX30" fmla="*/ 11668657 w 12149688"/>
                <a:gd name="connsiteY30" fmla="*/ 8754316 h 15946069"/>
                <a:gd name="connsiteX31" fmla="*/ 12149687 w 12149688"/>
                <a:gd name="connsiteY31" fmla="*/ 8101619 h 15946069"/>
                <a:gd name="connsiteX32" fmla="*/ 11118705 w 12149688"/>
                <a:gd name="connsiteY32" fmla="*/ 7156845 h 15946069"/>
                <a:gd name="connsiteX33" fmla="*/ 10425568 w 12149688"/>
                <a:gd name="connsiteY33" fmla="*/ 7223642 h 15946069"/>
                <a:gd name="connsiteX34" fmla="*/ 10709437 w 12149688"/>
                <a:gd name="connsiteY34" fmla="*/ 6730245 h 15946069"/>
                <a:gd name="connsiteX35" fmla="*/ 10017677 w 12149688"/>
                <a:gd name="connsiteY35" fmla="*/ 5883475 h 15946069"/>
                <a:gd name="connsiteX36" fmla="*/ 9318595 w 12149688"/>
                <a:gd name="connsiteY36" fmla="*/ 5859197 h 15946069"/>
                <a:gd name="connsiteX37" fmla="*/ 9215073 w 12149688"/>
                <a:gd name="connsiteY37" fmla="*/ 5387392 h 15946069"/>
                <a:gd name="connsiteX38" fmla="*/ 8600211 w 12149688"/>
                <a:gd name="connsiteY38" fmla="*/ 5564744 h 15946069"/>
                <a:gd name="connsiteX39" fmla="*/ 8412926 w 12149688"/>
                <a:gd name="connsiteY39" fmla="*/ 4835463 h 15946069"/>
                <a:gd name="connsiteX40" fmla="*/ 7744624 w 12149688"/>
                <a:gd name="connsiteY40" fmla="*/ 4382387 h 15946069"/>
                <a:gd name="connsiteX41" fmla="*/ 8112983 w 12149688"/>
                <a:gd name="connsiteY41" fmla="*/ 3770361 h 15946069"/>
                <a:gd name="connsiteX42" fmla="*/ 7637793 w 12149688"/>
                <a:gd name="connsiteY42" fmla="*/ 2526072 h 15946069"/>
                <a:gd name="connsiteX43" fmla="*/ 7264687 w 12149688"/>
                <a:gd name="connsiteY43" fmla="*/ 2131091 h 15946069"/>
                <a:gd name="connsiteX44" fmla="*/ 6594245 w 12149688"/>
                <a:gd name="connsiteY44" fmla="*/ 2055834 h 15946069"/>
                <a:gd name="connsiteX45" fmla="*/ 6431470 w 12149688"/>
                <a:gd name="connsiteY45" fmla="*/ 1314295 h 15946069"/>
                <a:gd name="connsiteX46" fmla="*/ 5642908 w 12149688"/>
                <a:gd name="connsiteY46" fmla="*/ 1343233 h 15946069"/>
                <a:gd name="connsiteX47" fmla="*/ 5150959 w 12149688"/>
                <a:gd name="connsiteY47" fmla="*/ 1610907 h 15946069"/>
                <a:gd name="connsiteX48" fmla="*/ 5480133 w 12149688"/>
                <a:gd name="connsiteY48" fmla="*/ 2167963 h 15946069"/>
                <a:gd name="connsiteX49" fmla="*/ 4742216 w 12149688"/>
                <a:gd name="connsiteY49" fmla="*/ 2862495 h 15946069"/>
                <a:gd name="connsiteX50" fmla="*/ 2658667 w 12149688"/>
                <a:gd name="connsiteY50" fmla="*/ 0 h 15946069"/>
                <a:gd name="connsiteX51" fmla="*/ 2658682 w 12149688"/>
                <a:gd name="connsiteY51" fmla="*/ 1018890 h 15946069"/>
                <a:gd name="connsiteX52" fmla="*/ 1850829 w 12149688"/>
                <a:gd name="connsiteY52" fmla="*/ 1730283 h 15946069"/>
                <a:gd name="connsiteX53" fmla="*/ 1404694 w 12149688"/>
                <a:gd name="connsiteY53" fmla="*/ 2272862 h 15946069"/>
                <a:gd name="connsiteX54" fmla="*/ 2351216 w 12149688"/>
                <a:gd name="connsiteY54" fmla="*/ 3388182 h 15946069"/>
                <a:gd name="connsiteX55" fmla="*/ 2658682 w 12149688"/>
                <a:gd name="connsiteY55" fmla="*/ 4286458 h 15946069"/>
                <a:gd name="connsiteX56" fmla="*/ 1935228 w 12149688"/>
                <a:gd name="connsiteY56" fmla="*/ 5220918 h 15946069"/>
                <a:gd name="connsiteX57" fmla="*/ 875281 w 12149688"/>
                <a:gd name="connsiteY57" fmla="*/ 5166646 h 15946069"/>
                <a:gd name="connsiteX58" fmla="*/ 0 w 12149688"/>
                <a:gd name="connsiteY58" fmla="*/ 5890112 h 15946069"/>
                <a:gd name="connsiteX59" fmla="*/ 72345 w 12149688"/>
                <a:gd name="connsiteY59" fmla="*/ 6921032 h 15946069"/>
                <a:gd name="connsiteX60" fmla="*/ 477776 w 12149688"/>
                <a:gd name="connsiteY60" fmla="*/ 7436569 h 15946069"/>
                <a:gd name="connsiteX0" fmla="*/ 477776 w 12149688"/>
                <a:gd name="connsiteY0" fmla="*/ 7436569 h 15946069"/>
                <a:gd name="connsiteX1" fmla="*/ 271294 w 12149688"/>
                <a:gd name="connsiteY1" fmla="*/ 8060457 h 15946069"/>
                <a:gd name="connsiteX2" fmla="*/ 379812 w 12149688"/>
                <a:gd name="connsiteY2" fmla="*/ 8675382 h 15946069"/>
                <a:gd name="connsiteX3" fmla="*/ 759624 w 12149688"/>
                <a:gd name="connsiteY3" fmla="*/ 9217969 h 15946069"/>
                <a:gd name="connsiteX4" fmla="*/ 687278 w 12149688"/>
                <a:gd name="connsiteY4" fmla="*/ 9670126 h 15946069"/>
                <a:gd name="connsiteX5" fmla="*/ 144687 w 12149688"/>
                <a:gd name="connsiteY5" fmla="*/ 9941420 h 15946069"/>
                <a:gd name="connsiteX6" fmla="*/ 343643 w 12149688"/>
                <a:gd name="connsiteY6" fmla="*/ 10592536 h 15946069"/>
                <a:gd name="connsiteX7" fmla="*/ 940487 w 12149688"/>
                <a:gd name="connsiteY7" fmla="*/ 10954252 h 15946069"/>
                <a:gd name="connsiteX8" fmla="*/ 596844 w 12149688"/>
                <a:gd name="connsiteY8" fmla="*/ 11786221 h 15946069"/>
                <a:gd name="connsiteX9" fmla="*/ 633017 w 12149688"/>
                <a:gd name="connsiteY9" fmla="*/ 12780969 h 15946069"/>
                <a:gd name="connsiteX10" fmla="*/ 198944 w 12149688"/>
                <a:gd name="connsiteY10" fmla="*/ 13341645 h 15946069"/>
                <a:gd name="connsiteX11" fmla="*/ 723451 w 12149688"/>
                <a:gd name="connsiteY11" fmla="*/ 13757629 h 15946069"/>
                <a:gd name="connsiteX12" fmla="*/ 1640036 w 12149688"/>
                <a:gd name="connsiteY12" fmla="*/ 13197151 h 15946069"/>
                <a:gd name="connsiteX13" fmla="*/ 1880971 w 12149688"/>
                <a:gd name="connsiteY13" fmla="*/ 13395906 h 15946069"/>
                <a:gd name="connsiteX14" fmla="*/ 2930086 w 12149688"/>
                <a:gd name="connsiteY14" fmla="*/ 12952832 h 15946069"/>
                <a:gd name="connsiteX15" fmla="*/ 3828256 w 12149688"/>
                <a:gd name="connsiteY15" fmla="*/ 13245188 h 15946069"/>
                <a:gd name="connsiteX16" fmla="*/ 4768739 w 12149688"/>
                <a:gd name="connsiteY16" fmla="*/ 13040205 h 15946069"/>
                <a:gd name="connsiteX17" fmla="*/ 5190751 w 12149688"/>
                <a:gd name="connsiteY17" fmla="*/ 13649115 h 15946069"/>
                <a:gd name="connsiteX18" fmla="*/ 5932290 w 12149688"/>
                <a:gd name="connsiteY18" fmla="*/ 13444132 h 15946069"/>
                <a:gd name="connsiteX19" fmla="*/ 6498992 w 12149688"/>
                <a:gd name="connsiteY19" fmla="*/ 12991975 h 15946069"/>
                <a:gd name="connsiteX20" fmla="*/ 7373161 w 12149688"/>
                <a:gd name="connsiteY20" fmla="*/ 13582800 h 15946069"/>
                <a:gd name="connsiteX21" fmla="*/ 8512588 w 12149688"/>
                <a:gd name="connsiteY21" fmla="*/ 13570738 h 15946069"/>
                <a:gd name="connsiteX22" fmla="*/ 9742454 w 12149688"/>
                <a:gd name="connsiteY22" fmla="*/ 14004811 h 15946069"/>
                <a:gd name="connsiteX23" fmla="*/ 10616683 w 12149688"/>
                <a:gd name="connsiteY23" fmla="*/ 15358294 h 15946069"/>
                <a:gd name="connsiteX24" fmla="*/ 11117010 w 12149688"/>
                <a:gd name="connsiteY24" fmla="*/ 15946069 h 15946069"/>
                <a:gd name="connsiteX25" fmla="*/ 11780218 w 12149688"/>
                <a:gd name="connsiteY25" fmla="*/ 13579811 h 15946069"/>
                <a:gd name="connsiteX26" fmla="*/ 11980885 w 12149688"/>
                <a:gd name="connsiteY26" fmla="*/ 11483773 h 15946069"/>
                <a:gd name="connsiteX27" fmla="*/ 11899987 w 12149688"/>
                <a:gd name="connsiteY27" fmla="*/ 10752355 h 15946069"/>
                <a:gd name="connsiteX28" fmla="*/ 11893530 w 12149688"/>
                <a:gd name="connsiteY28" fmla="*/ 10283919 h 15946069"/>
                <a:gd name="connsiteX29" fmla="*/ 11533930 w 12149688"/>
                <a:gd name="connsiteY29" fmla="*/ 9393151 h 15946069"/>
                <a:gd name="connsiteX30" fmla="*/ 11668657 w 12149688"/>
                <a:gd name="connsiteY30" fmla="*/ 8754316 h 15946069"/>
                <a:gd name="connsiteX31" fmla="*/ 12149687 w 12149688"/>
                <a:gd name="connsiteY31" fmla="*/ 8101619 h 15946069"/>
                <a:gd name="connsiteX32" fmla="*/ 11118705 w 12149688"/>
                <a:gd name="connsiteY32" fmla="*/ 7156845 h 15946069"/>
                <a:gd name="connsiteX33" fmla="*/ 10425568 w 12149688"/>
                <a:gd name="connsiteY33" fmla="*/ 7223642 h 15946069"/>
                <a:gd name="connsiteX34" fmla="*/ 10709437 w 12149688"/>
                <a:gd name="connsiteY34" fmla="*/ 6730245 h 15946069"/>
                <a:gd name="connsiteX35" fmla="*/ 10017677 w 12149688"/>
                <a:gd name="connsiteY35" fmla="*/ 5883475 h 15946069"/>
                <a:gd name="connsiteX36" fmla="*/ 9318595 w 12149688"/>
                <a:gd name="connsiteY36" fmla="*/ 5859197 h 15946069"/>
                <a:gd name="connsiteX37" fmla="*/ 9215073 w 12149688"/>
                <a:gd name="connsiteY37" fmla="*/ 5387392 h 15946069"/>
                <a:gd name="connsiteX38" fmla="*/ 8600211 w 12149688"/>
                <a:gd name="connsiteY38" fmla="*/ 5564744 h 15946069"/>
                <a:gd name="connsiteX39" fmla="*/ 8412926 w 12149688"/>
                <a:gd name="connsiteY39" fmla="*/ 4835463 h 15946069"/>
                <a:gd name="connsiteX40" fmla="*/ 7744624 w 12149688"/>
                <a:gd name="connsiteY40" fmla="*/ 4382387 h 15946069"/>
                <a:gd name="connsiteX41" fmla="*/ 8112983 w 12149688"/>
                <a:gd name="connsiteY41" fmla="*/ 3770361 h 15946069"/>
                <a:gd name="connsiteX42" fmla="*/ 7637793 w 12149688"/>
                <a:gd name="connsiteY42" fmla="*/ 2526072 h 15946069"/>
                <a:gd name="connsiteX43" fmla="*/ 7264687 w 12149688"/>
                <a:gd name="connsiteY43" fmla="*/ 2131091 h 15946069"/>
                <a:gd name="connsiteX44" fmla="*/ 6594245 w 12149688"/>
                <a:gd name="connsiteY44" fmla="*/ 2055834 h 15946069"/>
                <a:gd name="connsiteX45" fmla="*/ 6431470 w 12149688"/>
                <a:gd name="connsiteY45" fmla="*/ 1314295 h 15946069"/>
                <a:gd name="connsiteX46" fmla="*/ 5642908 w 12149688"/>
                <a:gd name="connsiteY46" fmla="*/ 1343233 h 15946069"/>
                <a:gd name="connsiteX47" fmla="*/ 5150959 w 12149688"/>
                <a:gd name="connsiteY47" fmla="*/ 1610907 h 15946069"/>
                <a:gd name="connsiteX48" fmla="*/ 5480133 w 12149688"/>
                <a:gd name="connsiteY48" fmla="*/ 2167963 h 15946069"/>
                <a:gd name="connsiteX49" fmla="*/ 4742216 w 12149688"/>
                <a:gd name="connsiteY49" fmla="*/ 2862495 h 15946069"/>
                <a:gd name="connsiteX50" fmla="*/ 2658667 w 12149688"/>
                <a:gd name="connsiteY50" fmla="*/ 0 h 15946069"/>
                <a:gd name="connsiteX51" fmla="*/ 2658682 w 12149688"/>
                <a:gd name="connsiteY51" fmla="*/ 1018890 h 15946069"/>
                <a:gd name="connsiteX52" fmla="*/ 1850829 w 12149688"/>
                <a:gd name="connsiteY52" fmla="*/ 1730283 h 15946069"/>
                <a:gd name="connsiteX53" fmla="*/ 1404694 w 12149688"/>
                <a:gd name="connsiteY53" fmla="*/ 2272862 h 15946069"/>
                <a:gd name="connsiteX54" fmla="*/ 2351216 w 12149688"/>
                <a:gd name="connsiteY54" fmla="*/ 3388182 h 15946069"/>
                <a:gd name="connsiteX55" fmla="*/ 2658682 w 12149688"/>
                <a:gd name="connsiteY55" fmla="*/ 4286458 h 15946069"/>
                <a:gd name="connsiteX56" fmla="*/ 1935228 w 12149688"/>
                <a:gd name="connsiteY56" fmla="*/ 5220918 h 15946069"/>
                <a:gd name="connsiteX57" fmla="*/ 875281 w 12149688"/>
                <a:gd name="connsiteY57" fmla="*/ 5166646 h 15946069"/>
                <a:gd name="connsiteX58" fmla="*/ 0 w 12149688"/>
                <a:gd name="connsiteY58" fmla="*/ 5890112 h 15946069"/>
                <a:gd name="connsiteX59" fmla="*/ 72345 w 12149688"/>
                <a:gd name="connsiteY59" fmla="*/ 6921032 h 15946069"/>
                <a:gd name="connsiteX60" fmla="*/ 477776 w 12149688"/>
                <a:gd name="connsiteY60" fmla="*/ 7436569 h 15946069"/>
                <a:gd name="connsiteX0" fmla="*/ 477776 w 12149688"/>
                <a:gd name="connsiteY0" fmla="*/ 7436569 h 15946069"/>
                <a:gd name="connsiteX1" fmla="*/ 271294 w 12149688"/>
                <a:gd name="connsiteY1" fmla="*/ 8060457 h 15946069"/>
                <a:gd name="connsiteX2" fmla="*/ 379812 w 12149688"/>
                <a:gd name="connsiteY2" fmla="*/ 8675382 h 15946069"/>
                <a:gd name="connsiteX3" fmla="*/ 759624 w 12149688"/>
                <a:gd name="connsiteY3" fmla="*/ 9217969 h 15946069"/>
                <a:gd name="connsiteX4" fmla="*/ 687278 w 12149688"/>
                <a:gd name="connsiteY4" fmla="*/ 9670126 h 15946069"/>
                <a:gd name="connsiteX5" fmla="*/ 144687 w 12149688"/>
                <a:gd name="connsiteY5" fmla="*/ 9941420 h 15946069"/>
                <a:gd name="connsiteX6" fmla="*/ 343643 w 12149688"/>
                <a:gd name="connsiteY6" fmla="*/ 10592536 h 15946069"/>
                <a:gd name="connsiteX7" fmla="*/ 940487 w 12149688"/>
                <a:gd name="connsiteY7" fmla="*/ 10954252 h 15946069"/>
                <a:gd name="connsiteX8" fmla="*/ 596844 w 12149688"/>
                <a:gd name="connsiteY8" fmla="*/ 11786221 h 15946069"/>
                <a:gd name="connsiteX9" fmla="*/ 633017 w 12149688"/>
                <a:gd name="connsiteY9" fmla="*/ 12780969 h 15946069"/>
                <a:gd name="connsiteX10" fmla="*/ 198944 w 12149688"/>
                <a:gd name="connsiteY10" fmla="*/ 13341645 h 15946069"/>
                <a:gd name="connsiteX11" fmla="*/ 723451 w 12149688"/>
                <a:gd name="connsiteY11" fmla="*/ 13757629 h 15946069"/>
                <a:gd name="connsiteX12" fmla="*/ 1640036 w 12149688"/>
                <a:gd name="connsiteY12" fmla="*/ 13197151 h 15946069"/>
                <a:gd name="connsiteX13" fmla="*/ 1880971 w 12149688"/>
                <a:gd name="connsiteY13" fmla="*/ 13395906 h 15946069"/>
                <a:gd name="connsiteX14" fmla="*/ 2930086 w 12149688"/>
                <a:gd name="connsiteY14" fmla="*/ 12952832 h 15946069"/>
                <a:gd name="connsiteX15" fmla="*/ 3828256 w 12149688"/>
                <a:gd name="connsiteY15" fmla="*/ 13245188 h 15946069"/>
                <a:gd name="connsiteX16" fmla="*/ 4768739 w 12149688"/>
                <a:gd name="connsiteY16" fmla="*/ 13040205 h 15946069"/>
                <a:gd name="connsiteX17" fmla="*/ 5190751 w 12149688"/>
                <a:gd name="connsiteY17" fmla="*/ 13649115 h 15946069"/>
                <a:gd name="connsiteX18" fmla="*/ 5932290 w 12149688"/>
                <a:gd name="connsiteY18" fmla="*/ 13444132 h 15946069"/>
                <a:gd name="connsiteX19" fmla="*/ 6498992 w 12149688"/>
                <a:gd name="connsiteY19" fmla="*/ 12991975 h 15946069"/>
                <a:gd name="connsiteX20" fmla="*/ 7373161 w 12149688"/>
                <a:gd name="connsiteY20" fmla="*/ 13582800 h 15946069"/>
                <a:gd name="connsiteX21" fmla="*/ 8512588 w 12149688"/>
                <a:gd name="connsiteY21" fmla="*/ 13570738 h 15946069"/>
                <a:gd name="connsiteX22" fmla="*/ 9742454 w 12149688"/>
                <a:gd name="connsiteY22" fmla="*/ 14004811 h 15946069"/>
                <a:gd name="connsiteX23" fmla="*/ 10616683 w 12149688"/>
                <a:gd name="connsiteY23" fmla="*/ 15358294 h 15946069"/>
                <a:gd name="connsiteX24" fmla="*/ 11117010 w 12149688"/>
                <a:gd name="connsiteY24" fmla="*/ 15946069 h 15946069"/>
                <a:gd name="connsiteX25" fmla="*/ 11589945 w 12149688"/>
                <a:gd name="connsiteY25" fmla="*/ 15762811 h 15946069"/>
                <a:gd name="connsiteX26" fmla="*/ 11980885 w 12149688"/>
                <a:gd name="connsiteY26" fmla="*/ 11483773 h 15946069"/>
                <a:gd name="connsiteX27" fmla="*/ 11899987 w 12149688"/>
                <a:gd name="connsiteY27" fmla="*/ 10752355 h 15946069"/>
                <a:gd name="connsiteX28" fmla="*/ 11893530 w 12149688"/>
                <a:gd name="connsiteY28" fmla="*/ 10283919 h 15946069"/>
                <a:gd name="connsiteX29" fmla="*/ 11533930 w 12149688"/>
                <a:gd name="connsiteY29" fmla="*/ 9393151 h 15946069"/>
                <a:gd name="connsiteX30" fmla="*/ 11668657 w 12149688"/>
                <a:gd name="connsiteY30" fmla="*/ 8754316 h 15946069"/>
                <a:gd name="connsiteX31" fmla="*/ 12149687 w 12149688"/>
                <a:gd name="connsiteY31" fmla="*/ 8101619 h 15946069"/>
                <a:gd name="connsiteX32" fmla="*/ 11118705 w 12149688"/>
                <a:gd name="connsiteY32" fmla="*/ 7156845 h 15946069"/>
                <a:gd name="connsiteX33" fmla="*/ 10425568 w 12149688"/>
                <a:gd name="connsiteY33" fmla="*/ 7223642 h 15946069"/>
                <a:gd name="connsiteX34" fmla="*/ 10709437 w 12149688"/>
                <a:gd name="connsiteY34" fmla="*/ 6730245 h 15946069"/>
                <a:gd name="connsiteX35" fmla="*/ 10017677 w 12149688"/>
                <a:gd name="connsiteY35" fmla="*/ 5883475 h 15946069"/>
                <a:gd name="connsiteX36" fmla="*/ 9318595 w 12149688"/>
                <a:gd name="connsiteY36" fmla="*/ 5859197 h 15946069"/>
                <a:gd name="connsiteX37" fmla="*/ 9215073 w 12149688"/>
                <a:gd name="connsiteY37" fmla="*/ 5387392 h 15946069"/>
                <a:gd name="connsiteX38" fmla="*/ 8600211 w 12149688"/>
                <a:gd name="connsiteY38" fmla="*/ 5564744 h 15946069"/>
                <a:gd name="connsiteX39" fmla="*/ 8412926 w 12149688"/>
                <a:gd name="connsiteY39" fmla="*/ 4835463 h 15946069"/>
                <a:gd name="connsiteX40" fmla="*/ 7744624 w 12149688"/>
                <a:gd name="connsiteY40" fmla="*/ 4382387 h 15946069"/>
                <a:gd name="connsiteX41" fmla="*/ 8112983 w 12149688"/>
                <a:gd name="connsiteY41" fmla="*/ 3770361 h 15946069"/>
                <a:gd name="connsiteX42" fmla="*/ 7637793 w 12149688"/>
                <a:gd name="connsiteY42" fmla="*/ 2526072 h 15946069"/>
                <a:gd name="connsiteX43" fmla="*/ 7264687 w 12149688"/>
                <a:gd name="connsiteY43" fmla="*/ 2131091 h 15946069"/>
                <a:gd name="connsiteX44" fmla="*/ 6594245 w 12149688"/>
                <a:gd name="connsiteY44" fmla="*/ 2055834 h 15946069"/>
                <a:gd name="connsiteX45" fmla="*/ 6431470 w 12149688"/>
                <a:gd name="connsiteY45" fmla="*/ 1314295 h 15946069"/>
                <a:gd name="connsiteX46" fmla="*/ 5642908 w 12149688"/>
                <a:gd name="connsiteY46" fmla="*/ 1343233 h 15946069"/>
                <a:gd name="connsiteX47" fmla="*/ 5150959 w 12149688"/>
                <a:gd name="connsiteY47" fmla="*/ 1610907 h 15946069"/>
                <a:gd name="connsiteX48" fmla="*/ 5480133 w 12149688"/>
                <a:gd name="connsiteY48" fmla="*/ 2167963 h 15946069"/>
                <a:gd name="connsiteX49" fmla="*/ 4742216 w 12149688"/>
                <a:gd name="connsiteY49" fmla="*/ 2862495 h 15946069"/>
                <a:gd name="connsiteX50" fmla="*/ 2658667 w 12149688"/>
                <a:gd name="connsiteY50" fmla="*/ 0 h 15946069"/>
                <a:gd name="connsiteX51" fmla="*/ 2658682 w 12149688"/>
                <a:gd name="connsiteY51" fmla="*/ 1018890 h 15946069"/>
                <a:gd name="connsiteX52" fmla="*/ 1850829 w 12149688"/>
                <a:gd name="connsiteY52" fmla="*/ 1730283 h 15946069"/>
                <a:gd name="connsiteX53" fmla="*/ 1404694 w 12149688"/>
                <a:gd name="connsiteY53" fmla="*/ 2272862 h 15946069"/>
                <a:gd name="connsiteX54" fmla="*/ 2351216 w 12149688"/>
                <a:gd name="connsiteY54" fmla="*/ 3388182 h 15946069"/>
                <a:gd name="connsiteX55" fmla="*/ 2658682 w 12149688"/>
                <a:gd name="connsiteY55" fmla="*/ 4286458 h 15946069"/>
                <a:gd name="connsiteX56" fmla="*/ 1935228 w 12149688"/>
                <a:gd name="connsiteY56" fmla="*/ 5220918 h 15946069"/>
                <a:gd name="connsiteX57" fmla="*/ 875281 w 12149688"/>
                <a:gd name="connsiteY57" fmla="*/ 5166646 h 15946069"/>
                <a:gd name="connsiteX58" fmla="*/ 0 w 12149688"/>
                <a:gd name="connsiteY58" fmla="*/ 5890112 h 15946069"/>
                <a:gd name="connsiteX59" fmla="*/ 72345 w 12149688"/>
                <a:gd name="connsiteY59" fmla="*/ 6921032 h 15946069"/>
                <a:gd name="connsiteX60" fmla="*/ 477776 w 12149688"/>
                <a:gd name="connsiteY60" fmla="*/ 7436569 h 15946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2149688" h="15946069">
                  <a:moveTo>
                    <a:pt x="477776" y="7436569"/>
                  </a:moveTo>
                  <a:lnTo>
                    <a:pt x="271294" y="8060457"/>
                  </a:lnTo>
                  <a:lnTo>
                    <a:pt x="379812" y="8675382"/>
                  </a:lnTo>
                  <a:lnTo>
                    <a:pt x="759624" y="9217969"/>
                  </a:lnTo>
                  <a:lnTo>
                    <a:pt x="687278" y="9670126"/>
                  </a:lnTo>
                  <a:lnTo>
                    <a:pt x="144687" y="9941420"/>
                  </a:lnTo>
                  <a:lnTo>
                    <a:pt x="343643" y="10592536"/>
                  </a:lnTo>
                  <a:lnTo>
                    <a:pt x="940487" y="10954252"/>
                  </a:lnTo>
                  <a:lnTo>
                    <a:pt x="596844" y="11786221"/>
                  </a:lnTo>
                  <a:lnTo>
                    <a:pt x="633017" y="12780969"/>
                  </a:lnTo>
                  <a:lnTo>
                    <a:pt x="198944" y="13341645"/>
                  </a:lnTo>
                  <a:lnTo>
                    <a:pt x="723451" y="13757629"/>
                  </a:lnTo>
                  <a:lnTo>
                    <a:pt x="1640036" y="13197151"/>
                  </a:lnTo>
                  <a:lnTo>
                    <a:pt x="1880971" y="13395906"/>
                  </a:lnTo>
                  <a:lnTo>
                    <a:pt x="2930086" y="12952832"/>
                  </a:lnTo>
                  <a:lnTo>
                    <a:pt x="3828256" y="13245188"/>
                  </a:lnTo>
                  <a:lnTo>
                    <a:pt x="4768739" y="13040205"/>
                  </a:lnTo>
                  <a:lnTo>
                    <a:pt x="5190751" y="13649115"/>
                  </a:lnTo>
                  <a:lnTo>
                    <a:pt x="5932290" y="13444132"/>
                  </a:lnTo>
                  <a:lnTo>
                    <a:pt x="6498992" y="12991975"/>
                  </a:lnTo>
                  <a:lnTo>
                    <a:pt x="7373161" y="13582800"/>
                  </a:lnTo>
                  <a:lnTo>
                    <a:pt x="8512588" y="13570738"/>
                  </a:lnTo>
                  <a:lnTo>
                    <a:pt x="9742454" y="14004811"/>
                  </a:lnTo>
                  <a:lnTo>
                    <a:pt x="10616683" y="15358294"/>
                  </a:lnTo>
                  <a:lnTo>
                    <a:pt x="11117010" y="15946069"/>
                  </a:lnTo>
                  <a:lnTo>
                    <a:pt x="11589945" y="15762811"/>
                  </a:lnTo>
                  <a:lnTo>
                    <a:pt x="11980885" y="11483773"/>
                  </a:lnTo>
                  <a:lnTo>
                    <a:pt x="11899987" y="10752355"/>
                  </a:lnTo>
                  <a:cubicBezTo>
                    <a:pt x="11897835" y="10596210"/>
                    <a:pt x="11895682" y="10440064"/>
                    <a:pt x="11893530" y="10283919"/>
                  </a:cubicBezTo>
                  <a:lnTo>
                    <a:pt x="11533930" y="9393151"/>
                  </a:lnTo>
                  <a:lnTo>
                    <a:pt x="11668657" y="8754316"/>
                  </a:lnTo>
                  <a:lnTo>
                    <a:pt x="12149687" y="8101619"/>
                  </a:lnTo>
                  <a:lnTo>
                    <a:pt x="11118705" y="7156845"/>
                  </a:lnTo>
                  <a:lnTo>
                    <a:pt x="10425568" y="7223642"/>
                  </a:lnTo>
                  <a:lnTo>
                    <a:pt x="10709437" y="6730245"/>
                  </a:lnTo>
                  <a:lnTo>
                    <a:pt x="10017677" y="5883475"/>
                  </a:lnTo>
                  <a:lnTo>
                    <a:pt x="9318595" y="5859197"/>
                  </a:lnTo>
                  <a:lnTo>
                    <a:pt x="9215073" y="5387392"/>
                  </a:lnTo>
                  <a:lnTo>
                    <a:pt x="8600211" y="5564744"/>
                  </a:lnTo>
                  <a:lnTo>
                    <a:pt x="8412926" y="4835463"/>
                  </a:lnTo>
                  <a:lnTo>
                    <a:pt x="7744624" y="4382387"/>
                  </a:lnTo>
                  <a:lnTo>
                    <a:pt x="8112983" y="3770361"/>
                  </a:lnTo>
                  <a:lnTo>
                    <a:pt x="7637793" y="2526072"/>
                  </a:lnTo>
                  <a:lnTo>
                    <a:pt x="7264687" y="2131091"/>
                  </a:lnTo>
                  <a:lnTo>
                    <a:pt x="6594245" y="2055834"/>
                  </a:lnTo>
                  <a:lnTo>
                    <a:pt x="6431470" y="1314295"/>
                  </a:lnTo>
                  <a:lnTo>
                    <a:pt x="5642908" y="1343233"/>
                  </a:lnTo>
                  <a:lnTo>
                    <a:pt x="5150959" y="1610907"/>
                  </a:lnTo>
                  <a:lnTo>
                    <a:pt x="5480133" y="2167963"/>
                  </a:lnTo>
                  <a:lnTo>
                    <a:pt x="4742216" y="2862495"/>
                  </a:lnTo>
                  <a:lnTo>
                    <a:pt x="2658667" y="0"/>
                  </a:lnTo>
                  <a:lnTo>
                    <a:pt x="2658682" y="1018890"/>
                  </a:lnTo>
                  <a:lnTo>
                    <a:pt x="1850829" y="1730283"/>
                  </a:lnTo>
                  <a:lnTo>
                    <a:pt x="1404694" y="2272862"/>
                  </a:lnTo>
                  <a:lnTo>
                    <a:pt x="2351216" y="3388182"/>
                  </a:lnTo>
                  <a:lnTo>
                    <a:pt x="2658682" y="4286458"/>
                  </a:lnTo>
                  <a:lnTo>
                    <a:pt x="1935228" y="5220918"/>
                  </a:lnTo>
                  <a:lnTo>
                    <a:pt x="875281" y="5166646"/>
                  </a:lnTo>
                  <a:lnTo>
                    <a:pt x="0" y="5890112"/>
                  </a:lnTo>
                  <a:lnTo>
                    <a:pt x="72345" y="6921032"/>
                  </a:lnTo>
                  <a:lnTo>
                    <a:pt x="477776" y="7436569"/>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16" name="任意多边形 114">
              <a:extLst>
                <a:ext uri="{FF2B5EF4-FFF2-40B4-BE49-F238E27FC236}">
                  <a16:creationId xmlns:a16="http://schemas.microsoft.com/office/drawing/2014/main" id="{04B9F5D8-01A0-6D1C-6F6C-D3ABB7BA4F95}"/>
                </a:ext>
              </a:extLst>
            </p:cNvPr>
            <p:cNvSpPr>
              <a:spLocks/>
            </p:cNvSpPr>
            <p:nvPr/>
          </p:nvSpPr>
          <p:spPr bwMode="auto">
            <a:xfrm>
              <a:off x="8255970" y="3854122"/>
              <a:ext cx="2381346" cy="1737972"/>
            </a:xfrm>
            <a:custGeom>
              <a:avLst/>
              <a:gdLst>
                <a:gd name="connsiteX0" fmla="*/ 0 w 17157070"/>
                <a:gd name="connsiteY0" fmla="*/ 4521645 h 12886678"/>
                <a:gd name="connsiteX1" fmla="*/ 613837 w 17157070"/>
                <a:gd name="connsiteY1" fmla="*/ 6900003 h 12886678"/>
                <a:gd name="connsiteX2" fmla="*/ 1518338 w 17157070"/>
                <a:gd name="connsiteY2" fmla="*/ 7768153 h 12886678"/>
                <a:gd name="connsiteX3" fmla="*/ 1735898 w 17157070"/>
                <a:gd name="connsiteY3" fmla="*/ 8600077 h 12886678"/>
                <a:gd name="connsiteX4" fmla="*/ 3137400 w 17157070"/>
                <a:gd name="connsiteY4" fmla="*/ 9124637 h 12886678"/>
                <a:gd name="connsiteX5" fmla="*/ 3453963 w 17157070"/>
                <a:gd name="connsiteY5" fmla="*/ 10481128 h 12886678"/>
                <a:gd name="connsiteX6" fmla="*/ 4168520 w 17157070"/>
                <a:gd name="connsiteY6" fmla="*/ 11855697 h 12886678"/>
                <a:gd name="connsiteX7" fmla="*/ 4162343 w 17157070"/>
                <a:gd name="connsiteY7" fmla="*/ 12886678 h 12886678"/>
                <a:gd name="connsiteX8" fmla="*/ 4605215 w 17157070"/>
                <a:gd name="connsiteY8" fmla="*/ 12802514 h 12886678"/>
                <a:gd name="connsiteX9" fmla="*/ 4840336 w 17157070"/>
                <a:gd name="connsiteY9" fmla="*/ 12513132 h 12886678"/>
                <a:gd name="connsiteX10" fmla="*/ 6070201 w 17157070"/>
                <a:gd name="connsiteY10" fmla="*/ 12531224 h 12886678"/>
                <a:gd name="connsiteX11" fmla="*/ 6884082 w 17157070"/>
                <a:gd name="connsiteY11" fmla="*/ 11934372 h 12886678"/>
                <a:gd name="connsiteX12" fmla="*/ 7716051 w 17157070"/>
                <a:gd name="connsiteY12" fmla="*/ 12259931 h 12886678"/>
                <a:gd name="connsiteX13" fmla="*/ 8584189 w 17157070"/>
                <a:gd name="connsiteY13" fmla="*/ 12060979 h 12886678"/>
                <a:gd name="connsiteX14" fmla="*/ 9289552 w 17157070"/>
                <a:gd name="connsiteY14" fmla="*/ 12259931 h 12886678"/>
                <a:gd name="connsiteX15" fmla="*/ 10139605 w 17157070"/>
                <a:gd name="connsiteY15" fmla="*/ 11862031 h 12886678"/>
                <a:gd name="connsiteX16" fmla="*/ 10664108 w 17157070"/>
                <a:gd name="connsiteY16" fmla="*/ 12079067 h 12886678"/>
                <a:gd name="connsiteX17" fmla="*/ 11387555 w 17157070"/>
                <a:gd name="connsiteY17" fmla="*/ 11988637 h 12886678"/>
                <a:gd name="connsiteX18" fmla="*/ 11966315 w 17157070"/>
                <a:gd name="connsiteY18" fmla="*/ 12712092 h 12886678"/>
                <a:gd name="connsiteX19" fmla="*/ 12942975 w 17157070"/>
                <a:gd name="connsiteY19" fmla="*/ 12476963 h 12886678"/>
                <a:gd name="connsiteX20" fmla="*/ 13575992 w 17157070"/>
                <a:gd name="connsiteY20" fmla="*/ 12874863 h 12886678"/>
                <a:gd name="connsiteX21" fmla="*/ 13973888 w 17157070"/>
                <a:gd name="connsiteY21" fmla="*/ 12784430 h 12886678"/>
                <a:gd name="connsiteX22" fmla="*/ 14028146 w 17157070"/>
                <a:gd name="connsiteY22" fmla="*/ 12241839 h 12886678"/>
                <a:gd name="connsiteX23" fmla="*/ 13594073 w 17157070"/>
                <a:gd name="connsiteY23" fmla="*/ 12187582 h 12886678"/>
                <a:gd name="connsiteX24" fmla="*/ 13612161 w 17157070"/>
                <a:gd name="connsiteY24" fmla="*/ 11500303 h 12886678"/>
                <a:gd name="connsiteX25" fmla="*/ 14190925 w 17157070"/>
                <a:gd name="connsiteY25" fmla="*/ 11355616 h 12886678"/>
                <a:gd name="connsiteX26" fmla="*/ 13865366 w 17157070"/>
                <a:gd name="connsiteY26" fmla="*/ 10885371 h 12886678"/>
                <a:gd name="connsiteX27" fmla="*/ 14136664 w 17157070"/>
                <a:gd name="connsiteY27" fmla="*/ 10487475 h 12886678"/>
                <a:gd name="connsiteX28" fmla="*/ 14703435 w 17157070"/>
                <a:gd name="connsiteY28" fmla="*/ 10514571 h 12886678"/>
                <a:gd name="connsiteX29" fmla="*/ 14661163 w 17157070"/>
                <a:gd name="connsiteY29" fmla="*/ 10342787 h 12886678"/>
                <a:gd name="connsiteX30" fmla="*/ 14335608 w 17157070"/>
                <a:gd name="connsiteY30" fmla="*/ 10180012 h 12886678"/>
                <a:gd name="connsiteX31" fmla="*/ 14498387 w 17157070"/>
                <a:gd name="connsiteY31" fmla="*/ 9601248 h 12886678"/>
                <a:gd name="connsiteX32" fmla="*/ 13847278 w 17157070"/>
                <a:gd name="connsiteY32" fmla="*/ 8696934 h 12886678"/>
                <a:gd name="connsiteX33" fmla="*/ 13340864 w 17157070"/>
                <a:gd name="connsiteY33" fmla="*/ 7991571 h 12886678"/>
                <a:gd name="connsiteX34" fmla="*/ 13123831 w 17157070"/>
                <a:gd name="connsiteY34" fmla="*/ 6906393 h 12886678"/>
                <a:gd name="connsiteX35" fmla="*/ 13232349 w 17157070"/>
                <a:gd name="connsiteY35" fmla="*/ 6219119 h 12886678"/>
                <a:gd name="connsiteX36" fmla="*/ 12273778 w 17157070"/>
                <a:gd name="connsiteY36" fmla="*/ 6252280 h 12886678"/>
                <a:gd name="connsiteX37" fmla="*/ 12201432 w 17157070"/>
                <a:gd name="connsiteY37" fmla="*/ 5854380 h 12886678"/>
                <a:gd name="connsiteX38" fmla="*/ 12508887 w 17157070"/>
                <a:gd name="connsiteY38" fmla="*/ 5350985 h 12886678"/>
                <a:gd name="connsiteX39" fmla="*/ 13774933 w 17157070"/>
                <a:gd name="connsiteY39" fmla="*/ 4573269 h 12886678"/>
                <a:gd name="connsiteX40" fmla="*/ 15294184 w 17157070"/>
                <a:gd name="connsiteY40" fmla="*/ 4066854 h 12886678"/>
                <a:gd name="connsiteX41" fmla="*/ 15746333 w 17157070"/>
                <a:gd name="connsiteY41" fmla="*/ 4392409 h 12886678"/>
                <a:gd name="connsiteX42" fmla="*/ 16578306 w 17157070"/>
                <a:gd name="connsiteY42" fmla="*/ 4103027 h 12886678"/>
                <a:gd name="connsiteX43" fmla="*/ 17084732 w 17157070"/>
                <a:gd name="connsiteY43" fmla="*/ 4500935 h 12886678"/>
                <a:gd name="connsiteX44" fmla="*/ 17157070 w 17157070"/>
                <a:gd name="connsiteY44" fmla="*/ 3560444 h 12886678"/>
                <a:gd name="connsiteX45" fmla="*/ 16433615 w 17157070"/>
                <a:gd name="connsiteY45" fmla="*/ 3470014 h 12886678"/>
                <a:gd name="connsiteX46" fmla="*/ 16415865 w 17157070"/>
                <a:gd name="connsiteY46" fmla="*/ 2853862 h 12886678"/>
                <a:gd name="connsiteX47" fmla="*/ 15963191 w 17157070"/>
                <a:gd name="connsiteY47" fmla="*/ 2993318 h 12886678"/>
                <a:gd name="connsiteX48" fmla="*/ 14923009 w 17157070"/>
                <a:gd name="connsiteY48" fmla="*/ 1763435 h 12886678"/>
                <a:gd name="connsiteX49" fmla="*/ 14244644 w 17157070"/>
                <a:gd name="connsiteY49" fmla="*/ 325540 h 12886678"/>
                <a:gd name="connsiteX50" fmla="*/ 13367278 w 17157070"/>
                <a:gd name="connsiteY50" fmla="*/ 614945 h 12886678"/>
                <a:gd name="connsiteX51" fmla="*/ 12218563 w 17157070"/>
                <a:gd name="connsiteY51" fmla="*/ 623988 h 12886678"/>
                <a:gd name="connsiteX52" fmla="*/ 11323109 w 17157070"/>
                <a:gd name="connsiteY52" fmla="*/ 36169 h 12886678"/>
                <a:gd name="connsiteX53" fmla="*/ 10780410 w 17157070"/>
                <a:gd name="connsiteY53" fmla="*/ 488337 h 12886678"/>
                <a:gd name="connsiteX54" fmla="*/ 10038717 w 17157070"/>
                <a:gd name="connsiteY54" fmla="*/ 687288 h 12886678"/>
                <a:gd name="connsiteX55" fmla="*/ 9622651 w 17157070"/>
                <a:gd name="connsiteY55" fmla="*/ 81389 h 12886678"/>
                <a:gd name="connsiteX56" fmla="*/ 8672925 w 17157070"/>
                <a:gd name="connsiteY56" fmla="*/ 280344 h 12886678"/>
                <a:gd name="connsiteX57" fmla="*/ 7759379 w 17157070"/>
                <a:gd name="connsiteY57" fmla="*/ 0 h 12886678"/>
                <a:gd name="connsiteX58" fmla="*/ 6729494 w 17157070"/>
                <a:gd name="connsiteY58" fmla="*/ 443189 h 12886678"/>
                <a:gd name="connsiteX59" fmla="*/ 6493079 w 17157070"/>
                <a:gd name="connsiteY59" fmla="*/ 1012843 h 12886678"/>
                <a:gd name="connsiteX60" fmla="*/ 6710175 w 17157070"/>
                <a:gd name="connsiteY60" fmla="*/ 2161345 h 12886678"/>
                <a:gd name="connsiteX61" fmla="*/ 4141784 w 17157070"/>
                <a:gd name="connsiteY61" fmla="*/ 2086470 h 12886678"/>
                <a:gd name="connsiteX62" fmla="*/ 2314296 w 17157070"/>
                <a:gd name="connsiteY62" fmla="*/ 2369327 h 12886678"/>
                <a:gd name="connsiteX63" fmla="*/ 1334589 w 17157070"/>
                <a:gd name="connsiteY63" fmla="*/ 3174199 h 12886678"/>
                <a:gd name="connsiteX64" fmla="*/ 0 w 17157070"/>
                <a:gd name="connsiteY64" fmla="*/ 4521645 h 12886678"/>
                <a:gd name="connsiteX0" fmla="*/ 0 w 17157070"/>
                <a:gd name="connsiteY0" fmla="*/ 4521645 h 12886678"/>
                <a:gd name="connsiteX1" fmla="*/ 613837 w 17157070"/>
                <a:gd name="connsiteY1" fmla="*/ 6900003 h 12886678"/>
                <a:gd name="connsiteX2" fmla="*/ 1518338 w 17157070"/>
                <a:gd name="connsiteY2" fmla="*/ 7768153 h 12886678"/>
                <a:gd name="connsiteX3" fmla="*/ 1735898 w 17157070"/>
                <a:gd name="connsiteY3" fmla="*/ 8600077 h 12886678"/>
                <a:gd name="connsiteX4" fmla="*/ 3137400 w 17157070"/>
                <a:gd name="connsiteY4" fmla="*/ 9124637 h 12886678"/>
                <a:gd name="connsiteX5" fmla="*/ 3453963 w 17157070"/>
                <a:gd name="connsiteY5" fmla="*/ 10481128 h 12886678"/>
                <a:gd name="connsiteX6" fmla="*/ 4168520 w 17157070"/>
                <a:gd name="connsiteY6" fmla="*/ 11855697 h 12886678"/>
                <a:gd name="connsiteX7" fmla="*/ 4162343 w 17157070"/>
                <a:gd name="connsiteY7" fmla="*/ 12886678 h 12886678"/>
                <a:gd name="connsiteX8" fmla="*/ 4605215 w 17157070"/>
                <a:gd name="connsiteY8" fmla="*/ 12802514 h 12886678"/>
                <a:gd name="connsiteX9" fmla="*/ 4840336 w 17157070"/>
                <a:gd name="connsiteY9" fmla="*/ 12513132 h 12886678"/>
                <a:gd name="connsiteX10" fmla="*/ 6070201 w 17157070"/>
                <a:gd name="connsiteY10" fmla="*/ 12531224 h 12886678"/>
                <a:gd name="connsiteX11" fmla="*/ 6884082 w 17157070"/>
                <a:gd name="connsiteY11" fmla="*/ 11934372 h 12886678"/>
                <a:gd name="connsiteX12" fmla="*/ 7716051 w 17157070"/>
                <a:gd name="connsiteY12" fmla="*/ 12259931 h 12886678"/>
                <a:gd name="connsiteX13" fmla="*/ 8584189 w 17157070"/>
                <a:gd name="connsiteY13" fmla="*/ 12060979 h 12886678"/>
                <a:gd name="connsiteX14" fmla="*/ 9289552 w 17157070"/>
                <a:gd name="connsiteY14" fmla="*/ 12259931 h 12886678"/>
                <a:gd name="connsiteX15" fmla="*/ 10139605 w 17157070"/>
                <a:gd name="connsiteY15" fmla="*/ 11862031 h 12886678"/>
                <a:gd name="connsiteX16" fmla="*/ 10664108 w 17157070"/>
                <a:gd name="connsiteY16" fmla="*/ 12079067 h 12886678"/>
                <a:gd name="connsiteX17" fmla="*/ 11387555 w 17157070"/>
                <a:gd name="connsiteY17" fmla="*/ 11988637 h 12886678"/>
                <a:gd name="connsiteX18" fmla="*/ 11966315 w 17157070"/>
                <a:gd name="connsiteY18" fmla="*/ 12712092 h 12886678"/>
                <a:gd name="connsiteX19" fmla="*/ 12942975 w 17157070"/>
                <a:gd name="connsiteY19" fmla="*/ 12476963 h 12886678"/>
                <a:gd name="connsiteX20" fmla="*/ 13575992 w 17157070"/>
                <a:gd name="connsiteY20" fmla="*/ 12874863 h 12886678"/>
                <a:gd name="connsiteX21" fmla="*/ 13973888 w 17157070"/>
                <a:gd name="connsiteY21" fmla="*/ 12784430 h 12886678"/>
                <a:gd name="connsiteX22" fmla="*/ 14028146 w 17157070"/>
                <a:gd name="connsiteY22" fmla="*/ 12241839 h 12886678"/>
                <a:gd name="connsiteX23" fmla="*/ 13594073 w 17157070"/>
                <a:gd name="connsiteY23" fmla="*/ 12187582 h 12886678"/>
                <a:gd name="connsiteX24" fmla="*/ 13612161 w 17157070"/>
                <a:gd name="connsiteY24" fmla="*/ 11500303 h 12886678"/>
                <a:gd name="connsiteX25" fmla="*/ 14190925 w 17157070"/>
                <a:gd name="connsiteY25" fmla="*/ 11355616 h 12886678"/>
                <a:gd name="connsiteX26" fmla="*/ 13865366 w 17157070"/>
                <a:gd name="connsiteY26" fmla="*/ 10885371 h 12886678"/>
                <a:gd name="connsiteX27" fmla="*/ 14136664 w 17157070"/>
                <a:gd name="connsiteY27" fmla="*/ 10487475 h 12886678"/>
                <a:gd name="connsiteX28" fmla="*/ 14703435 w 17157070"/>
                <a:gd name="connsiteY28" fmla="*/ 10514571 h 12886678"/>
                <a:gd name="connsiteX29" fmla="*/ 14661163 w 17157070"/>
                <a:gd name="connsiteY29" fmla="*/ 10342787 h 12886678"/>
                <a:gd name="connsiteX30" fmla="*/ 14335608 w 17157070"/>
                <a:gd name="connsiteY30" fmla="*/ 10180012 h 12886678"/>
                <a:gd name="connsiteX31" fmla="*/ 14498387 w 17157070"/>
                <a:gd name="connsiteY31" fmla="*/ 9601248 h 12886678"/>
                <a:gd name="connsiteX32" fmla="*/ 13847278 w 17157070"/>
                <a:gd name="connsiteY32" fmla="*/ 8696934 h 12886678"/>
                <a:gd name="connsiteX33" fmla="*/ 13340864 w 17157070"/>
                <a:gd name="connsiteY33" fmla="*/ 7991571 h 12886678"/>
                <a:gd name="connsiteX34" fmla="*/ 13123831 w 17157070"/>
                <a:gd name="connsiteY34" fmla="*/ 6906393 h 12886678"/>
                <a:gd name="connsiteX35" fmla="*/ 13232349 w 17157070"/>
                <a:gd name="connsiteY35" fmla="*/ 6219119 h 12886678"/>
                <a:gd name="connsiteX36" fmla="*/ 12273778 w 17157070"/>
                <a:gd name="connsiteY36" fmla="*/ 6252280 h 12886678"/>
                <a:gd name="connsiteX37" fmla="*/ 12201432 w 17157070"/>
                <a:gd name="connsiteY37" fmla="*/ 5854380 h 12886678"/>
                <a:gd name="connsiteX38" fmla="*/ 12508887 w 17157070"/>
                <a:gd name="connsiteY38" fmla="*/ 5350985 h 12886678"/>
                <a:gd name="connsiteX39" fmla="*/ 13774933 w 17157070"/>
                <a:gd name="connsiteY39" fmla="*/ 4573269 h 12886678"/>
                <a:gd name="connsiteX40" fmla="*/ 15294184 w 17157070"/>
                <a:gd name="connsiteY40" fmla="*/ 4066854 h 12886678"/>
                <a:gd name="connsiteX41" fmla="*/ 15746333 w 17157070"/>
                <a:gd name="connsiteY41" fmla="*/ 4392409 h 12886678"/>
                <a:gd name="connsiteX42" fmla="*/ 16578306 w 17157070"/>
                <a:gd name="connsiteY42" fmla="*/ 4103027 h 12886678"/>
                <a:gd name="connsiteX43" fmla="*/ 17084732 w 17157070"/>
                <a:gd name="connsiteY43" fmla="*/ 4500935 h 12886678"/>
                <a:gd name="connsiteX44" fmla="*/ 17157070 w 17157070"/>
                <a:gd name="connsiteY44" fmla="*/ 3560444 h 12886678"/>
                <a:gd name="connsiteX45" fmla="*/ 16433615 w 17157070"/>
                <a:gd name="connsiteY45" fmla="*/ 3470014 h 12886678"/>
                <a:gd name="connsiteX46" fmla="*/ 16415865 w 17157070"/>
                <a:gd name="connsiteY46" fmla="*/ 2853862 h 12886678"/>
                <a:gd name="connsiteX47" fmla="*/ 15963191 w 17157070"/>
                <a:gd name="connsiteY47" fmla="*/ 2993318 h 12886678"/>
                <a:gd name="connsiteX48" fmla="*/ 14923009 w 17157070"/>
                <a:gd name="connsiteY48" fmla="*/ 1763435 h 12886678"/>
                <a:gd name="connsiteX49" fmla="*/ 14244644 w 17157070"/>
                <a:gd name="connsiteY49" fmla="*/ 325540 h 12886678"/>
                <a:gd name="connsiteX50" fmla="*/ 13367278 w 17157070"/>
                <a:gd name="connsiteY50" fmla="*/ 614945 h 12886678"/>
                <a:gd name="connsiteX51" fmla="*/ 12218563 w 17157070"/>
                <a:gd name="connsiteY51" fmla="*/ 623988 h 12886678"/>
                <a:gd name="connsiteX52" fmla="*/ 11323109 w 17157070"/>
                <a:gd name="connsiteY52" fmla="*/ 36169 h 12886678"/>
                <a:gd name="connsiteX53" fmla="*/ 10780410 w 17157070"/>
                <a:gd name="connsiteY53" fmla="*/ 488337 h 12886678"/>
                <a:gd name="connsiteX54" fmla="*/ 10038717 w 17157070"/>
                <a:gd name="connsiteY54" fmla="*/ 687288 h 12886678"/>
                <a:gd name="connsiteX55" fmla="*/ 9622651 w 17157070"/>
                <a:gd name="connsiteY55" fmla="*/ 81389 h 12886678"/>
                <a:gd name="connsiteX56" fmla="*/ 8672925 w 17157070"/>
                <a:gd name="connsiteY56" fmla="*/ 280344 h 12886678"/>
                <a:gd name="connsiteX57" fmla="*/ 7759379 w 17157070"/>
                <a:gd name="connsiteY57" fmla="*/ 0 h 12886678"/>
                <a:gd name="connsiteX58" fmla="*/ 6729494 w 17157070"/>
                <a:gd name="connsiteY58" fmla="*/ 443189 h 12886678"/>
                <a:gd name="connsiteX59" fmla="*/ 6493079 w 17157070"/>
                <a:gd name="connsiteY59" fmla="*/ 1012843 h 12886678"/>
                <a:gd name="connsiteX60" fmla="*/ 4437471 w 17157070"/>
                <a:gd name="connsiteY60" fmla="*/ 2805824 h 12886678"/>
                <a:gd name="connsiteX61" fmla="*/ 4141784 w 17157070"/>
                <a:gd name="connsiteY61" fmla="*/ 2086470 h 12886678"/>
                <a:gd name="connsiteX62" fmla="*/ 2314296 w 17157070"/>
                <a:gd name="connsiteY62" fmla="*/ 2369327 h 12886678"/>
                <a:gd name="connsiteX63" fmla="*/ 1334589 w 17157070"/>
                <a:gd name="connsiteY63" fmla="*/ 3174199 h 12886678"/>
                <a:gd name="connsiteX64" fmla="*/ 0 w 17157070"/>
                <a:gd name="connsiteY64" fmla="*/ 4521645 h 12886678"/>
                <a:gd name="connsiteX0" fmla="*/ 0 w 17157070"/>
                <a:gd name="connsiteY0" fmla="*/ 4521645 h 12886678"/>
                <a:gd name="connsiteX1" fmla="*/ 613837 w 17157070"/>
                <a:gd name="connsiteY1" fmla="*/ 6900003 h 12886678"/>
                <a:gd name="connsiteX2" fmla="*/ 1518338 w 17157070"/>
                <a:gd name="connsiteY2" fmla="*/ 7768153 h 12886678"/>
                <a:gd name="connsiteX3" fmla="*/ 1735898 w 17157070"/>
                <a:gd name="connsiteY3" fmla="*/ 8600077 h 12886678"/>
                <a:gd name="connsiteX4" fmla="*/ 3137400 w 17157070"/>
                <a:gd name="connsiteY4" fmla="*/ 9124637 h 12886678"/>
                <a:gd name="connsiteX5" fmla="*/ 3453963 w 17157070"/>
                <a:gd name="connsiteY5" fmla="*/ 10481128 h 12886678"/>
                <a:gd name="connsiteX6" fmla="*/ 4168520 w 17157070"/>
                <a:gd name="connsiteY6" fmla="*/ 11855697 h 12886678"/>
                <a:gd name="connsiteX7" fmla="*/ 4162343 w 17157070"/>
                <a:gd name="connsiteY7" fmla="*/ 12886678 h 12886678"/>
                <a:gd name="connsiteX8" fmla="*/ 4605215 w 17157070"/>
                <a:gd name="connsiteY8" fmla="*/ 12802514 h 12886678"/>
                <a:gd name="connsiteX9" fmla="*/ 4840336 w 17157070"/>
                <a:gd name="connsiteY9" fmla="*/ 12513132 h 12886678"/>
                <a:gd name="connsiteX10" fmla="*/ 6070201 w 17157070"/>
                <a:gd name="connsiteY10" fmla="*/ 12531224 h 12886678"/>
                <a:gd name="connsiteX11" fmla="*/ 6884082 w 17157070"/>
                <a:gd name="connsiteY11" fmla="*/ 11934372 h 12886678"/>
                <a:gd name="connsiteX12" fmla="*/ 7716051 w 17157070"/>
                <a:gd name="connsiteY12" fmla="*/ 12259931 h 12886678"/>
                <a:gd name="connsiteX13" fmla="*/ 8584189 w 17157070"/>
                <a:gd name="connsiteY13" fmla="*/ 12060979 h 12886678"/>
                <a:gd name="connsiteX14" fmla="*/ 9289552 w 17157070"/>
                <a:gd name="connsiteY14" fmla="*/ 12259931 h 12886678"/>
                <a:gd name="connsiteX15" fmla="*/ 10139605 w 17157070"/>
                <a:gd name="connsiteY15" fmla="*/ 11862031 h 12886678"/>
                <a:gd name="connsiteX16" fmla="*/ 10664108 w 17157070"/>
                <a:gd name="connsiteY16" fmla="*/ 12079067 h 12886678"/>
                <a:gd name="connsiteX17" fmla="*/ 11387555 w 17157070"/>
                <a:gd name="connsiteY17" fmla="*/ 11988637 h 12886678"/>
                <a:gd name="connsiteX18" fmla="*/ 11966315 w 17157070"/>
                <a:gd name="connsiteY18" fmla="*/ 12712092 h 12886678"/>
                <a:gd name="connsiteX19" fmla="*/ 12942975 w 17157070"/>
                <a:gd name="connsiteY19" fmla="*/ 12476963 h 12886678"/>
                <a:gd name="connsiteX20" fmla="*/ 13575992 w 17157070"/>
                <a:gd name="connsiteY20" fmla="*/ 12874863 h 12886678"/>
                <a:gd name="connsiteX21" fmla="*/ 13973888 w 17157070"/>
                <a:gd name="connsiteY21" fmla="*/ 12784430 h 12886678"/>
                <a:gd name="connsiteX22" fmla="*/ 14028146 w 17157070"/>
                <a:gd name="connsiteY22" fmla="*/ 12241839 h 12886678"/>
                <a:gd name="connsiteX23" fmla="*/ 13594073 w 17157070"/>
                <a:gd name="connsiteY23" fmla="*/ 12187582 h 12886678"/>
                <a:gd name="connsiteX24" fmla="*/ 13612161 w 17157070"/>
                <a:gd name="connsiteY24" fmla="*/ 11500303 h 12886678"/>
                <a:gd name="connsiteX25" fmla="*/ 14190925 w 17157070"/>
                <a:gd name="connsiteY25" fmla="*/ 11355616 h 12886678"/>
                <a:gd name="connsiteX26" fmla="*/ 13865366 w 17157070"/>
                <a:gd name="connsiteY26" fmla="*/ 10885371 h 12886678"/>
                <a:gd name="connsiteX27" fmla="*/ 14136664 w 17157070"/>
                <a:gd name="connsiteY27" fmla="*/ 10487475 h 12886678"/>
                <a:gd name="connsiteX28" fmla="*/ 14703435 w 17157070"/>
                <a:gd name="connsiteY28" fmla="*/ 10514571 h 12886678"/>
                <a:gd name="connsiteX29" fmla="*/ 14661163 w 17157070"/>
                <a:gd name="connsiteY29" fmla="*/ 10342787 h 12886678"/>
                <a:gd name="connsiteX30" fmla="*/ 14335608 w 17157070"/>
                <a:gd name="connsiteY30" fmla="*/ 10180012 h 12886678"/>
                <a:gd name="connsiteX31" fmla="*/ 14498387 w 17157070"/>
                <a:gd name="connsiteY31" fmla="*/ 9601248 h 12886678"/>
                <a:gd name="connsiteX32" fmla="*/ 13847278 w 17157070"/>
                <a:gd name="connsiteY32" fmla="*/ 8696934 h 12886678"/>
                <a:gd name="connsiteX33" fmla="*/ 13340864 w 17157070"/>
                <a:gd name="connsiteY33" fmla="*/ 7991571 h 12886678"/>
                <a:gd name="connsiteX34" fmla="*/ 13123831 w 17157070"/>
                <a:gd name="connsiteY34" fmla="*/ 6906393 h 12886678"/>
                <a:gd name="connsiteX35" fmla="*/ 13232349 w 17157070"/>
                <a:gd name="connsiteY35" fmla="*/ 6219119 h 12886678"/>
                <a:gd name="connsiteX36" fmla="*/ 12273778 w 17157070"/>
                <a:gd name="connsiteY36" fmla="*/ 6252280 h 12886678"/>
                <a:gd name="connsiteX37" fmla="*/ 12201432 w 17157070"/>
                <a:gd name="connsiteY37" fmla="*/ 5854380 h 12886678"/>
                <a:gd name="connsiteX38" fmla="*/ 12508887 w 17157070"/>
                <a:gd name="connsiteY38" fmla="*/ 5350985 h 12886678"/>
                <a:gd name="connsiteX39" fmla="*/ 13774933 w 17157070"/>
                <a:gd name="connsiteY39" fmla="*/ 4573269 h 12886678"/>
                <a:gd name="connsiteX40" fmla="*/ 15294184 w 17157070"/>
                <a:gd name="connsiteY40" fmla="*/ 4066854 h 12886678"/>
                <a:gd name="connsiteX41" fmla="*/ 15746333 w 17157070"/>
                <a:gd name="connsiteY41" fmla="*/ 4392409 h 12886678"/>
                <a:gd name="connsiteX42" fmla="*/ 16578306 w 17157070"/>
                <a:gd name="connsiteY42" fmla="*/ 4103027 h 12886678"/>
                <a:gd name="connsiteX43" fmla="*/ 17084732 w 17157070"/>
                <a:gd name="connsiteY43" fmla="*/ 4500935 h 12886678"/>
                <a:gd name="connsiteX44" fmla="*/ 17157070 w 17157070"/>
                <a:gd name="connsiteY44" fmla="*/ 3560444 h 12886678"/>
                <a:gd name="connsiteX45" fmla="*/ 16433615 w 17157070"/>
                <a:gd name="connsiteY45" fmla="*/ 3470014 h 12886678"/>
                <a:gd name="connsiteX46" fmla="*/ 16415865 w 17157070"/>
                <a:gd name="connsiteY46" fmla="*/ 2853862 h 12886678"/>
                <a:gd name="connsiteX47" fmla="*/ 15963191 w 17157070"/>
                <a:gd name="connsiteY47" fmla="*/ 2993318 h 12886678"/>
                <a:gd name="connsiteX48" fmla="*/ 14923009 w 17157070"/>
                <a:gd name="connsiteY48" fmla="*/ 1763435 h 12886678"/>
                <a:gd name="connsiteX49" fmla="*/ 14244644 w 17157070"/>
                <a:gd name="connsiteY49" fmla="*/ 325540 h 12886678"/>
                <a:gd name="connsiteX50" fmla="*/ 13367278 w 17157070"/>
                <a:gd name="connsiteY50" fmla="*/ 614945 h 12886678"/>
                <a:gd name="connsiteX51" fmla="*/ 12218563 w 17157070"/>
                <a:gd name="connsiteY51" fmla="*/ 623988 h 12886678"/>
                <a:gd name="connsiteX52" fmla="*/ 11323109 w 17157070"/>
                <a:gd name="connsiteY52" fmla="*/ 36169 h 12886678"/>
                <a:gd name="connsiteX53" fmla="*/ 10780410 w 17157070"/>
                <a:gd name="connsiteY53" fmla="*/ 488337 h 12886678"/>
                <a:gd name="connsiteX54" fmla="*/ 10038717 w 17157070"/>
                <a:gd name="connsiteY54" fmla="*/ 687288 h 12886678"/>
                <a:gd name="connsiteX55" fmla="*/ 9622651 w 17157070"/>
                <a:gd name="connsiteY55" fmla="*/ 81389 h 12886678"/>
                <a:gd name="connsiteX56" fmla="*/ 8672925 w 17157070"/>
                <a:gd name="connsiteY56" fmla="*/ 280344 h 12886678"/>
                <a:gd name="connsiteX57" fmla="*/ 7759379 w 17157070"/>
                <a:gd name="connsiteY57" fmla="*/ 0 h 12886678"/>
                <a:gd name="connsiteX58" fmla="*/ 6729494 w 17157070"/>
                <a:gd name="connsiteY58" fmla="*/ 443189 h 12886678"/>
                <a:gd name="connsiteX59" fmla="*/ 4437471 w 17157070"/>
                <a:gd name="connsiteY59" fmla="*/ 2805824 h 12886678"/>
                <a:gd name="connsiteX60" fmla="*/ 4141784 w 17157070"/>
                <a:gd name="connsiteY60" fmla="*/ 2086470 h 12886678"/>
                <a:gd name="connsiteX61" fmla="*/ 2314296 w 17157070"/>
                <a:gd name="connsiteY61" fmla="*/ 2369327 h 12886678"/>
                <a:gd name="connsiteX62" fmla="*/ 1334589 w 17157070"/>
                <a:gd name="connsiteY62" fmla="*/ 3174199 h 12886678"/>
                <a:gd name="connsiteX63" fmla="*/ 0 w 17157070"/>
                <a:gd name="connsiteY63" fmla="*/ 4521645 h 12886678"/>
                <a:gd name="connsiteX0" fmla="*/ 0 w 17157070"/>
                <a:gd name="connsiteY0" fmla="*/ 4521645 h 12886678"/>
                <a:gd name="connsiteX1" fmla="*/ 613837 w 17157070"/>
                <a:gd name="connsiteY1" fmla="*/ 6900003 h 12886678"/>
                <a:gd name="connsiteX2" fmla="*/ 1518338 w 17157070"/>
                <a:gd name="connsiteY2" fmla="*/ 7768153 h 12886678"/>
                <a:gd name="connsiteX3" fmla="*/ 1735898 w 17157070"/>
                <a:gd name="connsiteY3" fmla="*/ 8600077 h 12886678"/>
                <a:gd name="connsiteX4" fmla="*/ 3137400 w 17157070"/>
                <a:gd name="connsiteY4" fmla="*/ 9124637 h 12886678"/>
                <a:gd name="connsiteX5" fmla="*/ 3453963 w 17157070"/>
                <a:gd name="connsiteY5" fmla="*/ 10481128 h 12886678"/>
                <a:gd name="connsiteX6" fmla="*/ 4168520 w 17157070"/>
                <a:gd name="connsiteY6" fmla="*/ 11855697 h 12886678"/>
                <a:gd name="connsiteX7" fmla="*/ 4162343 w 17157070"/>
                <a:gd name="connsiteY7" fmla="*/ 12886678 h 12886678"/>
                <a:gd name="connsiteX8" fmla="*/ 4605215 w 17157070"/>
                <a:gd name="connsiteY8" fmla="*/ 12802514 h 12886678"/>
                <a:gd name="connsiteX9" fmla="*/ 4840336 w 17157070"/>
                <a:gd name="connsiteY9" fmla="*/ 12513132 h 12886678"/>
                <a:gd name="connsiteX10" fmla="*/ 6070201 w 17157070"/>
                <a:gd name="connsiteY10" fmla="*/ 12531224 h 12886678"/>
                <a:gd name="connsiteX11" fmla="*/ 6884082 w 17157070"/>
                <a:gd name="connsiteY11" fmla="*/ 11934372 h 12886678"/>
                <a:gd name="connsiteX12" fmla="*/ 7716051 w 17157070"/>
                <a:gd name="connsiteY12" fmla="*/ 12259931 h 12886678"/>
                <a:gd name="connsiteX13" fmla="*/ 8584189 w 17157070"/>
                <a:gd name="connsiteY13" fmla="*/ 12060979 h 12886678"/>
                <a:gd name="connsiteX14" fmla="*/ 9289552 w 17157070"/>
                <a:gd name="connsiteY14" fmla="*/ 12259931 h 12886678"/>
                <a:gd name="connsiteX15" fmla="*/ 10139605 w 17157070"/>
                <a:gd name="connsiteY15" fmla="*/ 11862031 h 12886678"/>
                <a:gd name="connsiteX16" fmla="*/ 10664108 w 17157070"/>
                <a:gd name="connsiteY16" fmla="*/ 12079067 h 12886678"/>
                <a:gd name="connsiteX17" fmla="*/ 11387555 w 17157070"/>
                <a:gd name="connsiteY17" fmla="*/ 11988637 h 12886678"/>
                <a:gd name="connsiteX18" fmla="*/ 11966315 w 17157070"/>
                <a:gd name="connsiteY18" fmla="*/ 12712092 h 12886678"/>
                <a:gd name="connsiteX19" fmla="*/ 12942975 w 17157070"/>
                <a:gd name="connsiteY19" fmla="*/ 12476963 h 12886678"/>
                <a:gd name="connsiteX20" fmla="*/ 13575992 w 17157070"/>
                <a:gd name="connsiteY20" fmla="*/ 12874863 h 12886678"/>
                <a:gd name="connsiteX21" fmla="*/ 13973888 w 17157070"/>
                <a:gd name="connsiteY21" fmla="*/ 12784430 h 12886678"/>
                <a:gd name="connsiteX22" fmla="*/ 14028146 w 17157070"/>
                <a:gd name="connsiteY22" fmla="*/ 12241839 h 12886678"/>
                <a:gd name="connsiteX23" fmla="*/ 13594073 w 17157070"/>
                <a:gd name="connsiteY23" fmla="*/ 12187582 h 12886678"/>
                <a:gd name="connsiteX24" fmla="*/ 13612161 w 17157070"/>
                <a:gd name="connsiteY24" fmla="*/ 11500303 h 12886678"/>
                <a:gd name="connsiteX25" fmla="*/ 14190925 w 17157070"/>
                <a:gd name="connsiteY25" fmla="*/ 11355616 h 12886678"/>
                <a:gd name="connsiteX26" fmla="*/ 13865366 w 17157070"/>
                <a:gd name="connsiteY26" fmla="*/ 10885371 h 12886678"/>
                <a:gd name="connsiteX27" fmla="*/ 14136664 w 17157070"/>
                <a:gd name="connsiteY27" fmla="*/ 10487475 h 12886678"/>
                <a:gd name="connsiteX28" fmla="*/ 14703435 w 17157070"/>
                <a:gd name="connsiteY28" fmla="*/ 10514571 h 12886678"/>
                <a:gd name="connsiteX29" fmla="*/ 14661163 w 17157070"/>
                <a:gd name="connsiteY29" fmla="*/ 10342787 h 12886678"/>
                <a:gd name="connsiteX30" fmla="*/ 14335608 w 17157070"/>
                <a:gd name="connsiteY30" fmla="*/ 10180012 h 12886678"/>
                <a:gd name="connsiteX31" fmla="*/ 14498387 w 17157070"/>
                <a:gd name="connsiteY31" fmla="*/ 9601248 h 12886678"/>
                <a:gd name="connsiteX32" fmla="*/ 13847278 w 17157070"/>
                <a:gd name="connsiteY32" fmla="*/ 8696934 h 12886678"/>
                <a:gd name="connsiteX33" fmla="*/ 13340864 w 17157070"/>
                <a:gd name="connsiteY33" fmla="*/ 7991571 h 12886678"/>
                <a:gd name="connsiteX34" fmla="*/ 13123831 w 17157070"/>
                <a:gd name="connsiteY34" fmla="*/ 6906393 h 12886678"/>
                <a:gd name="connsiteX35" fmla="*/ 13232349 w 17157070"/>
                <a:gd name="connsiteY35" fmla="*/ 6219119 h 12886678"/>
                <a:gd name="connsiteX36" fmla="*/ 12273778 w 17157070"/>
                <a:gd name="connsiteY36" fmla="*/ 6252280 h 12886678"/>
                <a:gd name="connsiteX37" fmla="*/ 12201432 w 17157070"/>
                <a:gd name="connsiteY37" fmla="*/ 5854380 h 12886678"/>
                <a:gd name="connsiteX38" fmla="*/ 12508887 w 17157070"/>
                <a:gd name="connsiteY38" fmla="*/ 5350985 h 12886678"/>
                <a:gd name="connsiteX39" fmla="*/ 13774933 w 17157070"/>
                <a:gd name="connsiteY39" fmla="*/ 4573269 h 12886678"/>
                <a:gd name="connsiteX40" fmla="*/ 15294184 w 17157070"/>
                <a:gd name="connsiteY40" fmla="*/ 4066854 h 12886678"/>
                <a:gd name="connsiteX41" fmla="*/ 15746333 w 17157070"/>
                <a:gd name="connsiteY41" fmla="*/ 4392409 h 12886678"/>
                <a:gd name="connsiteX42" fmla="*/ 16578306 w 17157070"/>
                <a:gd name="connsiteY42" fmla="*/ 4103027 h 12886678"/>
                <a:gd name="connsiteX43" fmla="*/ 17084732 w 17157070"/>
                <a:gd name="connsiteY43" fmla="*/ 4500935 h 12886678"/>
                <a:gd name="connsiteX44" fmla="*/ 17157070 w 17157070"/>
                <a:gd name="connsiteY44" fmla="*/ 3560444 h 12886678"/>
                <a:gd name="connsiteX45" fmla="*/ 16433615 w 17157070"/>
                <a:gd name="connsiteY45" fmla="*/ 3470014 h 12886678"/>
                <a:gd name="connsiteX46" fmla="*/ 16415865 w 17157070"/>
                <a:gd name="connsiteY46" fmla="*/ 2853862 h 12886678"/>
                <a:gd name="connsiteX47" fmla="*/ 15963191 w 17157070"/>
                <a:gd name="connsiteY47" fmla="*/ 2993318 h 12886678"/>
                <a:gd name="connsiteX48" fmla="*/ 14923009 w 17157070"/>
                <a:gd name="connsiteY48" fmla="*/ 1763435 h 12886678"/>
                <a:gd name="connsiteX49" fmla="*/ 14244644 w 17157070"/>
                <a:gd name="connsiteY49" fmla="*/ 325540 h 12886678"/>
                <a:gd name="connsiteX50" fmla="*/ 13367278 w 17157070"/>
                <a:gd name="connsiteY50" fmla="*/ 614945 h 12886678"/>
                <a:gd name="connsiteX51" fmla="*/ 12218563 w 17157070"/>
                <a:gd name="connsiteY51" fmla="*/ 623988 h 12886678"/>
                <a:gd name="connsiteX52" fmla="*/ 11323109 w 17157070"/>
                <a:gd name="connsiteY52" fmla="*/ 36169 h 12886678"/>
                <a:gd name="connsiteX53" fmla="*/ 10780410 w 17157070"/>
                <a:gd name="connsiteY53" fmla="*/ 488337 h 12886678"/>
                <a:gd name="connsiteX54" fmla="*/ 10038717 w 17157070"/>
                <a:gd name="connsiteY54" fmla="*/ 687288 h 12886678"/>
                <a:gd name="connsiteX55" fmla="*/ 9622651 w 17157070"/>
                <a:gd name="connsiteY55" fmla="*/ 81389 h 12886678"/>
                <a:gd name="connsiteX56" fmla="*/ 8672925 w 17157070"/>
                <a:gd name="connsiteY56" fmla="*/ 280344 h 12886678"/>
                <a:gd name="connsiteX57" fmla="*/ 7759379 w 17157070"/>
                <a:gd name="connsiteY57" fmla="*/ 0 h 12886678"/>
                <a:gd name="connsiteX58" fmla="*/ 4432864 w 17157070"/>
                <a:gd name="connsiteY58" fmla="*/ 3474612 h 12886678"/>
                <a:gd name="connsiteX59" fmla="*/ 4437471 w 17157070"/>
                <a:gd name="connsiteY59" fmla="*/ 2805824 h 12886678"/>
                <a:gd name="connsiteX60" fmla="*/ 4141784 w 17157070"/>
                <a:gd name="connsiteY60" fmla="*/ 2086470 h 12886678"/>
                <a:gd name="connsiteX61" fmla="*/ 2314296 w 17157070"/>
                <a:gd name="connsiteY61" fmla="*/ 2369327 h 12886678"/>
                <a:gd name="connsiteX62" fmla="*/ 1334589 w 17157070"/>
                <a:gd name="connsiteY62" fmla="*/ 3174199 h 12886678"/>
                <a:gd name="connsiteX63" fmla="*/ 0 w 17157070"/>
                <a:gd name="connsiteY63" fmla="*/ 4521645 h 12886678"/>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10780410 w 17157070"/>
                <a:gd name="connsiteY53" fmla="*/ 452168 h 12850509"/>
                <a:gd name="connsiteX54" fmla="*/ 10038717 w 17157070"/>
                <a:gd name="connsiteY54" fmla="*/ 651119 h 12850509"/>
                <a:gd name="connsiteX55" fmla="*/ 9622651 w 17157070"/>
                <a:gd name="connsiteY55" fmla="*/ 45220 h 12850509"/>
                <a:gd name="connsiteX56" fmla="*/ 8672925 w 17157070"/>
                <a:gd name="connsiteY56" fmla="*/ 244175 h 12850509"/>
                <a:gd name="connsiteX57" fmla="*/ 4432864 w 17157070"/>
                <a:gd name="connsiteY57" fmla="*/ 3438443 h 12850509"/>
                <a:gd name="connsiteX58" fmla="*/ 4437471 w 17157070"/>
                <a:gd name="connsiteY58" fmla="*/ 2769655 h 12850509"/>
                <a:gd name="connsiteX59" fmla="*/ 4141784 w 17157070"/>
                <a:gd name="connsiteY59" fmla="*/ 2050301 h 12850509"/>
                <a:gd name="connsiteX60" fmla="*/ 2314296 w 17157070"/>
                <a:gd name="connsiteY60" fmla="*/ 2333158 h 12850509"/>
                <a:gd name="connsiteX61" fmla="*/ 1334589 w 17157070"/>
                <a:gd name="connsiteY61" fmla="*/ 3138030 h 12850509"/>
                <a:gd name="connsiteX62" fmla="*/ 0 w 17157070"/>
                <a:gd name="connsiteY62" fmla="*/ 4485476 h 12850509"/>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10780410 w 17157070"/>
                <a:gd name="connsiteY53" fmla="*/ 452168 h 12850509"/>
                <a:gd name="connsiteX54" fmla="*/ 10038717 w 17157070"/>
                <a:gd name="connsiteY54" fmla="*/ 651119 h 12850509"/>
                <a:gd name="connsiteX55" fmla="*/ 9622651 w 17157070"/>
                <a:gd name="connsiteY55" fmla="*/ 45220 h 12850509"/>
                <a:gd name="connsiteX56" fmla="*/ 4653822 w 17157070"/>
                <a:gd name="connsiteY56" fmla="*/ 3991678 h 12850509"/>
                <a:gd name="connsiteX57" fmla="*/ 4432864 w 17157070"/>
                <a:gd name="connsiteY57" fmla="*/ 3438443 h 12850509"/>
                <a:gd name="connsiteX58" fmla="*/ 4437471 w 17157070"/>
                <a:gd name="connsiteY58" fmla="*/ 2769655 h 12850509"/>
                <a:gd name="connsiteX59" fmla="*/ 4141784 w 17157070"/>
                <a:gd name="connsiteY59" fmla="*/ 2050301 h 12850509"/>
                <a:gd name="connsiteX60" fmla="*/ 2314296 w 17157070"/>
                <a:gd name="connsiteY60" fmla="*/ 2333158 h 12850509"/>
                <a:gd name="connsiteX61" fmla="*/ 1334589 w 17157070"/>
                <a:gd name="connsiteY61" fmla="*/ 3138030 h 12850509"/>
                <a:gd name="connsiteX62" fmla="*/ 0 w 17157070"/>
                <a:gd name="connsiteY62" fmla="*/ 4485476 h 12850509"/>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10780410 w 17157070"/>
                <a:gd name="connsiteY53" fmla="*/ 452168 h 12850509"/>
                <a:gd name="connsiteX54" fmla="*/ 10038717 w 17157070"/>
                <a:gd name="connsiteY54" fmla="*/ 651119 h 12850509"/>
                <a:gd name="connsiteX55" fmla="*/ 4653822 w 17157070"/>
                <a:gd name="connsiteY55" fmla="*/ 3991678 h 12850509"/>
                <a:gd name="connsiteX56" fmla="*/ 4432864 w 17157070"/>
                <a:gd name="connsiteY56" fmla="*/ 3438443 h 12850509"/>
                <a:gd name="connsiteX57" fmla="*/ 4437471 w 17157070"/>
                <a:gd name="connsiteY57" fmla="*/ 2769655 h 12850509"/>
                <a:gd name="connsiteX58" fmla="*/ 4141784 w 17157070"/>
                <a:gd name="connsiteY58" fmla="*/ 2050301 h 12850509"/>
                <a:gd name="connsiteX59" fmla="*/ 2314296 w 17157070"/>
                <a:gd name="connsiteY59" fmla="*/ 2333158 h 12850509"/>
                <a:gd name="connsiteX60" fmla="*/ 1334589 w 17157070"/>
                <a:gd name="connsiteY60" fmla="*/ 3138030 h 12850509"/>
                <a:gd name="connsiteX61" fmla="*/ 0 w 17157070"/>
                <a:gd name="connsiteY61" fmla="*/ 4485476 h 12850509"/>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10780410 w 17157070"/>
                <a:gd name="connsiteY53" fmla="*/ 452168 h 12850509"/>
                <a:gd name="connsiteX54" fmla="*/ 4416749 w 17157070"/>
                <a:gd name="connsiteY54" fmla="*/ 4541845 h 12850509"/>
                <a:gd name="connsiteX55" fmla="*/ 4653822 w 17157070"/>
                <a:gd name="connsiteY55" fmla="*/ 3991678 h 12850509"/>
                <a:gd name="connsiteX56" fmla="*/ 4432864 w 17157070"/>
                <a:gd name="connsiteY56" fmla="*/ 3438443 h 12850509"/>
                <a:gd name="connsiteX57" fmla="*/ 4437471 w 17157070"/>
                <a:gd name="connsiteY57" fmla="*/ 2769655 h 12850509"/>
                <a:gd name="connsiteX58" fmla="*/ 4141784 w 17157070"/>
                <a:gd name="connsiteY58" fmla="*/ 2050301 h 12850509"/>
                <a:gd name="connsiteX59" fmla="*/ 2314296 w 17157070"/>
                <a:gd name="connsiteY59" fmla="*/ 2333158 h 12850509"/>
                <a:gd name="connsiteX60" fmla="*/ 1334589 w 17157070"/>
                <a:gd name="connsiteY60" fmla="*/ 3138030 h 12850509"/>
                <a:gd name="connsiteX61" fmla="*/ 0 w 17157070"/>
                <a:gd name="connsiteY61" fmla="*/ 4485476 h 12850509"/>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4416749 w 17157070"/>
                <a:gd name="connsiteY53" fmla="*/ 4541845 h 12850509"/>
                <a:gd name="connsiteX54" fmla="*/ 4653822 w 17157070"/>
                <a:gd name="connsiteY54" fmla="*/ 3991678 h 12850509"/>
                <a:gd name="connsiteX55" fmla="*/ 4432864 w 17157070"/>
                <a:gd name="connsiteY55" fmla="*/ 3438443 h 12850509"/>
                <a:gd name="connsiteX56" fmla="*/ 4437471 w 17157070"/>
                <a:gd name="connsiteY56" fmla="*/ 2769655 h 12850509"/>
                <a:gd name="connsiteX57" fmla="*/ 4141784 w 17157070"/>
                <a:gd name="connsiteY57" fmla="*/ 2050301 h 12850509"/>
                <a:gd name="connsiteX58" fmla="*/ 2314296 w 17157070"/>
                <a:gd name="connsiteY58" fmla="*/ 2333158 h 12850509"/>
                <a:gd name="connsiteX59" fmla="*/ 1334589 w 17157070"/>
                <a:gd name="connsiteY59" fmla="*/ 3138030 h 12850509"/>
                <a:gd name="connsiteX60" fmla="*/ 0 w 17157070"/>
                <a:gd name="connsiteY60" fmla="*/ 4485476 h 12850509"/>
                <a:gd name="connsiteX0" fmla="*/ 0 w 17157070"/>
                <a:gd name="connsiteY0" fmla="*/ 4196103 h 12561136"/>
                <a:gd name="connsiteX1" fmla="*/ 613837 w 17157070"/>
                <a:gd name="connsiteY1" fmla="*/ 6574461 h 12561136"/>
                <a:gd name="connsiteX2" fmla="*/ 1518338 w 17157070"/>
                <a:gd name="connsiteY2" fmla="*/ 7442611 h 12561136"/>
                <a:gd name="connsiteX3" fmla="*/ 1735898 w 17157070"/>
                <a:gd name="connsiteY3" fmla="*/ 8274535 h 12561136"/>
                <a:gd name="connsiteX4" fmla="*/ 3137400 w 17157070"/>
                <a:gd name="connsiteY4" fmla="*/ 8799095 h 12561136"/>
                <a:gd name="connsiteX5" fmla="*/ 3453963 w 17157070"/>
                <a:gd name="connsiteY5" fmla="*/ 10155586 h 12561136"/>
                <a:gd name="connsiteX6" fmla="*/ 4168520 w 17157070"/>
                <a:gd name="connsiteY6" fmla="*/ 11530155 h 12561136"/>
                <a:gd name="connsiteX7" fmla="*/ 4162343 w 17157070"/>
                <a:gd name="connsiteY7" fmla="*/ 12561136 h 12561136"/>
                <a:gd name="connsiteX8" fmla="*/ 4605215 w 17157070"/>
                <a:gd name="connsiteY8" fmla="*/ 12476972 h 12561136"/>
                <a:gd name="connsiteX9" fmla="*/ 4840336 w 17157070"/>
                <a:gd name="connsiteY9" fmla="*/ 12187590 h 12561136"/>
                <a:gd name="connsiteX10" fmla="*/ 6070201 w 17157070"/>
                <a:gd name="connsiteY10" fmla="*/ 12205682 h 12561136"/>
                <a:gd name="connsiteX11" fmla="*/ 6884082 w 17157070"/>
                <a:gd name="connsiteY11" fmla="*/ 11608830 h 12561136"/>
                <a:gd name="connsiteX12" fmla="*/ 7716051 w 17157070"/>
                <a:gd name="connsiteY12" fmla="*/ 11934389 h 12561136"/>
                <a:gd name="connsiteX13" fmla="*/ 8584189 w 17157070"/>
                <a:gd name="connsiteY13" fmla="*/ 11735437 h 12561136"/>
                <a:gd name="connsiteX14" fmla="*/ 9289552 w 17157070"/>
                <a:gd name="connsiteY14" fmla="*/ 11934389 h 12561136"/>
                <a:gd name="connsiteX15" fmla="*/ 10139605 w 17157070"/>
                <a:gd name="connsiteY15" fmla="*/ 11536489 h 12561136"/>
                <a:gd name="connsiteX16" fmla="*/ 10664108 w 17157070"/>
                <a:gd name="connsiteY16" fmla="*/ 11753525 h 12561136"/>
                <a:gd name="connsiteX17" fmla="*/ 11387555 w 17157070"/>
                <a:gd name="connsiteY17" fmla="*/ 11663095 h 12561136"/>
                <a:gd name="connsiteX18" fmla="*/ 11966315 w 17157070"/>
                <a:gd name="connsiteY18" fmla="*/ 12386550 h 12561136"/>
                <a:gd name="connsiteX19" fmla="*/ 12942975 w 17157070"/>
                <a:gd name="connsiteY19" fmla="*/ 12151421 h 12561136"/>
                <a:gd name="connsiteX20" fmla="*/ 13575992 w 17157070"/>
                <a:gd name="connsiteY20" fmla="*/ 12549321 h 12561136"/>
                <a:gd name="connsiteX21" fmla="*/ 13973888 w 17157070"/>
                <a:gd name="connsiteY21" fmla="*/ 12458888 h 12561136"/>
                <a:gd name="connsiteX22" fmla="*/ 14028146 w 17157070"/>
                <a:gd name="connsiteY22" fmla="*/ 11916297 h 12561136"/>
                <a:gd name="connsiteX23" fmla="*/ 13594073 w 17157070"/>
                <a:gd name="connsiteY23" fmla="*/ 11862040 h 12561136"/>
                <a:gd name="connsiteX24" fmla="*/ 13612161 w 17157070"/>
                <a:gd name="connsiteY24" fmla="*/ 11174761 h 12561136"/>
                <a:gd name="connsiteX25" fmla="*/ 14190925 w 17157070"/>
                <a:gd name="connsiteY25" fmla="*/ 11030074 h 12561136"/>
                <a:gd name="connsiteX26" fmla="*/ 13865366 w 17157070"/>
                <a:gd name="connsiteY26" fmla="*/ 10559829 h 12561136"/>
                <a:gd name="connsiteX27" fmla="*/ 14136664 w 17157070"/>
                <a:gd name="connsiteY27" fmla="*/ 10161933 h 12561136"/>
                <a:gd name="connsiteX28" fmla="*/ 14703435 w 17157070"/>
                <a:gd name="connsiteY28" fmla="*/ 10189029 h 12561136"/>
                <a:gd name="connsiteX29" fmla="*/ 14661163 w 17157070"/>
                <a:gd name="connsiteY29" fmla="*/ 10017245 h 12561136"/>
                <a:gd name="connsiteX30" fmla="*/ 14335608 w 17157070"/>
                <a:gd name="connsiteY30" fmla="*/ 9854470 h 12561136"/>
                <a:gd name="connsiteX31" fmla="*/ 14498387 w 17157070"/>
                <a:gd name="connsiteY31" fmla="*/ 9275706 h 12561136"/>
                <a:gd name="connsiteX32" fmla="*/ 13847278 w 17157070"/>
                <a:gd name="connsiteY32" fmla="*/ 8371392 h 12561136"/>
                <a:gd name="connsiteX33" fmla="*/ 13340864 w 17157070"/>
                <a:gd name="connsiteY33" fmla="*/ 7666029 h 12561136"/>
                <a:gd name="connsiteX34" fmla="*/ 13123831 w 17157070"/>
                <a:gd name="connsiteY34" fmla="*/ 6580851 h 12561136"/>
                <a:gd name="connsiteX35" fmla="*/ 13232349 w 17157070"/>
                <a:gd name="connsiteY35" fmla="*/ 5893577 h 12561136"/>
                <a:gd name="connsiteX36" fmla="*/ 12273778 w 17157070"/>
                <a:gd name="connsiteY36" fmla="*/ 5926738 h 12561136"/>
                <a:gd name="connsiteX37" fmla="*/ 12201432 w 17157070"/>
                <a:gd name="connsiteY37" fmla="*/ 5528838 h 12561136"/>
                <a:gd name="connsiteX38" fmla="*/ 12508887 w 17157070"/>
                <a:gd name="connsiteY38" fmla="*/ 5025443 h 12561136"/>
                <a:gd name="connsiteX39" fmla="*/ 13774933 w 17157070"/>
                <a:gd name="connsiteY39" fmla="*/ 4247727 h 12561136"/>
                <a:gd name="connsiteX40" fmla="*/ 15294184 w 17157070"/>
                <a:gd name="connsiteY40" fmla="*/ 3741312 h 12561136"/>
                <a:gd name="connsiteX41" fmla="*/ 15746333 w 17157070"/>
                <a:gd name="connsiteY41" fmla="*/ 4066867 h 12561136"/>
                <a:gd name="connsiteX42" fmla="*/ 16578306 w 17157070"/>
                <a:gd name="connsiteY42" fmla="*/ 3777485 h 12561136"/>
                <a:gd name="connsiteX43" fmla="*/ 17084732 w 17157070"/>
                <a:gd name="connsiteY43" fmla="*/ 4175393 h 12561136"/>
                <a:gd name="connsiteX44" fmla="*/ 17157070 w 17157070"/>
                <a:gd name="connsiteY44" fmla="*/ 3234902 h 12561136"/>
                <a:gd name="connsiteX45" fmla="*/ 16433615 w 17157070"/>
                <a:gd name="connsiteY45" fmla="*/ 3144472 h 12561136"/>
                <a:gd name="connsiteX46" fmla="*/ 16415865 w 17157070"/>
                <a:gd name="connsiteY46" fmla="*/ 2528320 h 12561136"/>
                <a:gd name="connsiteX47" fmla="*/ 15963191 w 17157070"/>
                <a:gd name="connsiteY47" fmla="*/ 2667776 h 12561136"/>
                <a:gd name="connsiteX48" fmla="*/ 14923009 w 17157070"/>
                <a:gd name="connsiteY48" fmla="*/ 1437893 h 12561136"/>
                <a:gd name="connsiteX49" fmla="*/ 14244644 w 17157070"/>
                <a:gd name="connsiteY49" fmla="*/ -2 h 12561136"/>
                <a:gd name="connsiteX50" fmla="*/ 13367278 w 17157070"/>
                <a:gd name="connsiteY50" fmla="*/ 289403 h 12561136"/>
                <a:gd name="connsiteX51" fmla="*/ 12218563 w 17157070"/>
                <a:gd name="connsiteY51" fmla="*/ 298446 h 12561136"/>
                <a:gd name="connsiteX52" fmla="*/ 4600673 w 17157070"/>
                <a:gd name="connsiteY52" fmla="*/ 4675479 h 12561136"/>
                <a:gd name="connsiteX53" fmla="*/ 4416749 w 17157070"/>
                <a:gd name="connsiteY53" fmla="*/ 4252472 h 12561136"/>
                <a:gd name="connsiteX54" fmla="*/ 4653822 w 17157070"/>
                <a:gd name="connsiteY54" fmla="*/ 3702305 h 12561136"/>
                <a:gd name="connsiteX55" fmla="*/ 4432864 w 17157070"/>
                <a:gd name="connsiteY55" fmla="*/ 3149070 h 12561136"/>
                <a:gd name="connsiteX56" fmla="*/ 4437471 w 17157070"/>
                <a:gd name="connsiteY56" fmla="*/ 2480282 h 12561136"/>
                <a:gd name="connsiteX57" fmla="*/ 4141784 w 17157070"/>
                <a:gd name="connsiteY57" fmla="*/ 1760928 h 12561136"/>
                <a:gd name="connsiteX58" fmla="*/ 2314296 w 17157070"/>
                <a:gd name="connsiteY58" fmla="*/ 2043785 h 12561136"/>
                <a:gd name="connsiteX59" fmla="*/ 1334589 w 17157070"/>
                <a:gd name="connsiteY59" fmla="*/ 2848657 h 12561136"/>
                <a:gd name="connsiteX60" fmla="*/ 0 w 17157070"/>
                <a:gd name="connsiteY60" fmla="*/ 4196103 h 12561136"/>
                <a:gd name="connsiteX0" fmla="*/ 0 w 17157070"/>
                <a:gd name="connsiteY0" fmla="*/ 4196103 h 12561136"/>
                <a:gd name="connsiteX1" fmla="*/ 613837 w 17157070"/>
                <a:gd name="connsiteY1" fmla="*/ 6574461 h 12561136"/>
                <a:gd name="connsiteX2" fmla="*/ 1518338 w 17157070"/>
                <a:gd name="connsiteY2" fmla="*/ 7442611 h 12561136"/>
                <a:gd name="connsiteX3" fmla="*/ 1735898 w 17157070"/>
                <a:gd name="connsiteY3" fmla="*/ 8274535 h 12561136"/>
                <a:gd name="connsiteX4" fmla="*/ 3137400 w 17157070"/>
                <a:gd name="connsiteY4" fmla="*/ 8799095 h 12561136"/>
                <a:gd name="connsiteX5" fmla="*/ 3453963 w 17157070"/>
                <a:gd name="connsiteY5" fmla="*/ 10155586 h 12561136"/>
                <a:gd name="connsiteX6" fmla="*/ 4168520 w 17157070"/>
                <a:gd name="connsiteY6" fmla="*/ 11530155 h 12561136"/>
                <a:gd name="connsiteX7" fmla="*/ 4162343 w 17157070"/>
                <a:gd name="connsiteY7" fmla="*/ 12561136 h 12561136"/>
                <a:gd name="connsiteX8" fmla="*/ 4605215 w 17157070"/>
                <a:gd name="connsiteY8" fmla="*/ 12476972 h 12561136"/>
                <a:gd name="connsiteX9" fmla="*/ 4840336 w 17157070"/>
                <a:gd name="connsiteY9" fmla="*/ 12187590 h 12561136"/>
                <a:gd name="connsiteX10" fmla="*/ 6070201 w 17157070"/>
                <a:gd name="connsiteY10" fmla="*/ 12205682 h 12561136"/>
                <a:gd name="connsiteX11" fmla="*/ 6884082 w 17157070"/>
                <a:gd name="connsiteY11" fmla="*/ 11608830 h 12561136"/>
                <a:gd name="connsiteX12" fmla="*/ 7716051 w 17157070"/>
                <a:gd name="connsiteY12" fmla="*/ 11934389 h 12561136"/>
                <a:gd name="connsiteX13" fmla="*/ 8584189 w 17157070"/>
                <a:gd name="connsiteY13" fmla="*/ 11735437 h 12561136"/>
                <a:gd name="connsiteX14" fmla="*/ 9289552 w 17157070"/>
                <a:gd name="connsiteY14" fmla="*/ 11934389 h 12561136"/>
                <a:gd name="connsiteX15" fmla="*/ 10139605 w 17157070"/>
                <a:gd name="connsiteY15" fmla="*/ 11536489 h 12561136"/>
                <a:gd name="connsiteX16" fmla="*/ 10664108 w 17157070"/>
                <a:gd name="connsiteY16" fmla="*/ 11753525 h 12561136"/>
                <a:gd name="connsiteX17" fmla="*/ 11387555 w 17157070"/>
                <a:gd name="connsiteY17" fmla="*/ 11663095 h 12561136"/>
                <a:gd name="connsiteX18" fmla="*/ 11966315 w 17157070"/>
                <a:gd name="connsiteY18" fmla="*/ 12386550 h 12561136"/>
                <a:gd name="connsiteX19" fmla="*/ 12942975 w 17157070"/>
                <a:gd name="connsiteY19" fmla="*/ 12151421 h 12561136"/>
                <a:gd name="connsiteX20" fmla="*/ 13575992 w 17157070"/>
                <a:gd name="connsiteY20" fmla="*/ 12549321 h 12561136"/>
                <a:gd name="connsiteX21" fmla="*/ 13973888 w 17157070"/>
                <a:gd name="connsiteY21" fmla="*/ 12458888 h 12561136"/>
                <a:gd name="connsiteX22" fmla="*/ 14028146 w 17157070"/>
                <a:gd name="connsiteY22" fmla="*/ 11916297 h 12561136"/>
                <a:gd name="connsiteX23" fmla="*/ 13594073 w 17157070"/>
                <a:gd name="connsiteY23" fmla="*/ 11862040 h 12561136"/>
                <a:gd name="connsiteX24" fmla="*/ 13612161 w 17157070"/>
                <a:gd name="connsiteY24" fmla="*/ 11174761 h 12561136"/>
                <a:gd name="connsiteX25" fmla="*/ 14190925 w 17157070"/>
                <a:gd name="connsiteY25" fmla="*/ 11030074 h 12561136"/>
                <a:gd name="connsiteX26" fmla="*/ 13865366 w 17157070"/>
                <a:gd name="connsiteY26" fmla="*/ 10559829 h 12561136"/>
                <a:gd name="connsiteX27" fmla="*/ 14136664 w 17157070"/>
                <a:gd name="connsiteY27" fmla="*/ 10161933 h 12561136"/>
                <a:gd name="connsiteX28" fmla="*/ 14703435 w 17157070"/>
                <a:gd name="connsiteY28" fmla="*/ 10189029 h 12561136"/>
                <a:gd name="connsiteX29" fmla="*/ 14661163 w 17157070"/>
                <a:gd name="connsiteY29" fmla="*/ 10017245 h 12561136"/>
                <a:gd name="connsiteX30" fmla="*/ 14335608 w 17157070"/>
                <a:gd name="connsiteY30" fmla="*/ 9854470 h 12561136"/>
                <a:gd name="connsiteX31" fmla="*/ 14498387 w 17157070"/>
                <a:gd name="connsiteY31" fmla="*/ 9275706 h 12561136"/>
                <a:gd name="connsiteX32" fmla="*/ 13847278 w 17157070"/>
                <a:gd name="connsiteY32" fmla="*/ 8371392 h 12561136"/>
                <a:gd name="connsiteX33" fmla="*/ 13340864 w 17157070"/>
                <a:gd name="connsiteY33" fmla="*/ 7666029 h 12561136"/>
                <a:gd name="connsiteX34" fmla="*/ 13123831 w 17157070"/>
                <a:gd name="connsiteY34" fmla="*/ 6580851 h 12561136"/>
                <a:gd name="connsiteX35" fmla="*/ 13232349 w 17157070"/>
                <a:gd name="connsiteY35" fmla="*/ 5893577 h 12561136"/>
                <a:gd name="connsiteX36" fmla="*/ 12273778 w 17157070"/>
                <a:gd name="connsiteY36" fmla="*/ 5926738 h 12561136"/>
                <a:gd name="connsiteX37" fmla="*/ 12201432 w 17157070"/>
                <a:gd name="connsiteY37" fmla="*/ 5528838 h 12561136"/>
                <a:gd name="connsiteX38" fmla="*/ 12508887 w 17157070"/>
                <a:gd name="connsiteY38" fmla="*/ 5025443 h 12561136"/>
                <a:gd name="connsiteX39" fmla="*/ 13774933 w 17157070"/>
                <a:gd name="connsiteY39" fmla="*/ 4247727 h 12561136"/>
                <a:gd name="connsiteX40" fmla="*/ 15294184 w 17157070"/>
                <a:gd name="connsiteY40" fmla="*/ 3741312 h 12561136"/>
                <a:gd name="connsiteX41" fmla="*/ 15746333 w 17157070"/>
                <a:gd name="connsiteY41" fmla="*/ 4066867 h 12561136"/>
                <a:gd name="connsiteX42" fmla="*/ 16578306 w 17157070"/>
                <a:gd name="connsiteY42" fmla="*/ 3777485 h 12561136"/>
                <a:gd name="connsiteX43" fmla="*/ 17084732 w 17157070"/>
                <a:gd name="connsiteY43" fmla="*/ 4175393 h 12561136"/>
                <a:gd name="connsiteX44" fmla="*/ 17157070 w 17157070"/>
                <a:gd name="connsiteY44" fmla="*/ 3234902 h 12561136"/>
                <a:gd name="connsiteX45" fmla="*/ 16433615 w 17157070"/>
                <a:gd name="connsiteY45" fmla="*/ 3144472 h 12561136"/>
                <a:gd name="connsiteX46" fmla="*/ 16415865 w 17157070"/>
                <a:gd name="connsiteY46" fmla="*/ 2528320 h 12561136"/>
                <a:gd name="connsiteX47" fmla="*/ 15963191 w 17157070"/>
                <a:gd name="connsiteY47" fmla="*/ 2667776 h 12561136"/>
                <a:gd name="connsiteX48" fmla="*/ 14923009 w 17157070"/>
                <a:gd name="connsiteY48" fmla="*/ 1437893 h 12561136"/>
                <a:gd name="connsiteX49" fmla="*/ 14244644 w 17157070"/>
                <a:gd name="connsiteY49" fmla="*/ -2 h 12561136"/>
                <a:gd name="connsiteX50" fmla="*/ 13367278 w 17157070"/>
                <a:gd name="connsiteY50" fmla="*/ 289403 h 12561136"/>
                <a:gd name="connsiteX51" fmla="*/ 4600673 w 17157070"/>
                <a:gd name="connsiteY51" fmla="*/ 4675479 h 12561136"/>
                <a:gd name="connsiteX52" fmla="*/ 4416749 w 17157070"/>
                <a:gd name="connsiteY52" fmla="*/ 4252472 h 12561136"/>
                <a:gd name="connsiteX53" fmla="*/ 4653822 w 17157070"/>
                <a:gd name="connsiteY53" fmla="*/ 3702305 h 12561136"/>
                <a:gd name="connsiteX54" fmla="*/ 4432864 w 17157070"/>
                <a:gd name="connsiteY54" fmla="*/ 3149070 h 12561136"/>
                <a:gd name="connsiteX55" fmla="*/ 4437471 w 17157070"/>
                <a:gd name="connsiteY55" fmla="*/ 2480282 h 12561136"/>
                <a:gd name="connsiteX56" fmla="*/ 4141784 w 17157070"/>
                <a:gd name="connsiteY56" fmla="*/ 1760928 h 12561136"/>
                <a:gd name="connsiteX57" fmla="*/ 2314296 w 17157070"/>
                <a:gd name="connsiteY57" fmla="*/ 2043785 h 12561136"/>
                <a:gd name="connsiteX58" fmla="*/ 1334589 w 17157070"/>
                <a:gd name="connsiteY58" fmla="*/ 2848657 h 12561136"/>
                <a:gd name="connsiteX59" fmla="*/ 0 w 17157070"/>
                <a:gd name="connsiteY59" fmla="*/ 4196103 h 12561136"/>
                <a:gd name="connsiteX0" fmla="*/ 0 w 17157070"/>
                <a:gd name="connsiteY0" fmla="*/ 4196103 h 12561136"/>
                <a:gd name="connsiteX1" fmla="*/ 613837 w 17157070"/>
                <a:gd name="connsiteY1" fmla="*/ 6574461 h 12561136"/>
                <a:gd name="connsiteX2" fmla="*/ 1518338 w 17157070"/>
                <a:gd name="connsiteY2" fmla="*/ 7442611 h 12561136"/>
                <a:gd name="connsiteX3" fmla="*/ 1735898 w 17157070"/>
                <a:gd name="connsiteY3" fmla="*/ 8274535 h 12561136"/>
                <a:gd name="connsiteX4" fmla="*/ 3137400 w 17157070"/>
                <a:gd name="connsiteY4" fmla="*/ 8799095 h 12561136"/>
                <a:gd name="connsiteX5" fmla="*/ 3453963 w 17157070"/>
                <a:gd name="connsiteY5" fmla="*/ 10155586 h 12561136"/>
                <a:gd name="connsiteX6" fmla="*/ 4168520 w 17157070"/>
                <a:gd name="connsiteY6" fmla="*/ 11530155 h 12561136"/>
                <a:gd name="connsiteX7" fmla="*/ 4162343 w 17157070"/>
                <a:gd name="connsiteY7" fmla="*/ 12561136 h 12561136"/>
                <a:gd name="connsiteX8" fmla="*/ 4605215 w 17157070"/>
                <a:gd name="connsiteY8" fmla="*/ 12476972 h 12561136"/>
                <a:gd name="connsiteX9" fmla="*/ 4840336 w 17157070"/>
                <a:gd name="connsiteY9" fmla="*/ 12187590 h 12561136"/>
                <a:gd name="connsiteX10" fmla="*/ 6070201 w 17157070"/>
                <a:gd name="connsiteY10" fmla="*/ 12205682 h 12561136"/>
                <a:gd name="connsiteX11" fmla="*/ 6884082 w 17157070"/>
                <a:gd name="connsiteY11" fmla="*/ 11608830 h 12561136"/>
                <a:gd name="connsiteX12" fmla="*/ 7716051 w 17157070"/>
                <a:gd name="connsiteY12" fmla="*/ 11934389 h 12561136"/>
                <a:gd name="connsiteX13" fmla="*/ 8584189 w 17157070"/>
                <a:gd name="connsiteY13" fmla="*/ 11735437 h 12561136"/>
                <a:gd name="connsiteX14" fmla="*/ 9289552 w 17157070"/>
                <a:gd name="connsiteY14" fmla="*/ 11934389 h 12561136"/>
                <a:gd name="connsiteX15" fmla="*/ 10139605 w 17157070"/>
                <a:gd name="connsiteY15" fmla="*/ 11536489 h 12561136"/>
                <a:gd name="connsiteX16" fmla="*/ 10664108 w 17157070"/>
                <a:gd name="connsiteY16" fmla="*/ 11753525 h 12561136"/>
                <a:gd name="connsiteX17" fmla="*/ 11387555 w 17157070"/>
                <a:gd name="connsiteY17" fmla="*/ 11663095 h 12561136"/>
                <a:gd name="connsiteX18" fmla="*/ 11966315 w 17157070"/>
                <a:gd name="connsiteY18" fmla="*/ 12386550 h 12561136"/>
                <a:gd name="connsiteX19" fmla="*/ 12942975 w 17157070"/>
                <a:gd name="connsiteY19" fmla="*/ 12151421 h 12561136"/>
                <a:gd name="connsiteX20" fmla="*/ 13575992 w 17157070"/>
                <a:gd name="connsiteY20" fmla="*/ 12549321 h 12561136"/>
                <a:gd name="connsiteX21" fmla="*/ 13973888 w 17157070"/>
                <a:gd name="connsiteY21" fmla="*/ 12458888 h 12561136"/>
                <a:gd name="connsiteX22" fmla="*/ 14028146 w 17157070"/>
                <a:gd name="connsiteY22" fmla="*/ 11916297 h 12561136"/>
                <a:gd name="connsiteX23" fmla="*/ 13594073 w 17157070"/>
                <a:gd name="connsiteY23" fmla="*/ 11862040 h 12561136"/>
                <a:gd name="connsiteX24" fmla="*/ 13612161 w 17157070"/>
                <a:gd name="connsiteY24" fmla="*/ 11174761 h 12561136"/>
                <a:gd name="connsiteX25" fmla="*/ 14190925 w 17157070"/>
                <a:gd name="connsiteY25" fmla="*/ 11030074 h 12561136"/>
                <a:gd name="connsiteX26" fmla="*/ 13865366 w 17157070"/>
                <a:gd name="connsiteY26" fmla="*/ 10559829 h 12561136"/>
                <a:gd name="connsiteX27" fmla="*/ 14136664 w 17157070"/>
                <a:gd name="connsiteY27" fmla="*/ 10161933 h 12561136"/>
                <a:gd name="connsiteX28" fmla="*/ 14703435 w 17157070"/>
                <a:gd name="connsiteY28" fmla="*/ 10189029 h 12561136"/>
                <a:gd name="connsiteX29" fmla="*/ 14661163 w 17157070"/>
                <a:gd name="connsiteY29" fmla="*/ 10017245 h 12561136"/>
                <a:gd name="connsiteX30" fmla="*/ 14335608 w 17157070"/>
                <a:gd name="connsiteY30" fmla="*/ 9854470 h 12561136"/>
                <a:gd name="connsiteX31" fmla="*/ 14498387 w 17157070"/>
                <a:gd name="connsiteY31" fmla="*/ 9275706 h 12561136"/>
                <a:gd name="connsiteX32" fmla="*/ 13847278 w 17157070"/>
                <a:gd name="connsiteY32" fmla="*/ 8371392 h 12561136"/>
                <a:gd name="connsiteX33" fmla="*/ 13340864 w 17157070"/>
                <a:gd name="connsiteY33" fmla="*/ 7666029 h 12561136"/>
                <a:gd name="connsiteX34" fmla="*/ 13123831 w 17157070"/>
                <a:gd name="connsiteY34" fmla="*/ 6580851 h 12561136"/>
                <a:gd name="connsiteX35" fmla="*/ 13232349 w 17157070"/>
                <a:gd name="connsiteY35" fmla="*/ 5893577 h 12561136"/>
                <a:gd name="connsiteX36" fmla="*/ 12273778 w 17157070"/>
                <a:gd name="connsiteY36" fmla="*/ 5926738 h 12561136"/>
                <a:gd name="connsiteX37" fmla="*/ 12201432 w 17157070"/>
                <a:gd name="connsiteY37" fmla="*/ 5528838 h 12561136"/>
                <a:gd name="connsiteX38" fmla="*/ 12508887 w 17157070"/>
                <a:gd name="connsiteY38" fmla="*/ 5025443 h 12561136"/>
                <a:gd name="connsiteX39" fmla="*/ 13774933 w 17157070"/>
                <a:gd name="connsiteY39" fmla="*/ 4247727 h 12561136"/>
                <a:gd name="connsiteX40" fmla="*/ 15294184 w 17157070"/>
                <a:gd name="connsiteY40" fmla="*/ 3741312 h 12561136"/>
                <a:gd name="connsiteX41" fmla="*/ 15746333 w 17157070"/>
                <a:gd name="connsiteY41" fmla="*/ 4066867 h 12561136"/>
                <a:gd name="connsiteX42" fmla="*/ 16578306 w 17157070"/>
                <a:gd name="connsiteY42" fmla="*/ 3777485 h 12561136"/>
                <a:gd name="connsiteX43" fmla="*/ 17084732 w 17157070"/>
                <a:gd name="connsiteY43" fmla="*/ 4175393 h 12561136"/>
                <a:gd name="connsiteX44" fmla="*/ 17157070 w 17157070"/>
                <a:gd name="connsiteY44" fmla="*/ 3234902 h 12561136"/>
                <a:gd name="connsiteX45" fmla="*/ 16433615 w 17157070"/>
                <a:gd name="connsiteY45" fmla="*/ 3144472 h 12561136"/>
                <a:gd name="connsiteX46" fmla="*/ 16415865 w 17157070"/>
                <a:gd name="connsiteY46" fmla="*/ 2528320 h 12561136"/>
                <a:gd name="connsiteX47" fmla="*/ 15963191 w 17157070"/>
                <a:gd name="connsiteY47" fmla="*/ 2667776 h 12561136"/>
                <a:gd name="connsiteX48" fmla="*/ 14923009 w 17157070"/>
                <a:gd name="connsiteY48" fmla="*/ 1437893 h 12561136"/>
                <a:gd name="connsiteX49" fmla="*/ 14244644 w 17157070"/>
                <a:gd name="connsiteY49" fmla="*/ -2 h 12561136"/>
                <a:gd name="connsiteX50" fmla="*/ 4898441 w 17157070"/>
                <a:gd name="connsiteY50" fmla="*/ 4943950 h 12561136"/>
                <a:gd name="connsiteX51" fmla="*/ 4600673 w 17157070"/>
                <a:gd name="connsiteY51" fmla="*/ 4675479 h 12561136"/>
                <a:gd name="connsiteX52" fmla="*/ 4416749 w 17157070"/>
                <a:gd name="connsiteY52" fmla="*/ 4252472 h 12561136"/>
                <a:gd name="connsiteX53" fmla="*/ 4653822 w 17157070"/>
                <a:gd name="connsiteY53" fmla="*/ 3702305 h 12561136"/>
                <a:gd name="connsiteX54" fmla="*/ 4432864 w 17157070"/>
                <a:gd name="connsiteY54" fmla="*/ 3149070 h 12561136"/>
                <a:gd name="connsiteX55" fmla="*/ 4437471 w 17157070"/>
                <a:gd name="connsiteY55" fmla="*/ 2480282 h 12561136"/>
                <a:gd name="connsiteX56" fmla="*/ 4141784 w 17157070"/>
                <a:gd name="connsiteY56" fmla="*/ 1760928 h 12561136"/>
                <a:gd name="connsiteX57" fmla="*/ 2314296 w 17157070"/>
                <a:gd name="connsiteY57" fmla="*/ 2043785 h 12561136"/>
                <a:gd name="connsiteX58" fmla="*/ 1334589 w 17157070"/>
                <a:gd name="connsiteY58" fmla="*/ 2848657 h 12561136"/>
                <a:gd name="connsiteX59" fmla="*/ 0 w 17157070"/>
                <a:gd name="connsiteY59" fmla="*/ 4196103 h 12561136"/>
                <a:gd name="connsiteX0" fmla="*/ 0 w 17157070"/>
                <a:gd name="connsiteY0" fmla="*/ 2758209 h 11123242"/>
                <a:gd name="connsiteX1" fmla="*/ 613837 w 17157070"/>
                <a:gd name="connsiteY1" fmla="*/ 5136567 h 11123242"/>
                <a:gd name="connsiteX2" fmla="*/ 1518338 w 17157070"/>
                <a:gd name="connsiteY2" fmla="*/ 6004717 h 11123242"/>
                <a:gd name="connsiteX3" fmla="*/ 1735898 w 17157070"/>
                <a:gd name="connsiteY3" fmla="*/ 6836641 h 11123242"/>
                <a:gd name="connsiteX4" fmla="*/ 3137400 w 17157070"/>
                <a:gd name="connsiteY4" fmla="*/ 7361201 h 11123242"/>
                <a:gd name="connsiteX5" fmla="*/ 3453963 w 17157070"/>
                <a:gd name="connsiteY5" fmla="*/ 8717692 h 11123242"/>
                <a:gd name="connsiteX6" fmla="*/ 4168520 w 17157070"/>
                <a:gd name="connsiteY6" fmla="*/ 10092261 h 11123242"/>
                <a:gd name="connsiteX7" fmla="*/ 4162343 w 17157070"/>
                <a:gd name="connsiteY7" fmla="*/ 11123242 h 11123242"/>
                <a:gd name="connsiteX8" fmla="*/ 4605215 w 17157070"/>
                <a:gd name="connsiteY8" fmla="*/ 11039078 h 11123242"/>
                <a:gd name="connsiteX9" fmla="*/ 4840336 w 17157070"/>
                <a:gd name="connsiteY9" fmla="*/ 10749696 h 11123242"/>
                <a:gd name="connsiteX10" fmla="*/ 6070201 w 17157070"/>
                <a:gd name="connsiteY10" fmla="*/ 10767788 h 11123242"/>
                <a:gd name="connsiteX11" fmla="*/ 6884082 w 17157070"/>
                <a:gd name="connsiteY11" fmla="*/ 10170936 h 11123242"/>
                <a:gd name="connsiteX12" fmla="*/ 7716051 w 17157070"/>
                <a:gd name="connsiteY12" fmla="*/ 10496495 h 11123242"/>
                <a:gd name="connsiteX13" fmla="*/ 8584189 w 17157070"/>
                <a:gd name="connsiteY13" fmla="*/ 10297543 h 11123242"/>
                <a:gd name="connsiteX14" fmla="*/ 9289552 w 17157070"/>
                <a:gd name="connsiteY14" fmla="*/ 10496495 h 11123242"/>
                <a:gd name="connsiteX15" fmla="*/ 10139605 w 17157070"/>
                <a:gd name="connsiteY15" fmla="*/ 10098595 h 11123242"/>
                <a:gd name="connsiteX16" fmla="*/ 10664108 w 17157070"/>
                <a:gd name="connsiteY16" fmla="*/ 10315631 h 11123242"/>
                <a:gd name="connsiteX17" fmla="*/ 11387555 w 17157070"/>
                <a:gd name="connsiteY17" fmla="*/ 10225201 h 11123242"/>
                <a:gd name="connsiteX18" fmla="*/ 11966315 w 17157070"/>
                <a:gd name="connsiteY18" fmla="*/ 10948656 h 11123242"/>
                <a:gd name="connsiteX19" fmla="*/ 12942975 w 17157070"/>
                <a:gd name="connsiteY19" fmla="*/ 10713527 h 11123242"/>
                <a:gd name="connsiteX20" fmla="*/ 13575992 w 17157070"/>
                <a:gd name="connsiteY20" fmla="*/ 11111427 h 11123242"/>
                <a:gd name="connsiteX21" fmla="*/ 13973888 w 17157070"/>
                <a:gd name="connsiteY21" fmla="*/ 11020994 h 11123242"/>
                <a:gd name="connsiteX22" fmla="*/ 14028146 w 17157070"/>
                <a:gd name="connsiteY22" fmla="*/ 10478403 h 11123242"/>
                <a:gd name="connsiteX23" fmla="*/ 13594073 w 17157070"/>
                <a:gd name="connsiteY23" fmla="*/ 10424146 h 11123242"/>
                <a:gd name="connsiteX24" fmla="*/ 13612161 w 17157070"/>
                <a:gd name="connsiteY24" fmla="*/ 9736867 h 11123242"/>
                <a:gd name="connsiteX25" fmla="*/ 14190925 w 17157070"/>
                <a:gd name="connsiteY25" fmla="*/ 9592180 h 11123242"/>
                <a:gd name="connsiteX26" fmla="*/ 13865366 w 17157070"/>
                <a:gd name="connsiteY26" fmla="*/ 9121935 h 11123242"/>
                <a:gd name="connsiteX27" fmla="*/ 14136664 w 17157070"/>
                <a:gd name="connsiteY27" fmla="*/ 8724039 h 11123242"/>
                <a:gd name="connsiteX28" fmla="*/ 14703435 w 17157070"/>
                <a:gd name="connsiteY28" fmla="*/ 8751135 h 11123242"/>
                <a:gd name="connsiteX29" fmla="*/ 14661163 w 17157070"/>
                <a:gd name="connsiteY29" fmla="*/ 8579351 h 11123242"/>
                <a:gd name="connsiteX30" fmla="*/ 14335608 w 17157070"/>
                <a:gd name="connsiteY30" fmla="*/ 8416576 h 11123242"/>
                <a:gd name="connsiteX31" fmla="*/ 14498387 w 17157070"/>
                <a:gd name="connsiteY31" fmla="*/ 7837812 h 11123242"/>
                <a:gd name="connsiteX32" fmla="*/ 13847278 w 17157070"/>
                <a:gd name="connsiteY32" fmla="*/ 6933498 h 11123242"/>
                <a:gd name="connsiteX33" fmla="*/ 13340864 w 17157070"/>
                <a:gd name="connsiteY33" fmla="*/ 6228135 h 11123242"/>
                <a:gd name="connsiteX34" fmla="*/ 13123831 w 17157070"/>
                <a:gd name="connsiteY34" fmla="*/ 5142957 h 11123242"/>
                <a:gd name="connsiteX35" fmla="*/ 13232349 w 17157070"/>
                <a:gd name="connsiteY35" fmla="*/ 4455683 h 11123242"/>
                <a:gd name="connsiteX36" fmla="*/ 12273778 w 17157070"/>
                <a:gd name="connsiteY36" fmla="*/ 4488844 h 11123242"/>
                <a:gd name="connsiteX37" fmla="*/ 12201432 w 17157070"/>
                <a:gd name="connsiteY37" fmla="*/ 4090944 h 11123242"/>
                <a:gd name="connsiteX38" fmla="*/ 12508887 w 17157070"/>
                <a:gd name="connsiteY38" fmla="*/ 3587549 h 11123242"/>
                <a:gd name="connsiteX39" fmla="*/ 13774933 w 17157070"/>
                <a:gd name="connsiteY39" fmla="*/ 2809833 h 11123242"/>
                <a:gd name="connsiteX40" fmla="*/ 15294184 w 17157070"/>
                <a:gd name="connsiteY40" fmla="*/ 2303418 h 11123242"/>
                <a:gd name="connsiteX41" fmla="*/ 15746333 w 17157070"/>
                <a:gd name="connsiteY41" fmla="*/ 2628973 h 11123242"/>
                <a:gd name="connsiteX42" fmla="*/ 16578306 w 17157070"/>
                <a:gd name="connsiteY42" fmla="*/ 2339591 h 11123242"/>
                <a:gd name="connsiteX43" fmla="*/ 17084732 w 17157070"/>
                <a:gd name="connsiteY43" fmla="*/ 2737499 h 11123242"/>
                <a:gd name="connsiteX44" fmla="*/ 17157070 w 17157070"/>
                <a:gd name="connsiteY44" fmla="*/ 1797008 h 11123242"/>
                <a:gd name="connsiteX45" fmla="*/ 16433615 w 17157070"/>
                <a:gd name="connsiteY45" fmla="*/ 1706578 h 11123242"/>
                <a:gd name="connsiteX46" fmla="*/ 16415865 w 17157070"/>
                <a:gd name="connsiteY46" fmla="*/ 1090426 h 11123242"/>
                <a:gd name="connsiteX47" fmla="*/ 15963191 w 17157070"/>
                <a:gd name="connsiteY47" fmla="*/ 1229882 h 11123242"/>
                <a:gd name="connsiteX48" fmla="*/ 14923009 w 17157070"/>
                <a:gd name="connsiteY48" fmla="*/ -1 h 11123242"/>
                <a:gd name="connsiteX49" fmla="*/ 5153802 w 17157070"/>
                <a:gd name="connsiteY49" fmla="*/ 3455348 h 11123242"/>
                <a:gd name="connsiteX50" fmla="*/ 4898441 w 17157070"/>
                <a:gd name="connsiteY50" fmla="*/ 3506056 h 11123242"/>
                <a:gd name="connsiteX51" fmla="*/ 4600673 w 17157070"/>
                <a:gd name="connsiteY51" fmla="*/ 3237585 h 11123242"/>
                <a:gd name="connsiteX52" fmla="*/ 4416749 w 17157070"/>
                <a:gd name="connsiteY52" fmla="*/ 2814578 h 11123242"/>
                <a:gd name="connsiteX53" fmla="*/ 4653822 w 17157070"/>
                <a:gd name="connsiteY53" fmla="*/ 2264411 h 11123242"/>
                <a:gd name="connsiteX54" fmla="*/ 4432864 w 17157070"/>
                <a:gd name="connsiteY54" fmla="*/ 1711176 h 11123242"/>
                <a:gd name="connsiteX55" fmla="*/ 4437471 w 17157070"/>
                <a:gd name="connsiteY55" fmla="*/ 1042388 h 11123242"/>
                <a:gd name="connsiteX56" fmla="*/ 4141784 w 17157070"/>
                <a:gd name="connsiteY56" fmla="*/ 323034 h 11123242"/>
                <a:gd name="connsiteX57" fmla="*/ 2314296 w 17157070"/>
                <a:gd name="connsiteY57" fmla="*/ 605891 h 11123242"/>
                <a:gd name="connsiteX58" fmla="*/ 1334589 w 17157070"/>
                <a:gd name="connsiteY58" fmla="*/ 1410763 h 11123242"/>
                <a:gd name="connsiteX59" fmla="*/ 0 w 17157070"/>
                <a:gd name="connsiteY59" fmla="*/ 2758209 h 11123242"/>
                <a:gd name="connsiteX0" fmla="*/ 0 w 17157070"/>
                <a:gd name="connsiteY0" fmla="*/ 2435175 h 10800208"/>
                <a:gd name="connsiteX1" fmla="*/ 613837 w 17157070"/>
                <a:gd name="connsiteY1" fmla="*/ 4813533 h 10800208"/>
                <a:gd name="connsiteX2" fmla="*/ 1518338 w 17157070"/>
                <a:gd name="connsiteY2" fmla="*/ 5681683 h 10800208"/>
                <a:gd name="connsiteX3" fmla="*/ 1735898 w 17157070"/>
                <a:gd name="connsiteY3" fmla="*/ 6513607 h 10800208"/>
                <a:gd name="connsiteX4" fmla="*/ 3137400 w 17157070"/>
                <a:gd name="connsiteY4" fmla="*/ 7038167 h 10800208"/>
                <a:gd name="connsiteX5" fmla="*/ 3453963 w 17157070"/>
                <a:gd name="connsiteY5" fmla="*/ 8394658 h 10800208"/>
                <a:gd name="connsiteX6" fmla="*/ 4168520 w 17157070"/>
                <a:gd name="connsiteY6" fmla="*/ 9769227 h 10800208"/>
                <a:gd name="connsiteX7" fmla="*/ 4162343 w 17157070"/>
                <a:gd name="connsiteY7" fmla="*/ 10800208 h 10800208"/>
                <a:gd name="connsiteX8" fmla="*/ 4605215 w 17157070"/>
                <a:gd name="connsiteY8" fmla="*/ 10716044 h 10800208"/>
                <a:gd name="connsiteX9" fmla="*/ 4840336 w 17157070"/>
                <a:gd name="connsiteY9" fmla="*/ 10426662 h 10800208"/>
                <a:gd name="connsiteX10" fmla="*/ 6070201 w 17157070"/>
                <a:gd name="connsiteY10" fmla="*/ 10444754 h 10800208"/>
                <a:gd name="connsiteX11" fmla="*/ 6884082 w 17157070"/>
                <a:gd name="connsiteY11" fmla="*/ 9847902 h 10800208"/>
                <a:gd name="connsiteX12" fmla="*/ 7716051 w 17157070"/>
                <a:gd name="connsiteY12" fmla="*/ 10173461 h 10800208"/>
                <a:gd name="connsiteX13" fmla="*/ 8584189 w 17157070"/>
                <a:gd name="connsiteY13" fmla="*/ 9974509 h 10800208"/>
                <a:gd name="connsiteX14" fmla="*/ 9289552 w 17157070"/>
                <a:gd name="connsiteY14" fmla="*/ 10173461 h 10800208"/>
                <a:gd name="connsiteX15" fmla="*/ 10139605 w 17157070"/>
                <a:gd name="connsiteY15" fmla="*/ 9775561 h 10800208"/>
                <a:gd name="connsiteX16" fmla="*/ 10664108 w 17157070"/>
                <a:gd name="connsiteY16" fmla="*/ 9992597 h 10800208"/>
                <a:gd name="connsiteX17" fmla="*/ 11387555 w 17157070"/>
                <a:gd name="connsiteY17" fmla="*/ 9902167 h 10800208"/>
                <a:gd name="connsiteX18" fmla="*/ 11966315 w 17157070"/>
                <a:gd name="connsiteY18" fmla="*/ 10625622 h 10800208"/>
                <a:gd name="connsiteX19" fmla="*/ 12942975 w 17157070"/>
                <a:gd name="connsiteY19" fmla="*/ 10390493 h 10800208"/>
                <a:gd name="connsiteX20" fmla="*/ 13575992 w 17157070"/>
                <a:gd name="connsiteY20" fmla="*/ 10788393 h 10800208"/>
                <a:gd name="connsiteX21" fmla="*/ 13973888 w 17157070"/>
                <a:gd name="connsiteY21" fmla="*/ 10697960 h 10800208"/>
                <a:gd name="connsiteX22" fmla="*/ 14028146 w 17157070"/>
                <a:gd name="connsiteY22" fmla="*/ 10155369 h 10800208"/>
                <a:gd name="connsiteX23" fmla="*/ 13594073 w 17157070"/>
                <a:gd name="connsiteY23" fmla="*/ 10101112 h 10800208"/>
                <a:gd name="connsiteX24" fmla="*/ 13612161 w 17157070"/>
                <a:gd name="connsiteY24" fmla="*/ 9413833 h 10800208"/>
                <a:gd name="connsiteX25" fmla="*/ 14190925 w 17157070"/>
                <a:gd name="connsiteY25" fmla="*/ 9269146 h 10800208"/>
                <a:gd name="connsiteX26" fmla="*/ 13865366 w 17157070"/>
                <a:gd name="connsiteY26" fmla="*/ 8798901 h 10800208"/>
                <a:gd name="connsiteX27" fmla="*/ 14136664 w 17157070"/>
                <a:gd name="connsiteY27" fmla="*/ 8401005 h 10800208"/>
                <a:gd name="connsiteX28" fmla="*/ 14703435 w 17157070"/>
                <a:gd name="connsiteY28" fmla="*/ 8428101 h 10800208"/>
                <a:gd name="connsiteX29" fmla="*/ 14661163 w 17157070"/>
                <a:gd name="connsiteY29" fmla="*/ 8256317 h 10800208"/>
                <a:gd name="connsiteX30" fmla="*/ 14335608 w 17157070"/>
                <a:gd name="connsiteY30" fmla="*/ 8093542 h 10800208"/>
                <a:gd name="connsiteX31" fmla="*/ 14498387 w 17157070"/>
                <a:gd name="connsiteY31" fmla="*/ 7514778 h 10800208"/>
                <a:gd name="connsiteX32" fmla="*/ 13847278 w 17157070"/>
                <a:gd name="connsiteY32" fmla="*/ 6610464 h 10800208"/>
                <a:gd name="connsiteX33" fmla="*/ 13340864 w 17157070"/>
                <a:gd name="connsiteY33" fmla="*/ 5905101 h 10800208"/>
                <a:gd name="connsiteX34" fmla="*/ 13123831 w 17157070"/>
                <a:gd name="connsiteY34" fmla="*/ 4819923 h 10800208"/>
                <a:gd name="connsiteX35" fmla="*/ 13232349 w 17157070"/>
                <a:gd name="connsiteY35" fmla="*/ 4132649 h 10800208"/>
                <a:gd name="connsiteX36" fmla="*/ 12273778 w 17157070"/>
                <a:gd name="connsiteY36" fmla="*/ 4165810 h 10800208"/>
                <a:gd name="connsiteX37" fmla="*/ 12201432 w 17157070"/>
                <a:gd name="connsiteY37" fmla="*/ 3767910 h 10800208"/>
                <a:gd name="connsiteX38" fmla="*/ 12508887 w 17157070"/>
                <a:gd name="connsiteY38" fmla="*/ 3264515 h 10800208"/>
                <a:gd name="connsiteX39" fmla="*/ 13774933 w 17157070"/>
                <a:gd name="connsiteY39" fmla="*/ 2486799 h 10800208"/>
                <a:gd name="connsiteX40" fmla="*/ 15294184 w 17157070"/>
                <a:gd name="connsiteY40" fmla="*/ 1980384 h 10800208"/>
                <a:gd name="connsiteX41" fmla="*/ 15746333 w 17157070"/>
                <a:gd name="connsiteY41" fmla="*/ 2305939 h 10800208"/>
                <a:gd name="connsiteX42" fmla="*/ 16578306 w 17157070"/>
                <a:gd name="connsiteY42" fmla="*/ 2016557 h 10800208"/>
                <a:gd name="connsiteX43" fmla="*/ 17084732 w 17157070"/>
                <a:gd name="connsiteY43" fmla="*/ 2414465 h 10800208"/>
                <a:gd name="connsiteX44" fmla="*/ 17157070 w 17157070"/>
                <a:gd name="connsiteY44" fmla="*/ 1473974 h 10800208"/>
                <a:gd name="connsiteX45" fmla="*/ 16433615 w 17157070"/>
                <a:gd name="connsiteY45" fmla="*/ 1383544 h 10800208"/>
                <a:gd name="connsiteX46" fmla="*/ 16415865 w 17157070"/>
                <a:gd name="connsiteY46" fmla="*/ 767392 h 10800208"/>
                <a:gd name="connsiteX47" fmla="*/ 15963191 w 17157070"/>
                <a:gd name="connsiteY47" fmla="*/ 906848 h 10800208"/>
                <a:gd name="connsiteX48" fmla="*/ 5153802 w 17157070"/>
                <a:gd name="connsiteY48" fmla="*/ 3132314 h 10800208"/>
                <a:gd name="connsiteX49" fmla="*/ 4898441 w 17157070"/>
                <a:gd name="connsiteY49" fmla="*/ 3183022 h 10800208"/>
                <a:gd name="connsiteX50" fmla="*/ 4600673 w 17157070"/>
                <a:gd name="connsiteY50" fmla="*/ 2914551 h 10800208"/>
                <a:gd name="connsiteX51" fmla="*/ 4416749 w 17157070"/>
                <a:gd name="connsiteY51" fmla="*/ 2491544 h 10800208"/>
                <a:gd name="connsiteX52" fmla="*/ 4653822 w 17157070"/>
                <a:gd name="connsiteY52" fmla="*/ 1941377 h 10800208"/>
                <a:gd name="connsiteX53" fmla="*/ 4432864 w 17157070"/>
                <a:gd name="connsiteY53" fmla="*/ 1388142 h 10800208"/>
                <a:gd name="connsiteX54" fmla="*/ 4437471 w 17157070"/>
                <a:gd name="connsiteY54" fmla="*/ 719354 h 10800208"/>
                <a:gd name="connsiteX55" fmla="*/ 4141784 w 17157070"/>
                <a:gd name="connsiteY55" fmla="*/ 0 h 10800208"/>
                <a:gd name="connsiteX56" fmla="*/ 2314296 w 17157070"/>
                <a:gd name="connsiteY56" fmla="*/ 282857 h 10800208"/>
                <a:gd name="connsiteX57" fmla="*/ 1334589 w 17157070"/>
                <a:gd name="connsiteY57" fmla="*/ 1087729 h 10800208"/>
                <a:gd name="connsiteX58" fmla="*/ 0 w 17157070"/>
                <a:gd name="connsiteY58" fmla="*/ 2435175 h 10800208"/>
                <a:gd name="connsiteX0" fmla="*/ 0 w 17157070"/>
                <a:gd name="connsiteY0" fmla="*/ 2435175 h 10800208"/>
                <a:gd name="connsiteX1" fmla="*/ 613837 w 17157070"/>
                <a:gd name="connsiteY1" fmla="*/ 4813533 h 10800208"/>
                <a:gd name="connsiteX2" fmla="*/ 1518338 w 17157070"/>
                <a:gd name="connsiteY2" fmla="*/ 5681683 h 10800208"/>
                <a:gd name="connsiteX3" fmla="*/ 1735898 w 17157070"/>
                <a:gd name="connsiteY3" fmla="*/ 6513607 h 10800208"/>
                <a:gd name="connsiteX4" fmla="*/ 3137400 w 17157070"/>
                <a:gd name="connsiteY4" fmla="*/ 7038167 h 10800208"/>
                <a:gd name="connsiteX5" fmla="*/ 3453963 w 17157070"/>
                <a:gd name="connsiteY5" fmla="*/ 8394658 h 10800208"/>
                <a:gd name="connsiteX6" fmla="*/ 4168520 w 17157070"/>
                <a:gd name="connsiteY6" fmla="*/ 9769227 h 10800208"/>
                <a:gd name="connsiteX7" fmla="*/ 4162343 w 17157070"/>
                <a:gd name="connsiteY7" fmla="*/ 10800208 h 10800208"/>
                <a:gd name="connsiteX8" fmla="*/ 4605215 w 17157070"/>
                <a:gd name="connsiteY8" fmla="*/ 10716044 h 10800208"/>
                <a:gd name="connsiteX9" fmla="*/ 4840336 w 17157070"/>
                <a:gd name="connsiteY9" fmla="*/ 10426662 h 10800208"/>
                <a:gd name="connsiteX10" fmla="*/ 6070201 w 17157070"/>
                <a:gd name="connsiteY10" fmla="*/ 10444754 h 10800208"/>
                <a:gd name="connsiteX11" fmla="*/ 6884082 w 17157070"/>
                <a:gd name="connsiteY11" fmla="*/ 9847902 h 10800208"/>
                <a:gd name="connsiteX12" fmla="*/ 7716051 w 17157070"/>
                <a:gd name="connsiteY12" fmla="*/ 10173461 h 10800208"/>
                <a:gd name="connsiteX13" fmla="*/ 8584189 w 17157070"/>
                <a:gd name="connsiteY13" fmla="*/ 9974509 h 10800208"/>
                <a:gd name="connsiteX14" fmla="*/ 9289552 w 17157070"/>
                <a:gd name="connsiteY14" fmla="*/ 10173461 h 10800208"/>
                <a:gd name="connsiteX15" fmla="*/ 10139605 w 17157070"/>
                <a:gd name="connsiteY15" fmla="*/ 9775561 h 10800208"/>
                <a:gd name="connsiteX16" fmla="*/ 10664108 w 17157070"/>
                <a:gd name="connsiteY16" fmla="*/ 9992597 h 10800208"/>
                <a:gd name="connsiteX17" fmla="*/ 11387555 w 17157070"/>
                <a:gd name="connsiteY17" fmla="*/ 9902167 h 10800208"/>
                <a:gd name="connsiteX18" fmla="*/ 11966315 w 17157070"/>
                <a:gd name="connsiteY18" fmla="*/ 10625622 h 10800208"/>
                <a:gd name="connsiteX19" fmla="*/ 12942975 w 17157070"/>
                <a:gd name="connsiteY19" fmla="*/ 10390493 h 10800208"/>
                <a:gd name="connsiteX20" fmla="*/ 13575992 w 17157070"/>
                <a:gd name="connsiteY20" fmla="*/ 10788393 h 10800208"/>
                <a:gd name="connsiteX21" fmla="*/ 13973888 w 17157070"/>
                <a:gd name="connsiteY21" fmla="*/ 10697960 h 10800208"/>
                <a:gd name="connsiteX22" fmla="*/ 14028146 w 17157070"/>
                <a:gd name="connsiteY22" fmla="*/ 10155369 h 10800208"/>
                <a:gd name="connsiteX23" fmla="*/ 13594073 w 17157070"/>
                <a:gd name="connsiteY23" fmla="*/ 10101112 h 10800208"/>
                <a:gd name="connsiteX24" fmla="*/ 13612161 w 17157070"/>
                <a:gd name="connsiteY24" fmla="*/ 9413833 h 10800208"/>
                <a:gd name="connsiteX25" fmla="*/ 14190925 w 17157070"/>
                <a:gd name="connsiteY25" fmla="*/ 9269146 h 10800208"/>
                <a:gd name="connsiteX26" fmla="*/ 13865366 w 17157070"/>
                <a:gd name="connsiteY26" fmla="*/ 8798901 h 10800208"/>
                <a:gd name="connsiteX27" fmla="*/ 14136664 w 17157070"/>
                <a:gd name="connsiteY27" fmla="*/ 8401005 h 10800208"/>
                <a:gd name="connsiteX28" fmla="*/ 14703435 w 17157070"/>
                <a:gd name="connsiteY28" fmla="*/ 8428101 h 10800208"/>
                <a:gd name="connsiteX29" fmla="*/ 14661163 w 17157070"/>
                <a:gd name="connsiteY29" fmla="*/ 8256317 h 10800208"/>
                <a:gd name="connsiteX30" fmla="*/ 14335608 w 17157070"/>
                <a:gd name="connsiteY30" fmla="*/ 8093542 h 10800208"/>
                <a:gd name="connsiteX31" fmla="*/ 14498387 w 17157070"/>
                <a:gd name="connsiteY31" fmla="*/ 7514778 h 10800208"/>
                <a:gd name="connsiteX32" fmla="*/ 13847278 w 17157070"/>
                <a:gd name="connsiteY32" fmla="*/ 6610464 h 10800208"/>
                <a:gd name="connsiteX33" fmla="*/ 13340864 w 17157070"/>
                <a:gd name="connsiteY33" fmla="*/ 5905101 h 10800208"/>
                <a:gd name="connsiteX34" fmla="*/ 13123831 w 17157070"/>
                <a:gd name="connsiteY34" fmla="*/ 4819923 h 10800208"/>
                <a:gd name="connsiteX35" fmla="*/ 13232349 w 17157070"/>
                <a:gd name="connsiteY35" fmla="*/ 4132649 h 10800208"/>
                <a:gd name="connsiteX36" fmla="*/ 12273778 w 17157070"/>
                <a:gd name="connsiteY36" fmla="*/ 4165810 h 10800208"/>
                <a:gd name="connsiteX37" fmla="*/ 12201432 w 17157070"/>
                <a:gd name="connsiteY37" fmla="*/ 3767910 h 10800208"/>
                <a:gd name="connsiteX38" fmla="*/ 12508887 w 17157070"/>
                <a:gd name="connsiteY38" fmla="*/ 3264515 h 10800208"/>
                <a:gd name="connsiteX39" fmla="*/ 13774933 w 17157070"/>
                <a:gd name="connsiteY39" fmla="*/ 2486799 h 10800208"/>
                <a:gd name="connsiteX40" fmla="*/ 15294184 w 17157070"/>
                <a:gd name="connsiteY40" fmla="*/ 1980384 h 10800208"/>
                <a:gd name="connsiteX41" fmla="*/ 15746333 w 17157070"/>
                <a:gd name="connsiteY41" fmla="*/ 2305939 h 10800208"/>
                <a:gd name="connsiteX42" fmla="*/ 16578306 w 17157070"/>
                <a:gd name="connsiteY42" fmla="*/ 2016557 h 10800208"/>
                <a:gd name="connsiteX43" fmla="*/ 17084732 w 17157070"/>
                <a:gd name="connsiteY43" fmla="*/ 2414465 h 10800208"/>
                <a:gd name="connsiteX44" fmla="*/ 17157070 w 17157070"/>
                <a:gd name="connsiteY44" fmla="*/ 1473974 h 10800208"/>
                <a:gd name="connsiteX45" fmla="*/ 16433615 w 17157070"/>
                <a:gd name="connsiteY45" fmla="*/ 1383544 h 10800208"/>
                <a:gd name="connsiteX46" fmla="*/ 16415865 w 17157070"/>
                <a:gd name="connsiteY46" fmla="*/ 767392 h 10800208"/>
                <a:gd name="connsiteX47" fmla="*/ 5365184 w 17157070"/>
                <a:gd name="connsiteY47" fmla="*/ 3460880 h 10800208"/>
                <a:gd name="connsiteX48" fmla="*/ 5153802 w 17157070"/>
                <a:gd name="connsiteY48" fmla="*/ 3132314 h 10800208"/>
                <a:gd name="connsiteX49" fmla="*/ 4898441 w 17157070"/>
                <a:gd name="connsiteY49" fmla="*/ 3183022 h 10800208"/>
                <a:gd name="connsiteX50" fmla="*/ 4600673 w 17157070"/>
                <a:gd name="connsiteY50" fmla="*/ 2914551 h 10800208"/>
                <a:gd name="connsiteX51" fmla="*/ 4416749 w 17157070"/>
                <a:gd name="connsiteY51" fmla="*/ 2491544 h 10800208"/>
                <a:gd name="connsiteX52" fmla="*/ 4653822 w 17157070"/>
                <a:gd name="connsiteY52" fmla="*/ 1941377 h 10800208"/>
                <a:gd name="connsiteX53" fmla="*/ 4432864 w 17157070"/>
                <a:gd name="connsiteY53" fmla="*/ 1388142 h 10800208"/>
                <a:gd name="connsiteX54" fmla="*/ 4437471 w 17157070"/>
                <a:gd name="connsiteY54" fmla="*/ 719354 h 10800208"/>
                <a:gd name="connsiteX55" fmla="*/ 4141784 w 17157070"/>
                <a:gd name="connsiteY55" fmla="*/ 0 h 10800208"/>
                <a:gd name="connsiteX56" fmla="*/ 2314296 w 17157070"/>
                <a:gd name="connsiteY56" fmla="*/ 282857 h 10800208"/>
                <a:gd name="connsiteX57" fmla="*/ 1334589 w 17157070"/>
                <a:gd name="connsiteY57" fmla="*/ 1087729 h 10800208"/>
                <a:gd name="connsiteX58" fmla="*/ 0 w 17157070"/>
                <a:gd name="connsiteY58" fmla="*/ 2435175 h 10800208"/>
                <a:gd name="connsiteX0" fmla="*/ 0 w 17157070"/>
                <a:gd name="connsiteY0" fmla="*/ 2435175 h 10800208"/>
                <a:gd name="connsiteX1" fmla="*/ 613837 w 17157070"/>
                <a:gd name="connsiteY1" fmla="*/ 4813533 h 10800208"/>
                <a:gd name="connsiteX2" fmla="*/ 1518338 w 17157070"/>
                <a:gd name="connsiteY2" fmla="*/ 5681683 h 10800208"/>
                <a:gd name="connsiteX3" fmla="*/ 1735898 w 17157070"/>
                <a:gd name="connsiteY3" fmla="*/ 6513607 h 10800208"/>
                <a:gd name="connsiteX4" fmla="*/ 3137400 w 17157070"/>
                <a:gd name="connsiteY4" fmla="*/ 7038167 h 10800208"/>
                <a:gd name="connsiteX5" fmla="*/ 3453963 w 17157070"/>
                <a:gd name="connsiteY5" fmla="*/ 8394658 h 10800208"/>
                <a:gd name="connsiteX6" fmla="*/ 4168520 w 17157070"/>
                <a:gd name="connsiteY6" fmla="*/ 9769227 h 10800208"/>
                <a:gd name="connsiteX7" fmla="*/ 4162343 w 17157070"/>
                <a:gd name="connsiteY7" fmla="*/ 10800208 h 10800208"/>
                <a:gd name="connsiteX8" fmla="*/ 4605215 w 17157070"/>
                <a:gd name="connsiteY8" fmla="*/ 10716044 h 10800208"/>
                <a:gd name="connsiteX9" fmla="*/ 4840336 w 17157070"/>
                <a:gd name="connsiteY9" fmla="*/ 10426662 h 10800208"/>
                <a:gd name="connsiteX10" fmla="*/ 6070201 w 17157070"/>
                <a:gd name="connsiteY10" fmla="*/ 10444754 h 10800208"/>
                <a:gd name="connsiteX11" fmla="*/ 6884082 w 17157070"/>
                <a:gd name="connsiteY11" fmla="*/ 9847902 h 10800208"/>
                <a:gd name="connsiteX12" fmla="*/ 7716051 w 17157070"/>
                <a:gd name="connsiteY12" fmla="*/ 10173461 h 10800208"/>
                <a:gd name="connsiteX13" fmla="*/ 8584189 w 17157070"/>
                <a:gd name="connsiteY13" fmla="*/ 9974509 h 10800208"/>
                <a:gd name="connsiteX14" fmla="*/ 9289552 w 17157070"/>
                <a:gd name="connsiteY14" fmla="*/ 10173461 h 10800208"/>
                <a:gd name="connsiteX15" fmla="*/ 10139605 w 17157070"/>
                <a:gd name="connsiteY15" fmla="*/ 9775561 h 10800208"/>
                <a:gd name="connsiteX16" fmla="*/ 10664108 w 17157070"/>
                <a:gd name="connsiteY16" fmla="*/ 9992597 h 10800208"/>
                <a:gd name="connsiteX17" fmla="*/ 11387555 w 17157070"/>
                <a:gd name="connsiteY17" fmla="*/ 9902167 h 10800208"/>
                <a:gd name="connsiteX18" fmla="*/ 11966315 w 17157070"/>
                <a:gd name="connsiteY18" fmla="*/ 10625622 h 10800208"/>
                <a:gd name="connsiteX19" fmla="*/ 12942975 w 17157070"/>
                <a:gd name="connsiteY19" fmla="*/ 10390493 h 10800208"/>
                <a:gd name="connsiteX20" fmla="*/ 13575992 w 17157070"/>
                <a:gd name="connsiteY20" fmla="*/ 10788393 h 10800208"/>
                <a:gd name="connsiteX21" fmla="*/ 13973888 w 17157070"/>
                <a:gd name="connsiteY21" fmla="*/ 10697960 h 10800208"/>
                <a:gd name="connsiteX22" fmla="*/ 14028146 w 17157070"/>
                <a:gd name="connsiteY22" fmla="*/ 10155369 h 10800208"/>
                <a:gd name="connsiteX23" fmla="*/ 13594073 w 17157070"/>
                <a:gd name="connsiteY23" fmla="*/ 10101112 h 10800208"/>
                <a:gd name="connsiteX24" fmla="*/ 13612161 w 17157070"/>
                <a:gd name="connsiteY24" fmla="*/ 9413833 h 10800208"/>
                <a:gd name="connsiteX25" fmla="*/ 14190925 w 17157070"/>
                <a:gd name="connsiteY25" fmla="*/ 9269146 h 10800208"/>
                <a:gd name="connsiteX26" fmla="*/ 13865366 w 17157070"/>
                <a:gd name="connsiteY26" fmla="*/ 8798901 h 10800208"/>
                <a:gd name="connsiteX27" fmla="*/ 14136664 w 17157070"/>
                <a:gd name="connsiteY27" fmla="*/ 8401005 h 10800208"/>
                <a:gd name="connsiteX28" fmla="*/ 14703435 w 17157070"/>
                <a:gd name="connsiteY28" fmla="*/ 8428101 h 10800208"/>
                <a:gd name="connsiteX29" fmla="*/ 14661163 w 17157070"/>
                <a:gd name="connsiteY29" fmla="*/ 8256317 h 10800208"/>
                <a:gd name="connsiteX30" fmla="*/ 14335608 w 17157070"/>
                <a:gd name="connsiteY30" fmla="*/ 8093542 h 10800208"/>
                <a:gd name="connsiteX31" fmla="*/ 14498387 w 17157070"/>
                <a:gd name="connsiteY31" fmla="*/ 7514778 h 10800208"/>
                <a:gd name="connsiteX32" fmla="*/ 13847278 w 17157070"/>
                <a:gd name="connsiteY32" fmla="*/ 6610464 h 10800208"/>
                <a:gd name="connsiteX33" fmla="*/ 13340864 w 17157070"/>
                <a:gd name="connsiteY33" fmla="*/ 5905101 h 10800208"/>
                <a:gd name="connsiteX34" fmla="*/ 13123831 w 17157070"/>
                <a:gd name="connsiteY34" fmla="*/ 4819923 h 10800208"/>
                <a:gd name="connsiteX35" fmla="*/ 13232349 w 17157070"/>
                <a:gd name="connsiteY35" fmla="*/ 4132649 h 10800208"/>
                <a:gd name="connsiteX36" fmla="*/ 12273778 w 17157070"/>
                <a:gd name="connsiteY36" fmla="*/ 4165810 h 10800208"/>
                <a:gd name="connsiteX37" fmla="*/ 12201432 w 17157070"/>
                <a:gd name="connsiteY37" fmla="*/ 3767910 h 10800208"/>
                <a:gd name="connsiteX38" fmla="*/ 12508887 w 17157070"/>
                <a:gd name="connsiteY38" fmla="*/ 3264515 h 10800208"/>
                <a:gd name="connsiteX39" fmla="*/ 13774933 w 17157070"/>
                <a:gd name="connsiteY39" fmla="*/ 2486799 h 10800208"/>
                <a:gd name="connsiteX40" fmla="*/ 15294184 w 17157070"/>
                <a:gd name="connsiteY40" fmla="*/ 1980384 h 10800208"/>
                <a:gd name="connsiteX41" fmla="*/ 15746333 w 17157070"/>
                <a:gd name="connsiteY41" fmla="*/ 2305939 h 10800208"/>
                <a:gd name="connsiteX42" fmla="*/ 16578306 w 17157070"/>
                <a:gd name="connsiteY42" fmla="*/ 2016557 h 10800208"/>
                <a:gd name="connsiteX43" fmla="*/ 17084732 w 17157070"/>
                <a:gd name="connsiteY43" fmla="*/ 2414465 h 10800208"/>
                <a:gd name="connsiteX44" fmla="*/ 17157070 w 17157070"/>
                <a:gd name="connsiteY44" fmla="*/ 1473974 h 10800208"/>
                <a:gd name="connsiteX45" fmla="*/ 16433615 w 17157070"/>
                <a:gd name="connsiteY45" fmla="*/ 1383544 h 10800208"/>
                <a:gd name="connsiteX46" fmla="*/ 5365184 w 17157070"/>
                <a:gd name="connsiteY46" fmla="*/ 3460880 h 10800208"/>
                <a:gd name="connsiteX47" fmla="*/ 5153802 w 17157070"/>
                <a:gd name="connsiteY47" fmla="*/ 3132314 h 10800208"/>
                <a:gd name="connsiteX48" fmla="*/ 4898441 w 17157070"/>
                <a:gd name="connsiteY48" fmla="*/ 3183022 h 10800208"/>
                <a:gd name="connsiteX49" fmla="*/ 4600673 w 17157070"/>
                <a:gd name="connsiteY49" fmla="*/ 2914551 h 10800208"/>
                <a:gd name="connsiteX50" fmla="*/ 4416749 w 17157070"/>
                <a:gd name="connsiteY50" fmla="*/ 2491544 h 10800208"/>
                <a:gd name="connsiteX51" fmla="*/ 4653822 w 17157070"/>
                <a:gd name="connsiteY51" fmla="*/ 1941377 h 10800208"/>
                <a:gd name="connsiteX52" fmla="*/ 4432864 w 17157070"/>
                <a:gd name="connsiteY52" fmla="*/ 1388142 h 10800208"/>
                <a:gd name="connsiteX53" fmla="*/ 4437471 w 17157070"/>
                <a:gd name="connsiteY53" fmla="*/ 719354 h 10800208"/>
                <a:gd name="connsiteX54" fmla="*/ 4141784 w 17157070"/>
                <a:gd name="connsiteY54" fmla="*/ 0 h 10800208"/>
                <a:gd name="connsiteX55" fmla="*/ 2314296 w 17157070"/>
                <a:gd name="connsiteY55" fmla="*/ 282857 h 10800208"/>
                <a:gd name="connsiteX56" fmla="*/ 1334589 w 17157070"/>
                <a:gd name="connsiteY56" fmla="*/ 1087729 h 10800208"/>
                <a:gd name="connsiteX57" fmla="*/ 0 w 17157070"/>
                <a:gd name="connsiteY57" fmla="*/ 2435175 h 10800208"/>
                <a:gd name="connsiteX0" fmla="*/ 0 w 17157070"/>
                <a:gd name="connsiteY0" fmla="*/ 2435175 h 10800208"/>
                <a:gd name="connsiteX1" fmla="*/ 613837 w 17157070"/>
                <a:gd name="connsiteY1" fmla="*/ 4813533 h 10800208"/>
                <a:gd name="connsiteX2" fmla="*/ 1518338 w 17157070"/>
                <a:gd name="connsiteY2" fmla="*/ 5681683 h 10800208"/>
                <a:gd name="connsiteX3" fmla="*/ 1735898 w 17157070"/>
                <a:gd name="connsiteY3" fmla="*/ 6513607 h 10800208"/>
                <a:gd name="connsiteX4" fmla="*/ 3137400 w 17157070"/>
                <a:gd name="connsiteY4" fmla="*/ 7038167 h 10800208"/>
                <a:gd name="connsiteX5" fmla="*/ 3453963 w 17157070"/>
                <a:gd name="connsiteY5" fmla="*/ 8394658 h 10800208"/>
                <a:gd name="connsiteX6" fmla="*/ 4168520 w 17157070"/>
                <a:gd name="connsiteY6" fmla="*/ 9769227 h 10800208"/>
                <a:gd name="connsiteX7" fmla="*/ 4162343 w 17157070"/>
                <a:gd name="connsiteY7" fmla="*/ 10800208 h 10800208"/>
                <a:gd name="connsiteX8" fmla="*/ 4605215 w 17157070"/>
                <a:gd name="connsiteY8" fmla="*/ 10716044 h 10800208"/>
                <a:gd name="connsiteX9" fmla="*/ 4840336 w 17157070"/>
                <a:gd name="connsiteY9" fmla="*/ 10426662 h 10800208"/>
                <a:gd name="connsiteX10" fmla="*/ 6070201 w 17157070"/>
                <a:gd name="connsiteY10" fmla="*/ 10444754 h 10800208"/>
                <a:gd name="connsiteX11" fmla="*/ 6884082 w 17157070"/>
                <a:gd name="connsiteY11" fmla="*/ 9847902 h 10800208"/>
                <a:gd name="connsiteX12" fmla="*/ 7716051 w 17157070"/>
                <a:gd name="connsiteY12" fmla="*/ 10173461 h 10800208"/>
                <a:gd name="connsiteX13" fmla="*/ 8584189 w 17157070"/>
                <a:gd name="connsiteY13" fmla="*/ 9974509 h 10800208"/>
                <a:gd name="connsiteX14" fmla="*/ 9289552 w 17157070"/>
                <a:gd name="connsiteY14" fmla="*/ 10173461 h 10800208"/>
                <a:gd name="connsiteX15" fmla="*/ 10139605 w 17157070"/>
                <a:gd name="connsiteY15" fmla="*/ 9775561 h 10800208"/>
                <a:gd name="connsiteX16" fmla="*/ 10664108 w 17157070"/>
                <a:gd name="connsiteY16" fmla="*/ 9992597 h 10800208"/>
                <a:gd name="connsiteX17" fmla="*/ 11387555 w 17157070"/>
                <a:gd name="connsiteY17" fmla="*/ 9902167 h 10800208"/>
                <a:gd name="connsiteX18" fmla="*/ 11966315 w 17157070"/>
                <a:gd name="connsiteY18" fmla="*/ 10625622 h 10800208"/>
                <a:gd name="connsiteX19" fmla="*/ 12942975 w 17157070"/>
                <a:gd name="connsiteY19" fmla="*/ 10390493 h 10800208"/>
                <a:gd name="connsiteX20" fmla="*/ 13575992 w 17157070"/>
                <a:gd name="connsiteY20" fmla="*/ 10788393 h 10800208"/>
                <a:gd name="connsiteX21" fmla="*/ 13973888 w 17157070"/>
                <a:gd name="connsiteY21" fmla="*/ 10697960 h 10800208"/>
                <a:gd name="connsiteX22" fmla="*/ 14028146 w 17157070"/>
                <a:gd name="connsiteY22" fmla="*/ 10155369 h 10800208"/>
                <a:gd name="connsiteX23" fmla="*/ 13594073 w 17157070"/>
                <a:gd name="connsiteY23" fmla="*/ 10101112 h 10800208"/>
                <a:gd name="connsiteX24" fmla="*/ 13612161 w 17157070"/>
                <a:gd name="connsiteY24" fmla="*/ 9413833 h 10800208"/>
                <a:gd name="connsiteX25" fmla="*/ 14190925 w 17157070"/>
                <a:gd name="connsiteY25" fmla="*/ 9269146 h 10800208"/>
                <a:gd name="connsiteX26" fmla="*/ 13865366 w 17157070"/>
                <a:gd name="connsiteY26" fmla="*/ 8798901 h 10800208"/>
                <a:gd name="connsiteX27" fmla="*/ 14136664 w 17157070"/>
                <a:gd name="connsiteY27" fmla="*/ 8401005 h 10800208"/>
                <a:gd name="connsiteX28" fmla="*/ 14703435 w 17157070"/>
                <a:gd name="connsiteY28" fmla="*/ 8428101 h 10800208"/>
                <a:gd name="connsiteX29" fmla="*/ 14661163 w 17157070"/>
                <a:gd name="connsiteY29" fmla="*/ 8256317 h 10800208"/>
                <a:gd name="connsiteX30" fmla="*/ 14335608 w 17157070"/>
                <a:gd name="connsiteY30" fmla="*/ 8093542 h 10800208"/>
                <a:gd name="connsiteX31" fmla="*/ 14498387 w 17157070"/>
                <a:gd name="connsiteY31" fmla="*/ 7514778 h 10800208"/>
                <a:gd name="connsiteX32" fmla="*/ 13847278 w 17157070"/>
                <a:gd name="connsiteY32" fmla="*/ 6610464 h 10800208"/>
                <a:gd name="connsiteX33" fmla="*/ 13340864 w 17157070"/>
                <a:gd name="connsiteY33" fmla="*/ 5905101 h 10800208"/>
                <a:gd name="connsiteX34" fmla="*/ 13123831 w 17157070"/>
                <a:gd name="connsiteY34" fmla="*/ 4819923 h 10800208"/>
                <a:gd name="connsiteX35" fmla="*/ 13232349 w 17157070"/>
                <a:gd name="connsiteY35" fmla="*/ 4132649 h 10800208"/>
                <a:gd name="connsiteX36" fmla="*/ 12273778 w 17157070"/>
                <a:gd name="connsiteY36" fmla="*/ 4165810 h 10800208"/>
                <a:gd name="connsiteX37" fmla="*/ 12201432 w 17157070"/>
                <a:gd name="connsiteY37" fmla="*/ 3767910 h 10800208"/>
                <a:gd name="connsiteX38" fmla="*/ 12508887 w 17157070"/>
                <a:gd name="connsiteY38" fmla="*/ 3264515 h 10800208"/>
                <a:gd name="connsiteX39" fmla="*/ 13774933 w 17157070"/>
                <a:gd name="connsiteY39" fmla="*/ 2486799 h 10800208"/>
                <a:gd name="connsiteX40" fmla="*/ 15294184 w 17157070"/>
                <a:gd name="connsiteY40" fmla="*/ 1980384 h 10800208"/>
                <a:gd name="connsiteX41" fmla="*/ 15746333 w 17157070"/>
                <a:gd name="connsiteY41" fmla="*/ 2305939 h 10800208"/>
                <a:gd name="connsiteX42" fmla="*/ 16578306 w 17157070"/>
                <a:gd name="connsiteY42" fmla="*/ 2016557 h 10800208"/>
                <a:gd name="connsiteX43" fmla="*/ 17084732 w 17157070"/>
                <a:gd name="connsiteY43" fmla="*/ 2414465 h 10800208"/>
                <a:gd name="connsiteX44" fmla="*/ 17157070 w 17157070"/>
                <a:gd name="connsiteY44" fmla="*/ 1473974 h 10800208"/>
                <a:gd name="connsiteX45" fmla="*/ 5596373 w 17157070"/>
                <a:gd name="connsiteY45" fmla="*/ 4033059 h 10800208"/>
                <a:gd name="connsiteX46" fmla="*/ 5365184 w 17157070"/>
                <a:gd name="connsiteY46" fmla="*/ 3460880 h 10800208"/>
                <a:gd name="connsiteX47" fmla="*/ 5153802 w 17157070"/>
                <a:gd name="connsiteY47" fmla="*/ 3132314 h 10800208"/>
                <a:gd name="connsiteX48" fmla="*/ 4898441 w 17157070"/>
                <a:gd name="connsiteY48" fmla="*/ 3183022 h 10800208"/>
                <a:gd name="connsiteX49" fmla="*/ 4600673 w 17157070"/>
                <a:gd name="connsiteY49" fmla="*/ 2914551 h 10800208"/>
                <a:gd name="connsiteX50" fmla="*/ 4416749 w 17157070"/>
                <a:gd name="connsiteY50" fmla="*/ 2491544 h 10800208"/>
                <a:gd name="connsiteX51" fmla="*/ 4653822 w 17157070"/>
                <a:gd name="connsiteY51" fmla="*/ 1941377 h 10800208"/>
                <a:gd name="connsiteX52" fmla="*/ 4432864 w 17157070"/>
                <a:gd name="connsiteY52" fmla="*/ 1388142 h 10800208"/>
                <a:gd name="connsiteX53" fmla="*/ 4437471 w 17157070"/>
                <a:gd name="connsiteY53" fmla="*/ 719354 h 10800208"/>
                <a:gd name="connsiteX54" fmla="*/ 4141784 w 17157070"/>
                <a:gd name="connsiteY54" fmla="*/ 0 h 10800208"/>
                <a:gd name="connsiteX55" fmla="*/ 2314296 w 17157070"/>
                <a:gd name="connsiteY55" fmla="*/ 282857 h 10800208"/>
                <a:gd name="connsiteX56" fmla="*/ 1334589 w 17157070"/>
                <a:gd name="connsiteY56" fmla="*/ 1087729 h 10800208"/>
                <a:gd name="connsiteX57" fmla="*/ 0 w 17157070"/>
                <a:gd name="connsiteY57" fmla="*/ 2435175 h 10800208"/>
                <a:gd name="connsiteX0" fmla="*/ 0 w 17084730"/>
                <a:gd name="connsiteY0" fmla="*/ 2435175 h 10800208"/>
                <a:gd name="connsiteX1" fmla="*/ 613837 w 17084730"/>
                <a:gd name="connsiteY1" fmla="*/ 4813533 h 10800208"/>
                <a:gd name="connsiteX2" fmla="*/ 1518338 w 17084730"/>
                <a:gd name="connsiteY2" fmla="*/ 5681683 h 10800208"/>
                <a:gd name="connsiteX3" fmla="*/ 1735898 w 17084730"/>
                <a:gd name="connsiteY3" fmla="*/ 6513607 h 10800208"/>
                <a:gd name="connsiteX4" fmla="*/ 3137400 w 17084730"/>
                <a:gd name="connsiteY4" fmla="*/ 7038167 h 10800208"/>
                <a:gd name="connsiteX5" fmla="*/ 3453963 w 17084730"/>
                <a:gd name="connsiteY5" fmla="*/ 8394658 h 10800208"/>
                <a:gd name="connsiteX6" fmla="*/ 4168520 w 17084730"/>
                <a:gd name="connsiteY6" fmla="*/ 9769227 h 10800208"/>
                <a:gd name="connsiteX7" fmla="*/ 4162343 w 17084730"/>
                <a:gd name="connsiteY7" fmla="*/ 10800208 h 10800208"/>
                <a:gd name="connsiteX8" fmla="*/ 4605215 w 17084730"/>
                <a:gd name="connsiteY8" fmla="*/ 10716044 h 10800208"/>
                <a:gd name="connsiteX9" fmla="*/ 4840336 w 17084730"/>
                <a:gd name="connsiteY9" fmla="*/ 10426662 h 10800208"/>
                <a:gd name="connsiteX10" fmla="*/ 6070201 w 17084730"/>
                <a:gd name="connsiteY10" fmla="*/ 10444754 h 10800208"/>
                <a:gd name="connsiteX11" fmla="*/ 6884082 w 17084730"/>
                <a:gd name="connsiteY11" fmla="*/ 9847902 h 10800208"/>
                <a:gd name="connsiteX12" fmla="*/ 7716051 w 17084730"/>
                <a:gd name="connsiteY12" fmla="*/ 10173461 h 10800208"/>
                <a:gd name="connsiteX13" fmla="*/ 8584189 w 17084730"/>
                <a:gd name="connsiteY13" fmla="*/ 9974509 h 10800208"/>
                <a:gd name="connsiteX14" fmla="*/ 9289552 w 17084730"/>
                <a:gd name="connsiteY14" fmla="*/ 10173461 h 10800208"/>
                <a:gd name="connsiteX15" fmla="*/ 10139605 w 17084730"/>
                <a:gd name="connsiteY15" fmla="*/ 9775561 h 10800208"/>
                <a:gd name="connsiteX16" fmla="*/ 10664108 w 17084730"/>
                <a:gd name="connsiteY16" fmla="*/ 9992597 h 10800208"/>
                <a:gd name="connsiteX17" fmla="*/ 11387555 w 17084730"/>
                <a:gd name="connsiteY17" fmla="*/ 9902167 h 10800208"/>
                <a:gd name="connsiteX18" fmla="*/ 11966315 w 17084730"/>
                <a:gd name="connsiteY18" fmla="*/ 10625622 h 10800208"/>
                <a:gd name="connsiteX19" fmla="*/ 12942975 w 17084730"/>
                <a:gd name="connsiteY19" fmla="*/ 10390493 h 10800208"/>
                <a:gd name="connsiteX20" fmla="*/ 13575992 w 17084730"/>
                <a:gd name="connsiteY20" fmla="*/ 10788393 h 10800208"/>
                <a:gd name="connsiteX21" fmla="*/ 13973888 w 17084730"/>
                <a:gd name="connsiteY21" fmla="*/ 10697960 h 10800208"/>
                <a:gd name="connsiteX22" fmla="*/ 14028146 w 17084730"/>
                <a:gd name="connsiteY22" fmla="*/ 10155369 h 10800208"/>
                <a:gd name="connsiteX23" fmla="*/ 13594073 w 17084730"/>
                <a:gd name="connsiteY23" fmla="*/ 10101112 h 10800208"/>
                <a:gd name="connsiteX24" fmla="*/ 13612161 w 17084730"/>
                <a:gd name="connsiteY24" fmla="*/ 9413833 h 10800208"/>
                <a:gd name="connsiteX25" fmla="*/ 14190925 w 17084730"/>
                <a:gd name="connsiteY25" fmla="*/ 9269146 h 10800208"/>
                <a:gd name="connsiteX26" fmla="*/ 13865366 w 17084730"/>
                <a:gd name="connsiteY26" fmla="*/ 8798901 h 10800208"/>
                <a:gd name="connsiteX27" fmla="*/ 14136664 w 17084730"/>
                <a:gd name="connsiteY27" fmla="*/ 8401005 h 10800208"/>
                <a:gd name="connsiteX28" fmla="*/ 14703435 w 17084730"/>
                <a:gd name="connsiteY28" fmla="*/ 8428101 h 10800208"/>
                <a:gd name="connsiteX29" fmla="*/ 14661163 w 17084730"/>
                <a:gd name="connsiteY29" fmla="*/ 8256317 h 10800208"/>
                <a:gd name="connsiteX30" fmla="*/ 14335608 w 17084730"/>
                <a:gd name="connsiteY30" fmla="*/ 8093542 h 10800208"/>
                <a:gd name="connsiteX31" fmla="*/ 14498387 w 17084730"/>
                <a:gd name="connsiteY31" fmla="*/ 7514778 h 10800208"/>
                <a:gd name="connsiteX32" fmla="*/ 13847278 w 17084730"/>
                <a:gd name="connsiteY32" fmla="*/ 6610464 h 10800208"/>
                <a:gd name="connsiteX33" fmla="*/ 13340864 w 17084730"/>
                <a:gd name="connsiteY33" fmla="*/ 5905101 h 10800208"/>
                <a:gd name="connsiteX34" fmla="*/ 13123831 w 17084730"/>
                <a:gd name="connsiteY34" fmla="*/ 4819923 h 10800208"/>
                <a:gd name="connsiteX35" fmla="*/ 13232349 w 17084730"/>
                <a:gd name="connsiteY35" fmla="*/ 4132649 h 10800208"/>
                <a:gd name="connsiteX36" fmla="*/ 12273778 w 17084730"/>
                <a:gd name="connsiteY36" fmla="*/ 4165810 h 10800208"/>
                <a:gd name="connsiteX37" fmla="*/ 12201432 w 17084730"/>
                <a:gd name="connsiteY37" fmla="*/ 3767910 h 10800208"/>
                <a:gd name="connsiteX38" fmla="*/ 12508887 w 17084730"/>
                <a:gd name="connsiteY38" fmla="*/ 3264515 h 10800208"/>
                <a:gd name="connsiteX39" fmla="*/ 13774933 w 17084730"/>
                <a:gd name="connsiteY39" fmla="*/ 2486799 h 10800208"/>
                <a:gd name="connsiteX40" fmla="*/ 15294184 w 17084730"/>
                <a:gd name="connsiteY40" fmla="*/ 1980384 h 10800208"/>
                <a:gd name="connsiteX41" fmla="*/ 15746333 w 17084730"/>
                <a:gd name="connsiteY41" fmla="*/ 2305939 h 10800208"/>
                <a:gd name="connsiteX42" fmla="*/ 16578306 w 17084730"/>
                <a:gd name="connsiteY42" fmla="*/ 2016557 h 10800208"/>
                <a:gd name="connsiteX43" fmla="*/ 17084732 w 17084730"/>
                <a:gd name="connsiteY43" fmla="*/ 2414465 h 10800208"/>
                <a:gd name="connsiteX44" fmla="*/ 5596373 w 17084730"/>
                <a:gd name="connsiteY44" fmla="*/ 4033059 h 10800208"/>
                <a:gd name="connsiteX45" fmla="*/ 5365184 w 17084730"/>
                <a:gd name="connsiteY45" fmla="*/ 3460880 h 10800208"/>
                <a:gd name="connsiteX46" fmla="*/ 5153802 w 17084730"/>
                <a:gd name="connsiteY46" fmla="*/ 3132314 h 10800208"/>
                <a:gd name="connsiteX47" fmla="*/ 4898441 w 17084730"/>
                <a:gd name="connsiteY47" fmla="*/ 3183022 h 10800208"/>
                <a:gd name="connsiteX48" fmla="*/ 4600673 w 17084730"/>
                <a:gd name="connsiteY48" fmla="*/ 2914551 h 10800208"/>
                <a:gd name="connsiteX49" fmla="*/ 4416749 w 17084730"/>
                <a:gd name="connsiteY49" fmla="*/ 2491544 h 10800208"/>
                <a:gd name="connsiteX50" fmla="*/ 4653822 w 17084730"/>
                <a:gd name="connsiteY50" fmla="*/ 1941377 h 10800208"/>
                <a:gd name="connsiteX51" fmla="*/ 4432864 w 17084730"/>
                <a:gd name="connsiteY51" fmla="*/ 1388142 h 10800208"/>
                <a:gd name="connsiteX52" fmla="*/ 4437471 w 17084730"/>
                <a:gd name="connsiteY52" fmla="*/ 719354 h 10800208"/>
                <a:gd name="connsiteX53" fmla="*/ 4141784 w 17084730"/>
                <a:gd name="connsiteY53" fmla="*/ 0 h 10800208"/>
                <a:gd name="connsiteX54" fmla="*/ 2314296 w 17084730"/>
                <a:gd name="connsiteY54" fmla="*/ 282857 h 10800208"/>
                <a:gd name="connsiteX55" fmla="*/ 1334589 w 17084730"/>
                <a:gd name="connsiteY55" fmla="*/ 1087729 h 10800208"/>
                <a:gd name="connsiteX56" fmla="*/ 0 w 17084730"/>
                <a:gd name="connsiteY56" fmla="*/ 2435175 h 10800208"/>
                <a:gd name="connsiteX0" fmla="*/ 0 w 16578304"/>
                <a:gd name="connsiteY0" fmla="*/ 2435175 h 10800208"/>
                <a:gd name="connsiteX1" fmla="*/ 613837 w 16578304"/>
                <a:gd name="connsiteY1" fmla="*/ 4813533 h 10800208"/>
                <a:gd name="connsiteX2" fmla="*/ 1518338 w 16578304"/>
                <a:gd name="connsiteY2" fmla="*/ 5681683 h 10800208"/>
                <a:gd name="connsiteX3" fmla="*/ 1735898 w 16578304"/>
                <a:gd name="connsiteY3" fmla="*/ 6513607 h 10800208"/>
                <a:gd name="connsiteX4" fmla="*/ 3137400 w 16578304"/>
                <a:gd name="connsiteY4" fmla="*/ 7038167 h 10800208"/>
                <a:gd name="connsiteX5" fmla="*/ 3453963 w 16578304"/>
                <a:gd name="connsiteY5" fmla="*/ 8394658 h 10800208"/>
                <a:gd name="connsiteX6" fmla="*/ 4168520 w 16578304"/>
                <a:gd name="connsiteY6" fmla="*/ 9769227 h 10800208"/>
                <a:gd name="connsiteX7" fmla="*/ 4162343 w 16578304"/>
                <a:gd name="connsiteY7" fmla="*/ 10800208 h 10800208"/>
                <a:gd name="connsiteX8" fmla="*/ 4605215 w 16578304"/>
                <a:gd name="connsiteY8" fmla="*/ 10716044 h 10800208"/>
                <a:gd name="connsiteX9" fmla="*/ 4840336 w 16578304"/>
                <a:gd name="connsiteY9" fmla="*/ 10426662 h 10800208"/>
                <a:gd name="connsiteX10" fmla="*/ 6070201 w 16578304"/>
                <a:gd name="connsiteY10" fmla="*/ 10444754 h 10800208"/>
                <a:gd name="connsiteX11" fmla="*/ 6884082 w 16578304"/>
                <a:gd name="connsiteY11" fmla="*/ 9847902 h 10800208"/>
                <a:gd name="connsiteX12" fmla="*/ 7716051 w 16578304"/>
                <a:gd name="connsiteY12" fmla="*/ 10173461 h 10800208"/>
                <a:gd name="connsiteX13" fmla="*/ 8584189 w 16578304"/>
                <a:gd name="connsiteY13" fmla="*/ 9974509 h 10800208"/>
                <a:gd name="connsiteX14" fmla="*/ 9289552 w 16578304"/>
                <a:gd name="connsiteY14" fmla="*/ 10173461 h 10800208"/>
                <a:gd name="connsiteX15" fmla="*/ 10139605 w 16578304"/>
                <a:gd name="connsiteY15" fmla="*/ 9775561 h 10800208"/>
                <a:gd name="connsiteX16" fmla="*/ 10664108 w 16578304"/>
                <a:gd name="connsiteY16" fmla="*/ 9992597 h 10800208"/>
                <a:gd name="connsiteX17" fmla="*/ 11387555 w 16578304"/>
                <a:gd name="connsiteY17" fmla="*/ 9902167 h 10800208"/>
                <a:gd name="connsiteX18" fmla="*/ 11966315 w 16578304"/>
                <a:gd name="connsiteY18" fmla="*/ 10625622 h 10800208"/>
                <a:gd name="connsiteX19" fmla="*/ 12942975 w 16578304"/>
                <a:gd name="connsiteY19" fmla="*/ 10390493 h 10800208"/>
                <a:gd name="connsiteX20" fmla="*/ 13575992 w 16578304"/>
                <a:gd name="connsiteY20" fmla="*/ 10788393 h 10800208"/>
                <a:gd name="connsiteX21" fmla="*/ 13973888 w 16578304"/>
                <a:gd name="connsiteY21" fmla="*/ 10697960 h 10800208"/>
                <a:gd name="connsiteX22" fmla="*/ 14028146 w 16578304"/>
                <a:gd name="connsiteY22" fmla="*/ 10155369 h 10800208"/>
                <a:gd name="connsiteX23" fmla="*/ 13594073 w 16578304"/>
                <a:gd name="connsiteY23" fmla="*/ 10101112 h 10800208"/>
                <a:gd name="connsiteX24" fmla="*/ 13612161 w 16578304"/>
                <a:gd name="connsiteY24" fmla="*/ 9413833 h 10800208"/>
                <a:gd name="connsiteX25" fmla="*/ 14190925 w 16578304"/>
                <a:gd name="connsiteY25" fmla="*/ 9269146 h 10800208"/>
                <a:gd name="connsiteX26" fmla="*/ 13865366 w 16578304"/>
                <a:gd name="connsiteY26" fmla="*/ 8798901 h 10800208"/>
                <a:gd name="connsiteX27" fmla="*/ 14136664 w 16578304"/>
                <a:gd name="connsiteY27" fmla="*/ 8401005 h 10800208"/>
                <a:gd name="connsiteX28" fmla="*/ 14703435 w 16578304"/>
                <a:gd name="connsiteY28" fmla="*/ 8428101 h 10800208"/>
                <a:gd name="connsiteX29" fmla="*/ 14661163 w 16578304"/>
                <a:gd name="connsiteY29" fmla="*/ 8256317 h 10800208"/>
                <a:gd name="connsiteX30" fmla="*/ 14335608 w 16578304"/>
                <a:gd name="connsiteY30" fmla="*/ 8093542 h 10800208"/>
                <a:gd name="connsiteX31" fmla="*/ 14498387 w 16578304"/>
                <a:gd name="connsiteY31" fmla="*/ 7514778 h 10800208"/>
                <a:gd name="connsiteX32" fmla="*/ 13847278 w 16578304"/>
                <a:gd name="connsiteY32" fmla="*/ 6610464 h 10800208"/>
                <a:gd name="connsiteX33" fmla="*/ 13340864 w 16578304"/>
                <a:gd name="connsiteY33" fmla="*/ 5905101 h 10800208"/>
                <a:gd name="connsiteX34" fmla="*/ 13123831 w 16578304"/>
                <a:gd name="connsiteY34" fmla="*/ 4819923 h 10800208"/>
                <a:gd name="connsiteX35" fmla="*/ 13232349 w 16578304"/>
                <a:gd name="connsiteY35" fmla="*/ 4132649 h 10800208"/>
                <a:gd name="connsiteX36" fmla="*/ 12273778 w 16578304"/>
                <a:gd name="connsiteY36" fmla="*/ 4165810 h 10800208"/>
                <a:gd name="connsiteX37" fmla="*/ 12201432 w 16578304"/>
                <a:gd name="connsiteY37" fmla="*/ 3767910 h 10800208"/>
                <a:gd name="connsiteX38" fmla="*/ 12508887 w 16578304"/>
                <a:gd name="connsiteY38" fmla="*/ 3264515 h 10800208"/>
                <a:gd name="connsiteX39" fmla="*/ 13774933 w 16578304"/>
                <a:gd name="connsiteY39" fmla="*/ 2486799 h 10800208"/>
                <a:gd name="connsiteX40" fmla="*/ 15294184 w 16578304"/>
                <a:gd name="connsiteY40" fmla="*/ 1980384 h 10800208"/>
                <a:gd name="connsiteX41" fmla="*/ 15746333 w 16578304"/>
                <a:gd name="connsiteY41" fmla="*/ 2305939 h 10800208"/>
                <a:gd name="connsiteX42" fmla="*/ 16578306 w 16578304"/>
                <a:gd name="connsiteY42" fmla="*/ 2016557 h 10800208"/>
                <a:gd name="connsiteX43" fmla="*/ 6319261 w 16578304"/>
                <a:gd name="connsiteY43" fmla="*/ 4419497 h 10800208"/>
                <a:gd name="connsiteX44" fmla="*/ 5596373 w 16578304"/>
                <a:gd name="connsiteY44" fmla="*/ 4033059 h 10800208"/>
                <a:gd name="connsiteX45" fmla="*/ 5365184 w 16578304"/>
                <a:gd name="connsiteY45" fmla="*/ 3460880 h 10800208"/>
                <a:gd name="connsiteX46" fmla="*/ 5153802 w 16578304"/>
                <a:gd name="connsiteY46" fmla="*/ 3132314 h 10800208"/>
                <a:gd name="connsiteX47" fmla="*/ 4898441 w 16578304"/>
                <a:gd name="connsiteY47" fmla="*/ 3183022 h 10800208"/>
                <a:gd name="connsiteX48" fmla="*/ 4600673 w 16578304"/>
                <a:gd name="connsiteY48" fmla="*/ 2914551 h 10800208"/>
                <a:gd name="connsiteX49" fmla="*/ 4416749 w 16578304"/>
                <a:gd name="connsiteY49" fmla="*/ 2491544 h 10800208"/>
                <a:gd name="connsiteX50" fmla="*/ 4653822 w 16578304"/>
                <a:gd name="connsiteY50" fmla="*/ 1941377 h 10800208"/>
                <a:gd name="connsiteX51" fmla="*/ 4432864 w 16578304"/>
                <a:gd name="connsiteY51" fmla="*/ 1388142 h 10800208"/>
                <a:gd name="connsiteX52" fmla="*/ 4437471 w 16578304"/>
                <a:gd name="connsiteY52" fmla="*/ 719354 h 10800208"/>
                <a:gd name="connsiteX53" fmla="*/ 4141784 w 16578304"/>
                <a:gd name="connsiteY53" fmla="*/ 0 h 10800208"/>
                <a:gd name="connsiteX54" fmla="*/ 2314296 w 16578304"/>
                <a:gd name="connsiteY54" fmla="*/ 282857 h 10800208"/>
                <a:gd name="connsiteX55" fmla="*/ 1334589 w 16578304"/>
                <a:gd name="connsiteY55" fmla="*/ 1087729 h 10800208"/>
                <a:gd name="connsiteX56" fmla="*/ 0 w 16578304"/>
                <a:gd name="connsiteY56" fmla="*/ 2435175 h 10800208"/>
                <a:gd name="connsiteX0" fmla="*/ 0 w 15746332"/>
                <a:gd name="connsiteY0" fmla="*/ 2435175 h 10800208"/>
                <a:gd name="connsiteX1" fmla="*/ 613837 w 15746332"/>
                <a:gd name="connsiteY1" fmla="*/ 4813533 h 10800208"/>
                <a:gd name="connsiteX2" fmla="*/ 1518338 w 15746332"/>
                <a:gd name="connsiteY2" fmla="*/ 5681683 h 10800208"/>
                <a:gd name="connsiteX3" fmla="*/ 1735898 w 15746332"/>
                <a:gd name="connsiteY3" fmla="*/ 6513607 h 10800208"/>
                <a:gd name="connsiteX4" fmla="*/ 3137400 w 15746332"/>
                <a:gd name="connsiteY4" fmla="*/ 7038167 h 10800208"/>
                <a:gd name="connsiteX5" fmla="*/ 3453963 w 15746332"/>
                <a:gd name="connsiteY5" fmla="*/ 8394658 h 10800208"/>
                <a:gd name="connsiteX6" fmla="*/ 4168520 w 15746332"/>
                <a:gd name="connsiteY6" fmla="*/ 9769227 h 10800208"/>
                <a:gd name="connsiteX7" fmla="*/ 4162343 w 15746332"/>
                <a:gd name="connsiteY7" fmla="*/ 10800208 h 10800208"/>
                <a:gd name="connsiteX8" fmla="*/ 4605215 w 15746332"/>
                <a:gd name="connsiteY8" fmla="*/ 10716044 h 10800208"/>
                <a:gd name="connsiteX9" fmla="*/ 4840336 w 15746332"/>
                <a:gd name="connsiteY9" fmla="*/ 10426662 h 10800208"/>
                <a:gd name="connsiteX10" fmla="*/ 6070201 w 15746332"/>
                <a:gd name="connsiteY10" fmla="*/ 10444754 h 10800208"/>
                <a:gd name="connsiteX11" fmla="*/ 6884082 w 15746332"/>
                <a:gd name="connsiteY11" fmla="*/ 9847902 h 10800208"/>
                <a:gd name="connsiteX12" fmla="*/ 7716051 w 15746332"/>
                <a:gd name="connsiteY12" fmla="*/ 10173461 h 10800208"/>
                <a:gd name="connsiteX13" fmla="*/ 8584189 w 15746332"/>
                <a:gd name="connsiteY13" fmla="*/ 9974509 h 10800208"/>
                <a:gd name="connsiteX14" fmla="*/ 9289552 w 15746332"/>
                <a:gd name="connsiteY14" fmla="*/ 10173461 h 10800208"/>
                <a:gd name="connsiteX15" fmla="*/ 10139605 w 15746332"/>
                <a:gd name="connsiteY15" fmla="*/ 9775561 h 10800208"/>
                <a:gd name="connsiteX16" fmla="*/ 10664108 w 15746332"/>
                <a:gd name="connsiteY16" fmla="*/ 9992597 h 10800208"/>
                <a:gd name="connsiteX17" fmla="*/ 11387555 w 15746332"/>
                <a:gd name="connsiteY17" fmla="*/ 9902167 h 10800208"/>
                <a:gd name="connsiteX18" fmla="*/ 11966315 w 15746332"/>
                <a:gd name="connsiteY18" fmla="*/ 10625622 h 10800208"/>
                <a:gd name="connsiteX19" fmla="*/ 12942975 w 15746332"/>
                <a:gd name="connsiteY19" fmla="*/ 10390493 h 10800208"/>
                <a:gd name="connsiteX20" fmla="*/ 13575992 w 15746332"/>
                <a:gd name="connsiteY20" fmla="*/ 10788393 h 10800208"/>
                <a:gd name="connsiteX21" fmla="*/ 13973888 w 15746332"/>
                <a:gd name="connsiteY21" fmla="*/ 10697960 h 10800208"/>
                <a:gd name="connsiteX22" fmla="*/ 14028146 w 15746332"/>
                <a:gd name="connsiteY22" fmla="*/ 10155369 h 10800208"/>
                <a:gd name="connsiteX23" fmla="*/ 13594073 w 15746332"/>
                <a:gd name="connsiteY23" fmla="*/ 10101112 h 10800208"/>
                <a:gd name="connsiteX24" fmla="*/ 13612161 w 15746332"/>
                <a:gd name="connsiteY24" fmla="*/ 9413833 h 10800208"/>
                <a:gd name="connsiteX25" fmla="*/ 14190925 w 15746332"/>
                <a:gd name="connsiteY25" fmla="*/ 9269146 h 10800208"/>
                <a:gd name="connsiteX26" fmla="*/ 13865366 w 15746332"/>
                <a:gd name="connsiteY26" fmla="*/ 8798901 h 10800208"/>
                <a:gd name="connsiteX27" fmla="*/ 14136664 w 15746332"/>
                <a:gd name="connsiteY27" fmla="*/ 8401005 h 10800208"/>
                <a:gd name="connsiteX28" fmla="*/ 14703435 w 15746332"/>
                <a:gd name="connsiteY28" fmla="*/ 8428101 h 10800208"/>
                <a:gd name="connsiteX29" fmla="*/ 14661163 w 15746332"/>
                <a:gd name="connsiteY29" fmla="*/ 8256317 h 10800208"/>
                <a:gd name="connsiteX30" fmla="*/ 14335608 w 15746332"/>
                <a:gd name="connsiteY30" fmla="*/ 8093542 h 10800208"/>
                <a:gd name="connsiteX31" fmla="*/ 14498387 w 15746332"/>
                <a:gd name="connsiteY31" fmla="*/ 7514778 h 10800208"/>
                <a:gd name="connsiteX32" fmla="*/ 13847278 w 15746332"/>
                <a:gd name="connsiteY32" fmla="*/ 6610464 h 10800208"/>
                <a:gd name="connsiteX33" fmla="*/ 13340864 w 15746332"/>
                <a:gd name="connsiteY33" fmla="*/ 5905101 h 10800208"/>
                <a:gd name="connsiteX34" fmla="*/ 13123831 w 15746332"/>
                <a:gd name="connsiteY34" fmla="*/ 4819923 h 10800208"/>
                <a:gd name="connsiteX35" fmla="*/ 13232349 w 15746332"/>
                <a:gd name="connsiteY35" fmla="*/ 4132649 h 10800208"/>
                <a:gd name="connsiteX36" fmla="*/ 12273778 w 15746332"/>
                <a:gd name="connsiteY36" fmla="*/ 4165810 h 10800208"/>
                <a:gd name="connsiteX37" fmla="*/ 12201432 w 15746332"/>
                <a:gd name="connsiteY37" fmla="*/ 3767910 h 10800208"/>
                <a:gd name="connsiteX38" fmla="*/ 12508887 w 15746332"/>
                <a:gd name="connsiteY38" fmla="*/ 3264515 h 10800208"/>
                <a:gd name="connsiteX39" fmla="*/ 13774933 w 15746332"/>
                <a:gd name="connsiteY39" fmla="*/ 2486799 h 10800208"/>
                <a:gd name="connsiteX40" fmla="*/ 15294184 w 15746332"/>
                <a:gd name="connsiteY40" fmla="*/ 1980384 h 10800208"/>
                <a:gd name="connsiteX41" fmla="*/ 15746333 w 15746332"/>
                <a:gd name="connsiteY41" fmla="*/ 2305939 h 10800208"/>
                <a:gd name="connsiteX42" fmla="*/ 6319261 w 15746332"/>
                <a:gd name="connsiteY42" fmla="*/ 4419497 h 10800208"/>
                <a:gd name="connsiteX43" fmla="*/ 5596373 w 15746332"/>
                <a:gd name="connsiteY43" fmla="*/ 4033059 h 10800208"/>
                <a:gd name="connsiteX44" fmla="*/ 5365184 w 15746332"/>
                <a:gd name="connsiteY44" fmla="*/ 3460880 h 10800208"/>
                <a:gd name="connsiteX45" fmla="*/ 5153802 w 15746332"/>
                <a:gd name="connsiteY45" fmla="*/ 3132314 h 10800208"/>
                <a:gd name="connsiteX46" fmla="*/ 4898441 w 15746332"/>
                <a:gd name="connsiteY46" fmla="*/ 3183022 h 10800208"/>
                <a:gd name="connsiteX47" fmla="*/ 4600673 w 15746332"/>
                <a:gd name="connsiteY47" fmla="*/ 2914551 h 10800208"/>
                <a:gd name="connsiteX48" fmla="*/ 4416749 w 15746332"/>
                <a:gd name="connsiteY48" fmla="*/ 2491544 h 10800208"/>
                <a:gd name="connsiteX49" fmla="*/ 4653822 w 15746332"/>
                <a:gd name="connsiteY49" fmla="*/ 1941377 h 10800208"/>
                <a:gd name="connsiteX50" fmla="*/ 4432864 w 15746332"/>
                <a:gd name="connsiteY50" fmla="*/ 1388142 h 10800208"/>
                <a:gd name="connsiteX51" fmla="*/ 4437471 w 15746332"/>
                <a:gd name="connsiteY51" fmla="*/ 719354 h 10800208"/>
                <a:gd name="connsiteX52" fmla="*/ 4141784 w 15746332"/>
                <a:gd name="connsiteY52" fmla="*/ 0 h 10800208"/>
                <a:gd name="connsiteX53" fmla="*/ 2314296 w 15746332"/>
                <a:gd name="connsiteY53" fmla="*/ 282857 h 10800208"/>
                <a:gd name="connsiteX54" fmla="*/ 1334589 w 15746332"/>
                <a:gd name="connsiteY54" fmla="*/ 1087729 h 10800208"/>
                <a:gd name="connsiteX55" fmla="*/ 0 w 15746332"/>
                <a:gd name="connsiteY55" fmla="*/ 2435175 h 10800208"/>
                <a:gd name="connsiteX0" fmla="*/ 0 w 15294185"/>
                <a:gd name="connsiteY0" fmla="*/ 2435175 h 10800208"/>
                <a:gd name="connsiteX1" fmla="*/ 613837 w 15294185"/>
                <a:gd name="connsiteY1" fmla="*/ 4813533 h 10800208"/>
                <a:gd name="connsiteX2" fmla="*/ 1518338 w 15294185"/>
                <a:gd name="connsiteY2" fmla="*/ 5681683 h 10800208"/>
                <a:gd name="connsiteX3" fmla="*/ 1735898 w 15294185"/>
                <a:gd name="connsiteY3" fmla="*/ 6513607 h 10800208"/>
                <a:gd name="connsiteX4" fmla="*/ 3137400 w 15294185"/>
                <a:gd name="connsiteY4" fmla="*/ 7038167 h 10800208"/>
                <a:gd name="connsiteX5" fmla="*/ 3453963 w 15294185"/>
                <a:gd name="connsiteY5" fmla="*/ 8394658 h 10800208"/>
                <a:gd name="connsiteX6" fmla="*/ 4168520 w 15294185"/>
                <a:gd name="connsiteY6" fmla="*/ 9769227 h 10800208"/>
                <a:gd name="connsiteX7" fmla="*/ 4162343 w 15294185"/>
                <a:gd name="connsiteY7" fmla="*/ 10800208 h 10800208"/>
                <a:gd name="connsiteX8" fmla="*/ 4605215 w 15294185"/>
                <a:gd name="connsiteY8" fmla="*/ 10716044 h 10800208"/>
                <a:gd name="connsiteX9" fmla="*/ 4840336 w 15294185"/>
                <a:gd name="connsiteY9" fmla="*/ 10426662 h 10800208"/>
                <a:gd name="connsiteX10" fmla="*/ 6070201 w 15294185"/>
                <a:gd name="connsiteY10" fmla="*/ 10444754 h 10800208"/>
                <a:gd name="connsiteX11" fmla="*/ 6884082 w 15294185"/>
                <a:gd name="connsiteY11" fmla="*/ 9847902 h 10800208"/>
                <a:gd name="connsiteX12" fmla="*/ 7716051 w 15294185"/>
                <a:gd name="connsiteY12" fmla="*/ 10173461 h 10800208"/>
                <a:gd name="connsiteX13" fmla="*/ 8584189 w 15294185"/>
                <a:gd name="connsiteY13" fmla="*/ 9974509 h 10800208"/>
                <a:gd name="connsiteX14" fmla="*/ 9289552 w 15294185"/>
                <a:gd name="connsiteY14" fmla="*/ 10173461 h 10800208"/>
                <a:gd name="connsiteX15" fmla="*/ 10139605 w 15294185"/>
                <a:gd name="connsiteY15" fmla="*/ 9775561 h 10800208"/>
                <a:gd name="connsiteX16" fmla="*/ 10664108 w 15294185"/>
                <a:gd name="connsiteY16" fmla="*/ 9992597 h 10800208"/>
                <a:gd name="connsiteX17" fmla="*/ 11387555 w 15294185"/>
                <a:gd name="connsiteY17" fmla="*/ 9902167 h 10800208"/>
                <a:gd name="connsiteX18" fmla="*/ 11966315 w 15294185"/>
                <a:gd name="connsiteY18" fmla="*/ 10625622 h 10800208"/>
                <a:gd name="connsiteX19" fmla="*/ 12942975 w 15294185"/>
                <a:gd name="connsiteY19" fmla="*/ 10390493 h 10800208"/>
                <a:gd name="connsiteX20" fmla="*/ 13575992 w 15294185"/>
                <a:gd name="connsiteY20" fmla="*/ 10788393 h 10800208"/>
                <a:gd name="connsiteX21" fmla="*/ 13973888 w 15294185"/>
                <a:gd name="connsiteY21" fmla="*/ 10697960 h 10800208"/>
                <a:gd name="connsiteX22" fmla="*/ 14028146 w 15294185"/>
                <a:gd name="connsiteY22" fmla="*/ 10155369 h 10800208"/>
                <a:gd name="connsiteX23" fmla="*/ 13594073 w 15294185"/>
                <a:gd name="connsiteY23" fmla="*/ 10101112 h 10800208"/>
                <a:gd name="connsiteX24" fmla="*/ 13612161 w 15294185"/>
                <a:gd name="connsiteY24" fmla="*/ 9413833 h 10800208"/>
                <a:gd name="connsiteX25" fmla="*/ 14190925 w 15294185"/>
                <a:gd name="connsiteY25" fmla="*/ 9269146 h 10800208"/>
                <a:gd name="connsiteX26" fmla="*/ 13865366 w 15294185"/>
                <a:gd name="connsiteY26" fmla="*/ 8798901 h 10800208"/>
                <a:gd name="connsiteX27" fmla="*/ 14136664 w 15294185"/>
                <a:gd name="connsiteY27" fmla="*/ 8401005 h 10800208"/>
                <a:gd name="connsiteX28" fmla="*/ 14703435 w 15294185"/>
                <a:gd name="connsiteY28" fmla="*/ 8428101 h 10800208"/>
                <a:gd name="connsiteX29" fmla="*/ 14661163 w 15294185"/>
                <a:gd name="connsiteY29" fmla="*/ 8256317 h 10800208"/>
                <a:gd name="connsiteX30" fmla="*/ 14335608 w 15294185"/>
                <a:gd name="connsiteY30" fmla="*/ 8093542 h 10800208"/>
                <a:gd name="connsiteX31" fmla="*/ 14498387 w 15294185"/>
                <a:gd name="connsiteY31" fmla="*/ 7514778 h 10800208"/>
                <a:gd name="connsiteX32" fmla="*/ 13847278 w 15294185"/>
                <a:gd name="connsiteY32" fmla="*/ 6610464 h 10800208"/>
                <a:gd name="connsiteX33" fmla="*/ 13340864 w 15294185"/>
                <a:gd name="connsiteY33" fmla="*/ 5905101 h 10800208"/>
                <a:gd name="connsiteX34" fmla="*/ 13123831 w 15294185"/>
                <a:gd name="connsiteY34" fmla="*/ 4819923 h 10800208"/>
                <a:gd name="connsiteX35" fmla="*/ 13232349 w 15294185"/>
                <a:gd name="connsiteY35" fmla="*/ 4132649 h 10800208"/>
                <a:gd name="connsiteX36" fmla="*/ 12273778 w 15294185"/>
                <a:gd name="connsiteY36" fmla="*/ 4165810 h 10800208"/>
                <a:gd name="connsiteX37" fmla="*/ 12201432 w 15294185"/>
                <a:gd name="connsiteY37" fmla="*/ 3767910 h 10800208"/>
                <a:gd name="connsiteX38" fmla="*/ 12508887 w 15294185"/>
                <a:gd name="connsiteY38" fmla="*/ 3264515 h 10800208"/>
                <a:gd name="connsiteX39" fmla="*/ 13774933 w 15294185"/>
                <a:gd name="connsiteY39" fmla="*/ 2486799 h 10800208"/>
                <a:gd name="connsiteX40" fmla="*/ 15294184 w 15294185"/>
                <a:gd name="connsiteY40" fmla="*/ 1980384 h 10800208"/>
                <a:gd name="connsiteX41" fmla="*/ 6319261 w 15294185"/>
                <a:gd name="connsiteY41" fmla="*/ 4419497 h 10800208"/>
                <a:gd name="connsiteX42" fmla="*/ 5596373 w 15294185"/>
                <a:gd name="connsiteY42" fmla="*/ 4033059 h 10800208"/>
                <a:gd name="connsiteX43" fmla="*/ 5365184 w 15294185"/>
                <a:gd name="connsiteY43" fmla="*/ 3460880 h 10800208"/>
                <a:gd name="connsiteX44" fmla="*/ 5153802 w 15294185"/>
                <a:gd name="connsiteY44" fmla="*/ 3132314 h 10800208"/>
                <a:gd name="connsiteX45" fmla="*/ 4898441 w 15294185"/>
                <a:gd name="connsiteY45" fmla="*/ 3183022 h 10800208"/>
                <a:gd name="connsiteX46" fmla="*/ 4600673 w 15294185"/>
                <a:gd name="connsiteY46" fmla="*/ 2914551 h 10800208"/>
                <a:gd name="connsiteX47" fmla="*/ 4416749 w 15294185"/>
                <a:gd name="connsiteY47" fmla="*/ 2491544 h 10800208"/>
                <a:gd name="connsiteX48" fmla="*/ 4653822 w 15294185"/>
                <a:gd name="connsiteY48" fmla="*/ 1941377 h 10800208"/>
                <a:gd name="connsiteX49" fmla="*/ 4432864 w 15294185"/>
                <a:gd name="connsiteY49" fmla="*/ 1388142 h 10800208"/>
                <a:gd name="connsiteX50" fmla="*/ 4437471 w 15294185"/>
                <a:gd name="connsiteY50" fmla="*/ 719354 h 10800208"/>
                <a:gd name="connsiteX51" fmla="*/ 4141784 w 15294185"/>
                <a:gd name="connsiteY51" fmla="*/ 0 h 10800208"/>
                <a:gd name="connsiteX52" fmla="*/ 2314296 w 15294185"/>
                <a:gd name="connsiteY52" fmla="*/ 282857 h 10800208"/>
                <a:gd name="connsiteX53" fmla="*/ 1334589 w 15294185"/>
                <a:gd name="connsiteY53" fmla="*/ 1087729 h 10800208"/>
                <a:gd name="connsiteX54" fmla="*/ 0 w 15294185"/>
                <a:gd name="connsiteY54"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12273778 w 14703435"/>
                <a:gd name="connsiteY36" fmla="*/ 4165810 h 10800208"/>
                <a:gd name="connsiteX37" fmla="*/ 12201432 w 14703435"/>
                <a:gd name="connsiteY37" fmla="*/ 3767910 h 10800208"/>
                <a:gd name="connsiteX38" fmla="*/ 12508887 w 14703435"/>
                <a:gd name="connsiteY38" fmla="*/ 3264515 h 10800208"/>
                <a:gd name="connsiteX39" fmla="*/ 13774933 w 14703435"/>
                <a:gd name="connsiteY39" fmla="*/ 2486799 h 10800208"/>
                <a:gd name="connsiteX40" fmla="*/ 6319261 w 14703435"/>
                <a:gd name="connsiteY40" fmla="*/ 4419497 h 10800208"/>
                <a:gd name="connsiteX41" fmla="*/ 5596373 w 14703435"/>
                <a:gd name="connsiteY41" fmla="*/ 4033059 h 10800208"/>
                <a:gd name="connsiteX42" fmla="*/ 5365184 w 14703435"/>
                <a:gd name="connsiteY42" fmla="*/ 3460880 h 10800208"/>
                <a:gd name="connsiteX43" fmla="*/ 5153802 w 14703435"/>
                <a:gd name="connsiteY43" fmla="*/ 3132314 h 10800208"/>
                <a:gd name="connsiteX44" fmla="*/ 4898441 w 14703435"/>
                <a:gd name="connsiteY44" fmla="*/ 3183022 h 10800208"/>
                <a:gd name="connsiteX45" fmla="*/ 4600673 w 14703435"/>
                <a:gd name="connsiteY45" fmla="*/ 2914551 h 10800208"/>
                <a:gd name="connsiteX46" fmla="*/ 4416749 w 14703435"/>
                <a:gd name="connsiteY46" fmla="*/ 2491544 h 10800208"/>
                <a:gd name="connsiteX47" fmla="*/ 4653822 w 14703435"/>
                <a:gd name="connsiteY47" fmla="*/ 1941377 h 10800208"/>
                <a:gd name="connsiteX48" fmla="*/ 4432864 w 14703435"/>
                <a:gd name="connsiteY48" fmla="*/ 1388142 h 10800208"/>
                <a:gd name="connsiteX49" fmla="*/ 4437471 w 14703435"/>
                <a:gd name="connsiteY49" fmla="*/ 719354 h 10800208"/>
                <a:gd name="connsiteX50" fmla="*/ 4141784 w 14703435"/>
                <a:gd name="connsiteY50" fmla="*/ 0 h 10800208"/>
                <a:gd name="connsiteX51" fmla="*/ 2314296 w 14703435"/>
                <a:gd name="connsiteY51" fmla="*/ 282857 h 10800208"/>
                <a:gd name="connsiteX52" fmla="*/ 1334589 w 14703435"/>
                <a:gd name="connsiteY52" fmla="*/ 1087729 h 10800208"/>
                <a:gd name="connsiteX53" fmla="*/ 0 w 14703435"/>
                <a:gd name="connsiteY53"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12273778 w 14703435"/>
                <a:gd name="connsiteY36" fmla="*/ 4165810 h 10800208"/>
                <a:gd name="connsiteX37" fmla="*/ 12201432 w 14703435"/>
                <a:gd name="connsiteY37" fmla="*/ 3767910 h 10800208"/>
                <a:gd name="connsiteX38" fmla="*/ 12508887 w 14703435"/>
                <a:gd name="connsiteY38" fmla="*/ 32645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12273778 w 14703435"/>
                <a:gd name="connsiteY36" fmla="*/ 4165810 h 10800208"/>
                <a:gd name="connsiteX37" fmla="*/ 12201432 w 14703435"/>
                <a:gd name="connsiteY37" fmla="*/ 3767910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12273778 w 14703435"/>
                <a:gd name="connsiteY36" fmla="*/ 4165810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9824147 w 14703435"/>
                <a:gd name="connsiteY33" fmla="*/ 6931488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1909491 w 14703435"/>
                <a:gd name="connsiteY32" fmla="*/ 6300156 h 10800208"/>
                <a:gd name="connsiteX33" fmla="*/ 9824147 w 14703435"/>
                <a:gd name="connsiteY33" fmla="*/ 6931488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3924235 w 14703435"/>
                <a:gd name="connsiteY31" fmla="*/ 6560001 h 10800208"/>
                <a:gd name="connsiteX32" fmla="*/ 11909491 w 14703435"/>
                <a:gd name="connsiteY32" fmla="*/ 6300156 h 10800208"/>
                <a:gd name="connsiteX33" fmla="*/ 9824147 w 14703435"/>
                <a:gd name="connsiteY33" fmla="*/ 6931488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407378 w 14703435"/>
                <a:gd name="connsiteY30" fmla="*/ 7544542 h 10800208"/>
                <a:gd name="connsiteX31" fmla="*/ 13924235 w 14703435"/>
                <a:gd name="connsiteY31" fmla="*/ 6560001 h 10800208"/>
                <a:gd name="connsiteX32" fmla="*/ 11909491 w 14703435"/>
                <a:gd name="connsiteY32" fmla="*/ 6300156 h 10800208"/>
                <a:gd name="connsiteX33" fmla="*/ 9824147 w 14703435"/>
                <a:gd name="connsiteY33" fmla="*/ 6931488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341812 h 10706845"/>
                <a:gd name="connsiteX1" fmla="*/ 613837 w 14703435"/>
                <a:gd name="connsiteY1" fmla="*/ 4720170 h 10706845"/>
                <a:gd name="connsiteX2" fmla="*/ 1518338 w 14703435"/>
                <a:gd name="connsiteY2" fmla="*/ 5588320 h 10706845"/>
                <a:gd name="connsiteX3" fmla="*/ 1735898 w 14703435"/>
                <a:gd name="connsiteY3" fmla="*/ 6420244 h 10706845"/>
                <a:gd name="connsiteX4" fmla="*/ 3137400 w 14703435"/>
                <a:gd name="connsiteY4" fmla="*/ 6944804 h 10706845"/>
                <a:gd name="connsiteX5" fmla="*/ 3453963 w 14703435"/>
                <a:gd name="connsiteY5" fmla="*/ 8301295 h 10706845"/>
                <a:gd name="connsiteX6" fmla="*/ 4168520 w 14703435"/>
                <a:gd name="connsiteY6" fmla="*/ 9675864 h 10706845"/>
                <a:gd name="connsiteX7" fmla="*/ 4162343 w 14703435"/>
                <a:gd name="connsiteY7" fmla="*/ 10706845 h 10706845"/>
                <a:gd name="connsiteX8" fmla="*/ 4605215 w 14703435"/>
                <a:gd name="connsiteY8" fmla="*/ 10622681 h 10706845"/>
                <a:gd name="connsiteX9" fmla="*/ 4840336 w 14703435"/>
                <a:gd name="connsiteY9" fmla="*/ 10333299 h 10706845"/>
                <a:gd name="connsiteX10" fmla="*/ 6070201 w 14703435"/>
                <a:gd name="connsiteY10" fmla="*/ 10351391 h 10706845"/>
                <a:gd name="connsiteX11" fmla="*/ 6884082 w 14703435"/>
                <a:gd name="connsiteY11" fmla="*/ 9754539 h 10706845"/>
                <a:gd name="connsiteX12" fmla="*/ 7716051 w 14703435"/>
                <a:gd name="connsiteY12" fmla="*/ 10080098 h 10706845"/>
                <a:gd name="connsiteX13" fmla="*/ 8584189 w 14703435"/>
                <a:gd name="connsiteY13" fmla="*/ 9881146 h 10706845"/>
                <a:gd name="connsiteX14" fmla="*/ 9289552 w 14703435"/>
                <a:gd name="connsiteY14" fmla="*/ 10080098 h 10706845"/>
                <a:gd name="connsiteX15" fmla="*/ 10139605 w 14703435"/>
                <a:gd name="connsiteY15" fmla="*/ 9682198 h 10706845"/>
                <a:gd name="connsiteX16" fmla="*/ 10664108 w 14703435"/>
                <a:gd name="connsiteY16" fmla="*/ 9899234 h 10706845"/>
                <a:gd name="connsiteX17" fmla="*/ 11387555 w 14703435"/>
                <a:gd name="connsiteY17" fmla="*/ 9808804 h 10706845"/>
                <a:gd name="connsiteX18" fmla="*/ 11966315 w 14703435"/>
                <a:gd name="connsiteY18" fmla="*/ 10532259 h 10706845"/>
                <a:gd name="connsiteX19" fmla="*/ 12942975 w 14703435"/>
                <a:gd name="connsiteY19" fmla="*/ 10297130 h 10706845"/>
                <a:gd name="connsiteX20" fmla="*/ 13575992 w 14703435"/>
                <a:gd name="connsiteY20" fmla="*/ 10695030 h 10706845"/>
                <a:gd name="connsiteX21" fmla="*/ 13973888 w 14703435"/>
                <a:gd name="connsiteY21" fmla="*/ 10604597 h 10706845"/>
                <a:gd name="connsiteX22" fmla="*/ 14028146 w 14703435"/>
                <a:gd name="connsiteY22" fmla="*/ 10062006 h 10706845"/>
                <a:gd name="connsiteX23" fmla="*/ 13594073 w 14703435"/>
                <a:gd name="connsiteY23" fmla="*/ 10007749 h 10706845"/>
                <a:gd name="connsiteX24" fmla="*/ 13612161 w 14703435"/>
                <a:gd name="connsiteY24" fmla="*/ 9320470 h 10706845"/>
                <a:gd name="connsiteX25" fmla="*/ 14190925 w 14703435"/>
                <a:gd name="connsiteY25" fmla="*/ 9175783 h 10706845"/>
                <a:gd name="connsiteX26" fmla="*/ 13865366 w 14703435"/>
                <a:gd name="connsiteY26" fmla="*/ 8705538 h 10706845"/>
                <a:gd name="connsiteX27" fmla="*/ 14136664 w 14703435"/>
                <a:gd name="connsiteY27" fmla="*/ 8307642 h 10706845"/>
                <a:gd name="connsiteX28" fmla="*/ 14703435 w 14703435"/>
                <a:gd name="connsiteY28" fmla="*/ 8334738 h 10706845"/>
                <a:gd name="connsiteX29" fmla="*/ 14661163 w 14703435"/>
                <a:gd name="connsiteY29" fmla="*/ 8162954 h 10706845"/>
                <a:gd name="connsiteX30" fmla="*/ 14407378 w 14703435"/>
                <a:gd name="connsiteY30" fmla="*/ 7451179 h 10706845"/>
                <a:gd name="connsiteX31" fmla="*/ 13924235 w 14703435"/>
                <a:gd name="connsiteY31" fmla="*/ 6466638 h 10706845"/>
                <a:gd name="connsiteX32" fmla="*/ 11909491 w 14703435"/>
                <a:gd name="connsiteY32" fmla="*/ 6206793 h 10706845"/>
                <a:gd name="connsiteX33" fmla="*/ 9824147 w 14703435"/>
                <a:gd name="connsiteY33" fmla="*/ 6838125 h 10706845"/>
                <a:gd name="connsiteX34" fmla="*/ 8482717 w 14703435"/>
                <a:gd name="connsiteY34" fmla="*/ 6994165 h 10706845"/>
                <a:gd name="connsiteX35" fmla="*/ 8328079 w 14703435"/>
                <a:gd name="connsiteY35" fmla="*/ 6569451 h 10706845"/>
                <a:gd name="connsiteX36" fmla="*/ 7632672 w 14703435"/>
                <a:gd name="connsiteY36" fmla="*/ 6387789 h 10706845"/>
                <a:gd name="connsiteX37" fmla="*/ 7081852 w 14703435"/>
                <a:gd name="connsiteY37" fmla="*/ 5966020 h 10706845"/>
                <a:gd name="connsiteX38" fmla="*/ 6336686 w 14703435"/>
                <a:gd name="connsiteY38" fmla="*/ 5128452 h 10706845"/>
                <a:gd name="connsiteX39" fmla="*/ 6319261 w 14703435"/>
                <a:gd name="connsiteY39" fmla="*/ 4326134 h 10706845"/>
                <a:gd name="connsiteX40" fmla="*/ 5596373 w 14703435"/>
                <a:gd name="connsiteY40" fmla="*/ 3939696 h 10706845"/>
                <a:gd name="connsiteX41" fmla="*/ 5365184 w 14703435"/>
                <a:gd name="connsiteY41" fmla="*/ 3367517 h 10706845"/>
                <a:gd name="connsiteX42" fmla="*/ 5153802 w 14703435"/>
                <a:gd name="connsiteY42" fmla="*/ 3038951 h 10706845"/>
                <a:gd name="connsiteX43" fmla="*/ 4898441 w 14703435"/>
                <a:gd name="connsiteY43" fmla="*/ 3089659 h 10706845"/>
                <a:gd name="connsiteX44" fmla="*/ 4600673 w 14703435"/>
                <a:gd name="connsiteY44" fmla="*/ 2821188 h 10706845"/>
                <a:gd name="connsiteX45" fmla="*/ 4416749 w 14703435"/>
                <a:gd name="connsiteY45" fmla="*/ 2398181 h 10706845"/>
                <a:gd name="connsiteX46" fmla="*/ 4653822 w 14703435"/>
                <a:gd name="connsiteY46" fmla="*/ 1848014 h 10706845"/>
                <a:gd name="connsiteX47" fmla="*/ 4432864 w 14703435"/>
                <a:gd name="connsiteY47" fmla="*/ 1294779 h 10706845"/>
                <a:gd name="connsiteX48" fmla="*/ 4437471 w 14703435"/>
                <a:gd name="connsiteY48" fmla="*/ 625991 h 10706845"/>
                <a:gd name="connsiteX49" fmla="*/ 4141784 w 14703435"/>
                <a:gd name="connsiteY49" fmla="*/ 0 h 10706845"/>
                <a:gd name="connsiteX50" fmla="*/ 2314296 w 14703435"/>
                <a:gd name="connsiteY50" fmla="*/ 189494 h 10706845"/>
                <a:gd name="connsiteX51" fmla="*/ 1334589 w 14703435"/>
                <a:gd name="connsiteY51" fmla="*/ 994366 h 10706845"/>
                <a:gd name="connsiteX52" fmla="*/ 0 w 14703435"/>
                <a:gd name="connsiteY52" fmla="*/ 2341812 h 10706845"/>
                <a:gd name="connsiteX0" fmla="*/ 0 w 14703435"/>
                <a:gd name="connsiteY0" fmla="*/ 2341812 h 10706845"/>
                <a:gd name="connsiteX1" fmla="*/ 613837 w 14703435"/>
                <a:gd name="connsiteY1" fmla="*/ 4720170 h 10706845"/>
                <a:gd name="connsiteX2" fmla="*/ 1518338 w 14703435"/>
                <a:gd name="connsiteY2" fmla="*/ 5588320 h 10706845"/>
                <a:gd name="connsiteX3" fmla="*/ 1735898 w 14703435"/>
                <a:gd name="connsiteY3" fmla="*/ 6420244 h 10706845"/>
                <a:gd name="connsiteX4" fmla="*/ 3137400 w 14703435"/>
                <a:gd name="connsiteY4" fmla="*/ 6944804 h 10706845"/>
                <a:gd name="connsiteX5" fmla="*/ 3453963 w 14703435"/>
                <a:gd name="connsiteY5" fmla="*/ 8301295 h 10706845"/>
                <a:gd name="connsiteX6" fmla="*/ 4168520 w 14703435"/>
                <a:gd name="connsiteY6" fmla="*/ 9675864 h 10706845"/>
                <a:gd name="connsiteX7" fmla="*/ 4162343 w 14703435"/>
                <a:gd name="connsiteY7" fmla="*/ 10706845 h 10706845"/>
                <a:gd name="connsiteX8" fmla="*/ 4605215 w 14703435"/>
                <a:gd name="connsiteY8" fmla="*/ 10622681 h 10706845"/>
                <a:gd name="connsiteX9" fmla="*/ 4840336 w 14703435"/>
                <a:gd name="connsiteY9" fmla="*/ 10333299 h 10706845"/>
                <a:gd name="connsiteX10" fmla="*/ 6070201 w 14703435"/>
                <a:gd name="connsiteY10" fmla="*/ 10351391 h 10706845"/>
                <a:gd name="connsiteX11" fmla="*/ 6884082 w 14703435"/>
                <a:gd name="connsiteY11" fmla="*/ 9754539 h 10706845"/>
                <a:gd name="connsiteX12" fmla="*/ 7716051 w 14703435"/>
                <a:gd name="connsiteY12" fmla="*/ 10080098 h 10706845"/>
                <a:gd name="connsiteX13" fmla="*/ 8584189 w 14703435"/>
                <a:gd name="connsiteY13" fmla="*/ 9881146 h 10706845"/>
                <a:gd name="connsiteX14" fmla="*/ 9289552 w 14703435"/>
                <a:gd name="connsiteY14" fmla="*/ 10080098 h 10706845"/>
                <a:gd name="connsiteX15" fmla="*/ 10139605 w 14703435"/>
                <a:gd name="connsiteY15" fmla="*/ 9682198 h 10706845"/>
                <a:gd name="connsiteX16" fmla="*/ 10664108 w 14703435"/>
                <a:gd name="connsiteY16" fmla="*/ 9899234 h 10706845"/>
                <a:gd name="connsiteX17" fmla="*/ 11387555 w 14703435"/>
                <a:gd name="connsiteY17" fmla="*/ 9808804 h 10706845"/>
                <a:gd name="connsiteX18" fmla="*/ 11966315 w 14703435"/>
                <a:gd name="connsiteY18" fmla="*/ 10532259 h 10706845"/>
                <a:gd name="connsiteX19" fmla="*/ 12942975 w 14703435"/>
                <a:gd name="connsiteY19" fmla="*/ 10297130 h 10706845"/>
                <a:gd name="connsiteX20" fmla="*/ 13575992 w 14703435"/>
                <a:gd name="connsiteY20" fmla="*/ 10695030 h 10706845"/>
                <a:gd name="connsiteX21" fmla="*/ 13973888 w 14703435"/>
                <a:gd name="connsiteY21" fmla="*/ 10604597 h 10706845"/>
                <a:gd name="connsiteX22" fmla="*/ 14028146 w 14703435"/>
                <a:gd name="connsiteY22" fmla="*/ 10062006 h 10706845"/>
                <a:gd name="connsiteX23" fmla="*/ 13594073 w 14703435"/>
                <a:gd name="connsiteY23" fmla="*/ 10007749 h 10706845"/>
                <a:gd name="connsiteX24" fmla="*/ 13612161 w 14703435"/>
                <a:gd name="connsiteY24" fmla="*/ 9320470 h 10706845"/>
                <a:gd name="connsiteX25" fmla="*/ 14190925 w 14703435"/>
                <a:gd name="connsiteY25" fmla="*/ 9175783 h 10706845"/>
                <a:gd name="connsiteX26" fmla="*/ 13865366 w 14703435"/>
                <a:gd name="connsiteY26" fmla="*/ 8705538 h 10706845"/>
                <a:gd name="connsiteX27" fmla="*/ 14136664 w 14703435"/>
                <a:gd name="connsiteY27" fmla="*/ 8307642 h 10706845"/>
                <a:gd name="connsiteX28" fmla="*/ 14703435 w 14703435"/>
                <a:gd name="connsiteY28" fmla="*/ 8334738 h 10706845"/>
                <a:gd name="connsiteX29" fmla="*/ 14255660 w 14703435"/>
                <a:gd name="connsiteY29" fmla="*/ 8007340 h 10706845"/>
                <a:gd name="connsiteX30" fmla="*/ 14407378 w 14703435"/>
                <a:gd name="connsiteY30" fmla="*/ 7451179 h 10706845"/>
                <a:gd name="connsiteX31" fmla="*/ 13924235 w 14703435"/>
                <a:gd name="connsiteY31" fmla="*/ 6466638 h 10706845"/>
                <a:gd name="connsiteX32" fmla="*/ 11909491 w 14703435"/>
                <a:gd name="connsiteY32" fmla="*/ 6206793 h 10706845"/>
                <a:gd name="connsiteX33" fmla="*/ 9824147 w 14703435"/>
                <a:gd name="connsiteY33" fmla="*/ 6838125 h 10706845"/>
                <a:gd name="connsiteX34" fmla="*/ 8482717 w 14703435"/>
                <a:gd name="connsiteY34" fmla="*/ 6994165 h 10706845"/>
                <a:gd name="connsiteX35" fmla="*/ 8328079 w 14703435"/>
                <a:gd name="connsiteY35" fmla="*/ 6569451 h 10706845"/>
                <a:gd name="connsiteX36" fmla="*/ 7632672 w 14703435"/>
                <a:gd name="connsiteY36" fmla="*/ 6387789 h 10706845"/>
                <a:gd name="connsiteX37" fmla="*/ 7081852 w 14703435"/>
                <a:gd name="connsiteY37" fmla="*/ 5966020 h 10706845"/>
                <a:gd name="connsiteX38" fmla="*/ 6336686 w 14703435"/>
                <a:gd name="connsiteY38" fmla="*/ 5128452 h 10706845"/>
                <a:gd name="connsiteX39" fmla="*/ 6319261 w 14703435"/>
                <a:gd name="connsiteY39" fmla="*/ 4326134 h 10706845"/>
                <a:gd name="connsiteX40" fmla="*/ 5596373 w 14703435"/>
                <a:gd name="connsiteY40" fmla="*/ 3939696 h 10706845"/>
                <a:gd name="connsiteX41" fmla="*/ 5365184 w 14703435"/>
                <a:gd name="connsiteY41" fmla="*/ 3367517 h 10706845"/>
                <a:gd name="connsiteX42" fmla="*/ 5153802 w 14703435"/>
                <a:gd name="connsiteY42" fmla="*/ 3038951 h 10706845"/>
                <a:gd name="connsiteX43" fmla="*/ 4898441 w 14703435"/>
                <a:gd name="connsiteY43" fmla="*/ 3089659 h 10706845"/>
                <a:gd name="connsiteX44" fmla="*/ 4600673 w 14703435"/>
                <a:gd name="connsiteY44" fmla="*/ 2821188 h 10706845"/>
                <a:gd name="connsiteX45" fmla="*/ 4416749 w 14703435"/>
                <a:gd name="connsiteY45" fmla="*/ 2398181 h 10706845"/>
                <a:gd name="connsiteX46" fmla="*/ 4653822 w 14703435"/>
                <a:gd name="connsiteY46" fmla="*/ 1848014 h 10706845"/>
                <a:gd name="connsiteX47" fmla="*/ 4432864 w 14703435"/>
                <a:gd name="connsiteY47" fmla="*/ 1294779 h 10706845"/>
                <a:gd name="connsiteX48" fmla="*/ 4437471 w 14703435"/>
                <a:gd name="connsiteY48" fmla="*/ 625991 h 10706845"/>
                <a:gd name="connsiteX49" fmla="*/ 4141784 w 14703435"/>
                <a:gd name="connsiteY49" fmla="*/ 0 h 10706845"/>
                <a:gd name="connsiteX50" fmla="*/ 2314296 w 14703435"/>
                <a:gd name="connsiteY50" fmla="*/ 189494 h 10706845"/>
                <a:gd name="connsiteX51" fmla="*/ 1334589 w 14703435"/>
                <a:gd name="connsiteY51" fmla="*/ 994366 h 10706845"/>
                <a:gd name="connsiteX52" fmla="*/ 0 w 14703435"/>
                <a:gd name="connsiteY52" fmla="*/ 2341812 h 10706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4703435" h="10706845">
                  <a:moveTo>
                    <a:pt x="0" y="2341812"/>
                  </a:moveTo>
                  <a:lnTo>
                    <a:pt x="613837" y="4720170"/>
                  </a:lnTo>
                  <a:lnTo>
                    <a:pt x="1518338" y="5588320"/>
                  </a:lnTo>
                  <a:lnTo>
                    <a:pt x="1735898" y="6420244"/>
                  </a:lnTo>
                  <a:lnTo>
                    <a:pt x="3137400" y="6944804"/>
                  </a:lnTo>
                  <a:lnTo>
                    <a:pt x="3453963" y="8301295"/>
                  </a:lnTo>
                  <a:lnTo>
                    <a:pt x="4168520" y="9675864"/>
                  </a:lnTo>
                  <a:lnTo>
                    <a:pt x="4162343" y="10706845"/>
                  </a:lnTo>
                  <a:lnTo>
                    <a:pt x="4605215" y="10622681"/>
                  </a:lnTo>
                  <a:lnTo>
                    <a:pt x="4840336" y="10333299"/>
                  </a:lnTo>
                  <a:lnTo>
                    <a:pt x="6070201" y="10351391"/>
                  </a:lnTo>
                  <a:lnTo>
                    <a:pt x="6884082" y="9754539"/>
                  </a:lnTo>
                  <a:lnTo>
                    <a:pt x="7716051" y="10080098"/>
                  </a:lnTo>
                  <a:lnTo>
                    <a:pt x="8584189" y="9881146"/>
                  </a:lnTo>
                  <a:lnTo>
                    <a:pt x="9289552" y="10080098"/>
                  </a:lnTo>
                  <a:lnTo>
                    <a:pt x="10139605" y="9682198"/>
                  </a:lnTo>
                  <a:lnTo>
                    <a:pt x="10664108" y="9899234"/>
                  </a:lnTo>
                  <a:lnTo>
                    <a:pt x="11387555" y="9808804"/>
                  </a:lnTo>
                  <a:lnTo>
                    <a:pt x="11966315" y="10532259"/>
                  </a:lnTo>
                  <a:lnTo>
                    <a:pt x="12942975" y="10297130"/>
                  </a:lnTo>
                  <a:lnTo>
                    <a:pt x="13575992" y="10695030"/>
                  </a:lnTo>
                  <a:lnTo>
                    <a:pt x="13973888" y="10604597"/>
                  </a:lnTo>
                  <a:lnTo>
                    <a:pt x="14028146" y="10062006"/>
                  </a:lnTo>
                  <a:lnTo>
                    <a:pt x="13594073" y="10007749"/>
                  </a:lnTo>
                  <a:lnTo>
                    <a:pt x="13612161" y="9320470"/>
                  </a:lnTo>
                  <a:lnTo>
                    <a:pt x="14190925" y="9175783"/>
                  </a:lnTo>
                  <a:lnTo>
                    <a:pt x="13865366" y="8705538"/>
                  </a:lnTo>
                  <a:lnTo>
                    <a:pt x="14136664" y="8307642"/>
                  </a:lnTo>
                  <a:lnTo>
                    <a:pt x="14703435" y="8334738"/>
                  </a:lnTo>
                  <a:lnTo>
                    <a:pt x="14255660" y="8007340"/>
                  </a:lnTo>
                  <a:lnTo>
                    <a:pt x="14407378" y="7451179"/>
                  </a:lnTo>
                  <a:lnTo>
                    <a:pt x="13924235" y="6466638"/>
                  </a:lnTo>
                  <a:lnTo>
                    <a:pt x="11909491" y="6206793"/>
                  </a:lnTo>
                  <a:lnTo>
                    <a:pt x="9824147" y="6838125"/>
                  </a:lnTo>
                  <a:lnTo>
                    <a:pt x="8482717" y="6994165"/>
                  </a:lnTo>
                  <a:lnTo>
                    <a:pt x="8328079" y="6569451"/>
                  </a:lnTo>
                  <a:lnTo>
                    <a:pt x="7632672" y="6387789"/>
                  </a:lnTo>
                  <a:lnTo>
                    <a:pt x="7081852" y="5966020"/>
                  </a:lnTo>
                  <a:lnTo>
                    <a:pt x="6336686" y="5128452"/>
                  </a:lnTo>
                  <a:lnTo>
                    <a:pt x="6319261" y="4326134"/>
                  </a:lnTo>
                  <a:lnTo>
                    <a:pt x="5596373" y="3939696"/>
                  </a:lnTo>
                  <a:lnTo>
                    <a:pt x="5365184" y="3367517"/>
                  </a:lnTo>
                  <a:lnTo>
                    <a:pt x="5153802" y="3038951"/>
                  </a:lnTo>
                  <a:lnTo>
                    <a:pt x="4898441" y="3089659"/>
                  </a:lnTo>
                  <a:lnTo>
                    <a:pt x="4600673" y="2821188"/>
                  </a:lnTo>
                  <a:lnTo>
                    <a:pt x="4416749" y="2398181"/>
                  </a:lnTo>
                  <a:lnTo>
                    <a:pt x="4653822" y="1848014"/>
                  </a:lnTo>
                  <a:lnTo>
                    <a:pt x="4432864" y="1294779"/>
                  </a:lnTo>
                  <a:cubicBezTo>
                    <a:pt x="4434400" y="1071850"/>
                    <a:pt x="4435935" y="848920"/>
                    <a:pt x="4437471" y="625991"/>
                  </a:cubicBezTo>
                  <a:lnTo>
                    <a:pt x="4141784" y="0"/>
                  </a:lnTo>
                  <a:lnTo>
                    <a:pt x="2314296" y="189494"/>
                  </a:lnTo>
                  <a:lnTo>
                    <a:pt x="1334589" y="994366"/>
                  </a:lnTo>
                  <a:lnTo>
                    <a:pt x="0" y="2341812"/>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grpSp>
      <p:sp>
        <p:nvSpPr>
          <p:cNvPr id="39" name="TextBox 38"/>
          <p:cNvSpPr txBox="1"/>
          <p:nvPr/>
        </p:nvSpPr>
        <p:spPr>
          <a:xfrm>
            <a:off x="7608939" y="2097888"/>
            <a:ext cx="2633859"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Leading regions</a:t>
            </a:r>
            <a:endParaRPr kumimoji="0" lang="ru-RU" sz="12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41" name="TextBox 40"/>
          <p:cNvSpPr txBox="1"/>
          <p:nvPr/>
        </p:nvSpPr>
        <p:spPr>
          <a:xfrm>
            <a:off x="6956907" y="5788747"/>
            <a:ext cx="135494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Sheep and goats</a:t>
            </a:r>
            <a:endParaRPr kumimoji="0" lang="ru-RU" sz="105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pic>
        <p:nvPicPr>
          <p:cNvPr id="44" name="Рисунок 4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868924" y="2726254"/>
            <a:ext cx="161285" cy="161285"/>
          </a:xfrm>
          <a:prstGeom prst="rect">
            <a:avLst/>
          </a:prstGeom>
        </p:spPr>
      </p:pic>
      <p:pic>
        <p:nvPicPr>
          <p:cNvPr id="49" name="Рисунок 4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386799" y="2807480"/>
            <a:ext cx="122068" cy="122068"/>
          </a:xfrm>
          <a:prstGeom prst="rect">
            <a:avLst/>
          </a:prstGeom>
        </p:spPr>
      </p:pic>
      <p:pic>
        <p:nvPicPr>
          <p:cNvPr id="47" name="Рисунок 4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483141" y="4738123"/>
            <a:ext cx="171928" cy="171928"/>
          </a:xfrm>
          <a:prstGeom prst="rect">
            <a:avLst/>
          </a:prstGeom>
        </p:spPr>
      </p:pic>
      <p:pic>
        <p:nvPicPr>
          <p:cNvPr id="55" name="Рисунок 5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082424" y="2635781"/>
            <a:ext cx="184180" cy="184180"/>
          </a:xfrm>
          <a:prstGeom prst="rect">
            <a:avLst/>
          </a:prstGeom>
        </p:spPr>
      </p:pic>
      <p:pic>
        <p:nvPicPr>
          <p:cNvPr id="60" name="Рисунок 59"/>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615824" y="4324798"/>
            <a:ext cx="164989" cy="164989"/>
          </a:xfrm>
          <a:prstGeom prst="rect">
            <a:avLst/>
          </a:prstGeom>
        </p:spPr>
      </p:pic>
      <p:pic>
        <p:nvPicPr>
          <p:cNvPr id="57" name="Рисунок 56"/>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715948" y="3881123"/>
            <a:ext cx="129730" cy="129730"/>
          </a:xfrm>
          <a:prstGeom prst="rect">
            <a:avLst/>
          </a:prstGeom>
        </p:spPr>
      </p:pic>
      <p:pic>
        <p:nvPicPr>
          <p:cNvPr id="65" name="Рисунок 6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394245" y="3120097"/>
            <a:ext cx="161285" cy="161285"/>
          </a:xfrm>
          <a:prstGeom prst="rect">
            <a:avLst/>
          </a:prstGeom>
        </p:spPr>
      </p:pic>
      <p:pic>
        <p:nvPicPr>
          <p:cNvPr id="66" name="Рисунок 6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490380" y="3663310"/>
            <a:ext cx="161285" cy="161285"/>
          </a:xfrm>
          <a:prstGeom prst="rect">
            <a:avLst/>
          </a:prstGeom>
        </p:spPr>
      </p:pic>
      <p:pic>
        <p:nvPicPr>
          <p:cNvPr id="67" name="Рисунок 6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003988" y="3444364"/>
            <a:ext cx="161285" cy="161285"/>
          </a:xfrm>
          <a:prstGeom prst="rect">
            <a:avLst/>
          </a:prstGeom>
        </p:spPr>
      </p:pic>
      <p:pic>
        <p:nvPicPr>
          <p:cNvPr id="68" name="Рисунок 6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311428" y="3148655"/>
            <a:ext cx="184180" cy="184180"/>
          </a:xfrm>
          <a:prstGeom prst="rect">
            <a:avLst/>
          </a:prstGeom>
        </p:spPr>
      </p:pic>
      <p:pic>
        <p:nvPicPr>
          <p:cNvPr id="69" name="Рисунок 6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147073" y="3615352"/>
            <a:ext cx="184180" cy="184180"/>
          </a:xfrm>
          <a:prstGeom prst="rect">
            <a:avLst/>
          </a:prstGeom>
        </p:spPr>
      </p:pic>
      <p:pic>
        <p:nvPicPr>
          <p:cNvPr id="70" name="Рисунок 69"/>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031653" y="4659533"/>
            <a:ext cx="184180" cy="184180"/>
          </a:xfrm>
          <a:prstGeom prst="rect">
            <a:avLst/>
          </a:prstGeom>
        </p:spPr>
      </p:pic>
      <p:pic>
        <p:nvPicPr>
          <p:cNvPr id="71" name="Рисунок 7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093629" y="3210767"/>
            <a:ext cx="122068" cy="122068"/>
          </a:xfrm>
          <a:prstGeom prst="rect">
            <a:avLst/>
          </a:prstGeom>
        </p:spPr>
      </p:pic>
      <p:pic>
        <p:nvPicPr>
          <p:cNvPr id="72" name="Рисунок 7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71548" y="3478595"/>
            <a:ext cx="122068" cy="122068"/>
          </a:xfrm>
          <a:prstGeom prst="rect">
            <a:avLst/>
          </a:prstGeom>
        </p:spPr>
      </p:pic>
      <p:pic>
        <p:nvPicPr>
          <p:cNvPr id="73" name="Рисунок 7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242166" y="4871778"/>
            <a:ext cx="164989" cy="164989"/>
          </a:xfrm>
          <a:prstGeom prst="rect">
            <a:avLst/>
          </a:prstGeom>
        </p:spPr>
      </p:pic>
      <p:pic>
        <p:nvPicPr>
          <p:cNvPr id="74" name="Рисунок 7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687458" y="4848913"/>
            <a:ext cx="164989" cy="164989"/>
          </a:xfrm>
          <a:prstGeom prst="rect">
            <a:avLst/>
          </a:prstGeom>
        </p:spPr>
      </p:pic>
      <p:pic>
        <p:nvPicPr>
          <p:cNvPr id="75" name="Рисунок 7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989613" y="5332597"/>
            <a:ext cx="164989" cy="164989"/>
          </a:xfrm>
          <a:prstGeom prst="rect">
            <a:avLst/>
          </a:prstGeom>
        </p:spPr>
      </p:pic>
      <p:pic>
        <p:nvPicPr>
          <p:cNvPr id="76" name="Рисунок 7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382377" y="4449059"/>
            <a:ext cx="171928" cy="171928"/>
          </a:xfrm>
          <a:prstGeom prst="rect">
            <a:avLst/>
          </a:prstGeom>
        </p:spPr>
      </p:pic>
      <p:pic>
        <p:nvPicPr>
          <p:cNvPr id="78" name="Рисунок 77"/>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072795" y="5113058"/>
            <a:ext cx="129730" cy="129730"/>
          </a:xfrm>
          <a:prstGeom prst="rect">
            <a:avLst/>
          </a:prstGeom>
        </p:spPr>
      </p:pic>
      <p:pic>
        <p:nvPicPr>
          <p:cNvPr id="79" name="Рисунок 78"/>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724383" y="3835112"/>
            <a:ext cx="129730" cy="129730"/>
          </a:xfrm>
          <a:prstGeom prst="rect">
            <a:avLst/>
          </a:prstGeom>
        </p:spPr>
      </p:pic>
      <p:pic>
        <p:nvPicPr>
          <p:cNvPr id="80" name="Рисунок 79"/>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751267" y="3406768"/>
            <a:ext cx="129730" cy="129730"/>
          </a:xfrm>
          <a:prstGeom prst="rect">
            <a:avLst/>
          </a:prstGeom>
        </p:spPr>
      </p:pic>
      <p:pic>
        <p:nvPicPr>
          <p:cNvPr id="81" name="Рисунок 80"/>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774252" y="6161815"/>
            <a:ext cx="129730" cy="129730"/>
          </a:xfrm>
          <a:prstGeom prst="rect">
            <a:avLst/>
          </a:prstGeom>
        </p:spPr>
      </p:pic>
      <p:pic>
        <p:nvPicPr>
          <p:cNvPr id="82" name="Рисунок 8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756623" y="5837057"/>
            <a:ext cx="164989" cy="164989"/>
          </a:xfrm>
          <a:prstGeom prst="rect">
            <a:avLst/>
          </a:prstGeom>
        </p:spPr>
      </p:pic>
      <p:pic>
        <p:nvPicPr>
          <p:cNvPr id="83" name="Рисунок 8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817082" y="5821946"/>
            <a:ext cx="171928" cy="171928"/>
          </a:xfrm>
          <a:prstGeom prst="rect">
            <a:avLst/>
          </a:prstGeom>
        </p:spPr>
      </p:pic>
      <p:pic>
        <p:nvPicPr>
          <p:cNvPr id="84" name="Рисунок 8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747027" y="6420084"/>
            <a:ext cx="184180" cy="184180"/>
          </a:xfrm>
          <a:prstGeom prst="rect">
            <a:avLst/>
          </a:prstGeom>
        </p:spPr>
      </p:pic>
      <p:pic>
        <p:nvPicPr>
          <p:cNvPr id="85" name="Рисунок 8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822404" y="6094957"/>
            <a:ext cx="161285" cy="161285"/>
          </a:xfrm>
          <a:prstGeom prst="rect">
            <a:avLst/>
          </a:prstGeom>
        </p:spPr>
      </p:pic>
      <p:pic>
        <p:nvPicPr>
          <p:cNvPr id="86" name="Рисунок 8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861621" y="6433937"/>
            <a:ext cx="122068" cy="122068"/>
          </a:xfrm>
          <a:prstGeom prst="rect">
            <a:avLst/>
          </a:prstGeom>
        </p:spPr>
      </p:pic>
      <p:sp>
        <p:nvSpPr>
          <p:cNvPr id="87" name="TextBox 86"/>
          <p:cNvSpPr txBox="1"/>
          <p:nvPr/>
        </p:nvSpPr>
        <p:spPr>
          <a:xfrm>
            <a:off x="6956907" y="6095875"/>
            <a:ext cx="135494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Cattle</a:t>
            </a:r>
            <a:endParaRPr kumimoji="0" lang="ru-RU" sz="105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88" name="TextBox 87"/>
          <p:cNvSpPr txBox="1"/>
          <p:nvPr/>
        </p:nvSpPr>
        <p:spPr>
          <a:xfrm>
            <a:off x="6956907" y="6403003"/>
            <a:ext cx="1437338"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All types of poultry</a:t>
            </a:r>
            <a:endParaRPr kumimoji="0" lang="ru-RU" sz="105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89" name="TextBox 88"/>
          <p:cNvSpPr txBox="1"/>
          <p:nvPr/>
        </p:nvSpPr>
        <p:spPr>
          <a:xfrm>
            <a:off x="8993116" y="6385216"/>
            <a:ext cx="2433376"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Grain and leguminous crops</a:t>
            </a:r>
            <a:endParaRPr kumimoji="0" lang="ru-RU" sz="105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90" name="TextBox 89"/>
          <p:cNvSpPr txBox="1"/>
          <p:nvPr/>
        </p:nvSpPr>
        <p:spPr>
          <a:xfrm>
            <a:off x="8993116" y="6092114"/>
            <a:ext cx="2433376"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Oilseeds</a:t>
            </a:r>
            <a:endParaRPr kumimoji="0" lang="ru-RU" sz="105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91" name="TextBox 90"/>
          <p:cNvSpPr txBox="1"/>
          <p:nvPr/>
        </p:nvSpPr>
        <p:spPr>
          <a:xfrm>
            <a:off x="8993116" y="5782963"/>
            <a:ext cx="2433376"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Sugar beet</a:t>
            </a:r>
            <a:endParaRPr kumimoji="0" lang="ru-RU" sz="105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62" name="TextBox 61">
            <a:extLst>
              <a:ext uri="{FF2B5EF4-FFF2-40B4-BE49-F238E27FC236}">
                <a16:creationId xmlns:a16="http://schemas.microsoft.com/office/drawing/2014/main" id="{A196E4F8-8A51-4AE5-BF7E-4772E11CAEF3}"/>
              </a:ext>
            </a:extLst>
          </p:cNvPr>
          <p:cNvSpPr txBox="1"/>
          <p:nvPr/>
        </p:nvSpPr>
        <p:spPr>
          <a:xfrm>
            <a:off x="16218" y="6641124"/>
            <a:ext cx="11393321"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Times New Roman" panose="02020603050405020304" pitchFamily="18" charset="0"/>
              </a:rPr>
              <a:t>Source: The Bureau of National Statistics of the Agency for Strategic Planning and Reforms of the Republic of Kazakhstan</a:t>
            </a:r>
            <a:endParaRPr kumimoji="0" lang="en"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Times New Roman" panose="02020603050405020304" pitchFamily="18" charset="0"/>
            </a:endParaRPr>
          </a:p>
        </p:txBody>
      </p:sp>
    </p:spTree>
    <p:extLst>
      <p:ext uri="{BB962C8B-B14F-4D97-AF65-F5344CB8AC3E}">
        <p14:creationId xmlns:p14="http://schemas.microsoft.com/office/powerpoint/2010/main" val="21320120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5E6E48-62EF-5C36-1A32-B53F89F842FD}"/>
            </a:ext>
          </a:extLst>
        </p:cNvPr>
        <p:cNvGrpSpPr/>
        <p:nvPr/>
      </p:nvGrpSpPr>
      <p:grpSpPr>
        <a:xfrm>
          <a:off x="0" y="0"/>
          <a:ext cx="0" cy="0"/>
          <a:chOff x="0" y="0"/>
          <a:chExt cx="0" cy="0"/>
        </a:xfrm>
      </p:grpSpPr>
      <p:grpSp>
        <p:nvGrpSpPr>
          <p:cNvPr id="8" name="Группа 7">
            <a:extLst>
              <a:ext uri="{FF2B5EF4-FFF2-40B4-BE49-F238E27FC236}">
                <a16:creationId xmlns:a16="http://schemas.microsoft.com/office/drawing/2014/main" id="{AC93AA9D-9A81-C19E-D936-7EFFBCF4E6F1}"/>
              </a:ext>
            </a:extLst>
          </p:cNvPr>
          <p:cNvGrpSpPr/>
          <p:nvPr/>
        </p:nvGrpSpPr>
        <p:grpSpPr>
          <a:xfrm>
            <a:off x="2197934" y="1502424"/>
            <a:ext cx="7374943" cy="4320734"/>
            <a:chOff x="135165" y="90519"/>
            <a:chExt cx="11892752" cy="6652893"/>
          </a:xfrm>
          <a:solidFill>
            <a:schemeClr val="bg2">
              <a:lumMod val="90000"/>
              <a:alpha val="83000"/>
            </a:schemeClr>
          </a:solidFill>
        </p:grpSpPr>
        <p:grpSp>
          <p:nvGrpSpPr>
            <p:cNvPr id="9" name="组合 99">
              <a:extLst>
                <a:ext uri="{FF2B5EF4-FFF2-40B4-BE49-F238E27FC236}">
                  <a16:creationId xmlns:a16="http://schemas.microsoft.com/office/drawing/2014/main" id="{6423A1D6-9B1A-3FFD-19DB-FD2F5294768B}"/>
                </a:ext>
              </a:extLst>
            </p:cNvPr>
            <p:cNvGrpSpPr/>
            <p:nvPr/>
          </p:nvGrpSpPr>
          <p:grpSpPr>
            <a:xfrm>
              <a:off x="135165" y="90519"/>
              <a:ext cx="11892752" cy="6652893"/>
              <a:chOff x="719138" y="2320925"/>
              <a:chExt cx="5994400" cy="3346451"/>
            </a:xfrm>
            <a:grpFill/>
          </p:grpSpPr>
          <p:sp>
            <p:nvSpPr>
              <p:cNvPr id="14" name="任意多边形 93">
                <a:extLst>
                  <a:ext uri="{FF2B5EF4-FFF2-40B4-BE49-F238E27FC236}">
                    <a16:creationId xmlns:a16="http://schemas.microsoft.com/office/drawing/2014/main" id="{51260313-D88E-EA19-B9F1-4F5DDE19C191}"/>
                  </a:ext>
                </a:extLst>
              </p:cNvPr>
              <p:cNvSpPr>
                <a:spLocks/>
              </p:cNvSpPr>
              <p:nvPr/>
            </p:nvSpPr>
            <p:spPr bwMode="auto">
              <a:xfrm>
                <a:off x="3622214" y="2320925"/>
                <a:ext cx="1061551" cy="680403"/>
              </a:xfrm>
              <a:custGeom>
                <a:avLst/>
                <a:gdLst/>
                <a:ahLst/>
                <a:cxnLst/>
                <a:rect l="0" t="0" r="r" b="b"/>
                <a:pathLst>
                  <a:path w="12998892" h="8330529">
                    <a:moveTo>
                      <a:pt x="56654" y="7407720"/>
                    </a:moveTo>
                    <a:lnTo>
                      <a:pt x="0" y="6577494"/>
                    </a:lnTo>
                    <a:lnTo>
                      <a:pt x="534863" y="6069743"/>
                    </a:lnTo>
                    <a:lnTo>
                      <a:pt x="401029" y="5783984"/>
                    </a:lnTo>
                    <a:lnTo>
                      <a:pt x="534867" y="5505456"/>
                    </a:lnTo>
                    <a:lnTo>
                      <a:pt x="390176" y="4955630"/>
                    </a:lnTo>
                    <a:lnTo>
                      <a:pt x="708496" y="4716894"/>
                    </a:lnTo>
                    <a:lnTo>
                      <a:pt x="136963" y="4120046"/>
                    </a:lnTo>
                    <a:lnTo>
                      <a:pt x="777226" y="3678742"/>
                    </a:lnTo>
                    <a:lnTo>
                      <a:pt x="263569" y="3411068"/>
                    </a:lnTo>
                    <a:lnTo>
                      <a:pt x="223777" y="3092748"/>
                    </a:lnTo>
                    <a:lnTo>
                      <a:pt x="650619" y="3027641"/>
                    </a:lnTo>
                    <a:lnTo>
                      <a:pt x="321446" y="2535692"/>
                    </a:lnTo>
                    <a:lnTo>
                      <a:pt x="419114" y="2268018"/>
                    </a:lnTo>
                    <a:lnTo>
                      <a:pt x="1099154" y="1909906"/>
                    </a:lnTo>
                    <a:lnTo>
                      <a:pt x="2083052" y="1555417"/>
                    </a:lnTo>
                    <a:lnTo>
                      <a:pt x="2958428" y="1229866"/>
                    </a:lnTo>
                    <a:lnTo>
                      <a:pt x="3435901" y="1327534"/>
                    </a:lnTo>
                    <a:lnTo>
                      <a:pt x="3511862" y="864523"/>
                    </a:lnTo>
                    <a:lnTo>
                      <a:pt x="4097856" y="314697"/>
                    </a:lnTo>
                    <a:lnTo>
                      <a:pt x="4752581" y="0"/>
                    </a:lnTo>
                    <a:lnTo>
                      <a:pt x="5728272" y="81578"/>
                    </a:lnTo>
                    <a:lnTo>
                      <a:pt x="6463541" y="694516"/>
                    </a:lnTo>
                    <a:lnTo>
                      <a:pt x="6987061" y="262437"/>
                    </a:lnTo>
                    <a:lnTo>
                      <a:pt x="7422109" y="231505"/>
                    </a:lnTo>
                    <a:lnTo>
                      <a:pt x="7816390" y="549826"/>
                    </a:lnTo>
                    <a:lnTo>
                      <a:pt x="7921289" y="1464994"/>
                    </a:lnTo>
                    <a:lnTo>
                      <a:pt x="8246840" y="1884590"/>
                    </a:lnTo>
                    <a:lnTo>
                      <a:pt x="8275778" y="2684005"/>
                    </a:lnTo>
                    <a:lnTo>
                      <a:pt x="7888728" y="3085517"/>
                    </a:lnTo>
                    <a:lnTo>
                      <a:pt x="8333655" y="3530443"/>
                    </a:lnTo>
                    <a:lnTo>
                      <a:pt x="8756874" y="3114455"/>
                    </a:lnTo>
                    <a:lnTo>
                      <a:pt x="8908795" y="3327876"/>
                    </a:lnTo>
                    <a:lnTo>
                      <a:pt x="9899924" y="2698467"/>
                    </a:lnTo>
                    <a:lnTo>
                      <a:pt x="10301436" y="3114455"/>
                    </a:lnTo>
                    <a:cubicBezTo>
                      <a:pt x="10303846" y="3332697"/>
                      <a:pt x="10306257" y="3550938"/>
                      <a:pt x="10308667" y="3769180"/>
                    </a:cubicBezTo>
                    <a:lnTo>
                      <a:pt x="10731886" y="3700450"/>
                    </a:lnTo>
                    <a:lnTo>
                      <a:pt x="10876577" y="3150624"/>
                    </a:lnTo>
                    <a:lnTo>
                      <a:pt x="11173189" y="3063810"/>
                    </a:lnTo>
                    <a:lnTo>
                      <a:pt x="11607262" y="3508736"/>
                    </a:lnTo>
                    <a:lnTo>
                      <a:pt x="12081127" y="3664281"/>
                    </a:lnTo>
                    <a:lnTo>
                      <a:pt x="12475408" y="3237439"/>
                    </a:lnTo>
                    <a:lnTo>
                      <a:pt x="12714144" y="3682365"/>
                    </a:lnTo>
                    <a:lnTo>
                      <a:pt x="12583930" y="3874079"/>
                    </a:lnTo>
                    <a:lnTo>
                      <a:pt x="12160711" y="4036854"/>
                    </a:lnTo>
                    <a:lnTo>
                      <a:pt x="11864098" y="4402197"/>
                    </a:lnTo>
                    <a:lnTo>
                      <a:pt x="11889413" y="4915838"/>
                    </a:lnTo>
                    <a:lnTo>
                      <a:pt x="11940051" y="5440349"/>
                    </a:lnTo>
                    <a:lnTo>
                      <a:pt x="12374124" y="5132875"/>
                    </a:lnTo>
                    <a:lnTo>
                      <a:pt x="12536899" y="5548867"/>
                    </a:lnTo>
                    <a:lnTo>
                      <a:pt x="12066654" y="5783984"/>
                    </a:lnTo>
                    <a:lnTo>
                      <a:pt x="12482642" y="6037197"/>
                    </a:lnTo>
                    <a:lnTo>
                      <a:pt x="12998892" y="6082556"/>
                    </a:lnTo>
                    <a:lnTo>
                      <a:pt x="12934799" y="6507438"/>
                    </a:lnTo>
                    <a:lnTo>
                      <a:pt x="12573072" y="6579784"/>
                    </a:lnTo>
                    <a:lnTo>
                      <a:pt x="12756883" y="7003998"/>
                    </a:lnTo>
                    <a:lnTo>
                      <a:pt x="12012393" y="6822136"/>
                    </a:lnTo>
                    <a:lnTo>
                      <a:pt x="11270854" y="6775113"/>
                    </a:lnTo>
                    <a:lnTo>
                      <a:pt x="10934449" y="6185496"/>
                    </a:lnTo>
                    <a:lnTo>
                      <a:pt x="9697353" y="6496585"/>
                    </a:lnTo>
                    <a:lnTo>
                      <a:pt x="9284988" y="6026343"/>
                    </a:lnTo>
                    <a:lnTo>
                      <a:pt x="8872623" y="5476518"/>
                    </a:lnTo>
                    <a:lnTo>
                      <a:pt x="8304713" y="5534394"/>
                    </a:lnTo>
                    <a:lnTo>
                      <a:pt x="7527005" y="5349911"/>
                    </a:lnTo>
                    <a:lnTo>
                      <a:pt x="7114639" y="5718877"/>
                    </a:lnTo>
                    <a:lnTo>
                      <a:pt x="6393600" y="5132882"/>
                    </a:lnTo>
                    <a:lnTo>
                      <a:pt x="6122302" y="4698810"/>
                    </a:lnTo>
                    <a:lnTo>
                      <a:pt x="5808813" y="4602349"/>
                    </a:lnTo>
                    <a:lnTo>
                      <a:pt x="5374740" y="4861585"/>
                    </a:lnTo>
                    <a:lnTo>
                      <a:pt x="4904499" y="4765124"/>
                    </a:lnTo>
                    <a:lnTo>
                      <a:pt x="4241336" y="4849523"/>
                    </a:lnTo>
                    <a:lnTo>
                      <a:pt x="3885624" y="5458414"/>
                    </a:lnTo>
                    <a:lnTo>
                      <a:pt x="4408942" y="6438708"/>
                    </a:lnTo>
                    <a:lnTo>
                      <a:pt x="4246166" y="6919804"/>
                    </a:lnTo>
                    <a:lnTo>
                      <a:pt x="3573357" y="7429837"/>
                    </a:lnTo>
                    <a:lnTo>
                      <a:pt x="2658189" y="8211168"/>
                    </a:lnTo>
                    <a:lnTo>
                      <a:pt x="2114648" y="7963508"/>
                    </a:lnTo>
                    <a:lnTo>
                      <a:pt x="1891335" y="8330529"/>
                    </a:lnTo>
                    <a:lnTo>
                      <a:pt x="1294486" y="8330529"/>
                    </a:lnTo>
                    <a:lnTo>
                      <a:pt x="668700" y="8185838"/>
                    </a:lnTo>
                    <a:lnTo>
                      <a:pt x="130594" y="8324958"/>
                    </a:lnTo>
                    <a:cubicBezTo>
                      <a:pt x="133152" y="8054892"/>
                      <a:pt x="54096" y="7677786"/>
                      <a:pt x="56654" y="7407720"/>
                    </a:cubicBezTo>
                    <a:close/>
                  </a:path>
                </a:pathLst>
              </a:custGeom>
              <a:solidFill>
                <a:schemeClr val="tx2">
                  <a:lumMod val="75000"/>
                  <a:lumOff val="25000"/>
                </a:schemeClr>
              </a:solid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13" name="任意多边形 92">
                <a:extLst>
                  <a:ext uri="{FF2B5EF4-FFF2-40B4-BE49-F238E27FC236}">
                    <a16:creationId xmlns:a16="http://schemas.microsoft.com/office/drawing/2014/main" id="{895AEC71-DAEC-3015-7246-479EDCC07A32}"/>
                  </a:ext>
                </a:extLst>
              </p:cNvPr>
              <p:cNvSpPr>
                <a:spLocks/>
              </p:cNvSpPr>
              <p:nvPr/>
            </p:nvSpPr>
            <p:spPr bwMode="auto">
              <a:xfrm>
                <a:off x="3513012" y="2697163"/>
                <a:ext cx="1196785" cy="801688"/>
              </a:xfrm>
              <a:custGeom>
                <a:avLst/>
                <a:gdLst/>
                <a:ahLst/>
                <a:cxnLst/>
                <a:rect l="0" t="0" r="r" b="b"/>
                <a:pathLst>
                  <a:path w="14655896" h="9814804">
                    <a:moveTo>
                      <a:pt x="405571" y="5899247"/>
                    </a:moveTo>
                    <a:lnTo>
                      <a:pt x="458180" y="7258616"/>
                    </a:lnTo>
                    <a:lnTo>
                      <a:pt x="1272065" y="7252586"/>
                    </a:lnTo>
                    <a:lnTo>
                      <a:pt x="1645846" y="7927810"/>
                    </a:lnTo>
                    <a:lnTo>
                      <a:pt x="2586337" y="7921779"/>
                    </a:lnTo>
                    <a:lnTo>
                      <a:pt x="2773228" y="8259392"/>
                    </a:lnTo>
                    <a:lnTo>
                      <a:pt x="3159070" y="8518628"/>
                    </a:lnTo>
                    <a:lnTo>
                      <a:pt x="3629312" y="8789925"/>
                    </a:lnTo>
                    <a:lnTo>
                      <a:pt x="4618282" y="8729735"/>
                    </a:lnTo>
                    <a:lnTo>
                      <a:pt x="5401768" y="8042348"/>
                    </a:lnTo>
                    <a:lnTo>
                      <a:pt x="5884064" y="7957948"/>
                    </a:lnTo>
                    <a:lnTo>
                      <a:pt x="6119185" y="8416136"/>
                    </a:lnTo>
                    <a:lnTo>
                      <a:pt x="6450766" y="8795948"/>
                    </a:lnTo>
                    <a:lnTo>
                      <a:pt x="7059919" y="8883564"/>
                    </a:lnTo>
                    <a:lnTo>
                      <a:pt x="7373165" y="9543518"/>
                    </a:lnTo>
                    <a:lnTo>
                      <a:pt x="7825322" y="9356616"/>
                    </a:lnTo>
                    <a:lnTo>
                      <a:pt x="8301595" y="9603798"/>
                    </a:lnTo>
                    <a:lnTo>
                      <a:pt x="8747721" y="9814804"/>
                    </a:lnTo>
                    <a:lnTo>
                      <a:pt x="9175763" y="9519391"/>
                    </a:lnTo>
                    <a:lnTo>
                      <a:pt x="9314424" y="8946658"/>
                    </a:lnTo>
                    <a:lnTo>
                      <a:pt x="9947441" y="8301587"/>
                    </a:lnTo>
                    <a:lnTo>
                      <a:pt x="10839702" y="7740908"/>
                    </a:lnTo>
                    <a:lnTo>
                      <a:pt x="11086876" y="8235273"/>
                    </a:lnTo>
                    <a:lnTo>
                      <a:pt x="11075024" y="8696571"/>
                    </a:lnTo>
                    <a:lnTo>
                      <a:pt x="11611379" y="8801975"/>
                    </a:lnTo>
                    <a:lnTo>
                      <a:pt x="11912815" y="8295557"/>
                    </a:lnTo>
                    <a:lnTo>
                      <a:pt x="12461432" y="7957945"/>
                    </a:lnTo>
                    <a:lnTo>
                      <a:pt x="12690522" y="7409327"/>
                    </a:lnTo>
                    <a:lnTo>
                      <a:pt x="13184879" y="7373158"/>
                    </a:lnTo>
                    <a:lnTo>
                      <a:pt x="13263248" y="7089807"/>
                    </a:lnTo>
                    <a:lnTo>
                      <a:pt x="13817896" y="6655734"/>
                    </a:lnTo>
                    <a:lnTo>
                      <a:pt x="14523274" y="6535166"/>
                    </a:lnTo>
                    <a:lnTo>
                      <a:pt x="14149478" y="6101093"/>
                    </a:lnTo>
                    <a:lnTo>
                      <a:pt x="14276084" y="5558506"/>
                    </a:lnTo>
                    <a:lnTo>
                      <a:pt x="14655896" y="5383676"/>
                    </a:lnTo>
                    <a:lnTo>
                      <a:pt x="14270054" y="4714483"/>
                    </a:lnTo>
                    <a:lnTo>
                      <a:pt x="14541351" y="4171895"/>
                    </a:lnTo>
                    <a:lnTo>
                      <a:pt x="14462975" y="3116859"/>
                    </a:lnTo>
                    <a:lnTo>
                      <a:pt x="14092141" y="2401649"/>
                    </a:lnTo>
                    <a:lnTo>
                      <a:pt x="13347651" y="2219787"/>
                    </a:lnTo>
                    <a:lnTo>
                      <a:pt x="12606112" y="2172764"/>
                    </a:lnTo>
                    <a:lnTo>
                      <a:pt x="12269707" y="1583147"/>
                    </a:lnTo>
                    <a:lnTo>
                      <a:pt x="11032611" y="1894236"/>
                    </a:lnTo>
                    <a:lnTo>
                      <a:pt x="10620246" y="1423994"/>
                    </a:lnTo>
                    <a:lnTo>
                      <a:pt x="10207881" y="874169"/>
                    </a:lnTo>
                    <a:lnTo>
                      <a:pt x="9639971" y="932045"/>
                    </a:lnTo>
                    <a:lnTo>
                      <a:pt x="8862263" y="747562"/>
                    </a:lnTo>
                    <a:lnTo>
                      <a:pt x="8449897" y="1116528"/>
                    </a:lnTo>
                    <a:lnTo>
                      <a:pt x="7728858" y="530533"/>
                    </a:lnTo>
                    <a:lnTo>
                      <a:pt x="7457560" y="96461"/>
                    </a:lnTo>
                    <a:lnTo>
                      <a:pt x="7144071" y="0"/>
                    </a:lnTo>
                    <a:lnTo>
                      <a:pt x="6709998" y="259236"/>
                    </a:lnTo>
                    <a:lnTo>
                      <a:pt x="6239757" y="162775"/>
                    </a:lnTo>
                    <a:lnTo>
                      <a:pt x="5576594" y="247174"/>
                    </a:lnTo>
                    <a:lnTo>
                      <a:pt x="5220882" y="856065"/>
                    </a:lnTo>
                    <a:lnTo>
                      <a:pt x="5744200" y="1836359"/>
                    </a:lnTo>
                    <a:lnTo>
                      <a:pt x="5581424" y="2317455"/>
                    </a:lnTo>
                    <a:lnTo>
                      <a:pt x="4908615" y="2827488"/>
                    </a:lnTo>
                    <a:lnTo>
                      <a:pt x="3993447" y="3608819"/>
                    </a:lnTo>
                    <a:lnTo>
                      <a:pt x="3449906" y="3361159"/>
                    </a:lnTo>
                    <a:lnTo>
                      <a:pt x="3226593" y="3728180"/>
                    </a:lnTo>
                    <a:lnTo>
                      <a:pt x="2629744" y="3728180"/>
                    </a:lnTo>
                    <a:lnTo>
                      <a:pt x="2003958" y="3583489"/>
                    </a:lnTo>
                    <a:lnTo>
                      <a:pt x="1465852" y="3722609"/>
                    </a:lnTo>
                    <a:lnTo>
                      <a:pt x="753604" y="4804916"/>
                    </a:lnTo>
                    <a:lnTo>
                      <a:pt x="0" y="5443964"/>
                    </a:lnTo>
                    <a:lnTo>
                      <a:pt x="405571" y="5899247"/>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15" name="任意多边形 94">
                <a:extLst>
                  <a:ext uri="{FF2B5EF4-FFF2-40B4-BE49-F238E27FC236}">
                    <a16:creationId xmlns:a16="http://schemas.microsoft.com/office/drawing/2014/main" id="{8596B492-1B3C-1ACE-B20E-93894165D8F8}"/>
                  </a:ext>
                </a:extLst>
              </p:cNvPr>
              <p:cNvSpPr>
                <a:spLocks/>
              </p:cNvSpPr>
              <p:nvPr/>
            </p:nvSpPr>
            <p:spPr bwMode="auto">
              <a:xfrm>
                <a:off x="771835" y="3539490"/>
                <a:ext cx="1323130" cy="793750"/>
              </a:xfrm>
              <a:custGeom>
                <a:avLst/>
                <a:gdLst/>
                <a:ahLst/>
                <a:cxnLst/>
                <a:rect l="0" t="0" r="r" b="b"/>
                <a:pathLst>
                  <a:path w="16203348" h="9718224">
                    <a:moveTo>
                      <a:pt x="375091" y="608910"/>
                    </a:moveTo>
                    <a:lnTo>
                      <a:pt x="39792" y="995215"/>
                    </a:lnTo>
                    <a:lnTo>
                      <a:pt x="0" y="1552271"/>
                    </a:lnTo>
                    <a:lnTo>
                      <a:pt x="202567" y="1743985"/>
                    </a:lnTo>
                    <a:lnTo>
                      <a:pt x="694516" y="1396727"/>
                    </a:lnTo>
                    <a:lnTo>
                      <a:pt x="962191" y="1830800"/>
                    </a:lnTo>
                    <a:lnTo>
                      <a:pt x="1569893" y="1762069"/>
                    </a:lnTo>
                    <a:lnTo>
                      <a:pt x="1975027" y="2282957"/>
                    </a:lnTo>
                    <a:lnTo>
                      <a:pt x="2040134" y="2789367"/>
                    </a:lnTo>
                    <a:lnTo>
                      <a:pt x="2387392" y="3223440"/>
                    </a:lnTo>
                    <a:lnTo>
                      <a:pt x="2329516" y="3646659"/>
                    </a:lnTo>
                    <a:lnTo>
                      <a:pt x="2376539" y="4243507"/>
                    </a:lnTo>
                    <a:lnTo>
                      <a:pt x="2890195" y="5100799"/>
                    </a:lnTo>
                    <a:lnTo>
                      <a:pt x="2405477" y="5270805"/>
                    </a:lnTo>
                    <a:lnTo>
                      <a:pt x="2003965" y="4869294"/>
                    </a:lnTo>
                    <a:lnTo>
                      <a:pt x="1598831" y="4887378"/>
                    </a:lnTo>
                    <a:lnTo>
                      <a:pt x="1663938" y="5252721"/>
                    </a:lnTo>
                    <a:lnTo>
                      <a:pt x="2603631" y="6079544"/>
                    </a:lnTo>
                    <a:lnTo>
                      <a:pt x="3248292" y="5853177"/>
                    </a:lnTo>
                    <a:lnTo>
                      <a:pt x="4047708" y="5921907"/>
                    </a:lnTo>
                    <a:lnTo>
                      <a:pt x="5161820" y="5419104"/>
                    </a:lnTo>
                    <a:lnTo>
                      <a:pt x="6362747" y="5006739"/>
                    </a:lnTo>
                    <a:lnTo>
                      <a:pt x="7006618" y="4970570"/>
                    </a:lnTo>
                    <a:lnTo>
                      <a:pt x="7513029" y="5346766"/>
                    </a:lnTo>
                    <a:lnTo>
                      <a:pt x="8406489" y="6019575"/>
                    </a:lnTo>
                    <a:lnTo>
                      <a:pt x="8974399" y="5939991"/>
                    </a:lnTo>
                    <a:lnTo>
                      <a:pt x="9364309" y="5717573"/>
                    </a:lnTo>
                    <a:lnTo>
                      <a:pt x="10280226" y="6171497"/>
                    </a:lnTo>
                    <a:lnTo>
                      <a:pt x="10229580" y="6941974"/>
                    </a:lnTo>
                    <a:lnTo>
                      <a:pt x="10421293" y="7922249"/>
                    </a:lnTo>
                    <a:lnTo>
                      <a:pt x="10102973" y="8468451"/>
                    </a:lnTo>
                    <a:lnTo>
                      <a:pt x="10808344" y="8573351"/>
                    </a:lnTo>
                    <a:lnTo>
                      <a:pt x="11423276" y="8244177"/>
                    </a:lnTo>
                    <a:lnTo>
                      <a:pt x="11958625" y="8475682"/>
                    </a:lnTo>
                    <a:lnTo>
                      <a:pt x="12237153" y="8215239"/>
                    </a:lnTo>
                    <a:lnTo>
                      <a:pt x="13054653" y="8226092"/>
                    </a:lnTo>
                    <a:lnTo>
                      <a:pt x="13564687" y="8631227"/>
                    </a:lnTo>
                    <a:lnTo>
                      <a:pt x="13973429" y="8135655"/>
                    </a:lnTo>
                    <a:lnTo>
                      <a:pt x="15282878" y="9275098"/>
                    </a:lnTo>
                    <a:lnTo>
                      <a:pt x="16203348" y="9718224"/>
                    </a:lnTo>
                    <a:lnTo>
                      <a:pt x="16024417" y="8265884"/>
                    </a:lnTo>
                    <a:lnTo>
                      <a:pt x="15677159" y="7893311"/>
                    </a:lnTo>
                    <a:lnTo>
                      <a:pt x="15206917" y="7770327"/>
                    </a:lnTo>
                    <a:lnTo>
                      <a:pt x="14320687" y="7249440"/>
                    </a:lnTo>
                    <a:lnTo>
                      <a:pt x="14353249" y="6547693"/>
                    </a:lnTo>
                    <a:lnTo>
                      <a:pt x="14005990" y="5856800"/>
                    </a:lnTo>
                    <a:lnTo>
                      <a:pt x="14277288" y="5183991"/>
                    </a:lnTo>
                    <a:lnTo>
                      <a:pt x="14758383" y="4326699"/>
                    </a:lnTo>
                    <a:lnTo>
                      <a:pt x="14429209" y="3889018"/>
                    </a:lnTo>
                    <a:lnTo>
                      <a:pt x="14382187" y="2395087"/>
                    </a:lnTo>
                    <a:lnTo>
                      <a:pt x="14584754" y="1877822"/>
                    </a:lnTo>
                    <a:lnTo>
                      <a:pt x="14139828" y="1570356"/>
                    </a:lnTo>
                    <a:lnTo>
                      <a:pt x="13467019" y="1754839"/>
                    </a:lnTo>
                    <a:lnTo>
                      <a:pt x="13177637" y="1425665"/>
                    </a:lnTo>
                    <a:lnTo>
                      <a:pt x="13004008" y="948193"/>
                    </a:lnTo>
                    <a:lnTo>
                      <a:pt x="13344035" y="398367"/>
                    </a:lnTo>
                    <a:lnTo>
                      <a:pt x="12534905" y="0"/>
                    </a:lnTo>
                    <a:lnTo>
                      <a:pt x="12027355" y="479159"/>
                    </a:lnTo>
                    <a:lnTo>
                      <a:pt x="11141125" y="177715"/>
                    </a:lnTo>
                    <a:lnTo>
                      <a:pt x="10652799" y="1082030"/>
                    </a:lnTo>
                    <a:lnTo>
                      <a:pt x="10146388" y="1654770"/>
                    </a:lnTo>
                    <a:lnTo>
                      <a:pt x="9019466" y="675175"/>
                    </a:lnTo>
                    <a:lnTo>
                      <a:pt x="7994124" y="340491"/>
                    </a:lnTo>
                    <a:lnTo>
                      <a:pt x="7608756" y="988664"/>
                    </a:lnTo>
                    <a:lnTo>
                      <a:pt x="6306078" y="907193"/>
                    </a:lnTo>
                    <a:lnTo>
                      <a:pt x="5226927" y="1437726"/>
                    </a:lnTo>
                    <a:lnTo>
                      <a:pt x="4618018" y="1389496"/>
                    </a:lnTo>
                    <a:lnTo>
                      <a:pt x="4214091" y="1624625"/>
                    </a:lnTo>
                    <a:lnTo>
                      <a:pt x="2984241" y="744418"/>
                    </a:lnTo>
                    <a:lnTo>
                      <a:pt x="375091" y="608910"/>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16" name="任意多边形 98">
                <a:extLst>
                  <a:ext uri="{FF2B5EF4-FFF2-40B4-BE49-F238E27FC236}">
                    <a16:creationId xmlns:a16="http://schemas.microsoft.com/office/drawing/2014/main" id="{E146A752-8843-B6CF-83DE-955C55ECBB02}"/>
                  </a:ext>
                </a:extLst>
              </p:cNvPr>
              <p:cNvSpPr>
                <a:spLocks/>
              </p:cNvSpPr>
              <p:nvPr/>
            </p:nvSpPr>
            <p:spPr bwMode="auto">
              <a:xfrm>
                <a:off x="719138" y="2930525"/>
                <a:ext cx="1264719" cy="744538"/>
              </a:xfrm>
              <a:custGeom>
                <a:avLst/>
                <a:gdLst>
                  <a:gd name="T0" fmla="*/ 268633 w 2569"/>
                  <a:gd name="T1" fmla="*/ 2124829 h 1512"/>
                  <a:gd name="T2" fmla="*/ 228602 w 2569"/>
                  <a:gd name="T3" fmla="*/ 1992205 h 1512"/>
                  <a:gd name="T4" fmla="*/ 0 w 2569"/>
                  <a:gd name="T5" fmla="*/ 1788951 h 1512"/>
                  <a:gd name="T6" fmla="*/ 186057 w 2569"/>
                  <a:gd name="T7" fmla="*/ 1506302 h 1512"/>
                  <a:gd name="T8" fmla="*/ 376558 w 2569"/>
                  <a:gd name="T9" fmla="*/ 1437704 h 1512"/>
                  <a:gd name="T10" fmla="*/ 406085 w 2569"/>
                  <a:gd name="T11" fmla="*/ 1350051 h 1512"/>
                  <a:gd name="T12" fmla="*/ 307024 w 2569"/>
                  <a:gd name="T13" fmla="*/ 1246201 h 1512"/>
                  <a:gd name="T14" fmla="*/ 430849 w 2569"/>
                  <a:gd name="T15" fmla="*/ 883201 h 1512"/>
                  <a:gd name="T16" fmla="*/ 572771 w 2569"/>
                  <a:gd name="T17" fmla="*/ 868912 h 1512"/>
                  <a:gd name="T18" fmla="*/ 699454 w 2569"/>
                  <a:gd name="T19" fmla="*/ 780305 h 1512"/>
                  <a:gd name="T20" fmla="*/ 681356 w 2569"/>
                  <a:gd name="T21" fmla="*/ 676455 h 1512"/>
                  <a:gd name="T22" fmla="*/ 819392 w 2569"/>
                  <a:gd name="T23" fmla="*/ 496787 h 1512"/>
                  <a:gd name="T24" fmla="*/ 947104 w 2569"/>
                  <a:gd name="T25" fmla="*/ 583086 h 1512"/>
                  <a:gd name="T26" fmla="*/ 1032828 w 2569"/>
                  <a:gd name="T27" fmla="*/ 717424 h 1512"/>
                  <a:gd name="T28" fmla="*/ 1063309 w 2569"/>
                  <a:gd name="T29" fmla="*/ 826038 h 1512"/>
                  <a:gd name="T30" fmla="*/ 1029970 w 2569"/>
                  <a:gd name="T31" fmla="*/ 990864 h 1512"/>
                  <a:gd name="T32" fmla="*/ 1106171 w 2569"/>
                  <a:gd name="T33" fmla="*/ 1091856 h 1512"/>
                  <a:gd name="T34" fmla="*/ 1263334 w 2569"/>
                  <a:gd name="T35" fmla="*/ 1028020 h 1512"/>
                  <a:gd name="T36" fmla="*/ 1405257 w 2569"/>
                  <a:gd name="T37" fmla="*/ 1043264 h 1512"/>
                  <a:gd name="T38" fmla="*/ 1427163 w 2569"/>
                  <a:gd name="T39" fmla="*/ 913690 h 1512"/>
                  <a:gd name="T40" fmla="*/ 1338391 w 2569"/>
                  <a:gd name="T41" fmla="*/ 826543 h 1512"/>
                  <a:gd name="T42" fmla="*/ 1369061 w 2569"/>
                  <a:gd name="T43" fmla="*/ 533541 h 1512"/>
                  <a:gd name="T44" fmla="*/ 1457643 w 2569"/>
                  <a:gd name="T45" fmla="*/ 567842 h 1512"/>
                  <a:gd name="T46" fmla="*/ 1599566 w 2569"/>
                  <a:gd name="T47" fmla="*/ 496385 h 1512"/>
                  <a:gd name="T48" fmla="*/ 1728152 w 2569"/>
                  <a:gd name="T49" fmla="*/ 453511 h 1512"/>
                  <a:gd name="T50" fmla="*/ 1748155 w 2569"/>
                  <a:gd name="T51" fmla="*/ 258196 h 1512"/>
                  <a:gd name="T52" fmla="*/ 1996758 w 2569"/>
                  <a:gd name="T53" fmla="*/ 309646 h 1512"/>
                  <a:gd name="T54" fmla="*/ 2018664 w 2569"/>
                  <a:gd name="T55" fmla="*/ 248670 h 1512"/>
                  <a:gd name="T56" fmla="*/ 2209165 w 2569"/>
                  <a:gd name="T57" fmla="*/ 233425 h 1512"/>
                  <a:gd name="T58" fmla="*/ 2458718 w 2569"/>
                  <a:gd name="T59" fmla="*/ 0 h 1512"/>
                  <a:gd name="T60" fmla="*/ 2649220 w 2569"/>
                  <a:gd name="T61" fmla="*/ 20962 h 1512"/>
                  <a:gd name="T62" fmla="*/ 2726371 w 2569"/>
                  <a:gd name="T63" fmla="*/ 208655 h 1512"/>
                  <a:gd name="T64" fmla="*/ 2861428 w 2569"/>
                  <a:gd name="T65" fmla="*/ 217740 h 1512"/>
                  <a:gd name="T66" fmla="*/ 3020695 w 2569"/>
                  <a:gd name="T67" fmla="*/ 68599 h 1512"/>
                  <a:gd name="T68" fmla="*/ 3157538 w 2569"/>
                  <a:gd name="T69" fmla="*/ 107341 h 1512"/>
                  <a:gd name="T70" fmla="*/ 3279772 w 2569"/>
                  <a:gd name="T71" fmla="*/ 262959 h 1512"/>
                  <a:gd name="T72" fmla="*/ 3495674 w 2569"/>
                  <a:gd name="T73" fmla="*/ 305833 h 1512"/>
                  <a:gd name="T74" fmla="*/ 3678236 w 2569"/>
                  <a:gd name="T75" fmla="*/ 420164 h 1512"/>
                  <a:gd name="T76" fmla="*/ 3708398 w 2569"/>
                  <a:gd name="T77" fmla="*/ 595471 h 1512"/>
                  <a:gd name="T78" fmla="*/ 3835399 w 2569"/>
                  <a:gd name="T79" fmla="*/ 663116 h 1512"/>
                  <a:gd name="T80" fmla="*/ 3913618 w 2569"/>
                  <a:gd name="T81" fmla="*/ 717293 h 1512"/>
                  <a:gd name="T82" fmla="*/ 3920806 w 2569"/>
                  <a:gd name="T83" fmla="*/ 843186 h 1512"/>
                  <a:gd name="T84" fmla="*/ 4030664 w 2569"/>
                  <a:gd name="T85" fmla="*/ 890187 h 1512"/>
                  <a:gd name="T86" fmla="*/ 4076701 w 2569"/>
                  <a:gd name="T87" fmla="*/ 1123613 h 1512"/>
                  <a:gd name="T88" fmla="*/ 3982318 w 2569"/>
                  <a:gd name="T89" fmla="*/ 1208414 h 1512"/>
                  <a:gd name="T90" fmla="*/ 4078287 w 2569"/>
                  <a:gd name="T91" fmla="*/ 1514242 h 1512"/>
                  <a:gd name="T92" fmla="*/ 3890962 w 2569"/>
                  <a:gd name="T93" fmla="*/ 1714320 h 1512"/>
                  <a:gd name="T94" fmla="*/ 3551235 w 2569"/>
                  <a:gd name="T95" fmla="*/ 1787364 h 1512"/>
                  <a:gd name="T96" fmla="*/ 3470575 w 2569"/>
                  <a:gd name="T97" fmla="*/ 1964448 h 1512"/>
                  <a:gd name="T98" fmla="*/ 3336925 w 2569"/>
                  <a:gd name="T99" fmla="*/ 2090655 h 1512"/>
                  <a:gd name="T100" fmla="*/ 3103561 w 2569"/>
                  <a:gd name="T101" fmla="*/ 2011257 h 1512"/>
                  <a:gd name="T102" fmla="*/ 2974974 w 2569"/>
                  <a:gd name="T103" fmla="*/ 2249444 h 1512"/>
                  <a:gd name="T104" fmla="*/ 2841626 w 2569"/>
                  <a:gd name="T105" fmla="*/ 2400300 h 1512"/>
                  <a:gd name="T106" fmla="*/ 2544884 w 2569"/>
                  <a:gd name="T107" fmla="*/ 2142284 h 1512"/>
                  <a:gd name="T108" fmla="*/ 2274888 w 2569"/>
                  <a:gd name="T109" fmla="*/ 2054131 h 1512"/>
                  <a:gd name="T110" fmla="*/ 2173412 w 2569"/>
                  <a:gd name="T111" fmla="*/ 2224854 h 1512"/>
                  <a:gd name="T112" fmla="*/ 1830390 w 2569"/>
                  <a:gd name="T113" fmla="*/ 2203395 h 1512"/>
                  <a:gd name="T114" fmla="*/ 1546226 w 2569"/>
                  <a:gd name="T115" fmla="*/ 2343131 h 1512"/>
                  <a:gd name="T116" fmla="*/ 1385887 w 2569"/>
                  <a:gd name="T117" fmla="*/ 2330430 h 1512"/>
                  <a:gd name="T118" fmla="*/ 1279524 w 2569"/>
                  <a:gd name="T119" fmla="*/ 2392360 h 1512"/>
                  <a:gd name="T120" fmla="*/ 955678 w 2569"/>
                  <a:gd name="T121" fmla="*/ 2160521 h 1512"/>
                  <a:gd name="T122" fmla="*/ 268633 w 2569"/>
                  <a:gd name="T123" fmla="*/ 2124829 h 151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569" h="1512">
                    <a:moveTo>
                      <a:pt x="169" y="1338"/>
                    </a:moveTo>
                    <a:lnTo>
                      <a:pt x="144" y="1255"/>
                    </a:lnTo>
                    <a:lnTo>
                      <a:pt x="0" y="1127"/>
                    </a:lnTo>
                    <a:lnTo>
                      <a:pt x="117" y="949"/>
                    </a:lnTo>
                    <a:lnTo>
                      <a:pt x="237" y="906"/>
                    </a:lnTo>
                    <a:lnTo>
                      <a:pt x="256" y="850"/>
                    </a:lnTo>
                    <a:lnTo>
                      <a:pt x="193" y="785"/>
                    </a:lnTo>
                    <a:lnTo>
                      <a:pt x="271" y="556"/>
                    </a:lnTo>
                    <a:lnTo>
                      <a:pt x="361" y="547"/>
                    </a:lnTo>
                    <a:lnTo>
                      <a:pt x="441" y="492"/>
                    </a:lnTo>
                    <a:lnTo>
                      <a:pt x="429" y="426"/>
                    </a:lnTo>
                    <a:lnTo>
                      <a:pt x="516" y="313"/>
                    </a:lnTo>
                    <a:lnTo>
                      <a:pt x="597" y="367"/>
                    </a:lnTo>
                    <a:lnTo>
                      <a:pt x="651" y="452"/>
                    </a:lnTo>
                    <a:lnTo>
                      <a:pt x="670" y="520"/>
                    </a:lnTo>
                    <a:lnTo>
                      <a:pt x="649" y="624"/>
                    </a:lnTo>
                    <a:lnTo>
                      <a:pt x="697" y="688"/>
                    </a:lnTo>
                    <a:lnTo>
                      <a:pt x="796" y="648"/>
                    </a:lnTo>
                    <a:lnTo>
                      <a:pt x="885" y="657"/>
                    </a:lnTo>
                    <a:lnTo>
                      <a:pt x="899" y="576"/>
                    </a:lnTo>
                    <a:lnTo>
                      <a:pt x="843" y="521"/>
                    </a:lnTo>
                    <a:lnTo>
                      <a:pt x="862" y="336"/>
                    </a:lnTo>
                    <a:lnTo>
                      <a:pt x="918" y="358"/>
                    </a:lnTo>
                    <a:lnTo>
                      <a:pt x="1008" y="313"/>
                    </a:lnTo>
                    <a:lnTo>
                      <a:pt x="1089" y="286"/>
                    </a:lnTo>
                    <a:lnTo>
                      <a:pt x="1101" y="163"/>
                    </a:lnTo>
                    <a:lnTo>
                      <a:pt x="1258" y="195"/>
                    </a:lnTo>
                    <a:lnTo>
                      <a:pt x="1272" y="157"/>
                    </a:lnTo>
                    <a:lnTo>
                      <a:pt x="1392" y="147"/>
                    </a:lnTo>
                    <a:lnTo>
                      <a:pt x="1549" y="0"/>
                    </a:lnTo>
                    <a:lnTo>
                      <a:pt x="1669" y="13"/>
                    </a:lnTo>
                    <a:lnTo>
                      <a:pt x="1717" y="131"/>
                    </a:lnTo>
                    <a:lnTo>
                      <a:pt x="1802" y="137"/>
                    </a:lnTo>
                    <a:lnTo>
                      <a:pt x="1903" y="43"/>
                    </a:lnTo>
                    <a:lnTo>
                      <a:pt x="1989" y="68"/>
                    </a:lnTo>
                    <a:lnTo>
                      <a:pt x="2066" y="166"/>
                    </a:lnTo>
                    <a:lnTo>
                      <a:pt x="2202" y="193"/>
                    </a:lnTo>
                    <a:lnTo>
                      <a:pt x="2317" y="265"/>
                    </a:lnTo>
                    <a:lnTo>
                      <a:pt x="2336" y="375"/>
                    </a:lnTo>
                    <a:lnTo>
                      <a:pt x="2416" y="418"/>
                    </a:lnTo>
                    <a:lnTo>
                      <a:pt x="2465" y="452"/>
                    </a:lnTo>
                    <a:lnTo>
                      <a:pt x="2470" y="531"/>
                    </a:lnTo>
                    <a:lnTo>
                      <a:pt x="2539" y="561"/>
                    </a:lnTo>
                    <a:lnTo>
                      <a:pt x="2568" y="708"/>
                    </a:lnTo>
                    <a:lnTo>
                      <a:pt x="2509" y="761"/>
                    </a:lnTo>
                    <a:lnTo>
                      <a:pt x="2569" y="954"/>
                    </a:lnTo>
                    <a:lnTo>
                      <a:pt x="2451" y="1080"/>
                    </a:lnTo>
                    <a:lnTo>
                      <a:pt x="2237" y="1126"/>
                    </a:lnTo>
                    <a:lnTo>
                      <a:pt x="2186" y="1237"/>
                    </a:lnTo>
                    <a:lnTo>
                      <a:pt x="2102" y="1317"/>
                    </a:lnTo>
                    <a:lnTo>
                      <a:pt x="1955" y="1267"/>
                    </a:lnTo>
                    <a:lnTo>
                      <a:pt x="1874" y="1417"/>
                    </a:lnTo>
                    <a:lnTo>
                      <a:pt x="1790" y="1512"/>
                    </a:lnTo>
                    <a:lnTo>
                      <a:pt x="1603" y="1349"/>
                    </a:lnTo>
                    <a:lnTo>
                      <a:pt x="1433" y="1294"/>
                    </a:lnTo>
                    <a:lnTo>
                      <a:pt x="1369" y="1401"/>
                    </a:lnTo>
                    <a:lnTo>
                      <a:pt x="1153" y="1388"/>
                    </a:lnTo>
                    <a:lnTo>
                      <a:pt x="974" y="1476"/>
                    </a:lnTo>
                    <a:lnTo>
                      <a:pt x="873" y="1468"/>
                    </a:lnTo>
                    <a:lnTo>
                      <a:pt x="806" y="1507"/>
                    </a:lnTo>
                    <a:lnTo>
                      <a:pt x="602" y="1361"/>
                    </a:lnTo>
                    <a:lnTo>
                      <a:pt x="169" y="1338"/>
                    </a:lnTo>
                    <a:close/>
                  </a:path>
                </a:pathLst>
              </a:custGeom>
              <a:solidFill>
                <a:schemeClr val="tx2">
                  <a:lumMod val="75000"/>
                  <a:lumOff val="25000"/>
                </a:schemeClr>
              </a:solid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17" name="任意多边形 100">
                <a:extLst>
                  <a:ext uri="{FF2B5EF4-FFF2-40B4-BE49-F238E27FC236}">
                    <a16:creationId xmlns:a16="http://schemas.microsoft.com/office/drawing/2014/main" id="{0E29460C-C2E5-677A-2C07-BEF1373C621D}"/>
                  </a:ext>
                </a:extLst>
              </p:cNvPr>
              <p:cNvSpPr>
                <a:spLocks/>
              </p:cNvSpPr>
              <p:nvPr/>
            </p:nvSpPr>
            <p:spPr bwMode="auto">
              <a:xfrm>
                <a:off x="5207240" y="2977198"/>
                <a:ext cx="1506298" cy="1302385"/>
              </a:xfrm>
              <a:custGeom>
                <a:avLst/>
                <a:gdLst/>
                <a:ahLst/>
                <a:cxnLst/>
                <a:rect l="0" t="0" r="r" b="b"/>
                <a:pathLst>
                  <a:path w="18447968" h="15946069">
                    <a:moveTo>
                      <a:pt x="477776" y="7436569"/>
                    </a:moveTo>
                    <a:lnTo>
                      <a:pt x="271294" y="8060457"/>
                    </a:lnTo>
                    <a:lnTo>
                      <a:pt x="379812" y="8675382"/>
                    </a:lnTo>
                    <a:lnTo>
                      <a:pt x="759624" y="9217969"/>
                    </a:lnTo>
                    <a:lnTo>
                      <a:pt x="687278" y="9670126"/>
                    </a:lnTo>
                    <a:lnTo>
                      <a:pt x="144687" y="9941420"/>
                    </a:lnTo>
                    <a:lnTo>
                      <a:pt x="343643" y="10592536"/>
                    </a:lnTo>
                    <a:lnTo>
                      <a:pt x="940487" y="10954252"/>
                    </a:lnTo>
                    <a:lnTo>
                      <a:pt x="596844" y="11786221"/>
                    </a:lnTo>
                    <a:lnTo>
                      <a:pt x="633017" y="12780969"/>
                    </a:lnTo>
                    <a:lnTo>
                      <a:pt x="198944" y="13341645"/>
                    </a:lnTo>
                    <a:lnTo>
                      <a:pt x="723451" y="13757629"/>
                    </a:lnTo>
                    <a:lnTo>
                      <a:pt x="1640036" y="13197151"/>
                    </a:lnTo>
                    <a:lnTo>
                      <a:pt x="1880971" y="13395906"/>
                    </a:lnTo>
                    <a:lnTo>
                      <a:pt x="2930086" y="12952832"/>
                    </a:lnTo>
                    <a:lnTo>
                      <a:pt x="3828256" y="13245188"/>
                    </a:lnTo>
                    <a:lnTo>
                      <a:pt x="4768739" y="13040205"/>
                    </a:lnTo>
                    <a:lnTo>
                      <a:pt x="5190751" y="13649115"/>
                    </a:lnTo>
                    <a:lnTo>
                      <a:pt x="5932290" y="13444132"/>
                    </a:lnTo>
                    <a:lnTo>
                      <a:pt x="6498992" y="12991975"/>
                    </a:lnTo>
                    <a:lnTo>
                      <a:pt x="7373161" y="13582800"/>
                    </a:lnTo>
                    <a:lnTo>
                      <a:pt x="8512588" y="13570738"/>
                    </a:lnTo>
                    <a:lnTo>
                      <a:pt x="9416903" y="13281357"/>
                    </a:lnTo>
                    <a:lnTo>
                      <a:pt x="9742454" y="14004811"/>
                    </a:lnTo>
                    <a:lnTo>
                      <a:pt x="10080066" y="14716204"/>
                    </a:lnTo>
                    <a:lnTo>
                      <a:pt x="10616683" y="15358294"/>
                    </a:lnTo>
                    <a:lnTo>
                      <a:pt x="11117010" y="15946069"/>
                    </a:lnTo>
                    <a:lnTo>
                      <a:pt x="11593335" y="15822497"/>
                    </a:lnTo>
                    <a:lnTo>
                      <a:pt x="11780218" y="13579811"/>
                    </a:lnTo>
                    <a:lnTo>
                      <a:pt x="11954994" y="12135890"/>
                    </a:lnTo>
                    <a:lnTo>
                      <a:pt x="12196146" y="11388328"/>
                    </a:lnTo>
                    <a:lnTo>
                      <a:pt x="13166775" y="11707856"/>
                    </a:lnTo>
                    <a:lnTo>
                      <a:pt x="14004775" y="11611395"/>
                    </a:lnTo>
                    <a:lnTo>
                      <a:pt x="14939235" y="11322014"/>
                    </a:lnTo>
                    <a:lnTo>
                      <a:pt x="15409477" y="11882693"/>
                    </a:lnTo>
                    <a:lnTo>
                      <a:pt x="15861634" y="11273783"/>
                    </a:lnTo>
                    <a:lnTo>
                      <a:pt x="16413199" y="10920339"/>
                    </a:lnTo>
                    <a:lnTo>
                      <a:pt x="16765948" y="10200671"/>
                    </a:lnTo>
                    <a:lnTo>
                      <a:pt x="16428336" y="9374732"/>
                    </a:lnTo>
                    <a:lnTo>
                      <a:pt x="15946033" y="8440272"/>
                    </a:lnTo>
                    <a:lnTo>
                      <a:pt x="16024409" y="7433474"/>
                    </a:lnTo>
                    <a:lnTo>
                      <a:pt x="16958870" y="6776350"/>
                    </a:lnTo>
                    <a:lnTo>
                      <a:pt x="17911414" y="6083041"/>
                    </a:lnTo>
                    <a:lnTo>
                      <a:pt x="17694370" y="5570592"/>
                    </a:lnTo>
                    <a:lnTo>
                      <a:pt x="17385711" y="5219213"/>
                    </a:lnTo>
                    <a:lnTo>
                      <a:pt x="17637701" y="4819407"/>
                    </a:lnTo>
                    <a:lnTo>
                      <a:pt x="18171858" y="4701949"/>
                    </a:lnTo>
                    <a:lnTo>
                      <a:pt x="18447970" y="4316604"/>
                    </a:lnTo>
                    <a:lnTo>
                      <a:pt x="17814953" y="4117660"/>
                    </a:lnTo>
                    <a:lnTo>
                      <a:pt x="17067422" y="3472551"/>
                    </a:lnTo>
                    <a:lnTo>
                      <a:pt x="16852763" y="3282076"/>
                    </a:lnTo>
                    <a:lnTo>
                      <a:pt x="16161870" y="4063407"/>
                    </a:lnTo>
                    <a:lnTo>
                      <a:pt x="14429201" y="4027238"/>
                    </a:lnTo>
                    <a:lnTo>
                      <a:pt x="13854061" y="3658272"/>
                    </a:lnTo>
                    <a:lnTo>
                      <a:pt x="13383819" y="2963756"/>
                    </a:lnTo>
                    <a:lnTo>
                      <a:pt x="12493981" y="2927587"/>
                    </a:lnTo>
                    <a:lnTo>
                      <a:pt x="11976717" y="2139025"/>
                    </a:lnTo>
                    <a:lnTo>
                      <a:pt x="11484768" y="1495155"/>
                    </a:lnTo>
                    <a:lnTo>
                      <a:pt x="10830043" y="1256418"/>
                    </a:lnTo>
                    <a:lnTo>
                      <a:pt x="10323633" y="1220249"/>
                    </a:lnTo>
                    <a:lnTo>
                      <a:pt x="9802745" y="1603676"/>
                    </a:lnTo>
                    <a:lnTo>
                      <a:pt x="9223982" y="1621761"/>
                    </a:lnTo>
                    <a:lnTo>
                      <a:pt x="8782678" y="2171586"/>
                    </a:lnTo>
                    <a:lnTo>
                      <a:pt x="8272645" y="2102856"/>
                    </a:lnTo>
                    <a:lnTo>
                      <a:pt x="7853048" y="2526075"/>
                    </a:lnTo>
                    <a:lnTo>
                      <a:pt x="7323799" y="2632907"/>
                    </a:lnTo>
                    <a:lnTo>
                      <a:pt x="6977672" y="2178817"/>
                    </a:lnTo>
                    <a:lnTo>
                      <a:pt x="6594245" y="2055834"/>
                    </a:lnTo>
                    <a:lnTo>
                      <a:pt x="6431470" y="1314295"/>
                    </a:lnTo>
                    <a:lnTo>
                      <a:pt x="5642908" y="1343233"/>
                    </a:lnTo>
                    <a:lnTo>
                      <a:pt x="5150959" y="1610907"/>
                    </a:lnTo>
                    <a:lnTo>
                      <a:pt x="5480133" y="2167963"/>
                    </a:lnTo>
                    <a:lnTo>
                      <a:pt x="4742216" y="2862495"/>
                    </a:lnTo>
                    <a:lnTo>
                      <a:pt x="2658667" y="0"/>
                    </a:lnTo>
                    <a:lnTo>
                      <a:pt x="2658682" y="1018890"/>
                    </a:lnTo>
                    <a:lnTo>
                      <a:pt x="1850829" y="1730283"/>
                    </a:lnTo>
                    <a:lnTo>
                      <a:pt x="1404694" y="2272862"/>
                    </a:lnTo>
                    <a:lnTo>
                      <a:pt x="2351216" y="3388182"/>
                    </a:lnTo>
                    <a:lnTo>
                      <a:pt x="2658682" y="4286458"/>
                    </a:lnTo>
                    <a:lnTo>
                      <a:pt x="1935228" y="5220918"/>
                    </a:lnTo>
                    <a:lnTo>
                      <a:pt x="875281" y="5166646"/>
                    </a:lnTo>
                    <a:lnTo>
                      <a:pt x="0" y="5890112"/>
                    </a:lnTo>
                    <a:lnTo>
                      <a:pt x="72345" y="6921032"/>
                    </a:lnTo>
                    <a:lnTo>
                      <a:pt x="477776" y="7436569"/>
                    </a:lnTo>
                    <a:close/>
                  </a:path>
                </a:pathLst>
              </a:custGeom>
              <a:solidFill>
                <a:schemeClr val="tx2">
                  <a:lumMod val="75000"/>
                  <a:lumOff val="25000"/>
                </a:schemeClr>
              </a:solid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18" name="任意多边形 101">
                <a:extLst>
                  <a:ext uri="{FF2B5EF4-FFF2-40B4-BE49-F238E27FC236}">
                    <a16:creationId xmlns:a16="http://schemas.microsoft.com/office/drawing/2014/main" id="{FCC6F9BF-DAD3-E9B2-E509-B8A6508D9F61}"/>
                  </a:ext>
                </a:extLst>
              </p:cNvPr>
              <p:cNvSpPr>
                <a:spLocks/>
              </p:cNvSpPr>
              <p:nvPr/>
            </p:nvSpPr>
            <p:spPr bwMode="auto">
              <a:xfrm>
                <a:off x="1796244" y="3167380"/>
                <a:ext cx="1550424" cy="1358583"/>
              </a:xfrm>
              <a:custGeom>
                <a:avLst/>
                <a:gdLst/>
                <a:ahLst/>
                <a:cxnLst/>
                <a:rect l="0" t="0" r="r" b="b"/>
                <a:pathLst>
                  <a:path w="4884" h="4279">
                    <a:moveTo>
                      <a:pt x="544" y="127"/>
                    </a:moveTo>
                    <a:lnTo>
                      <a:pt x="590" y="351"/>
                    </a:lnTo>
                    <a:lnTo>
                      <a:pt x="499" y="437"/>
                    </a:lnTo>
                    <a:lnTo>
                      <a:pt x="590" y="732"/>
                    </a:lnTo>
                    <a:lnTo>
                      <a:pt x="403" y="934"/>
                    </a:lnTo>
                    <a:lnTo>
                      <a:pt x="79" y="1000"/>
                    </a:lnTo>
                    <a:lnTo>
                      <a:pt x="0" y="1172"/>
                    </a:lnTo>
                    <a:lnTo>
                      <a:pt x="204" y="1276"/>
                    </a:lnTo>
                    <a:lnTo>
                      <a:pt x="120" y="1417"/>
                    </a:lnTo>
                    <a:lnTo>
                      <a:pt x="161" y="1538"/>
                    </a:lnTo>
                    <a:lnTo>
                      <a:pt x="239" y="1624"/>
                    </a:lnTo>
                    <a:lnTo>
                      <a:pt x="410" y="1577"/>
                    </a:lnTo>
                    <a:lnTo>
                      <a:pt x="523" y="1653"/>
                    </a:lnTo>
                    <a:lnTo>
                      <a:pt x="476" y="1787"/>
                    </a:lnTo>
                    <a:lnTo>
                      <a:pt x="486" y="2172"/>
                    </a:lnTo>
                    <a:lnTo>
                      <a:pt x="568" y="2287"/>
                    </a:lnTo>
                    <a:lnTo>
                      <a:pt x="448" y="2508"/>
                    </a:lnTo>
                    <a:lnTo>
                      <a:pt x="377" y="2683"/>
                    </a:lnTo>
                    <a:lnTo>
                      <a:pt x="464" y="2859"/>
                    </a:lnTo>
                    <a:lnTo>
                      <a:pt x="457" y="3038"/>
                    </a:lnTo>
                    <a:lnTo>
                      <a:pt x="685" y="3172"/>
                    </a:lnTo>
                    <a:lnTo>
                      <a:pt x="811" y="3206"/>
                    </a:lnTo>
                    <a:lnTo>
                      <a:pt x="898" y="3302"/>
                    </a:lnTo>
                    <a:lnTo>
                      <a:pt x="943" y="3673"/>
                    </a:lnTo>
                    <a:lnTo>
                      <a:pt x="1043" y="4279"/>
                    </a:lnTo>
                    <a:lnTo>
                      <a:pt x="1904" y="4098"/>
                    </a:lnTo>
                    <a:lnTo>
                      <a:pt x="2021" y="4051"/>
                    </a:lnTo>
                    <a:lnTo>
                      <a:pt x="1989" y="3979"/>
                    </a:lnTo>
                    <a:lnTo>
                      <a:pt x="2056" y="3893"/>
                    </a:lnTo>
                    <a:lnTo>
                      <a:pt x="2060" y="3814"/>
                    </a:lnTo>
                    <a:lnTo>
                      <a:pt x="2224" y="3774"/>
                    </a:lnTo>
                    <a:lnTo>
                      <a:pt x="2369" y="3651"/>
                    </a:lnTo>
                    <a:lnTo>
                      <a:pt x="2705" y="3438"/>
                    </a:lnTo>
                    <a:lnTo>
                      <a:pt x="2798" y="3396"/>
                    </a:lnTo>
                    <a:lnTo>
                      <a:pt x="2854" y="3305"/>
                    </a:lnTo>
                    <a:lnTo>
                      <a:pt x="2914" y="3215"/>
                    </a:lnTo>
                    <a:lnTo>
                      <a:pt x="3007" y="3248"/>
                    </a:lnTo>
                    <a:lnTo>
                      <a:pt x="3139" y="3230"/>
                    </a:lnTo>
                    <a:lnTo>
                      <a:pt x="3218" y="3147"/>
                    </a:lnTo>
                    <a:lnTo>
                      <a:pt x="3406" y="2847"/>
                    </a:lnTo>
                    <a:lnTo>
                      <a:pt x="3620" y="2846"/>
                    </a:lnTo>
                    <a:lnTo>
                      <a:pt x="3751" y="2933"/>
                    </a:lnTo>
                    <a:lnTo>
                      <a:pt x="3818" y="3038"/>
                    </a:lnTo>
                    <a:lnTo>
                      <a:pt x="3991" y="3096"/>
                    </a:lnTo>
                    <a:lnTo>
                      <a:pt x="4140" y="3230"/>
                    </a:lnTo>
                    <a:lnTo>
                      <a:pt x="4400" y="3032"/>
                    </a:lnTo>
                    <a:lnTo>
                      <a:pt x="4884" y="2731"/>
                    </a:lnTo>
                    <a:lnTo>
                      <a:pt x="4794" y="2593"/>
                    </a:lnTo>
                    <a:lnTo>
                      <a:pt x="4755" y="2422"/>
                    </a:lnTo>
                    <a:lnTo>
                      <a:pt x="4673" y="2234"/>
                    </a:lnTo>
                    <a:lnTo>
                      <a:pt x="4452" y="2187"/>
                    </a:lnTo>
                    <a:lnTo>
                      <a:pt x="4314" y="2026"/>
                    </a:lnTo>
                    <a:lnTo>
                      <a:pt x="4318" y="1915"/>
                    </a:lnTo>
                    <a:lnTo>
                      <a:pt x="4274" y="1878"/>
                    </a:lnTo>
                    <a:lnTo>
                      <a:pt x="4179" y="2007"/>
                    </a:lnTo>
                    <a:lnTo>
                      <a:pt x="4021" y="1780"/>
                    </a:lnTo>
                    <a:lnTo>
                      <a:pt x="4065" y="1572"/>
                    </a:lnTo>
                    <a:lnTo>
                      <a:pt x="3994" y="1448"/>
                    </a:lnTo>
                    <a:lnTo>
                      <a:pt x="4140" y="1294"/>
                    </a:lnTo>
                    <a:lnTo>
                      <a:pt x="4322" y="1231"/>
                    </a:lnTo>
                    <a:lnTo>
                      <a:pt x="4284" y="1073"/>
                    </a:lnTo>
                    <a:lnTo>
                      <a:pt x="4242" y="877"/>
                    </a:lnTo>
                    <a:lnTo>
                      <a:pt x="4159" y="719"/>
                    </a:lnTo>
                    <a:lnTo>
                      <a:pt x="4032" y="548"/>
                    </a:lnTo>
                    <a:lnTo>
                      <a:pt x="4153" y="494"/>
                    </a:lnTo>
                    <a:lnTo>
                      <a:pt x="4003" y="289"/>
                    </a:lnTo>
                    <a:lnTo>
                      <a:pt x="3896" y="364"/>
                    </a:lnTo>
                    <a:lnTo>
                      <a:pt x="3946" y="187"/>
                    </a:lnTo>
                    <a:lnTo>
                      <a:pt x="3763" y="204"/>
                    </a:lnTo>
                    <a:lnTo>
                      <a:pt x="3711" y="337"/>
                    </a:lnTo>
                    <a:lnTo>
                      <a:pt x="3647" y="498"/>
                    </a:lnTo>
                    <a:lnTo>
                      <a:pt x="3455" y="547"/>
                    </a:lnTo>
                    <a:lnTo>
                      <a:pt x="3142" y="565"/>
                    </a:lnTo>
                    <a:lnTo>
                      <a:pt x="3095" y="451"/>
                    </a:lnTo>
                    <a:lnTo>
                      <a:pt x="2977" y="482"/>
                    </a:lnTo>
                    <a:lnTo>
                      <a:pt x="2950" y="569"/>
                    </a:lnTo>
                    <a:lnTo>
                      <a:pt x="2906" y="668"/>
                    </a:lnTo>
                    <a:lnTo>
                      <a:pt x="2733" y="567"/>
                    </a:lnTo>
                    <a:lnTo>
                      <a:pt x="2545" y="570"/>
                    </a:lnTo>
                    <a:lnTo>
                      <a:pt x="2411" y="407"/>
                    </a:lnTo>
                    <a:lnTo>
                      <a:pt x="2357" y="213"/>
                    </a:lnTo>
                    <a:lnTo>
                      <a:pt x="2071" y="181"/>
                    </a:lnTo>
                    <a:lnTo>
                      <a:pt x="1947" y="285"/>
                    </a:lnTo>
                    <a:lnTo>
                      <a:pt x="1819" y="280"/>
                    </a:lnTo>
                    <a:lnTo>
                      <a:pt x="1769" y="164"/>
                    </a:lnTo>
                    <a:lnTo>
                      <a:pt x="1490" y="146"/>
                    </a:lnTo>
                    <a:lnTo>
                      <a:pt x="1403" y="221"/>
                    </a:lnTo>
                    <a:lnTo>
                      <a:pt x="1275" y="237"/>
                    </a:lnTo>
                    <a:lnTo>
                      <a:pt x="1211" y="354"/>
                    </a:lnTo>
                    <a:lnTo>
                      <a:pt x="1021" y="417"/>
                    </a:lnTo>
                    <a:lnTo>
                      <a:pt x="796" y="140"/>
                    </a:lnTo>
                    <a:lnTo>
                      <a:pt x="615" y="0"/>
                    </a:lnTo>
                    <a:lnTo>
                      <a:pt x="544" y="127"/>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19" name="任意多边形 109">
                <a:extLst>
                  <a:ext uri="{FF2B5EF4-FFF2-40B4-BE49-F238E27FC236}">
                    <a16:creationId xmlns:a16="http://schemas.microsoft.com/office/drawing/2014/main" id="{90135311-AA72-4856-EFC0-9A103F04113D}"/>
                  </a:ext>
                </a:extLst>
              </p:cNvPr>
              <p:cNvSpPr>
                <a:spLocks/>
              </p:cNvSpPr>
              <p:nvPr/>
            </p:nvSpPr>
            <p:spPr bwMode="auto">
              <a:xfrm>
                <a:off x="2788274" y="2490788"/>
                <a:ext cx="1112343" cy="1445260"/>
              </a:xfrm>
              <a:custGeom>
                <a:avLst/>
                <a:gdLst/>
                <a:ahLst/>
                <a:cxnLst/>
                <a:rect l="0" t="0" r="r" b="b"/>
                <a:pathLst>
                  <a:path w="13622565" h="17699749">
                    <a:moveTo>
                      <a:pt x="10642295" y="190148"/>
                    </a:moveTo>
                    <a:lnTo>
                      <a:pt x="10541327" y="440405"/>
                    </a:lnTo>
                    <a:lnTo>
                      <a:pt x="10876011" y="946970"/>
                    </a:lnTo>
                    <a:lnTo>
                      <a:pt x="10454429" y="1010619"/>
                    </a:lnTo>
                    <a:lnTo>
                      <a:pt x="10487052" y="1326891"/>
                    </a:lnTo>
                    <a:lnTo>
                      <a:pt x="11002646" y="1598265"/>
                    </a:lnTo>
                    <a:lnTo>
                      <a:pt x="10369457" y="2041512"/>
                    </a:lnTo>
                    <a:lnTo>
                      <a:pt x="10948375" y="2647578"/>
                    </a:lnTo>
                    <a:lnTo>
                      <a:pt x="10622736" y="2882765"/>
                    </a:lnTo>
                    <a:lnTo>
                      <a:pt x="10752935" y="3452960"/>
                    </a:lnTo>
                    <a:lnTo>
                      <a:pt x="10626295" y="3697184"/>
                    </a:lnTo>
                    <a:lnTo>
                      <a:pt x="10758424" y="4004449"/>
                    </a:lnTo>
                    <a:lnTo>
                      <a:pt x="10215688" y="4529111"/>
                    </a:lnTo>
                    <a:lnTo>
                      <a:pt x="10282575" y="5542511"/>
                    </a:lnTo>
                    <a:lnTo>
                      <a:pt x="10362483" y="6248949"/>
                    </a:lnTo>
                    <a:lnTo>
                      <a:pt x="9654875" y="7324261"/>
                    </a:lnTo>
                    <a:lnTo>
                      <a:pt x="8885999" y="7975560"/>
                    </a:lnTo>
                    <a:lnTo>
                      <a:pt x="9293054" y="8427848"/>
                    </a:lnTo>
                    <a:lnTo>
                      <a:pt x="9342463" y="9786535"/>
                    </a:lnTo>
                    <a:lnTo>
                      <a:pt x="10161417" y="9793764"/>
                    </a:lnTo>
                    <a:lnTo>
                      <a:pt x="10532279" y="10454115"/>
                    </a:lnTo>
                    <a:lnTo>
                      <a:pt x="11482058" y="10463152"/>
                    </a:lnTo>
                    <a:lnTo>
                      <a:pt x="11653917" y="10779759"/>
                    </a:lnTo>
                    <a:lnTo>
                      <a:pt x="12033827" y="11051133"/>
                    </a:lnTo>
                    <a:lnTo>
                      <a:pt x="12531328" y="11331556"/>
                    </a:lnTo>
                    <a:lnTo>
                      <a:pt x="13525033" y="11264884"/>
                    </a:lnTo>
                    <a:lnTo>
                      <a:pt x="13622565" y="11784996"/>
                    </a:lnTo>
                    <a:lnTo>
                      <a:pt x="13072739" y="12075586"/>
                    </a:lnTo>
                    <a:lnTo>
                      <a:pt x="12397515" y="12497597"/>
                    </a:lnTo>
                    <a:lnTo>
                      <a:pt x="12090048" y="13287367"/>
                    </a:lnTo>
                    <a:lnTo>
                      <a:pt x="11571576" y="13691294"/>
                    </a:lnTo>
                    <a:lnTo>
                      <a:pt x="10824014" y="14318273"/>
                    </a:lnTo>
                    <a:lnTo>
                      <a:pt x="10691385" y="15186418"/>
                    </a:lnTo>
                    <a:lnTo>
                      <a:pt x="10076452" y="15753121"/>
                    </a:lnTo>
                    <a:lnTo>
                      <a:pt x="9690609" y="15897811"/>
                    </a:lnTo>
                    <a:lnTo>
                      <a:pt x="9316828" y="16253508"/>
                    </a:lnTo>
                    <a:lnTo>
                      <a:pt x="8762187" y="16349969"/>
                    </a:lnTo>
                    <a:lnTo>
                      <a:pt x="8117109" y="15867666"/>
                    </a:lnTo>
                    <a:lnTo>
                      <a:pt x="7616721" y="15873689"/>
                    </a:lnTo>
                    <a:lnTo>
                      <a:pt x="7435861" y="16741834"/>
                    </a:lnTo>
                    <a:lnTo>
                      <a:pt x="6887243" y="17181930"/>
                    </a:lnTo>
                    <a:lnTo>
                      <a:pt x="6676238" y="17664233"/>
                    </a:lnTo>
                    <a:lnTo>
                      <a:pt x="6335576" y="17699749"/>
                    </a:lnTo>
                    <a:lnTo>
                      <a:pt x="6015490" y="16968505"/>
                    </a:lnTo>
                    <a:lnTo>
                      <a:pt x="5158198" y="16787645"/>
                    </a:lnTo>
                    <a:lnTo>
                      <a:pt x="4619226" y="16161859"/>
                    </a:lnTo>
                    <a:lnTo>
                      <a:pt x="4637311" y="15727786"/>
                    </a:lnTo>
                    <a:lnTo>
                      <a:pt x="4467305" y="15583095"/>
                    </a:lnTo>
                    <a:lnTo>
                      <a:pt x="4097454" y="16087770"/>
                    </a:lnTo>
                    <a:lnTo>
                      <a:pt x="3482522" y="15203956"/>
                    </a:lnTo>
                    <a:lnTo>
                      <a:pt x="3653428" y="14396645"/>
                    </a:lnTo>
                    <a:lnTo>
                      <a:pt x="3378507" y="13914342"/>
                    </a:lnTo>
                    <a:lnTo>
                      <a:pt x="3945210" y="13317494"/>
                    </a:lnTo>
                    <a:lnTo>
                      <a:pt x="4650580" y="13070319"/>
                    </a:lnTo>
                    <a:lnTo>
                      <a:pt x="4505889" y="12455386"/>
                    </a:lnTo>
                    <a:lnTo>
                      <a:pt x="4343114" y="11695763"/>
                    </a:lnTo>
                    <a:lnTo>
                      <a:pt x="4017563" y="11080830"/>
                    </a:lnTo>
                    <a:lnTo>
                      <a:pt x="3523198" y="10417667"/>
                    </a:lnTo>
                    <a:lnTo>
                      <a:pt x="3996178" y="10206164"/>
                    </a:lnTo>
                    <a:lnTo>
                      <a:pt x="3411391" y="9409164"/>
                    </a:lnTo>
                    <a:lnTo>
                      <a:pt x="2997818" y="9699753"/>
                    </a:lnTo>
                    <a:lnTo>
                      <a:pt x="3191625" y="9012965"/>
                    </a:lnTo>
                    <a:lnTo>
                      <a:pt x="2481120" y="9079257"/>
                    </a:lnTo>
                    <a:lnTo>
                      <a:pt x="2307810" y="8862270"/>
                    </a:lnTo>
                    <a:lnTo>
                      <a:pt x="1902675" y="8435428"/>
                    </a:lnTo>
                    <a:lnTo>
                      <a:pt x="1461371" y="8522243"/>
                    </a:lnTo>
                    <a:lnTo>
                      <a:pt x="1211781" y="8156900"/>
                    </a:lnTo>
                    <a:lnTo>
                      <a:pt x="528118" y="8099024"/>
                    </a:lnTo>
                    <a:lnTo>
                      <a:pt x="549825" y="7444299"/>
                    </a:lnTo>
                    <a:lnTo>
                      <a:pt x="0" y="7252585"/>
                    </a:lnTo>
                    <a:lnTo>
                      <a:pt x="79584" y="6858305"/>
                    </a:lnTo>
                    <a:lnTo>
                      <a:pt x="745162" y="6648506"/>
                    </a:lnTo>
                    <a:lnTo>
                      <a:pt x="1291365" y="6409770"/>
                    </a:lnTo>
                    <a:lnTo>
                      <a:pt x="1645854" y="6207203"/>
                    </a:lnTo>
                    <a:lnTo>
                      <a:pt x="1663938" y="5650147"/>
                    </a:lnTo>
                    <a:lnTo>
                      <a:pt x="1171989" y="5140113"/>
                    </a:lnTo>
                    <a:lnTo>
                      <a:pt x="1848421" y="4217714"/>
                    </a:lnTo>
                    <a:lnTo>
                      <a:pt x="2492292" y="4441989"/>
                    </a:lnTo>
                    <a:lnTo>
                      <a:pt x="3280854" y="4470927"/>
                    </a:lnTo>
                    <a:lnTo>
                      <a:pt x="3761949" y="4152607"/>
                    </a:lnTo>
                    <a:lnTo>
                      <a:pt x="3114455" y="3606404"/>
                    </a:lnTo>
                    <a:lnTo>
                      <a:pt x="2673152" y="3541297"/>
                    </a:lnTo>
                    <a:lnTo>
                      <a:pt x="1989489" y="3570235"/>
                    </a:lnTo>
                    <a:lnTo>
                      <a:pt x="2018427" y="3063810"/>
                    </a:lnTo>
                    <a:lnTo>
                      <a:pt x="2831435" y="3080250"/>
                    </a:lnTo>
                    <a:lnTo>
                      <a:pt x="2904657" y="2857635"/>
                    </a:lnTo>
                    <a:lnTo>
                      <a:pt x="2307809" y="2694859"/>
                    </a:lnTo>
                    <a:lnTo>
                      <a:pt x="1757984" y="2579106"/>
                    </a:lnTo>
                    <a:lnTo>
                      <a:pt x="2376539" y="2040135"/>
                    </a:lnTo>
                    <a:lnTo>
                      <a:pt x="1786922" y="1692876"/>
                    </a:lnTo>
                    <a:lnTo>
                      <a:pt x="2353928" y="1376505"/>
                    </a:lnTo>
                    <a:lnTo>
                      <a:pt x="3392984" y="1616916"/>
                    </a:lnTo>
                    <a:lnTo>
                      <a:pt x="4807332" y="1461371"/>
                    </a:lnTo>
                    <a:lnTo>
                      <a:pt x="5613078" y="1412704"/>
                    </a:lnTo>
                    <a:lnTo>
                      <a:pt x="6427855" y="1211781"/>
                    </a:lnTo>
                    <a:lnTo>
                      <a:pt x="7110603" y="895439"/>
                    </a:lnTo>
                    <a:lnTo>
                      <a:pt x="8674165" y="1059859"/>
                    </a:lnTo>
                    <a:lnTo>
                      <a:pt x="8850487" y="790540"/>
                    </a:lnTo>
                    <a:lnTo>
                      <a:pt x="8804379" y="405135"/>
                    </a:lnTo>
                    <a:lnTo>
                      <a:pt x="9412081" y="144691"/>
                    </a:lnTo>
                    <a:lnTo>
                      <a:pt x="10153621" y="0"/>
                    </a:lnTo>
                    <a:lnTo>
                      <a:pt x="10642295" y="190148"/>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0" name="任意多边形 110">
                <a:extLst>
                  <a:ext uri="{FF2B5EF4-FFF2-40B4-BE49-F238E27FC236}">
                    <a16:creationId xmlns:a16="http://schemas.microsoft.com/office/drawing/2014/main" id="{FE263F98-CB3B-8CA8-A619-8FDAA391B377}"/>
                  </a:ext>
                </a:extLst>
              </p:cNvPr>
              <p:cNvSpPr>
                <a:spLocks/>
              </p:cNvSpPr>
              <p:nvPr/>
            </p:nvSpPr>
            <p:spPr bwMode="auto">
              <a:xfrm>
                <a:off x="3109851" y="3231198"/>
                <a:ext cx="2250717" cy="1237933"/>
              </a:xfrm>
              <a:custGeom>
                <a:avLst/>
                <a:gdLst/>
                <a:ahLst/>
                <a:cxnLst/>
                <a:rect l="0" t="0" r="r" b="b"/>
                <a:pathLst>
                  <a:path w="27560432" h="15152939">
                    <a:moveTo>
                      <a:pt x="26157237" y="4322377"/>
                    </a:moveTo>
                    <a:lnTo>
                      <a:pt x="25950755" y="4946265"/>
                    </a:lnTo>
                    <a:lnTo>
                      <a:pt x="26059273" y="5561190"/>
                    </a:lnTo>
                    <a:lnTo>
                      <a:pt x="26439085" y="6103777"/>
                    </a:lnTo>
                    <a:lnTo>
                      <a:pt x="26366739" y="6555934"/>
                    </a:lnTo>
                    <a:lnTo>
                      <a:pt x="25824148" y="6827228"/>
                    </a:lnTo>
                    <a:lnTo>
                      <a:pt x="26023104" y="7478344"/>
                    </a:lnTo>
                    <a:lnTo>
                      <a:pt x="26619948" y="7840060"/>
                    </a:lnTo>
                    <a:lnTo>
                      <a:pt x="26276305" y="8672029"/>
                    </a:lnTo>
                    <a:lnTo>
                      <a:pt x="26312478" y="9666777"/>
                    </a:lnTo>
                    <a:lnTo>
                      <a:pt x="25878405" y="10227453"/>
                    </a:lnTo>
                    <a:lnTo>
                      <a:pt x="26402912" y="10643437"/>
                    </a:lnTo>
                    <a:lnTo>
                      <a:pt x="27319497" y="10082959"/>
                    </a:lnTo>
                    <a:lnTo>
                      <a:pt x="27560432" y="10281714"/>
                    </a:lnTo>
                    <a:lnTo>
                      <a:pt x="27325315" y="10860465"/>
                    </a:lnTo>
                    <a:lnTo>
                      <a:pt x="27542355" y="12005935"/>
                    </a:lnTo>
                    <a:lnTo>
                      <a:pt x="26089423" y="11975789"/>
                    </a:lnTo>
                    <a:lnTo>
                      <a:pt x="24473715" y="12090334"/>
                    </a:lnTo>
                    <a:lnTo>
                      <a:pt x="23135328" y="12222964"/>
                    </a:lnTo>
                    <a:lnTo>
                      <a:pt x="22261159" y="12934357"/>
                    </a:lnTo>
                    <a:lnTo>
                      <a:pt x="20826342" y="14369204"/>
                    </a:lnTo>
                    <a:lnTo>
                      <a:pt x="12952786" y="14960014"/>
                    </a:lnTo>
                    <a:lnTo>
                      <a:pt x="11934663" y="15008264"/>
                    </a:lnTo>
                    <a:lnTo>
                      <a:pt x="8506848" y="15152939"/>
                    </a:lnTo>
                    <a:lnTo>
                      <a:pt x="7985095" y="14507857"/>
                    </a:lnTo>
                    <a:lnTo>
                      <a:pt x="7400308" y="14477712"/>
                    </a:lnTo>
                    <a:lnTo>
                      <a:pt x="6972273" y="14749009"/>
                    </a:lnTo>
                    <a:lnTo>
                      <a:pt x="5181729" y="14664610"/>
                    </a:lnTo>
                    <a:lnTo>
                      <a:pt x="4397998" y="14031593"/>
                    </a:lnTo>
                    <a:lnTo>
                      <a:pt x="2908896" y="13223739"/>
                    </a:lnTo>
                    <a:lnTo>
                      <a:pt x="1263043" y="12512346"/>
                    </a:lnTo>
                    <a:lnTo>
                      <a:pt x="485320" y="12060189"/>
                    </a:lnTo>
                    <a:lnTo>
                      <a:pt x="0" y="11767077"/>
                    </a:lnTo>
                    <a:lnTo>
                      <a:pt x="1003686" y="11021112"/>
                    </a:lnTo>
                    <a:lnTo>
                      <a:pt x="2902551" y="9836713"/>
                    </a:lnTo>
                    <a:lnTo>
                      <a:pt x="2558940" y="9303282"/>
                    </a:lnTo>
                    <a:lnTo>
                      <a:pt x="2402508" y="8616199"/>
                    </a:lnTo>
                    <a:lnTo>
                      <a:pt x="2730740" y="8589028"/>
                    </a:lnTo>
                    <a:lnTo>
                      <a:pt x="2947754" y="8118883"/>
                    </a:lnTo>
                    <a:lnTo>
                      <a:pt x="3499325" y="7675866"/>
                    </a:lnTo>
                    <a:lnTo>
                      <a:pt x="3680166" y="6798868"/>
                    </a:lnTo>
                    <a:lnTo>
                      <a:pt x="4186528" y="6807904"/>
                    </a:lnTo>
                    <a:lnTo>
                      <a:pt x="4837569" y="7278054"/>
                    </a:lnTo>
                    <a:lnTo>
                      <a:pt x="5352976" y="7196687"/>
                    </a:lnTo>
                    <a:lnTo>
                      <a:pt x="5741786" y="6825992"/>
                    </a:lnTo>
                    <a:lnTo>
                      <a:pt x="6157723" y="6663251"/>
                    </a:lnTo>
                    <a:lnTo>
                      <a:pt x="6745471" y="6093658"/>
                    </a:lnTo>
                    <a:lnTo>
                      <a:pt x="6890140" y="5243782"/>
                    </a:lnTo>
                    <a:lnTo>
                      <a:pt x="7568305" y="4674188"/>
                    </a:lnTo>
                    <a:lnTo>
                      <a:pt x="8137967" y="4231167"/>
                    </a:lnTo>
                    <a:lnTo>
                      <a:pt x="8463480" y="3426500"/>
                    </a:lnTo>
                    <a:lnTo>
                      <a:pt x="9024093" y="3073893"/>
                    </a:lnTo>
                    <a:lnTo>
                      <a:pt x="9675138" y="2721291"/>
                    </a:lnTo>
                    <a:lnTo>
                      <a:pt x="9558580" y="2173007"/>
                    </a:lnTo>
                    <a:lnTo>
                      <a:pt x="10353296" y="1500723"/>
                    </a:lnTo>
                    <a:lnTo>
                      <a:pt x="10832530" y="1428389"/>
                    </a:lnTo>
                    <a:lnTo>
                      <a:pt x="11058585" y="1880458"/>
                    </a:lnTo>
                    <a:lnTo>
                      <a:pt x="11411229" y="2260189"/>
                    </a:lnTo>
                    <a:lnTo>
                      <a:pt x="11998974" y="2341559"/>
                    </a:lnTo>
                    <a:lnTo>
                      <a:pt x="12315449" y="3001571"/>
                    </a:lnTo>
                    <a:lnTo>
                      <a:pt x="12785642" y="2820742"/>
                    </a:lnTo>
                    <a:lnTo>
                      <a:pt x="13671776" y="3272803"/>
                    </a:lnTo>
                    <a:lnTo>
                      <a:pt x="14123886" y="2974450"/>
                    </a:lnTo>
                    <a:lnTo>
                      <a:pt x="14259509" y="2404849"/>
                    </a:lnTo>
                    <a:lnTo>
                      <a:pt x="14892468" y="1762918"/>
                    </a:lnTo>
                    <a:lnTo>
                      <a:pt x="15778605" y="1211398"/>
                    </a:lnTo>
                    <a:lnTo>
                      <a:pt x="16022739" y="1681548"/>
                    </a:lnTo>
                    <a:lnTo>
                      <a:pt x="16013694" y="2169778"/>
                    </a:lnTo>
                    <a:lnTo>
                      <a:pt x="16556232" y="2260200"/>
                    </a:lnTo>
                    <a:lnTo>
                      <a:pt x="16863663" y="1744834"/>
                    </a:lnTo>
                    <a:lnTo>
                      <a:pt x="17406193" y="1410312"/>
                    </a:lnTo>
                    <a:lnTo>
                      <a:pt x="17623203" y="867840"/>
                    </a:lnTo>
                    <a:lnTo>
                      <a:pt x="18120524" y="831675"/>
                    </a:lnTo>
                    <a:lnTo>
                      <a:pt x="18201903" y="542358"/>
                    </a:lnTo>
                    <a:lnTo>
                      <a:pt x="18744437" y="117414"/>
                    </a:lnTo>
                    <a:lnTo>
                      <a:pt x="19443290" y="0"/>
                    </a:lnTo>
                    <a:lnTo>
                      <a:pt x="19982300" y="460880"/>
                    </a:lnTo>
                    <a:lnTo>
                      <a:pt x="19530143" y="913038"/>
                    </a:lnTo>
                    <a:lnTo>
                      <a:pt x="19837609" y="1238588"/>
                    </a:lnTo>
                    <a:lnTo>
                      <a:pt x="20886614" y="1546055"/>
                    </a:lnTo>
                    <a:lnTo>
                      <a:pt x="21881359" y="1889694"/>
                    </a:lnTo>
                    <a:lnTo>
                      <a:pt x="21772837" y="2269505"/>
                    </a:lnTo>
                    <a:lnTo>
                      <a:pt x="21537712" y="2884438"/>
                    </a:lnTo>
                    <a:lnTo>
                      <a:pt x="21996067" y="2911656"/>
                    </a:lnTo>
                    <a:lnTo>
                      <a:pt x="22478203" y="2414189"/>
                    </a:lnTo>
                    <a:lnTo>
                      <a:pt x="23292084" y="2016293"/>
                    </a:lnTo>
                    <a:lnTo>
                      <a:pt x="23888932" y="1998212"/>
                    </a:lnTo>
                    <a:lnTo>
                      <a:pt x="24612383" y="1582227"/>
                    </a:lnTo>
                    <a:lnTo>
                      <a:pt x="25010275" y="695990"/>
                    </a:lnTo>
                    <a:lnTo>
                      <a:pt x="25769899" y="840685"/>
                    </a:lnTo>
                    <a:lnTo>
                      <a:pt x="26402920" y="876857"/>
                    </a:lnTo>
                    <a:lnTo>
                      <a:pt x="26240141" y="1491794"/>
                    </a:lnTo>
                    <a:lnTo>
                      <a:pt x="26554742" y="2052454"/>
                    </a:lnTo>
                    <a:lnTo>
                      <a:pt x="25679461" y="2775920"/>
                    </a:lnTo>
                    <a:lnTo>
                      <a:pt x="25751806" y="3806840"/>
                    </a:lnTo>
                    <a:lnTo>
                      <a:pt x="26157237" y="4322377"/>
                    </a:lnTo>
                    <a:close/>
                  </a:path>
                </a:pathLst>
              </a:custGeom>
              <a:grpFill/>
              <a:ln w="12700" cap="flat">
                <a:solidFill>
                  <a:schemeClr val="bg1"/>
                </a:solidFill>
                <a:prstDash val="solid"/>
                <a:miter/>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1" name="任意多边形 111">
                <a:extLst>
                  <a:ext uri="{FF2B5EF4-FFF2-40B4-BE49-F238E27FC236}">
                    <a16:creationId xmlns:a16="http://schemas.microsoft.com/office/drawing/2014/main" id="{22788162-0B7B-89BA-1A59-1167EE61430C}"/>
                  </a:ext>
                </a:extLst>
              </p:cNvPr>
              <p:cNvSpPr>
                <a:spLocks/>
              </p:cNvSpPr>
              <p:nvPr/>
            </p:nvSpPr>
            <p:spPr bwMode="auto">
              <a:xfrm>
                <a:off x="4595197" y="2461260"/>
                <a:ext cx="830131" cy="1007110"/>
              </a:xfrm>
              <a:custGeom>
                <a:avLst/>
                <a:gdLst>
                  <a:gd name="T0" fmla="*/ 0 w 2615"/>
                  <a:gd name="T1" fmla="*/ 877971 h 3172"/>
                  <a:gd name="T2" fmla="*/ 9526 w 2615"/>
                  <a:gd name="T3" fmla="*/ 982701 h 3172"/>
                  <a:gd name="T4" fmla="*/ 123826 w 2615"/>
                  <a:gd name="T5" fmla="*/ 901738 h 3172"/>
                  <a:gd name="T6" fmla="*/ 164307 w 2615"/>
                  <a:gd name="T7" fmla="*/ 1013658 h 3172"/>
                  <a:gd name="T8" fmla="*/ 45243 w 2615"/>
                  <a:gd name="T9" fmla="*/ 1070806 h 3172"/>
                  <a:gd name="T10" fmla="*/ 150019 w 2615"/>
                  <a:gd name="T11" fmla="*/ 1139863 h 3172"/>
                  <a:gd name="T12" fmla="*/ 288132 w 2615"/>
                  <a:gd name="T13" fmla="*/ 1149388 h 3172"/>
                  <a:gd name="T14" fmla="*/ 269080 w 2615"/>
                  <a:gd name="T15" fmla="*/ 1258924 h 3172"/>
                  <a:gd name="T16" fmla="*/ 178593 w 2615"/>
                  <a:gd name="T17" fmla="*/ 1282737 h 3172"/>
                  <a:gd name="T18" fmla="*/ 228600 w 2615"/>
                  <a:gd name="T19" fmla="*/ 1401799 h 3172"/>
                  <a:gd name="T20" fmla="*/ 319086 w 2615"/>
                  <a:gd name="T21" fmla="*/ 1589915 h 3172"/>
                  <a:gd name="T22" fmla="*/ 340517 w 2615"/>
                  <a:gd name="T23" fmla="*/ 1861376 h 3172"/>
                  <a:gd name="T24" fmla="*/ 269079 w 2615"/>
                  <a:gd name="T25" fmla="*/ 2001869 h 3172"/>
                  <a:gd name="T26" fmla="*/ 371473 w 2615"/>
                  <a:gd name="T27" fmla="*/ 2180463 h 3172"/>
                  <a:gd name="T28" fmla="*/ 271460 w 2615"/>
                  <a:gd name="T29" fmla="*/ 2225705 h 3172"/>
                  <a:gd name="T30" fmla="*/ 238123 w 2615"/>
                  <a:gd name="T31" fmla="*/ 2368579 h 3172"/>
                  <a:gd name="T32" fmla="*/ 334487 w 2615"/>
                  <a:gd name="T33" fmla="*/ 2484765 h 3172"/>
                  <a:gd name="T34" fmla="*/ 471485 w 2615"/>
                  <a:gd name="T35" fmla="*/ 2606703 h 3172"/>
                  <a:gd name="T36" fmla="*/ 357185 w 2615"/>
                  <a:gd name="T37" fmla="*/ 2723382 h 3172"/>
                  <a:gd name="T38" fmla="*/ 440527 w 2615"/>
                  <a:gd name="T39" fmla="*/ 2811489 h 3172"/>
                  <a:gd name="T40" fmla="*/ 769139 w 2615"/>
                  <a:gd name="T41" fmla="*/ 2906739 h 3172"/>
                  <a:gd name="T42" fmla="*/ 973926 w 2615"/>
                  <a:gd name="T43" fmla="*/ 2985319 h 3172"/>
                  <a:gd name="T44" fmla="*/ 950112 w 2615"/>
                  <a:gd name="T45" fmla="*/ 3075806 h 3172"/>
                  <a:gd name="T46" fmla="*/ 885818 w 2615"/>
                  <a:gd name="T47" fmla="*/ 3242493 h 3172"/>
                  <a:gd name="T48" fmla="*/ 1007259 w 2615"/>
                  <a:gd name="T49" fmla="*/ 3249638 h 3172"/>
                  <a:gd name="T50" fmla="*/ 1131085 w 2615"/>
                  <a:gd name="T51" fmla="*/ 3121049 h 3172"/>
                  <a:gd name="T52" fmla="*/ 1345398 w 2615"/>
                  <a:gd name="T53" fmla="*/ 3013894 h 3172"/>
                  <a:gd name="T54" fmla="*/ 1502558 w 2615"/>
                  <a:gd name="T55" fmla="*/ 3009131 h 3172"/>
                  <a:gd name="T56" fmla="*/ 1697821 w 2615"/>
                  <a:gd name="T57" fmla="*/ 2899594 h 3172"/>
                  <a:gd name="T58" fmla="*/ 1800212 w 2615"/>
                  <a:gd name="T59" fmla="*/ 2668613 h 3172"/>
                  <a:gd name="T60" fmla="*/ 2016905 w 2615"/>
                  <a:gd name="T61" fmla="*/ 2709095 h 3172"/>
                  <a:gd name="T62" fmla="*/ 2164543 w 2615"/>
                  <a:gd name="T63" fmla="*/ 2713858 h 3172"/>
                  <a:gd name="T64" fmla="*/ 2121679 w 2615"/>
                  <a:gd name="T65" fmla="*/ 2871020 h 3172"/>
                  <a:gd name="T66" fmla="*/ 2207907 w 2615"/>
                  <a:gd name="T67" fmla="*/ 3025008 h 3172"/>
                  <a:gd name="T68" fmla="*/ 2488389 w 2615"/>
                  <a:gd name="T69" fmla="*/ 3037709 h 3172"/>
                  <a:gd name="T70" fmla="*/ 2676509 w 2615"/>
                  <a:gd name="T71" fmla="*/ 2792441 h 3172"/>
                  <a:gd name="T72" fmla="*/ 2595546 w 2615"/>
                  <a:gd name="T73" fmla="*/ 2559078 h 3172"/>
                  <a:gd name="T74" fmla="*/ 2347133 w 2615"/>
                  <a:gd name="T75" fmla="*/ 2261454 h 3172"/>
                  <a:gd name="T76" fmla="*/ 2464577 w 2615"/>
                  <a:gd name="T77" fmla="*/ 2116168 h 3172"/>
                  <a:gd name="T78" fmla="*/ 2678889 w 2615"/>
                  <a:gd name="T79" fmla="*/ 1930432 h 3172"/>
                  <a:gd name="T80" fmla="*/ 2678093 w 2615"/>
                  <a:gd name="T81" fmla="*/ 1666453 h 3172"/>
                  <a:gd name="T82" fmla="*/ 2048418 w 2615"/>
                  <a:gd name="T83" fmla="*/ 889742 h 3172"/>
                  <a:gd name="T84" fmla="*/ 1796250 w 2615"/>
                  <a:gd name="T85" fmla="*/ 626836 h 3172"/>
                  <a:gd name="T86" fmla="*/ 1502649 w 2615"/>
                  <a:gd name="T87" fmla="*/ 460378 h 3172"/>
                  <a:gd name="T88" fmla="*/ 1364578 w 2615"/>
                  <a:gd name="T89" fmla="*/ 395289 h 3172"/>
                  <a:gd name="T90" fmla="*/ 1264594 w 2615"/>
                  <a:gd name="T91" fmla="*/ 266701 h 3172"/>
                  <a:gd name="T92" fmla="*/ 1435995 w 2615"/>
                  <a:gd name="T93" fmla="*/ 190501 h 3172"/>
                  <a:gd name="T94" fmla="*/ 1469322 w 2615"/>
                  <a:gd name="T95" fmla="*/ 0 h 3172"/>
                  <a:gd name="T96" fmla="*/ 1231267 w 2615"/>
                  <a:gd name="T97" fmla="*/ 104775 h 3172"/>
                  <a:gd name="T98" fmla="*/ 1144255 w 2615"/>
                  <a:gd name="T99" fmla="*/ 92908 h 3172"/>
                  <a:gd name="T100" fmla="*/ 1102720 w 2615"/>
                  <a:gd name="T101" fmla="*/ 257179 h 3172"/>
                  <a:gd name="T102" fmla="*/ 888470 w 2615"/>
                  <a:gd name="T103" fmla="*/ 357191 h 3172"/>
                  <a:gd name="T104" fmla="*/ 755159 w 2615"/>
                  <a:gd name="T105" fmla="*/ 528641 h 3172"/>
                  <a:gd name="T106" fmla="*/ 531389 w 2615"/>
                  <a:gd name="T107" fmla="*/ 623889 h 3172"/>
                  <a:gd name="T108" fmla="*/ 459972 w 2615"/>
                  <a:gd name="T109" fmla="*/ 766766 h 3172"/>
                  <a:gd name="T110" fmla="*/ 264769 w 2615"/>
                  <a:gd name="T111" fmla="*/ 728663 h 3172"/>
                  <a:gd name="T112" fmla="*/ 0 w 2615"/>
                  <a:gd name="T113" fmla="*/ 877971 h 31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615" h="3172">
                    <a:moveTo>
                      <a:pt x="0" y="858"/>
                    </a:moveTo>
                    <a:lnTo>
                      <a:pt x="7" y="955"/>
                    </a:lnTo>
                    <a:lnTo>
                      <a:pt x="119" y="880"/>
                    </a:lnTo>
                    <a:lnTo>
                      <a:pt x="160" y="990"/>
                    </a:lnTo>
                    <a:lnTo>
                      <a:pt x="44" y="1046"/>
                    </a:lnTo>
                    <a:lnTo>
                      <a:pt x="146" y="1114"/>
                    </a:lnTo>
                    <a:lnTo>
                      <a:pt x="281" y="1123"/>
                    </a:lnTo>
                    <a:lnTo>
                      <a:pt x="263" y="1230"/>
                    </a:lnTo>
                    <a:lnTo>
                      <a:pt x="174" y="1253"/>
                    </a:lnTo>
                    <a:lnTo>
                      <a:pt x="223" y="1370"/>
                    </a:lnTo>
                    <a:lnTo>
                      <a:pt x="312" y="1553"/>
                    </a:lnTo>
                    <a:lnTo>
                      <a:pt x="333" y="1819"/>
                    </a:lnTo>
                    <a:lnTo>
                      <a:pt x="263" y="1956"/>
                    </a:lnTo>
                    <a:lnTo>
                      <a:pt x="363" y="2130"/>
                    </a:lnTo>
                    <a:lnTo>
                      <a:pt x="265" y="2175"/>
                    </a:lnTo>
                    <a:lnTo>
                      <a:pt x="233" y="2314"/>
                    </a:lnTo>
                    <a:lnTo>
                      <a:pt x="327" y="2428"/>
                    </a:lnTo>
                    <a:lnTo>
                      <a:pt x="460" y="2547"/>
                    </a:lnTo>
                    <a:lnTo>
                      <a:pt x="349" y="2661"/>
                    </a:lnTo>
                    <a:lnTo>
                      <a:pt x="430" y="2747"/>
                    </a:lnTo>
                    <a:lnTo>
                      <a:pt x="751" y="2840"/>
                    </a:lnTo>
                    <a:lnTo>
                      <a:pt x="952" y="2913"/>
                    </a:lnTo>
                    <a:lnTo>
                      <a:pt x="922" y="3013"/>
                    </a:lnTo>
                    <a:lnTo>
                      <a:pt x="863" y="3165"/>
                    </a:lnTo>
                    <a:lnTo>
                      <a:pt x="977" y="3172"/>
                    </a:lnTo>
                    <a:lnTo>
                      <a:pt x="1105" y="3049"/>
                    </a:lnTo>
                    <a:lnTo>
                      <a:pt x="1314" y="2945"/>
                    </a:lnTo>
                    <a:lnTo>
                      <a:pt x="1467" y="2940"/>
                    </a:lnTo>
                    <a:lnTo>
                      <a:pt x="1651" y="2835"/>
                    </a:lnTo>
                    <a:lnTo>
                      <a:pt x="1756" y="2602"/>
                    </a:lnTo>
                    <a:lnTo>
                      <a:pt x="1948" y="2641"/>
                    </a:lnTo>
                    <a:lnTo>
                      <a:pt x="2114" y="2652"/>
                    </a:lnTo>
                    <a:lnTo>
                      <a:pt x="2072" y="2805"/>
                    </a:lnTo>
                    <a:lnTo>
                      <a:pt x="2156" y="2956"/>
                    </a:lnTo>
                    <a:lnTo>
                      <a:pt x="2430" y="2968"/>
                    </a:lnTo>
                    <a:lnTo>
                      <a:pt x="2614" y="2728"/>
                    </a:lnTo>
                    <a:lnTo>
                      <a:pt x="2535" y="2500"/>
                    </a:lnTo>
                    <a:lnTo>
                      <a:pt x="2292" y="2210"/>
                    </a:lnTo>
                    <a:lnTo>
                      <a:pt x="2407" y="2068"/>
                    </a:lnTo>
                    <a:lnTo>
                      <a:pt x="2609" y="1891"/>
                    </a:lnTo>
                    <a:lnTo>
                      <a:pt x="2615" y="1628"/>
                    </a:lnTo>
                    <a:lnTo>
                      <a:pt x="2000" y="869"/>
                    </a:lnTo>
                    <a:lnTo>
                      <a:pt x="1754" y="612"/>
                    </a:lnTo>
                    <a:lnTo>
                      <a:pt x="1467" y="450"/>
                    </a:lnTo>
                    <a:lnTo>
                      <a:pt x="1333" y="386"/>
                    </a:lnTo>
                    <a:lnTo>
                      <a:pt x="1235" y="261"/>
                    </a:lnTo>
                    <a:lnTo>
                      <a:pt x="1402" y="186"/>
                    </a:lnTo>
                    <a:lnTo>
                      <a:pt x="1435" y="0"/>
                    </a:lnTo>
                    <a:lnTo>
                      <a:pt x="1207" y="97"/>
                    </a:lnTo>
                    <a:lnTo>
                      <a:pt x="1123" y="94"/>
                    </a:lnTo>
                    <a:lnTo>
                      <a:pt x="1077" y="251"/>
                    </a:lnTo>
                    <a:lnTo>
                      <a:pt x="868" y="349"/>
                    </a:lnTo>
                    <a:lnTo>
                      <a:pt x="737" y="516"/>
                    </a:lnTo>
                    <a:lnTo>
                      <a:pt x="519" y="610"/>
                    </a:lnTo>
                    <a:lnTo>
                      <a:pt x="449" y="749"/>
                    </a:lnTo>
                    <a:lnTo>
                      <a:pt x="259" y="712"/>
                    </a:lnTo>
                    <a:lnTo>
                      <a:pt x="0" y="858"/>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2" name="任意多边形 112">
                <a:extLst>
                  <a:ext uri="{FF2B5EF4-FFF2-40B4-BE49-F238E27FC236}">
                    <a16:creationId xmlns:a16="http://schemas.microsoft.com/office/drawing/2014/main" id="{42B32FFC-957B-EB8E-0142-5ED1469CD26C}"/>
                  </a:ext>
                </a:extLst>
              </p:cNvPr>
              <p:cNvSpPr>
                <a:spLocks/>
              </p:cNvSpPr>
              <p:nvPr/>
            </p:nvSpPr>
            <p:spPr bwMode="auto">
              <a:xfrm>
                <a:off x="4082516" y="4405630"/>
                <a:ext cx="1070440" cy="855980"/>
              </a:xfrm>
              <a:custGeom>
                <a:avLst/>
                <a:gdLst>
                  <a:gd name="T0" fmla="*/ 215558 w 13103724"/>
                  <a:gd name="T1" fmla="*/ 1849899 h 10479261"/>
                  <a:gd name="T2" fmla="*/ 264663 w 13103724"/>
                  <a:gd name="T3" fmla="*/ 2011576 h 10479261"/>
                  <a:gd name="T4" fmla="*/ 339518 w 13103724"/>
                  <a:gd name="T5" fmla="*/ 2103213 h 10479261"/>
                  <a:gd name="T6" fmla="*/ 499210 w 13103724"/>
                  <a:gd name="T7" fmla="*/ 2104344 h 10479261"/>
                  <a:gd name="T8" fmla="*/ 617617 w 13103724"/>
                  <a:gd name="T9" fmla="*/ 2307580 h 10479261"/>
                  <a:gd name="T10" fmla="*/ 633269 w 13103724"/>
                  <a:gd name="T11" fmla="*/ 2513082 h 10479261"/>
                  <a:gd name="T12" fmla="*/ 773543 w 13103724"/>
                  <a:gd name="T13" fmla="*/ 2644339 h 10479261"/>
                  <a:gd name="T14" fmla="*/ 1027507 w 13103724"/>
                  <a:gd name="T15" fmla="*/ 2759865 h 10479261"/>
                  <a:gd name="T16" fmla="*/ 1051685 w 13103724"/>
                  <a:gd name="T17" fmla="*/ 2610750 h 10479261"/>
                  <a:gd name="T18" fmla="*/ 1166964 w 13103724"/>
                  <a:gd name="T19" fmla="*/ 2547876 h 10479261"/>
                  <a:gd name="T20" fmla="*/ 1146003 w 13103724"/>
                  <a:gd name="T21" fmla="*/ 2436415 h 10479261"/>
                  <a:gd name="T22" fmla="*/ 1506126 w 13103724"/>
                  <a:gd name="T23" fmla="*/ 2365920 h 10479261"/>
                  <a:gd name="T24" fmla="*/ 1740489 w 13103724"/>
                  <a:gd name="T25" fmla="*/ 2396405 h 10479261"/>
                  <a:gd name="T26" fmla="*/ 1973903 w 13103724"/>
                  <a:gd name="T27" fmla="*/ 2426890 h 10479261"/>
                  <a:gd name="T28" fmla="*/ 2112996 w 13103724"/>
                  <a:gd name="T29" fmla="*/ 2515488 h 10479261"/>
                  <a:gd name="T30" fmla="*/ 2225144 w 13103724"/>
                  <a:gd name="T31" fmla="*/ 2500704 h 10479261"/>
                  <a:gd name="T32" fmla="*/ 2314968 w 13103724"/>
                  <a:gd name="T33" fmla="*/ 2588842 h 10479261"/>
                  <a:gd name="T34" fmla="*/ 2423577 w 13103724"/>
                  <a:gd name="T35" fmla="*/ 2555498 h 10479261"/>
                  <a:gd name="T36" fmla="*/ 2370225 w 13103724"/>
                  <a:gd name="T37" fmla="*/ 2466900 h 10479261"/>
                  <a:gd name="T38" fmla="*/ 2377846 w 13103724"/>
                  <a:gd name="T39" fmla="*/ 2324955 h 10479261"/>
                  <a:gd name="T40" fmla="*/ 2454063 w 13103724"/>
                  <a:gd name="T41" fmla="*/ 2147761 h 10479261"/>
                  <a:gd name="T42" fmla="*/ 2550287 w 13103724"/>
                  <a:gd name="T43" fmla="*/ 2046780 h 10479261"/>
                  <a:gd name="T44" fmla="*/ 2727489 w 13103724"/>
                  <a:gd name="T45" fmla="*/ 1942940 h 10479261"/>
                  <a:gd name="T46" fmla="*/ 2885636 w 13103724"/>
                  <a:gd name="T47" fmla="*/ 2026775 h 10479261"/>
                  <a:gd name="T48" fmla="*/ 3164778 w 13103724"/>
                  <a:gd name="T49" fmla="*/ 2145856 h 10479261"/>
                  <a:gd name="T50" fmla="*/ 3450477 w 13103724"/>
                  <a:gd name="T51" fmla="*/ 2203796 h 10479261"/>
                  <a:gd name="T52" fmla="*/ 3451225 w 13103724"/>
                  <a:gd name="T53" fmla="*/ 1928333 h 10479261"/>
                  <a:gd name="T54" fmla="*/ 3260683 w 13103724"/>
                  <a:gd name="T55" fmla="*/ 1567910 h 10479261"/>
                  <a:gd name="T56" fmla="*/ 3182087 w 13103724"/>
                  <a:gd name="T57" fmla="*/ 1211289 h 10479261"/>
                  <a:gd name="T58" fmla="*/ 2804975 w 13103724"/>
                  <a:gd name="T59" fmla="*/ 1066182 h 10479261"/>
                  <a:gd name="T60" fmla="*/ 2749400 w 13103724"/>
                  <a:gd name="T61" fmla="*/ 853422 h 10479261"/>
                  <a:gd name="T62" fmla="*/ 2511225 w 13103724"/>
                  <a:gd name="T63" fmla="*/ 615257 h 10479261"/>
                  <a:gd name="T64" fmla="*/ 2442947 w 13103724"/>
                  <a:gd name="T65" fmla="*/ 336606 h 10479261"/>
                  <a:gd name="T66" fmla="*/ 2352490 w 13103724"/>
                  <a:gd name="T67" fmla="*/ 0 h 10479261"/>
                  <a:gd name="T68" fmla="*/ 420012 w 13103724"/>
                  <a:gd name="T69" fmla="*/ 146051 h 10479261"/>
                  <a:gd name="T70" fmla="*/ 0 w 13103724"/>
                  <a:gd name="T71" fmla="*/ 165957 h 10479261"/>
                  <a:gd name="T72" fmla="*/ 420954 w 13103724"/>
                  <a:gd name="T73" fmla="*/ 1212935 h 10479261"/>
                  <a:gd name="T74" fmla="*/ 391919 w 13103724"/>
                  <a:gd name="T75" fmla="*/ 1419571 h 10479261"/>
                  <a:gd name="T76" fmla="*/ 331583 w 13103724"/>
                  <a:gd name="T77" fmla="*/ 1649571 h 10479261"/>
                  <a:gd name="T78" fmla="*/ 215558 w 13103724"/>
                  <a:gd name="T79" fmla="*/ 1849899 h 1047926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3103724" h="10479261">
                    <a:moveTo>
                      <a:pt x="818438" y="7024103"/>
                    </a:moveTo>
                    <a:lnTo>
                      <a:pt x="1004880" y="7637995"/>
                    </a:lnTo>
                    <a:lnTo>
                      <a:pt x="1289094" y="7985936"/>
                    </a:lnTo>
                    <a:lnTo>
                      <a:pt x="1895417" y="7990235"/>
                    </a:lnTo>
                    <a:lnTo>
                      <a:pt x="2344988" y="8761920"/>
                    </a:lnTo>
                    <a:lnTo>
                      <a:pt x="2404414" y="9542218"/>
                    </a:lnTo>
                    <a:lnTo>
                      <a:pt x="2937013" y="10040601"/>
                    </a:lnTo>
                    <a:lnTo>
                      <a:pt x="3901270" y="10479261"/>
                    </a:lnTo>
                    <a:lnTo>
                      <a:pt x="3993071" y="9913071"/>
                    </a:lnTo>
                    <a:lnTo>
                      <a:pt x="4430767" y="9674335"/>
                    </a:lnTo>
                    <a:lnTo>
                      <a:pt x="4351183" y="9251116"/>
                    </a:lnTo>
                    <a:lnTo>
                      <a:pt x="5718509" y="8983442"/>
                    </a:lnTo>
                    <a:lnTo>
                      <a:pt x="6608347" y="9099194"/>
                    </a:lnTo>
                    <a:lnTo>
                      <a:pt x="7494577" y="9214947"/>
                    </a:lnTo>
                    <a:lnTo>
                      <a:pt x="8022695" y="9551352"/>
                    </a:lnTo>
                    <a:lnTo>
                      <a:pt x="8448500" y="9495222"/>
                    </a:lnTo>
                    <a:lnTo>
                      <a:pt x="8789549" y="9829880"/>
                    </a:lnTo>
                    <a:lnTo>
                      <a:pt x="9201915" y="9703273"/>
                    </a:lnTo>
                    <a:lnTo>
                      <a:pt x="8999347" y="9366869"/>
                    </a:lnTo>
                    <a:lnTo>
                      <a:pt x="9028285" y="8827897"/>
                    </a:lnTo>
                    <a:lnTo>
                      <a:pt x="9317667" y="8155088"/>
                    </a:lnTo>
                    <a:lnTo>
                      <a:pt x="9683010" y="7771661"/>
                    </a:lnTo>
                    <a:lnTo>
                      <a:pt x="10355819" y="7377380"/>
                    </a:lnTo>
                    <a:lnTo>
                      <a:pt x="10956275" y="7695700"/>
                    </a:lnTo>
                    <a:lnTo>
                      <a:pt x="12016134" y="8147857"/>
                    </a:lnTo>
                    <a:lnTo>
                      <a:pt x="13100884" y="8367852"/>
                    </a:lnTo>
                    <a:cubicBezTo>
                      <a:pt x="13101831" y="8019208"/>
                      <a:pt x="13102777" y="7670563"/>
                      <a:pt x="13103724" y="7321919"/>
                    </a:cubicBezTo>
                    <a:lnTo>
                      <a:pt x="12380269" y="5953386"/>
                    </a:lnTo>
                    <a:lnTo>
                      <a:pt x="12081849" y="4599284"/>
                    </a:lnTo>
                    <a:lnTo>
                      <a:pt x="10650016" y="4048312"/>
                    </a:lnTo>
                    <a:lnTo>
                      <a:pt x="10439011" y="3240458"/>
                    </a:lnTo>
                    <a:lnTo>
                      <a:pt x="9534696" y="2336143"/>
                    </a:lnTo>
                    <a:lnTo>
                      <a:pt x="9275460" y="1278099"/>
                    </a:lnTo>
                    <a:lnTo>
                      <a:pt x="8932015" y="0"/>
                    </a:lnTo>
                    <a:lnTo>
                      <a:pt x="1594715" y="554558"/>
                    </a:lnTo>
                    <a:lnTo>
                      <a:pt x="0" y="630142"/>
                    </a:lnTo>
                    <a:lnTo>
                      <a:pt x="1598292" y="4605539"/>
                    </a:lnTo>
                    <a:lnTo>
                      <a:pt x="1488049" y="5390136"/>
                    </a:lnTo>
                    <a:lnTo>
                      <a:pt x="1258963" y="6263454"/>
                    </a:lnTo>
                    <a:lnTo>
                      <a:pt x="818438" y="7024103"/>
                    </a:lnTo>
                    <a:close/>
                  </a:path>
                </a:pathLst>
              </a:custGeom>
              <a:solidFill>
                <a:schemeClr val="tx2">
                  <a:lumMod val="75000"/>
                  <a:lumOff val="25000"/>
                </a:schemeClr>
              </a:solid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3" name="任意多边形 113">
                <a:extLst>
                  <a:ext uri="{FF2B5EF4-FFF2-40B4-BE49-F238E27FC236}">
                    <a16:creationId xmlns:a16="http://schemas.microsoft.com/office/drawing/2014/main" id="{56D0F0CA-2EFC-BB34-C11F-6AA777733070}"/>
                  </a:ext>
                </a:extLst>
              </p:cNvPr>
              <p:cNvSpPr>
                <a:spLocks/>
              </p:cNvSpPr>
              <p:nvPr/>
            </p:nvSpPr>
            <p:spPr bwMode="auto">
              <a:xfrm>
                <a:off x="3578406" y="4457383"/>
                <a:ext cx="830765" cy="1209993"/>
              </a:xfrm>
              <a:custGeom>
                <a:avLst/>
                <a:gdLst>
                  <a:gd name="T0" fmla="*/ 1841986 w 10172266"/>
                  <a:gd name="T1" fmla="*/ 1683352 h 14815417"/>
                  <a:gd name="T2" fmla="*/ 1891073 w 10172266"/>
                  <a:gd name="T3" fmla="*/ 1844973 h 14815417"/>
                  <a:gd name="T4" fmla="*/ 1965899 w 10172266"/>
                  <a:gd name="T5" fmla="*/ 1936575 h 14815417"/>
                  <a:gd name="T6" fmla="*/ 2125529 w 10172266"/>
                  <a:gd name="T7" fmla="*/ 1937708 h 14815417"/>
                  <a:gd name="T8" fmla="*/ 2243890 w 10172266"/>
                  <a:gd name="T9" fmla="*/ 2140870 h 14815417"/>
                  <a:gd name="T10" fmla="*/ 2259535 w 10172266"/>
                  <a:gd name="T11" fmla="*/ 2346301 h 14815417"/>
                  <a:gd name="T12" fmla="*/ 2399756 w 10172266"/>
                  <a:gd name="T13" fmla="*/ 2477512 h 14815417"/>
                  <a:gd name="T14" fmla="*/ 2653621 w 10172266"/>
                  <a:gd name="T15" fmla="*/ 2592998 h 14815417"/>
                  <a:gd name="T16" fmla="*/ 2678112 w 10172266"/>
                  <a:gd name="T17" fmla="*/ 2693443 h 14815417"/>
                  <a:gd name="T18" fmla="*/ 2565419 w 10172266"/>
                  <a:gd name="T19" fmla="*/ 2728360 h 14815417"/>
                  <a:gd name="T20" fmla="*/ 2479707 w 10172266"/>
                  <a:gd name="T21" fmla="*/ 2874385 h 14815417"/>
                  <a:gd name="T22" fmla="*/ 2355905 w 10172266"/>
                  <a:gd name="T23" fmla="*/ 2798198 h 14815417"/>
                  <a:gd name="T24" fmla="*/ 2194007 w 10172266"/>
                  <a:gd name="T25" fmla="*/ 3021994 h 14815417"/>
                  <a:gd name="T26" fmla="*/ 1917831 w 10172266"/>
                  <a:gd name="T27" fmla="*/ 3136271 h 14815417"/>
                  <a:gd name="T28" fmla="*/ 1746412 w 10172266"/>
                  <a:gd name="T29" fmla="*/ 3312451 h 14815417"/>
                  <a:gd name="T30" fmla="*/ 1427378 w 10172266"/>
                  <a:gd name="T31" fmla="*/ 3664810 h 14815417"/>
                  <a:gd name="T32" fmla="*/ 1451188 w 10172266"/>
                  <a:gd name="T33" fmla="*/ 3850512 h 14815417"/>
                  <a:gd name="T34" fmla="*/ 1243325 w 10172266"/>
                  <a:gd name="T35" fmla="*/ 3900487 h 14815417"/>
                  <a:gd name="T36" fmla="*/ 1103584 w 10172266"/>
                  <a:gd name="T37" fmla="*/ 3764805 h 14815417"/>
                  <a:gd name="T38" fmla="*/ 1203582 w 10172266"/>
                  <a:gd name="T39" fmla="*/ 3588625 h 14815417"/>
                  <a:gd name="T40" fmla="*/ 998830 w 10172266"/>
                  <a:gd name="T41" fmla="*/ 3464824 h 14815417"/>
                  <a:gd name="T42" fmla="*/ 379810 w 10172266"/>
                  <a:gd name="T43" fmla="*/ 3493399 h 14815417"/>
                  <a:gd name="T44" fmla="*/ 256009 w 10172266"/>
                  <a:gd name="T45" fmla="*/ 2874383 h 14815417"/>
                  <a:gd name="T46" fmla="*/ 0 w 10172266"/>
                  <a:gd name="T47" fmla="*/ 2870986 h 14815417"/>
                  <a:gd name="T48" fmla="*/ 21025 w 10172266"/>
                  <a:gd name="T49" fmla="*/ 2662512 h 14815417"/>
                  <a:gd name="T50" fmla="*/ 189345 w 10172266"/>
                  <a:gd name="T51" fmla="*/ 2512504 h 14815417"/>
                  <a:gd name="T52" fmla="*/ 379813 w 10172266"/>
                  <a:gd name="T53" fmla="*/ 2369657 h 14815417"/>
                  <a:gd name="T54" fmla="*/ 598850 w 10172266"/>
                  <a:gd name="T55" fmla="*/ 2217285 h 14815417"/>
                  <a:gd name="T56" fmla="*/ 770270 w 10172266"/>
                  <a:gd name="T57" fmla="*/ 2164907 h 14815417"/>
                  <a:gd name="T58" fmla="*/ 967152 w 10172266"/>
                  <a:gd name="T59" fmla="*/ 2010141 h 14815417"/>
                  <a:gd name="T60" fmla="*/ 865501 w 10172266"/>
                  <a:gd name="T61" fmla="*/ 1864925 h 14815417"/>
                  <a:gd name="T62" fmla="*/ 1046447 w 10172266"/>
                  <a:gd name="T63" fmla="*/ 1669700 h 14815417"/>
                  <a:gd name="T64" fmla="*/ 1003590 w 10172266"/>
                  <a:gd name="T65" fmla="*/ 1550660 h 14815417"/>
                  <a:gd name="T66" fmla="*/ 1070254 w 10172266"/>
                  <a:gd name="T67" fmla="*/ 1379243 h 14815417"/>
                  <a:gd name="T68" fmla="*/ 832169 w 10172266"/>
                  <a:gd name="T69" fmla="*/ 1160207 h 14815417"/>
                  <a:gd name="T70" fmla="*/ 813123 w 10172266"/>
                  <a:gd name="T71" fmla="*/ 712616 h 14815417"/>
                  <a:gd name="T72" fmla="*/ 675034 w 10172266"/>
                  <a:gd name="T73" fmla="*/ 455490 h 14815417"/>
                  <a:gd name="T74" fmla="*/ 703605 w 10172266"/>
                  <a:gd name="T75" fmla="*/ 322166 h 14815417"/>
                  <a:gd name="T76" fmla="*/ 732174 w 10172266"/>
                  <a:gd name="T77" fmla="*/ 40437 h 14815417"/>
                  <a:gd name="T78" fmla="*/ 1626512 w 10172266"/>
                  <a:gd name="T79" fmla="*/ 0 h 14815417"/>
                  <a:gd name="T80" fmla="*/ 2047304 w 10172266"/>
                  <a:gd name="T81" fmla="*/ 1046611 h 14815417"/>
                  <a:gd name="T82" fmla="*/ 2018279 w 10172266"/>
                  <a:gd name="T83" fmla="*/ 1253174 h 14815417"/>
                  <a:gd name="T84" fmla="*/ 1957966 w 10172266"/>
                  <a:gd name="T85" fmla="*/ 1483095 h 14815417"/>
                  <a:gd name="T86" fmla="*/ 1841986 w 10172266"/>
                  <a:gd name="T87" fmla="*/ 1683352 h 1481541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0172266" h="14815417">
                    <a:moveTo>
                      <a:pt x="6996414" y="6393961"/>
                    </a:moveTo>
                    <a:lnTo>
                      <a:pt x="7182856" y="7007853"/>
                    </a:lnTo>
                    <a:lnTo>
                      <a:pt x="7467070" y="7355794"/>
                    </a:lnTo>
                    <a:lnTo>
                      <a:pt x="8073393" y="7360093"/>
                    </a:lnTo>
                    <a:lnTo>
                      <a:pt x="8522964" y="8131778"/>
                    </a:lnTo>
                    <a:lnTo>
                      <a:pt x="8582390" y="8912076"/>
                    </a:lnTo>
                    <a:lnTo>
                      <a:pt x="9114989" y="9410459"/>
                    </a:lnTo>
                    <a:lnTo>
                      <a:pt x="10079246" y="9849119"/>
                    </a:lnTo>
                    <a:lnTo>
                      <a:pt x="10172266" y="10230640"/>
                    </a:lnTo>
                    <a:lnTo>
                      <a:pt x="9744224" y="10363269"/>
                    </a:lnTo>
                    <a:lnTo>
                      <a:pt x="9418669" y="10917922"/>
                    </a:lnTo>
                    <a:lnTo>
                      <a:pt x="8948428" y="10628536"/>
                    </a:lnTo>
                    <a:lnTo>
                      <a:pt x="8333495" y="11478594"/>
                    </a:lnTo>
                    <a:lnTo>
                      <a:pt x="7284493" y="11912659"/>
                    </a:lnTo>
                    <a:lnTo>
                      <a:pt x="6633392" y="12581849"/>
                    </a:lnTo>
                    <a:lnTo>
                      <a:pt x="5421607" y="13920232"/>
                    </a:lnTo>
                    <a:lnTo>
                      <a:pt x="5512045" y="14625598"/>
                    </a:lnTo>
                    <a:lnTo>
                      <a:pt x="4722518" y="14815417"/>
                    </a:lnTo>
                    <a:lnTo>
                      <a:pt x="4191742" y="14300055"/>
                    </a:lnTo>
                    <a:lnTo>
                      <a:pt x="4571561" y="13630861"/>
                    </a:lnTo>
                    <a:lnTo>
                      <a:pt x="3793853" y="13160620"/>
                    </a:lnTo>
                    <a:lnTo>
                      <a:pt x="1442633" y="13269153"/>
                    </a:lnTo>
                    <a:lnTo>
                      <a:pt x="972399" y="10917914"/>
                    </a:lnTo>
                    <a:lnTo>
                      <a:pt x="0" y="10905013"/>
                    </a:lnTo>
                    <a:lnTo>
                      <a:pt x="79861" y="10113155"/>
                    </a:lnTo>
                    <a:lnTo>
                      <a:pt x="719190" y="9543373"/>
                    </a:lnTo>
                    <a:lnTo>
                      <a:pt x="1442641" y="9000786"/>
                    </a:lnTo>
                    <a:lnTo>
                      <a:pt x="2274610" y="8422026"/>
                    </a:lnTo>
                    <a:lnTo>
                      <a:pt x="2925715" y="8223078"/>
                    </a:lnTo>
                    <a:lnTo>
                      <a:pt x="3673532" y="7635222"/>
                    </a:lnTo>
                    <a:lnTo>
                      <a:pt x="3287431" y="7083642"/>
                    </a:lnTo>
                    <a:lnTo>
                      <a:pt x="3974717" y="6342107"/>
                    </a:lnTo>
                    <a:lnTo>
                      <a:pt x="3811934" y="5889950"/>
                    </a:lnTo>
                    <a:lnTo>
                      <a:pt x="4065143" y="5238848"/>
                    </a:lnTo>
                    <a:lnTo>
                      <a:pt x="3160825" y="4406875"/>
                    </a:lnTo>
                    <a:lnTo>
                      <a:pt x="3088483" y="2706765"/>
                    </a:lnTo>
                    <a:lnTo>
                      <a:pt x="2563980" y="1730112"/>
                    </a:lnTo>
                    <a:lnTo>
                      <a:pt x="2672502" y="1223698"/>
                    </a:lnTo>
                    <a:lnTo>
                      <a:pt x="2781017" y="153593"/>
                    </a:lnTo>
                    <a:lnTo>
                      <a:pt x="6177976" y="0"/>
                    </a:lnTo>
                    <a:lnTo>
                      <a:pt x="7776268" y="3975397"/>
                    </a:lnTo>
                    <a:lnTo>
                      <a:pt x="7666025" y="4759994"/>
                    </a:lnTo>
                    <a:lnTo>
                      <a:pt x="7436939" y="5633312"/>
                    </a:lnTo>
                    <a:lnTo>
                      <a:pt x="6996414" y="6393961"/>
                    </a:lnTo>
                    <a:close/>
                  </a:path>
                </a:pathLst>
              </a:custGeom>
              <a:solidFill>
                <a:schemeClr val="tx2">
                  <a:lumMod val="75000"/>
                  <a:lumOff val="25000"/>
                </a:schemeClr>
              </a:solid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4" name="任意多边形 114">
                <a:extLst>
                  <a:ext uri="{FF2B5EF4-FFF2-40B4-BE49-F238E27FC236}">
                    <a16:creationId xmlns:a16="http://schemas.microsoft.com/office/drawing/2014/main" id="{E7D35882-D881-99BD-BF8F-A520A332374F}"/>
                  </a:ext>
                </a:extLst>
              </p:cNvPr>
              <p:cNvSpPr>
                <a:spLocks/>
              </p:cNvSpPr>
              <p:nvPr/>
            </p:nvSpPr>
            <p:spPr bwMode="auto">
              <a:xfrm>
                <a:off x="4812333" y="4036060"/>
                <a:ext cx="1400587" cy="1052195"/>
              </a:xfrm>
              <a:custGeom>
                <a:avLst/>
                <a:gdLst/>
                <a:ahLst/>
                <a:cxnLst/>
                <a:rect l="0" t="0" r="r" b="b"/>
                <a:pathLst>
                  <a:path w="17157070" h="12886678">
                    <a:moveTo>
                      <a:pt x="0" y="4521645"/>
                    </a:moveTo>
                    <a:lnTo>
                      <a:pt x="613837" y="6900003"/>
                    </a:lnTo>
                    <a:lnTo>
                      <a:pt x="1518338" y="7768153"/>
                    </a:lnTo>
                    <a:lnTo>
                      <a:pt x="1735898" y="8600077"/>
                    </a:lnTo>
                    <a:lnTo>
                      <a:pt x="3137400" y="9124637"/>
                    </a:lnTo>
                    <a:lnTo>
                      <a:pt x="3453963" y="10481128"/>
                    </a:lnTo>
                    <a:lnTo>
                      <a:pt x="4168520" y="11855697"/>
                    </a:lnTo>
                    <a:lnTo>
                      <a:pt x="4162343" y="12886678"/>
                    </a:lnTo>
                    <a:lnTo>
                      <a:pt x="4605215" y="12802514"/>
                    </a:lnTo>
                    <a:lnTo>
                      <a:pt x="4840336" y="12513132"/>
                    </a:lnTo>
                    <a:lnTo>
                      <a:pt x="6070201" y="12531224"/>
                    </a:lnTo>
                    <a:lnTo>
                      <a:pt x="6884082" y="11934372"/>
                    </a:lnTo>
                    <a:lnTo>
                      <a:pt x="7716051" y="12259931"/>
                    </a:lnTo>
                    <a:lnTo>
                      <a:pt x="8584189" y="12060979"/>
                    </a:lnTo>
                    <a:lnTo>
                      <a:pt x="9289552" y="12259931"/>
                    </a:lnTo>
                    <a:lnTo>
                      <a:pt x="10139605" y="11862031"/>
                    </a:lnTo>
                    <a:lnTo>
                      <a:pt x="10664108" y="12079067"/>
                    </a:lnTo>
                    <a:lnTo>
                      <a:pt x="11387555" y="11988637"/>
                    </a:lnTo>
                    <a:lnTo>
                      <a:pt x="11966315" y="12712092"/>
                    </a:lnTo>
                    <a:lnTo>
                      <a:pt x="12942975" y="12476963"/>
                    </a:lnTo>
                    <a:lnTo>
                      <a:pt x="13575992" y="12874863"/>
                    </a:lnTo>
                    <a:lnTo>
                      <a:pt x="13973888" y="12784430"/>
                    </a:lnTo>
                    <a:lnTo>
                      <a:pt x="14028146" y="12241839"/>
                    </a:lnTo>
                    <a:lnTo>
                      <a:pt x="13594073" y="12187582"/>
                    </a:lnTo>
                    <a:lnTo>
                      <a:pt x="13612161" y="11500303"/>
                    </a:lnTo>
                    <a:lnTo>
                      <a:pt x="14190925" y="11355616"/>
                    </a:lnTo>
                    <a:lnTo>
                      <a:pt x="13865366" y="10885371"/>
                    </a:lnTo>
                    <a:lnTo>
                      <a:pt x="14136664" y="10487475"/>
                    </a:lnTo>
                    <a:lnTo>
                      <a:pt x="14703435" y="10514571"/>
                    </a:lnTo>
                    <a:lnTo>
                      <a:pt x="14661163" y="10342787"/>
                    </a:lnTo>
                    <a:lnTo>
                      <a:pt x="14335608" y="10180012"/>
                    </a:lnTo>
                    <a:lnTo>
                      <a:pt x="14498387" y="9601248"/>
                    </a:lnTo>
                    <a:lnTo>
                      <a:pt x="13847278" y="8696934"/>
                    </a:lnTo>
                    <a:lnTo>
                      <a:pt x="13340864" y="7991571"/>
                    </a:lnTo>
                    <a:lnTo>
                      <a:pt x="13123831" y="6906393"/>
                    </a:lnTo>
                    <a:lnTo>
                      <a:pt x="13232349" y="6219119"/>
                    </a:lnTo>
                    <a:lnTo>
                      <a:pt x="12273778" y="6252280"/>
                    </a:lnTo>
                    <a:lnTo>
                      <a:pt x="12201432" y="5854380"/>
                    </a:lnTo>
                    <a:lnTo>
                      <a:pt x="12508887" y="5350985"/>
                    </a:lnTo>
                    <a:lnTo>
                      <a:pt x="13774933" y="4573269"/>
                    </a:lnTo>
                    <a:lnTo>
                      <a:pt x="15294184" y="4066854"/>
                    </a:lnTo>
                    <a:lnTo>
                      <a:pt x="15746333" y="4392409"/>
                    </a:lnTo>
                    <a:lnTo>
                      <a:pt x="16578306" y="4103027"/>
                    </a:lnTo>
                    <a:lnTo>
                      <a:pt x="17084732" y="4500935"/>
                    </a:lnTo>
                    <a:lnTo>
                      <a:pt x="17157070" y="3560444"/>
                    </a:lnTo>
                    <a:lnTo>
                      <a:pt x="16433615" y="3470014"/>
                    </a:lnTo>
                    <a:lnTo>
                      <a:pt x="16415865" y="2853862"/>
                    </a:lnTo>
                    <a:lnTo>
                      <a:pt x="15963191" y="2993318"/>
                    </a:lnTo>
                    <a:lnTo>
                      <a:pt x="14923009" y="1763435"/>
                    </a:lnTo>
                    <a:lnTo>
                      <a:pt x="14244644" y="325540"/>
                    </a:lnTo>
                    <a:lnTo>
                      <a:pt x="13367278" y="614945"/>
                    </a:lnTo>
                    <a:lnTo>
                      <a:pt x="12218563" y="623988"/>
                    </a:lnTo>
                    <a:lnTo>
                      <a:pt x="11323109" y="36169"/>
                    </a:lnTo>
                    <a:lnTo>
                      <a:pt x="10780410" y="488337"/>
                    </a:lnTo>
                    <a:lnTo>
                      <a:pt x="10038717" y="687288"/>
                    </a:lnTo>
                    <a:lnTo>
                      <a:pt x="9622651" y="81389"/>
                    </a:lnTo>
                    <a:lnTo>
                      <a:pt x="8672925" y="280344"/>
                    </a:lnTo>
                    <a:lnTo>
                      <a:pt x="7759379" y="0"/>
                    </a:lnTo>
                    <a:lnTo>
                      <a:pt x="6729494" y="443189"/>
                    </a:lnTo>
                    <a:lnTo>
                      <a:pt x="6493079" y="1012843"/>
                    </a:lnTo>
                    <a:lnTo>
                      <a:pt x="6710175" y="2161345"/>
                    </a:lnTo>
                    <a:lnTo>
                      <a:pt x="5290099" y="2134207"/>
                    </a:lnTo>
                    <a:lnTo>
                      <a:pt x="2314296" y="2369327"/>
                    </a:lnTo>
                    <a:lnTo>
                      <a:pt x="1334589" y="3174199"/>
                    </a:lnTo>
                    <a:lnTo>
                      <a:pt x="0" y="4521645"/>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5" name="任意多边形 115">
                <a:extLst>
                  <a:ext uri="{FF2B5EF4-FFF2-40B4-BE49-F238E27FC236}">
                    <a16:creationId xmlns:a16="http://schemas.microsoft.com/office/drawing/2014/main" id="{E0296CFA-EFF0-F8B5-9177-912B7080DA3D}"/>
                  </a:ext>
                </a:extLst>
              </p:cNvPr>
              <p:cNvSpPr>
                <a:spLocks/>
              </p:cNvSpPr>
              <p:nvPr/>
            </p:nvSpPr>
            <p:spPr bwMode="auto">
              <a:xfrm>
                <a:off x="1061349" y="4204335"/>
                <a:ext cx="1065678" cy="1160145"/>
              </a:xfrm>
              <a:custGeom>
                <a:avLst/>
                <a:gdLst>
                  <a:gd name="T0" fmla="*/ 610215 w 2165"/>
                  <a:gd name="T1" fmla="*/ 867849 h 2356"/>
                  <a:gd name="T2" fmla="*/ 666918 w 2165"/>
                  <a:gd name="T3" fmla="*/ 1036045 h 2356"/>
                  <a:gd name="T4" fmla="*/ 466843 w 2165"/>
                  <a:gd name="T5" fmla="*/ 978906 h 2356"/>
                  <a:gd name="T6" fmla="*/ 414444 w 2165"/>
                  <a:gd name="T7" fmla="*/ 874947 h 2356"/>
                  <a:gd name="T8" fmla="*/ 85749 w 2165"/>
                  <a:gd name="T9" fmla="*/ 789239 h 2356"/>
                  <a:gd name="T10" fmla="*/ 4766 w 2165"/>
                  <a:gd name="T11" fmla="*/ 826537 h 2356"/>
                  <a:gd name="T12" fmla="*/ 0 w 2165"/>
                  <a:gd name="T13" fmla="*/ 1017789 h 2356"/>
                  <a:gd name="T14" fmla="*/ 238190 w 2165"/>
                  <a:gd name="T15" fmla="*/ 1117782 h 2356"/>
                  <a:gd name="T16" fmla="*/ 257243 w 2165"/>
                  <a:gd name="T17" fmla="*/ 1370144 h 2356"/>
                  <a:gd name="T18" fmla="*/ 357280 w 2165"/>
                  <a:gd name="T19" fmla="*/ 1670119 h 2356"/>
                  <a:gd name="T20" fmla="*/ 400154 w 2165"/>
                  <a:gd name="T21" fmla="*/ 1812965 h 2356"/>
                  <a:gd name="T22" fmla="*/ 292304 w 2165"/>
                  <a:gd name="T23" fmla="*/ 1996277 h 2356"/>
                  <a:gd name="T24" fmla="*/ 540015 w 2165"/>
                  <a:gd name="T25" fmla="*/ 1981991 h 2356"/>
                  <a:gd name="T26" fmla="*/ 614518 w 2165"/>
                  <a:gd name="T27" fmla="*/ 2265306 h 2356"/>
                  <a:gd name="T28" fmla="*/ 766956 w 2165"/>
                  <a:gd name="T29" fmla="*/ 2274830 h 2356"/>
                  <a:gd name="T30" fmla="*/ 952739 w 2165"/>
                  <a:gd name="T31" fmla="*/ 2365299 h 2356"/>
                  <a:gd name="T32" fmla="*/ 1009903 w 2165"/>
                  <a:gd name="T33" fmla="*/ 2503384 h 2356"/>
                  <a:gd name="T34" fmla="*/ 771718 w 2165"/>
                  <a:gd name="T35" fmla="*/ 2831929 h 2356"/>
                  <a:gd name="T36" fmla="*/ 770098 w 2165"/>
                  <a:gd name="T37" fmla="*/ 3077228 h 2356"/>
                  <a:gd name="T38" fmla="*/ 1194094 w 2165"/>
                  <a:gd name="T39" fmla="*/ 2879544 h 2356"/>
                  <a:gd name="T40" fmla="*/ 1513260 w 2165"/>
                  <a:gd name="T41" fmla="*/ 2849389 h 2356"/>
                  <a:gd name="T42" fmla="*/ 1757794 w 2165"/>
                  <a:gd name="T43" fmla="*/ 2855736 h 2356"/>
                  <a:gd name="T44" fmla="*/ 2142066 w 2165"/>
                  <a:gd name="T45" fmla="*/ 3169997 h 2356"/>
                  <a:gd name="T46" fmla="*/ 2100779 w 2165"/>
                  <a:gd name="T47" fmla="*/ 3354108 h 2356"/>
                  <a:gd name="T48" fmla="*/ 2370719 w 2165"/>
                  <a:gd name="T49" fmla="*/ 3739792 h 2356"/>
                  <a:gd name="T50" fmla="*/ 2608902 w 2165"/>
                  <a:gd name="T51" fmla="*/ 3731869 h 2356"/>
                  <a:gd name="T52" fmla="*/ 2959820 w 2165"/>
                  <a:gd name="T53" fmla="*/ 1113016 h 2356"/>
                  <a:gd name="T54" fmla="*/ 3436938 w 2165"/>
                  <a:gd name="T55" fmla="*/ 1033503 h 2356"/>
                  <a:gd name="T56" fmla="*/ 3340126 w 2165"/>
                  <a:gd name="T57" fmla="*/ 413238 h 2356"/>
                  <a:gd name="T58" fmla="*/ 3090563 w 2165"/>
                  <a:gd name="T59" fmla="*/ 300724 h 2356"/>
                  <a:gd name="T60" fmla="*/ 2745757 w 2165"/>
                  <a:gd name="T61" fmla="*/ 0 h 2356"/>
                  <a:gd name="T62" fmla="*/ 2639556 w 2165"/>
                  <a:gd name="T63" fmla="*/ 131187 h 2356"/>
                  <a:gd name="T64" fmla="*/ 2503712 w 2165"/>
                  <a:gd name="T65" fmla="*/ 20629 h 2356"/>
                  <a:gd name="T66" fmla="*/ 2292074 w 2165"/>
                  <a:gd name="T67" fmla="*/ 23075 h 2356"/>
                  <a:gd name="T68" fmla="*/ 2214906 w 2165"/>
                  <a:gd name="T69" fmla="*/ 89622 h 2356"/>
                  <a:gd name="T70" fmla="*/ 2071192 w 2165"/>
                  <a:gd name="T71" fmla="*/ 30409 h 2356"/>
                  <a:gd name="T72" fmla="*/ 1918768 w 2165"/>
                  <a:gd name="T73" fmla="*/ 113536 h 2356"/>
                  <a:gd name="T74" fmla="*/ 1729255 w 2165"/>
                  <a:gd name="T75" fmla="*/ 88595 h 2356"/>
                  <a:gd name="T76" fmla="*/ 1648230 w 2165"/>
                  <a:gd name="T77" fmla="*/ 246426 h 2356"/>
                  <a:gd name="T78" fmla="*/ 1572011 w 2165"/>
                  <a:gd name="T79" fmla="*/ 351179 h 2356"/>
                  <a:gd name="T80" fmla="*/ 1643466 w 2165"/>
                  <a:gd name="T81" fmla="*/ 551163 h 2356"/>
                  <a:gd name="T82" fmla="*/ 1786377 w 2165"/>
                  <a:gd name="T83" fmla="*/ 617826 h 2356"/>
                  <a:gd name="T84" fmla="*/ 1938814 w 2165"/>
                  <a:gd name="T85" fmla="*/ 646395 h 2356"/>
                  <a:gd name="T86" fmla="*/ 2053143 w 2165"/>
                  <a:gd name="T87" fmla="*/ 551163 h 2356"/>
                  <a:gd name="T88" fmla="*/ 2157943 w 2165"/>
                  <a:gd name="T89" fmla="*/ 598778 h 2356"/>
                  <a:gd name="T90" fmla="*/ 2096015 w 2165"/>
                  <a:gd name="T91" fmla="*/ 722579 h 2356"/>
                  <a:gd name="T92" fmla="*/ 2191292 w 2165"/>
                  <a:gd name="T93" fmla="*/ 913044 h 2356"/>
                  <a:gd name="T94" fmla="*/ 1914995 w 2165"/>
                  <a:gd name="T95" fmla="*/ 979701 h 2356"/>
                  <a:gd name="T96" fmla="*/ 1891177 w 2165"/>
                  <a:gd name="T97" fmla="*/ 889232 h 2356"/>
                  <a:gd name="T98" fmla="*/ 2091252 w 2165"/>
                  <a:gd name="T99" fmla="*/ 803524 h 2356"/>
                  <a:gd name="T100" fmla="*/ 2015033 w 2165"/>
                  <a:gd name="T101" fmla="*/ 722578 h 2356"/>
                  <a:gd name="T102" fmla="*/ 1867359 w 2165"/>
                  <a:gd name="T103" fmla="*/ 736863 h 2356"/>
                  <a:gd name="T104" fmla="*/ 1714924 w 2165"/>
                  <a:gd name="T105" fmla="*/ 703536 h 2356"/>
                  <a:gd name="T106" fmla="*/ 1471977 w 2165"/>
                  <a:gd name="T107" fmla="*/ 608304 h 2356"/>
                  <a:gd name="T108" fmla="*/ 981317 w 2165"/>
                  <a:gd name="T109" fmla="*/ 398796 h 2356"/>
                  <a:gd name="T110" fmla="*/ 833647 w 2165"/>
                  <a:gd name="T111" fmla="*/ 422604 h 2356"/>
                  <a:gd name="T112" fmla="*/ 666918 w 2165"/>
                  <a:gd name="T113" fmla="*/ 408318 h 2356"/>
                  <a:gd name="T114" fmla="*/ 590700 w 2165"/>
                  <a:gd name="T115" fmla="*/ 608302 h 2356"/>
                  <a:gd name="T116" fmla="*/ 409678 w 2165"/>
                  <a:gd name="T117" fmla="*/ 679724 h 2356"/>
                  <a:gd name="T118" fmla="*/ 610215 w 2165"/>
                  <a:gd name="T119" fmla="*/ 867849 h 23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165" h="2356">
                    <a:moveTo>
                      <a:pt x="384" y="547"/>
                    </a:moveTo>
                    <a:lnTo>
                      <a:pt x="420" y="653"/>
                    </a:lnTo>
                    <a:lnTo>
                      <a:pt x="294" y="617"/>
                    </a:lnTo>
                    <a:lnTo>
                      <a:pt x="261" y="551"/>
                    </a:lnTo>
                    <a:lnTo>
                      <a:pt x="54" y="497"/>
                    </a:lnTo>
                    <a:lnTo>
                      <a:pt x="3" y="521"/>
                    </a:lnTo>
                    <a:lnTo>
                      <a:pt x="0" y="641"/>
                    </a:lnTo>
                    <a:lnTo>
                      <a:pt x="150" y="704"/>
                    </a:lnTo>
                    <a:lnTo>
                      <a:pt x="162" y="863"/>
                    </a:lnTo>
                    <a:lnTo>
                      <a:pt x="225" y="1052"/>
                    </a:lnTo>
                    <a:lnTo>
                      <a:pt x="252" y="1142"/>
                    </a:lnTo>
                    <a:lnTo>
                      <a:pt x="184" y="1258"/>
                    </a:lnTo>
                    <a:lnTo>
                      <a:pt x="340" y="1249"/>
                    </a:lnTo>
                    <a:lnTo>
                      <a:pt x="387" y="1427"/>
                    </a:lnTo>
                    <a:lnTo>
                      <a:pt x="483" y="1433"/>
                    </a:lnTo>
                    <a:lnTo>
                      <a:pt x="600" y="1490"/>
                    </a:lnTo>
                    <a:lnTo>
                      <a:pt x="636" y="1577"/>
                    </a:lnTo>
                    <a:lnTo>
                      <a:pt x="486" y="1784"/>
                    </a:lnTo>
                    <a:cubicBezTo>
                      <a:pt x="486" y="1836"/>
                      <a:pt x="485" y="1887"/>
                      <a:pt x="485" y="1939"/>
                    </a:cubicBezTo>
                    <a:lnTo>
                      <a:pt x="752" y="1814"/>
                    </a:lnTo>
                    <a:lnTo>
                      <a:pt x="953" y="1795"/>
                    </a:lnTo>
                    <a:lnTo>
                      <a:pt x="1107" y="1799"/>
                    </a:lnTo>
                    <a:lnTo>
                      <a:pt x="1349" y="1997"/>
                    </a:lnTo>
                    <a:lnTo>
                      <a:pt x="1323" y="2113"/>
                    </a:lnTo>
                    <a:lnTo>
                      <a:pt x="1493" y="2356"/>
                    </a:lnTo>
                    <a:lnTo>
                      <a:pt x="1643" y="2351"/>
                    </a:lnTo>
                    <a:lnTo>
                      <a:pt x="1864" y="701"/>
                    </a:lnTo>
                    <a:lnTo>
                      <a:pt x="2165" y="651"/>
                    </a:lnTo>
                    <a:lnTo>
                      <a:pt x="2104" y="260"/>
                    </a:lnTo>
                    <a:lnTo>
                      <a:pt x="1947" y="189"/>
                    </a:lnTo>
                    <a:lnTo>
                      <a:pt x="1730" y="0"/>
                    </a:lnTo>
                    <a:lnTo>
                      <a:pt x="1663" y="83"/>
                    </a:lnTo>
                    <a:lnTo>
                      <a:pt x="1577" y="13"/>
                    </a:lnTo>
                    <a:lnTo>
                      <a:pt x="1444" y="15"/>
                    </a:lnTo>
                    <a:lnTo>
                      <a:pt x="1395" y="56"/>
                    </a:lnTo>
                    <a:lnTo>
                      <a:pt x="1305" y="19"/>
                    </a:lnTo>
                    <a:lnTo>
                      <a:pt x="1209" y="72"/>
                    </a:lnTo>
                    <a:lnTo>
                      <a:pt x="1089" y="56"/>
                    </a:lnTo>
                    <a:lnTo>
                      <a:pt x="1038" y="155"/>
                    </a:lnTo>
                    <a:lnTo>
                      <a:pt x="990" y="221"/>
                    </a:lnTo>
                    <a:lnTo>
                      <a:pt x="1035" y="347"/>
                    </a:lnTo>
                    <a:lnTo>
                      <a:pt x="1125" y="389"/>
                    </a:lnTo>
                    <a:lnTo>
                      <a:pt x="1221" y="407"/>
                    </a:lnTo>
                    <a:lnTo>
                      <a:pt x="1293" y="347"/>
                    </a:lnTo>
                    <a:lnTo>
                      <a:pt x="1359" y="377"/>
                    </a:lnTo>
                    <a:lnTo>
                      <a:pt x="1320" y="455"/>
                    </a:lnTo>
                    <a:lnTo>
                      <a:pt x="1380" y="575"/>
                    </a:lnTo>
                    <a:lnTo>
                      <a:pt x="1206" y="617"/>
                    </a:lnTo>
                    <a:lnTo>
                      <a:pt x="1191" y="560"/>
                    </a:lnTo>
                    <a:lnTo>
                      <a:pt x="1317" y="506"/>
                    </a:lnTo>
                    <a:lnTo>
                      <a:pt x="1269" y="455"/>
                    </a:lnTo>
                    <a:lnTo>
                      <a:pt x="1176" y="464"/>
                    </a:lnTo>
                    <a:lnTo>
                      <a:pt x="1080" y="443"/>
                    </a:lnTo>
                    <a:lnTo>
                      <a:pt x="927" y="383"/>
                    </a:lnTo>
                    <a:lnTo>
                      <a:pt x="618" y="251"/>
                    </a:lnTo>
                    <a:lnTo>
                      <a:pt x="525" y="266"/>
                    </a:lnTo>
                    <a:lnTo>
                      <a:pt x="420" y="257"/>
                    </a:lnTo>
                    <a:lnTo>
                      <a:pt x="372" y="383"/>
                    </a:lnTo>
                    <a:lnTo>
                      <a:pt x="258" y="428"/>
                    </a:lnTo>
                    <a:lnTo>
                      <a:pt x="384" y="547"/>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6" name="任意多边形 116">
                <a:extLst>
                  <a:ext uri="{FF2B5EF4-FFF2-40B4-BE49-F238E27FC236}">
                    <a16:creationId xmlns:a16="http://schemas.microsoft.com/office/drawing/2014/main" id="{7C6779A7-4321-86EC-BA37-306BDCEAFE06}"/>
                  </a:ext>
                </a:extLst>
              </p:cNvPr>
              <p:cNvSpPr>
                <a:spLocks/>
              </p:cNvSpPr>
              <p:nvPr/>
            </p:nvSpPr>
            <p:spPr bwMode="auto">
              <a:xfrm>
                <a:off x="2488602" y="4070985"/>
                <a:ext cx="1421222" cy="1212215"/>
              </a:xfrm>
              <a:custGeom>
                <a:avLst/>
                <a:gdLst>
                  <a:gd name="T0" fmla="*/ 1155932 w 4477"/>
                  <a:gd name="T1" fmla="*/ 0 h 3818"/>
                  <a:gd name="T2" fmla="*/ 0 w 4477"/>
                  <a:gd name="T3" fmla="*/ 497666 h 3818"/>
                  <a:gd name="T4" fmla="*/ 1209770 w 4477"/>
                  <a:gd name="T5" fmla="*/ 1447800 h 3818"/>
                  <a:gd name="T6" fmla="*/ 1235166 w 4477"/>
                  <a:gd name="T7" fmla="*/ 1633535 h 3818"/>
                  <a:gd name="T8" fmla="*/ 1676486 w 4477"/>
                  <a:gd name="T9" fmla="*/ 2171696 h 3818"/>
                  <a:gd name="T10" fmla="*/ 2024148 w 4477"/>
                  <a:gd name="T11" fmla="*/ 2098668 h 3818"/>
                  <a:gd name="T12" fmla="*/ 2286081 w 4477"/>
                  <a:gd name="T13" fmla="*/ 2044692 h 3818"/>
                  <a:gd name="T14" fmla="*/ 2448006 w 4477"/>
                  <a:gd name="T15" fmla="*/ 2141530 h 3818"/>
                  <a:gd name="T16" fmla="*/ 2670254 w 4477"/>
                  <a:gd name="T17" fmla="*/ 2130416 h 3818"/>
                  <a:gd name="T18" fmla="*/ 2929015 w 4477"/>
                  <a:gd name="T19" fmla="*/ 2197092 h 3818"/>
                  <a:gd name="T20" fmla="*/ 3175077 w 4477"/>
                  <a:gd name="T21" fmla="*/ 2024055 h 3818"/>
                  <a:gd name="T22" fmla="*/ 3352877 w 4477"/>
                  <a:gd name="T23" fmla="*/ 2262181 h 3818"/>
                  <a:gd name="T24" fmla="*/ 3532265 w 4477"/>
                  <a:gd name="T25" fmla="*/ 2341555 h 3818"/>
                  <a:gd name="T26" fmla="*/ 3630687 w 4477"/>
                  <a:gd name="T27" fmla="*/ 2687631 h 3818"/>
                  <a:gd name="T28" fmla="*/ 3833889 w 4477"/>
                  <a:gd name="T29" fmla="*/ 2617778 h 3818"/>
                  <a:gd name="T30" fmla="*/ 3797351 w 4477"/>
                  <a:gd name="T31" fmla="*/ 3075550 h 3818"/>
                  <a:gd name="T32" fmla="*/ 4318074 w 4477"/>
                  <a:gd name="T33" fmla="*/ 2492368 h 3818"/>
                  <a:gd name="T34" fmla="*/ 3921210 w 4477"/>
                  <a:gd name="T35" fmla="*/ 695326 h 3818"/>
                  <a:gd name="T36" fmla="*/ 1186022 w 4477"/>
                  <a:gd name="T37" fmla="*/ 0 h 3818"/>
                  <a:gd name="T38" fmla="*/ 1155932 w 4477"/>
                  <a:gd name="T39" fmla="*/ 0 h 38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477" h="3818">
                    <a:moveTo>
                      <a:pt x="680" y="448"/>
                    </a:moveTo>
                    <a:lnTo>
                      <a:pt x="616" y="552"/>
                    </a:lnTo>
                    <a:lnTo>
                      <a:pt x="528" y="592"/>
                    </a:lnTo>
                    <a:lnTo>
                      <a:pt x="197" y="797"/>
                    </a:lnTo>
                    <a:lnTo>
                      <a:pt x="41" y="928"/>
                    </a:lnTo>
                    <a:lnTo>
                      <a:pt x="0" y="1032"/>
                    </a:lnTo>
                    <a:lnTo>
                      <a:pt x="120" y="1024"/>
                    </a:lnTo>
                    <a:lnTo>
                      <a:pt x="176" y="1056"/>
                    </a:lnTo>
                    <a:lnTo>
                      <a:pt x="152" y="1112"/>
                    </a:lnTo>
                    <a:lnTo>
                      <a:pt x="120" y="1184"/>
                    </a:lnTo>
                    <a:lnTo>
                      <a:pt x="240" y="1128"/>
                    </a:lnTo>
                    <a:lnTo>
                      <a:pt x="224" y="1008"/>
                    </a:lnTo>
                    <a:lnTo>
                      <a:pt x="272" y="920"/>
                    </a:lnTo>
                    <a:lnTo>
                      <a:pt x="232" y="800"/>
                    </a:lnTo>
                    <a:lnTo>
                      <a:pt x="336" y="824"/>
                    </a:lnTo>
                    <a:lnTo>
                      <a:pt x="392" y="864"/>
                    </a:lnTo>
                    <a:lnTo>
                      <a:pt x="400" y="984"/>
                    </a:lnTo>
                    <a:lnTo>
                      <a:pt x="488" y="936"/>
                    </a:lnTo>
                    <a:lnTo>
                      <a:pt x="560" y="936"/>
                    </a:lnTo>
                    <a:lnTo>
                      <a:pt x="632" y="968"/>
                    </a:lnTo>
                    <a:lnTo>
                      <a:pt x="696" y="960"/>
                    </a:lnTo>
                    <a:lnTo>
                      <a:pt x="776" y="984"/>
                    </a:lnTo>
                    <a:lnTo>
                      <a:pt x="832" y="984"/>
                    </a:lnTo>
                    <a:lnTo>
                      <a:pt x="816" y="912"/>
                    </a:lnTo>
                    <a:lnTo>
                      <a:pt x="656" y="904"/>
                    </a:lnTo>
                    <a:lnTo>
                      <a:pt x="552" y="888"/>
                    </a:lnTo>
                    <a:lnTo>
                      <a:pt x="512" y="800"/>
                    </a:lnTo>
                    <a:lnTo>
                      <a:pt x="480" y="760"/>
                    </a:lnTo>
                    <a:lnTo>
                      <a:pt x="456" y="704"/>
                    </a:lnTo>
                    <a:lnTo>
                      <a:pt x="520" y="640"/>
                    </a:lnTo>
                    <a:lnTo>
                      <a:pt x="648" y="600"/>
                    </a:lnTo>
                    <a:lnTo>
                      <a:pt x="768" y="648"/>
                    </a:lnTo>
                    <a:lnTo>
                      <a:pt x="832" y="680"/>
                    </a:lnTo>
                    <a:lnTo>
                      <a:pt x="816" y="616"/>
                    </a:lnTo>
                    <a:lnTo>
                      <a:pt x="760" y="552"/>
                    </a:lnTo>
                    <a:lnTo>
                      <a:pt x="864" y="552"/>
                    </a:lnTo>
                    <a:lnTo>
                      <a:pt x="920" y="608"/>
                    </a:lnTo>
                    <a:lnTo>
                      <a:pt x="912" y="680"/>
                    </a:lnTo>
                    <a:lnTo>
                      <a:pt x="952" y="720"/>
                    </a:lnTo>
                    <a:lnTo>
                      <a:pt x="1024" y="752"/>
                    </a:lnTo>
                    <a:lnTo>
                      <a:pt x="1080" y="720"/>
                    </a:lnTo>
                    <a:lnTo>
                      <a:pt x="1096" y="640"/>
                    </a:lnTo>
                    <a:lnTo>
                      <a:pt x="1184" y="584"/>
                    </a:lnTo>
                    <a:lnTo>
                      <a:pt x="1256" y="560"/>
                    </a:lnTo>
                    <a:lnTo>
                      <a:pt x="1360" y="616"/>
                    </a:lnTo>
                    <a:lnTo>
                      <a:pt x="1288" y="704"/>
                    </a:lnTo>
                    <a:lnTo>
                      <a:pt x="1200" y="784"/>
                    </a:lnTo>
                    <a:lnTo>
                      <a:pt x="1120" y="888"/>
                    </a:lnTo>
                    <a:lnTo>
                      <a:pt x="1048" y="1016"/>
                    </a:lnTo>
                    <a:lnTo>
                      <a:pt x="960" y="1000"/>
                    </a:lnTo>
                    <a:lnTo>
                      <a:pt x="920" y="1056"/>
                    </a:lnTo>
                    <a:lnTo>
                      <a:pt x="984" y="1128"/>
                    </a:lnTo>
                    <a:lnTo>
                      <a:pt x="992" y="1192"/>
                    </a:lnTo>
                    <a:lnTo>
                      <a:pt x="928" y="1264"/>
                    </a:lnTo>
                    <a:lnTo>
                      <a:pt x="896" y="1368"/>
                    </a:lnTo>
                    <a:lnTo>
                      <a:pt x="1008" y="1312"/>
                    </a:lnTo>
                    <a:lnTo>
                      <a:pt x="1080" y="1384"/>
                    </a:lnTo>
                    <a:lnTo>
                      <a:pt x="1040" y="1472"/>
                    </a:lnTo>
                    <a:lnTo>
                      <a:pt x="1144" y="1568"/>
                    </a:lnTo>
                    <a:lnTo>
                      <a:pt x="1176" y="1648"/>
                    </a:lnTo>
                    <a:lnTo>
                      <a:pt x="1208" y="1696"/>
                    </a:lnTo>
                    <a:lnTo>
                      <a:pt x="1296" y="1728"/>
                    </a:lnTo>
                    <a:lnTo>
                      <a:pt x="1280" y="1792"/>
                    </a:lnTo>
                    <a:lnTo>
                      <a:pt x="1384" y="1816"/>
                    </a:lnTo>
                    <a:lnTo>
                      <a:pt x="1312" y="1912"/>
                    </a:lnTo>
                    <a:lnTo>
                      <a:pt x="1128" y="2024"/>
                    </a:lnTo>
                    <a:lnTo>
                      <a:pt x="984" y="2072"/>
                    </a:lnTo>
                    <a:lnTo>
                      <a:pt x="946" y="2186"/>
                    </a:lnTo>
                    <a:lnTo>
                      <a:pt x="970" y="2368"/>
                    </a:lnTo>
                    <a:lnTo>
                      <a:pt x="1402" y="2894"/>
                    </a:lnTo>
                    <a:lnTo>
                      <a:pt x="1741" y="2822"/>
                    </a:lnTo>
                    <a:lnTo>
                      <a:pt x="1997" y="2769"/>
                    </a:lnTo>
                    <a:lnTo>
                      <a:pt x="2155" y="2864"/>
                    </a:lnTo>
                    <a:lnTo>
                      <a:pt x="2372" y="2853"/>
                    </a:lnTo>
                    <a:lnTo>
                      <a:pt x="2625" y="2918"/>
                    </a:lnTo>
                    <a:lnTo>
                      <a:pt x="2866" y="2749"/>
                    </a:lnTo>
                    <a:lnTo>
                      <a:pt x="3039" y="2982"/>
                    </a:lnTo>
                    <a:lnTo>
                      <a:pt x="3215" y="3060"/>
                    </a:lnTo>
                    <a:lnTo>
                      <a:pt x="3311" y="3399"/>
                    </a:lnTo>
                    <a:lnTo>
                      <a:pt x="3509" y="3331"/>
                    </a:lnTo>
                    <a:lnTo>
                      <a:pt x="3453" y="3818"/>
                    </a:lnTo>
                    <a:lnTo>
                      <a:pt x="3621" y="3669"/>
                    </a:lnTo>
                    <a:lnTo>
                      <a:pt x="3801" y="3534"/>
                    </a:lnTo>
                    <a:lnTo>
                      <a:pt x="4015" y="3385"/>
                    </a:lnTo>
                    <a:lnTo>
                      <a:pt x="4184" y="3329"/>
                    </a:lnTo>
                    <a:lnTo>
                      <a:pt x="4379" y="3184"/>
                    </a:lnTo>
                    <a:lnTo>
                      <a:pt x="4280" y="3041"/>
                    </a:lnTo>
                    <a:lnTo>
                      <a:pt x="4454" y="2849"/>
                    </a:lnTo>
                    <a:lnTo>
                      <a:pt x="4415" y="2734"/>
                    </a:lnTo>
                    <a:lnTo>
                      <a:pt x="4477" y="2566"/>
                    </a:lnTo>
                    <a:lnTo>
                      <a:pt x="4244" y="2348"/>
                    </a:lnTo>
                    <a:lnTo>
                      <a:pt x="4230" y="1913"/>
                    </a:lnTo>
                    <a:lnTo>
                      <a:pt x="4091" y="1662"/>
                    </a:lnTo>
                    <a:lnTo>
                      <a:pt x="4122" y="1533"/>
                    </a:lnTo>
                    <a:lnTo>
                      <a:pt x="4150" y="1254"/>
                    </a:lnTo>
                    <a:lnTo>
                      <a:pt x="4012" y="1090"/>
                    </a:lnTo>
                    <a:lnTo>
                      <a:pt x="3861" y="1082"/>
                    </a:lnTo>
                    <a:lnTo>
                      <a:pt x="3747" y="1152"/>
                    </a:lnTo>
                    <a:lnTo>
                      <a:pt x="3294" y="1127"/>
                    </a:lnTo>
                    <a:lnTo>
                      <a:pt x="3090" y="966"/>
                    </a:lnTo>
                    <a:lnTo>
                      <a:pt x="2717" y="761"/>
                    </a:lnTo>
                    <a:lnTo>
                      <a:pt x="2284" y="575"/>
                    </a:lnTo>
                    <a:lnTo>
                      <a:pt x="1960" y="382"/>
                    </a:lnTo>
                    <a:lnTo>
                      <a:pt x="1809" y="249"/>
                    </a:lnTo>
                    <a:lnTo>
                      <a:pt x="1640" y="192"/>
                    </a:lnTo>
                    <a:lnTo>
                      <a:pt x="1568" y="88"/>
                    </a:lnTo>
                    <a:lnTo>
                      <a:pt x="1440" y="0"/>
                    </a:lnTo>
                    <a:lnTo>
                      <a:pt x="1224" y="0"/>
                    </a:lnTo>
                    <a:lnTo>
                      <a:pt x="1040" y="296"/>
                    </a:lnTo>
                    <a:lnTo>
                      <a:pt x="960" y="384"/>
                    </a:lnTo>
                    <a:lnTo>
                      <a:pt x="824" y="400"/>
                    </a:lnTo>
                    <a:lnTo>
                      <a:pt x="736" y="368"/>
                    </a:lnTo>
                    <a:lnTo>
                      <a:pt x="680" y="448"/>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7" name="任意多边形 117">
                <a:extLst>
                  <a:ext uri="{FF2B5EF4-FFF2-40B4-BE49-F238E27FC236}">
                    <a16:creationId xmlns:a16="http://schemas.microsoft.com/office/drawing/2014/main" id="{FDFC11ED-BB75-0440-0543-5D7A1E6E026F}"/>
                  </a:ext>
                </a:extLst>
              </p:cNvPr>
              <p:cNvSpPr>
                <a:spLocks/>
              </p:cNvSpPr>
              <p:nvPr/>
            </p:nvSpPr>
            <p:spPr bwMode="auto">
              <a:xfrm>
                <a:off x="2591455" y="4479925"/>
                <a:ext cx="59681" cy="27940"/>
              </a:xfrm>
              <a:custGeom>
                <a:avLst/>
                <a:gdLst>
                  <a:gd name="T0" fmla="*/ 195587 w 188"/>
                  <a:gd name="T1" fmla="*/ 0 h 88"/>
                  <a:gd name="T2" fmla="*/ 0 w 188"/>
                  <a:gd name="T3" fmla="*/ 2919412 h 88"/>
                  <a:gd name="T4" fmla="*/ 3309938 w 188"/>
                  <a:gd name="T5" fmla="*/ 827669 h 88"/>
                  <a:gd name="T6" fmla="*/ 225678 w 188"/>
                  <a:gd name="T7" fmla="*/ 0 h 88"/>
                  <a:gd name="T8" fmla="*/ 195587 w 188"/>
                  <a:gd name="T9" fmla="*/ 0 h 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8" h="88">
                    <a:moveTo>
                      <a:pt x="32" y="32"/>
                    </a:moveTo>
                    <a:lnTo>
                      <a:pt x="0" y="60"/>
                    </a:lnTo>
                    <a:lnTo>
                      <a:pt x="64" y="88"/>
                    </a:lnTo>
                    <a:lnTo>
                      <a:pt x="108" y="60"/>
                    </a:lnTo>
                    <a:lnTo>
                      <a:pt x="188" y="12"/>
                    </a:lnTo>
                    <a:lnTo>
                      <a:pt x="152" y="12"/>
                    </a:lnTo>
                    <a:lnTo>
                      <a:pt x="76" y="0"/>
                    </a:lnTo>
                    <a:lnTo>
                      <a:pt x="48" y="0"/>
                    </a:lnTo>
                    <a:lnTo>
                      <a:pt x="32" y="32"/>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8" name="任意多边形 10">
                <a:extLst>
                  <a:ext uri="{FF2B5EF4-FFF2-40B4-BE49-F238E27FC236}">
                    <a16:creationId xmlns:a16="http://schemas.microsoft.com/office/drawing/2014/main" id="{A83A67AC-C088-F6E3-AC31-E39AFC39D57D}"/>
                  </a:ext>
                </a:extLst>
              </p:cNvPr>
              <p:cNvSpPr>
                <a:spLocks/>
              </p:cNvSpPr>
              <p:nvPr/>
            </p:nvSpPr>
            <p:spPr bwMode="auto">
              <a:xfrm>
                <a:off x="2454317" y="4485005"/>
                <a:ext cx="71109" cy="97790"/>
              </a:xfrm>
              <a:custGeom>
                <a:avLst/>
                <a:gdLst>
                  <a:gd name="T0" fmla="*/ 195587 w 224"/>
                  <a:gd name="T1" fmla="*/ 0 h 308"/>
                  <a:gd name="T2" fmla="*/ 0 w 224"/>
                  <a:gd name="T3" fmla="*/ 2919412 h 308"/>
                  <a:gd name="T4" fmla="*/ 3309938 w 224"/>
                  <a:gd name="T5" fmla="*/ 827669 h 308"/>
                  <a:gd name="T6" fmla="*/ 225678 w 224"/>
                  <a:gd name="T7" fmla="*/ 0 h 308"/>
                  <a:gd name="T8" fmla="*/ 195587 w 224"/>
                  <a:gd name="T9" fmla="*/ 0 h 30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4" h="308">
                    <a:moveTo>
                      <a:pt x="28" y="72"/>
                    </a:moveTo>
                    <a:lnTo>
                      <a:pt x="0" y="108"/>
                    </a:lnTo>
                    <a:lnTo>
                      <a:pt x="140" y="226"/>
                    </a:lnTo>
                    <a:lnTo>
                      <a:pt x="180" y="216"/>
                    </a:lnTo>
                    <a:lnTo>
                      <a:pt x="224" y="200"/>
                    </a:lnTo>
                    <a:lnTo>
                      <a:pt x="224" y="308"/>
                    </a:lnTo>
                    <a:lnTo>
                      <a:pt x="140" y="224"/>
                    </a:lnTo>
                    <a:lnTo>
                      <a:pt x="140" y="132"/>
                    </a:lnTo>
                    <a:lnTo>
                      <a:pt x="164" y="80"/>
                    </a:lnTo>
                    <a:lnTo>
                      <a:pt x="200" y="36"/>
                    </a:lnTo>
                    <a:lnTo>
                      <a:pt x="180" y="4"/>
                    </a:lnTo>
                    <a:lnTo>
                      <a:pt x="132" y="0"/>
                    </a:lnTo>
                    <a:lnTo>
                      <a:pt x="108" y="36"/>
                    </a:lnTo>
                    <a:lnTo>
                      <a:pt x="80" y="52"/>
                    </a:lnTo>
                    <a:lnTo>
                      <a:pt x="28" y="72"/>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grpSp>
        <p:sp>
          <p:nvSpPr>
            <p:cNvPr id="10" name="任意多边形 110">
              <a:extLst>
                <a:ext uri="{FF2B5EF4-FFF2-40B4-BE49-F238E27FC236}">
                  <a16:creationId xmlns:a16="http://schemas.microsoft.com/office/drawing/2014/main" id="{428F5AE2-E488-13B1-0374-4E7021210A6F}"/>
                </a:ext>
              </a:extLst>
            </p:cNvPr>
            <p:cNvSpPr>
              <a:spLocks/>
            </p:cNvSpPr>
            <p:nvPr/>
          </p:nvSpPr>
          <p:spPr bwMode="auto">
            <a:xfrm>
              <a:off x="4878284" y="2556792"/>
              <a:ext cx="2702928" cy="1810252"/>
            </a:xfrm>
            <a:custGeom>
              <a:avLst/>
              <a:gdLst>
                <a:gd name="connsiteX0" fmla="*/ 26157237 w 27560432"/>
                <a:gd name="connsiteY0" fmla="*/ 4322377 h 15152939"/>
                <a:gd name="connsiteX1" fmla="*/ 25950755 w 27560432"/>
                <a:gd name="connsiteY1" fmla="*/ 4946265 h 15152939"/>
                <a:gd name="connsiteX2" fmla="*/ 26059273 w 27560432"/>
                <a:gd name="connsiteY2" fmla="*/ 5561190 h 15152939"/>
                <a:gd name="connsiteX3" fmla="*/ 26439085 w 27560432"/>
                <a:gd name="connsiteY3" fmla="*/ 6103777 h 15152939"/>
                <a:gd name="connsiteX4" fmla="*/ 26366739 w 27560432"/>
                <a:gd name="connsiteY4" fmla="*/ 6555934 h 15152939"/>
                <a:gd name="connsiteX5" fmla="*/ 25824148 w 27560432"/>
                <a:gd name="connsiteY5" fmla="*/ 6827228 h 15152939"/>
                <a:gd name="connsiteX6" fmla="*/ 26023104 w 27560432"/>
                <a:gd name="connsiteY6" fmla="*/ 7478344 h 15152939"/>
                <a:gd name="connsiteX7" fmla="*/ 26619948 w 27560432"/>
                <a:gd name="connsiteY7" fmla="*/ 7840060 h 15152939"/>
                <a:gd name="connsiteX8" fmla="*/ 26276305 w 27560432"/>
                <a:gd name="connsiteY8" fmla="*/ 8672029 h 15152939"/>
                <a:gd name="connsiteX9" fmla="*/ 26312478 w 27560432"/>
                <a:gd name="connsiteY9" fmla="*/ 9666777 h 15152939"/>
                <a:gd name="connsiteX10" fmla="*/ 25878405 w 27560432"/>
                <a:gd name="connsiteY10" fmla="*/ 10227453 h 15152939"/>
                <a:gd name="connsiteX11" fmla="*/ 26402912 w 27560432"/>
                <a:gd name="connsiteY11" fmla="*/ 10643437 h 15152939"/>
                <a:gd name="connsiteX12" fmla="*/ 27319497 w 27560432"/>
                <a:gd name="connsiteY12" fmla="*/ 10082959 h 15152939"/>
                <a:gd name="connsiteX13" fmla="*/ 27560432 w 27560432"/>
                <a:gd name="connsiteY13" fmla="*/ 10281714 h 15152939"/>
                <a:gd name="connsiteX14" fmla="*/ 27542355 w 27560432"/>
                <a:gd name="connsiteY14" fmla="*/ 12005935 h 15152939"/>
                <a:gd name="connsiteX15" fmla="*/ 26089423 w 27560432"/>
                <a:gd name="connsiteY15" fmla="*/ 11975789 h 15152939"/>
                <a:gd name="connsiteX16" fmla="*/ 24473715 w 27560432"/>
                <a:gd name="connsiteY16" fmla="*/ 12090334 h 15152939"/>
                <a:gd name="connsiteX17" fmla="*/ 23135328 w 27560432"/>
                <a:gd name="connsiteY17" fmla="*/ 12222964 h 15152939"/>
                <a:gd name="connsiteX18" fmla="*/ 22261159 w 27560432"/>
                <a:gd name="connsiteY18" fmla="*/ 12934357 h 15152939"/>
                <a:gd name="connsiteX19" fmla="*/ 20826342 w 27560432"/>
                <a:gd name="connsiteY19" fmla="*/ 14369204 h 15152939"/>
                <a:gd name="connsiteX20" fmla="*/ 12952786 w 27560432"/>
                <a:gd name="connsiteY20" fmla="*/ 14960014 h 15152939"/>
                <a:gd name="connsiteX21" fmla="*/ 11934663 w 27560432"/>
                <a:gd name="connsiteY21" fmla="*/ 15008264 h 15152939"/>
                <a:gd name="connsiteX22" fmla="*/ 8506848 w 27560432"/>
                <a:gd name="connsiteY22" fmla="*/ 15152939 h 15152939"/>
                <a:gd name="connsiteX23" fmla="*/ 7985095 w 27560432"/>
                <a:gd name="connsiteY23" fmla="*/ 14507857 h 15152939"/>
                <a:gd name="connsiteX24" fmla="*/ 7400308 w 27560432"/>
                <a:gd name="connsiteY24" fmla="*/ 14477712 h 15152939"/>
                <a:gd name="connsiteX25" fmla="*/ 6972273 w 27560432"/>
                <a:gd name="connsiteY25" fmla="*/ 14749009 h 15152939"/>
                <a:gd name="connsiteX26" fmla="*/ 5181729 w 27560432"/>
                <a:gd name="connsiteY26" fmla="*/ 14664610 h 15152939"/>
                <a:gd name="connsiteX27" fmla="*/ 4397998 w 27560432"/>
                <a:gd name="connsiteY27" fmla="*/ 14031593 h 15152939"/>
                <a:gd name="connsiteX28" fmla="*/ 2908896 w 27560432"/>
                <a:gd name="connsiteY28" fmla="*/ 13223739 h 15152939"/>
                <a:gd name="connsiteX29" fmla="*/ 1263043 w 27560432"/>
                <a:gd name="connsiteY29" fmla="*/ 12512346 h 15152939"/>
                <a:gd name="connsiteX30" fmla="*/ 485320 w 27560432"/>
                <a:gd name="connsiteY30" fmla="*/ 12060189 h 15152939"/>
                <a:gd name="connsiteX31" fmla="*/ 0 w 27560432"/>
                <a:gd name="connsiteY31" fmla="*/ 11767077 h 15152939"/>
                <a:gd name="connsiteX32" fmla="*/ 1003686 w 27560432"/>
                <a:gd name="connsiteY32" fmla="*/ 11021112 h 15152939"/>
                <a:gd name="connsiteX33" fmla="*/ 2902551 w 27560432"/>
                <a:gd name="connsiteY33" fmla="*/ 9836713 h 15152939"/>
                <a:gd name="connsiteX34" fmla="*/ 2558940 w 27560432"/>
                <a:gd name="connsiteY34" fmla="*/ 9303282 h 15152939"/>
                <a:gd name="connsiteX35" fmla="*/ 2402508 w 27560432"/>
                <a:gd name="connsiteY35" fmla="*/ 8616199 h 15152939"/>
                <a:gd name="connsiteX36" fmla="*/ 2730740 w 27560432"/>
                <a:gd name="connsiteY36" fmla="*/ 8589028 h 15152939"/>
                <a:gd name="connsiteX37" fmla="*/ 2947754 w 27560432"/>
                <a:gd name="connsiteY37" fmla="*/ 8118883 h 15152939"/>
                <a:gd name="connsiteX38" fmla="*/ 3499325 w 27560432"/>
                <a:gd name="connsiteY38" fmla="*/ 7675866 h 15152939"/>
                <a:gd name="connsiteX39" fmla="*/ 3680166 w 27560432"/>
                <a:gd name="connsiteY39" fmla="*/ 6798868 h 15152939"/>
                <a:gd name="connsiteX40" fmla="*/ 4186528 w 27560432"/>
                <a:gd name="connsiteY40" fmla="*/ 6807904 h 15152939"/>
                <a:gd name="connsiteX41" fmla="*/ 4837569 w 27560432"/>
                <a:gd name="connsiteY41" fmla="*/ 7278054 h 15152939"/>
                <a:gd name="connsiteX42" fmla="*/ 5352976 w 27560432"/>
                <a:gd name="connsiteY42" fmla="*/ 7196687 h 15152939"/>
                <a:gd name="connsiteX43" fmla="*/ 5741786 w 27560432"/>
                <a:gd name="connsiteY43" fmla="*/ 6825992 h 15152939"/>
                <a:gd name="connsiteX44" fmla="*/ 6157723 w 27560432"/>
                <a:gd name="connsiteY44" fmla="*/ 6663251 h 15152939"/>
                <a:gd name="connsiteX45" fmla="*/ 6745471 w 27560432"/>
                <a:gd name="connsiteY45" fmla="*/ 6093658 h 15152939"/>
                <a:gd name="connsiteX46" fmla="*/ 6890140 w 27560432"/>
                <a:gd name="connsiteY46" fmla="*/ 5243782 h 15152939"/>
                <a:gd name="connsiteX47" fmla="*/ 7568305 w 27560432"/>
                <a:gd name="connsiteY47" fmla="*/ 4674188 h 15152939"/>
                <a:gd name="connsiteX48" fmla="*/ 8137967 w 27560432"/>
                <a:gd name="connsiteY48" fmla="*/ 4231167 h 15152939"/>
                <a:gd name="connsiteX49" fmla="*/ 8463480 w 27560432"/>
                <a:gd name="connsiteY49" fmla="*/ 3426500 h 15152939"/>
                <a:gd name="connsiteX50" fmla="*/ 9024093 w 27560432"/>
                <a:gd name="connsiteY50" fmla="*/ 3073893 h 15152939"/>
                <a:gd name="connsiteX51" fmla="*/ 9675138 w 27560432"/>
                <a:gd name="connsiteY51" fmla="*/ 2721291 h 15152939"/>
                <a:gd name="connsiteX52" fmla="*/ 9558580 w 27560432"/>
                <a:gd name="connsiteY52" fmla="*/ 2173007 h 15152939"/>
                <a:gd name="connsiteX53" fmla="*/ 10353296 w 27560432"/>
                <a:gd name="connsiteY53" fmla="*/ 1500723 h 15152939"/>
                <a:gd name="connsiteX54" fmla="*/ 10832530 w 27560432"/>
                <a:gd name="connsiteY54" fmla="*/ 1428389 h 15152939"/>
                <a:gd name="connsiteX55" fmla="*/ 11058585 w 27560432"/>
                <a:gd name="connsiteY55" fmla="*/ 1880458 h 15152939"/>
                <a:gd name="connsiteX56" fmla="*/ 11411229 w 27560432"/>
                <a:gd name="connsiteY56" fmla="*/ 2260189 h 15152939"/>
                <a:gd name="connsiteX57" fmla="*/ 11998974 w 27560432"/>
                <a:gd name="connsiteY57" fmla="*/ 2341559 h 15152939"/>
                <a:gd name="connsiteX58" fmla="*/ 12315449 w 27560432"/>
                <a:gd name="connsiteY58" fmla="*/ 3001571 h 15152939"/>
                <a:gd name="connsiteX59" fmla="*/ 12785642 w 27560432"/>
                <a:gd name="connsiteY59" fmla="*/ 2820742 h 15152939"/>
                <a:gd name="connsiteX60" fmla="*/ 13671776 w 27560432"/>
                <a:gd name="connsiteY60" fmla="*/ 3272803 h 15152939"/>
                <a:gd name="connsiteX61" fmla="*/ 14123886 w 27560432"/>
                <a:gd name="connsiteY61" fmla="*/ 2974450 h 15152939"/>
                <a:gd name="connsiteX62" fmla="*/ 14259509 w 27560432"/>
                <a:gd name="connsiteY62" fmla="*/ 2404849 h 15152939"/>
                <a:gd name="connsiteX63" fmla="*/ 14892468 w 27560432"/>
                <a:gd name="connsiteY63" fmla="*/ 1762918 h 15152939"/>
                <a:gd name="connsiteX64" fmla="*/ 15778605 w 27560432"/>
                <a:gd name="connsiteY64" fmla="*/ 1211398 h 15152939"/>
                <a:gd name="connsiteX65" fmla="*/ 16022739 w 27560432"/>
                <a:gd name="connsiteY65" fmla="*/ 1681548 h 15152939"/>
                <a:gd name="connsiteX66" fmla="*/ 16013694 w 27560432"/>
                <a:gd name="connsiteY66" fmla="*/ 2169778 h 15152939"/>
                <a:gd name="connsiteX67" fmla="*/ 16556232 w 27560432"/>
                <a:gd name="connsiteY67" fmla="*/ 2260200 h 15152939"/>
                <a:gd name="connsiteX68" fmla="*/ 16863663 w 27560432"/>
                <a:gd name="connsiteY68" fmla="*/ 1744834 h 15152939"/>
                <a:gd name="connsiteX69" fmla="*/ 17406193 w 27560432"/>
                <a:gd name="connsiteY69" fmla="*/ 1410312 h 15152939"/>
                <a:gd name="connsiteX70" fmla="*/ 17623203 w 27560432"/>
                <a:gd name="connsiteY70" fmla="*/ 867840 h 15152939"/>
                <a:gd name="connsiteX71" fmla="*/ 18120524 w 27560432"/>
                <a:gd name="connsiteY71" fmla="*/ 831675 h 15152939"/>
                <a:gd name="connsiteX72" fmla="*/ 18201903 w 27560432"/>
                <a:gd name="connsiteY72" fmla="*/ 542358 h 15152939"/>
                <a:gd name="connsiteX73" fmla="*/ 18744437 w 27560432"/>
                <a:gd name="connsiteY73" fmla="*/ 117414 h 15152939"/>
                <a:gd name="connsiteX74" fmla="*/ 19443290 w 27560432"/>
                <a:gd name="connsiteY74" fmla="*/ 0 h 15152939"/>
                <a:gd name="connsiteX75" fmla="*/ 19982300 w 27560432"/>
                <a:gd name="connsiteY75" fmla="*/ 460880 h 15152939"/>
                <a:gd name="connsiteX76" fmla="*/ 19530143 w 27560432"/>
                <a:gd name="connsiteY76" fmla="*/ 913038 h 15152939"/>
                <a:gd name="connsiteX77" fmla="*/ 19837609 w 27560432"/>
                <a:gd name="connsiteY77" fmla="*/ 1238588 h 15152939"/>
                <a:gd name="connsiteX78" fmla="*/ 20886614 w 27560432"/>
                <a:gd name="connsiteY78" fmla="*/ 1546055 h 15152939"/>
                <a:gd name="connsiteX79" fmla="*/ 21881359 w 27560432"/>
                <a:gd name="connsiteY79" fmla="*/ 1889694 h 15152939"/>
                <a:gd name="connsiteX80" fmla="*/ 21772837 w 27560432"/>
                <a:gd name="connsiteY80" fmla="*/ 2269505 h 15152939"/>
                <a:gd name="connsiteX81" fmla="*/ 21537712 w 27560432"/>
                <a:gd name="connsiteY81" fmla="*/ 2884438 h 15152939"/>
                <a:gd name="connsiteX82" fmla="*/ 21996067 w 27560432"/>
                <a:gd name="connsiteY82" fmla="*/ 2911656 h 15152939"/>
                <a:gd name="connsiteX83" fmla="*/ 22478203 w 27560432"/>
                <a:gd name="connsiteY83" fmla="*/ 2414189 h 15152939"/>
                <a:gd name="connsiteX84" fmla="*/ 23292084 w 27560432"/>
                <a:gd name="connsiteY84" fmla="*/ 2016293 h 15152939"/>
                <a:gd name="connsiteX85" fmla="*/ 23888932 w 27560432"/>
                <a:gd name="connsiteY85" fmla="*/ 1998212 h 15152939"/>
                <a:gd name="connsiteX86" fmla="*/ 24612383 w 27560432"/>
                <a:gd name="connsiteY86" fmla="*/ 1582227 h 15152939"/>
                <a:gd name="connsiteX87" fmla="*/ 25010275 w 27560432"/>
                <a:gd name="connsiteY87" fmla="*/ 695990 h 15152939"/>
                <a:gd name="connsiteX88" fmla="*/ 25769899 w 27560432"/>
                <a:gd name="connsiteY88" fmla="*/ 840685 h 15152939"/>
                <a:gd name="connsiteX89" fmla="*/ 26402920 w 27560432"/>
                <a:gd name="connsiteY89" fmla="*/ 876857 h 15152939"/>
                <a:gd name="connsiteX90" fmla="*/ 26240141 w 27560432"/>
                <a:gd name="connsiteY90" fmla="*/ 1491794 h 15152939"/>
                <a:gd name="connsiteX91" fmla="*/ 26554742 w 27560432"/>
                <a:gd name="connsiteY91" fmla="*/ 2052454 h 15152939"/>
                <a:gd name="connsiteX92" fmla="*/ 25679461 w 27560432"/>
                <a:gd name="connsiteY92" fmla="*/ 2775920 h 15152939"/>
                <a:gd name="connsiteX93" fmla="*/ 25751806 w 27560432"/>
                <a:gd name="connsiteY93" fmla="*/ 3806840 h 15152939"/>
                <a:gd name="connsiteX94" fmla="*/ 26157237 w 27560432"/>
                <a:gd name="connsiteY94"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023104 w 27542354"/>
                <a:gd name="connsiteY6" fmla="*/ 7478344 h 15152939"/>
                <a:gd name="connsiteX7" fmla="*/ 26619948 w 27542354"/>
                <a:gd name="connsiteY7" fmla="*/ 7840060 h 15152939"/>
                <a:gd name="connsiteX8" fmla="*/ 26276305 w 27542354"/>
                <a:gd name="connsiteY8" fmla="*/ 8672029 h 15152939"/>
                <a:gd name="connsiteX9" fmla="*/ 26312478 w 27542354"/>
                <a:gd name="connsiteY9" fmla="*/ 9666777 h 15152939"/>
                <a:gd name="connsiteX10" fmla="*/ 25878405 w 27542354"/>
                <a:gd name="connsiteY10" fmla="*/ 10227453 h 15152939"/>
                <a:gd name="connsiteX11" fmla="*/ 26402912 w 27542354"/>
                <a:gd name="connsiteY11" fmla="*/ 10643437 h 15152939"/>
                <a:gd name="connsiteX12" fmla="*/ 27319497 w 27542354"/>
                <a:gd name="connsiteY12" fmla="*/ 10082959 h 15152939"/>
                <a:gd name="connsiteX13" fmla="*/ 27542355 w 27542354"/>
                <a:gd name="connsiteY13" fmla="*/ 12005935 h 15152939"/>
                <a:gd name="connsiteX14" fmla="*/ 26089423 w 27542354"/>
                <a:gd name="connsiteY14" fmla="*/ 11975789 h 15152939"/>
                <a:gd name="connsiteX15" fmla="*/ 24473715 w 27542354"/>
                <a:gd name="connsiteY15" fmla="*/ 12090334 h 15152939"/>
                <a:gd name="connsiteX16" fmla="*/ 23135328 w 27542354"/>
                <a:gd name="connsiteY16" fmla="*/ 12222964 h 15152939"/>
                <a:gd name="connsiteX17" fmla="*/ 22261159 w 27542354"/>
                <a:gd name="connsiteY17" fmla="*/ 12934357 h 15152939"/>
                <a:gd name="connsiteX18" fmla="*/ 20826342 w 27542354"/>
                <a:gd name="connsiteY18" fmla="*/ 14369204 h 15152939"/>
                <a:gd name="connsiteX19" fmla="*/ 12952786 w 27542354"/>
                <a:gd name="connsiteY19" fmla="*/ 14960014 h 15152939"/>
                <a:gd name="connsiteX20" fmla="*/ 11934663 w 27542354"/>
                <a:gd name="connsiteY20" fmla="*/ 15008264 h 15152939"/>
                <a:gd name="connsiteX21" fmla="*/ 8506848 w 27542354"/>
                <a:gd name="connsiteY21" fmla="*/ 15152939 h 15152939"/>
                <a:gd name="connsiteX22" fmla="*/ 7985095 w 27542354"/>
                <a:gd name="connsiteY22" fmla="*/ 14507857 h 15152939"/>
                <a:gd name="connsiteX23" fmla="*/ 7400308 w 27542354"/>
                <a:gd name="connsiteY23" fmla="*/ 14477712 h 15152939"/>
                <a:gd name="connsiteX24" fmla="*/ 6972273 w 27542354"/>
                <a:gd name="connsiteY24" fmla="*/ 14749009 h 15152939"/>
                <a:gd name="connsiteX25" fmla="*/ 5181729 w 27542354"/>
                <a:gd name="connsiteY25" fmla="*/ 14664610 h 15152939"/>
                <a:gd name="connsiteX26" fmla="*/ 4397998 w 27542354"/>
                <a:gd name="connsiteY26" fmla="*/ 14031593 h 15152939"/>
                <a:gd name="connsiteX27" fmla="*/ 2908896 w 27542354"/>
                <a:gd name="connsiteY27" fmla="*/ 13223739 h 15152939"/>
                <a:gd name="connsiteX28" fmla="*/ 1263043 w 27542354"/>
                <a:gd name="connsiteY28" fmla="*/ 12512346 h 15152939"/>
                <a:gd name="connsiteX29" fmla="*/ 485320 w 27542354"/>
                <a:gd name="connsiteY29" fmla="*/ 12060189 h 15152939"/>
                <a:gd name="connsiteX30" fmla="*/ 0 w 27542354"/>
                <a:gd name="connsiteY30" fmla="*/ 11767077 h 15152939"/>
                <a:gd name="connsiteX31" fmla="*/ 1003686 w 27542354"/>
                <a:gd name="connsiteY31" fmla="*/ 11021112 h 15152939"/>
                <a:gd name="connsiteX32" fmla="*/ 2902551 w 27542354"/>
                <a:gd name="connsiteY32" fmla="*/ 9836713 h 15152939"/>
                <a:gd name="connsiteX33" fmla="*/ 2558940 w 27542354"/>
                <a:gd name="connsiteY33" fmla="*/ 9303282 h 15152939"/>
                <a:gd name="connsiteX34" fmla="*/ 2402508 w 27542354"/>
                <a:gd name="connsiteY34" fmla="*/ 8616199 h 15152939"/>
                <a:gd name="connsiteX35" fmla="*/ 2730740 w 27542354"/>
                <a:gd name="connsiteY35" fmla="*/ 8589028 h 15152939"/>
                <a:gd name="connsiteX36" fmla="*/ 2947754 w 27542354"/>
                <a:gd name="connsiteY36" fmla="*/ 8118883 h 15152939"/>
                <a:gd name="connsiteX37" fmla="*/ 3499325 w 27542354"/>
                <a:gd name="connsiteY37" fmla="*/ 7675866 h 15152939"/>
                <a:gd name="connsiteX38" fmla="*/ 3680166 w 27542354"/>
                <a:gd name="connsiteY38" fmla="*/ 6798868 h 15152939"/>
                <a:gd name="connsiteX39" fmla="*/ 4186528 w 27542354"/>
                <a:gd name="connsiteY39" fmla="*/ 6807904 h 15152939"/>
                <a:gd name="connsiteX40" fmla="*/ 4837569 w 27542354"/>
                <a:gd name="connsiteY40" fmla="*/ 7278054 h 15152939"/>
                <a:gd name="connsiteX41" fmla="*/ 5352976 w 27542354"/>
                <a:gd name="connsiteY41" fmla="*/ 7196687 h 15152939"/>
                <a:gd name="connsiteX42" fmla="*/ 5741786 w 27542354"/>
                <a:gd name="connsiteY42" fmla="*/ 6825992 h 15152939"/>
                <a:gd name="connsiteX43" fmla="*/ 6157723 w 27542354"/>
                <a:gd name="connsiteY43" fmla="*/ 6663251 h 15152939"/>
                <a:gd name="connsiteX44" fmla="*/ 6745471 w 27542354"/>
                <a:gd name="connsiteY44" fmla="*/ 6093658 h 15152939"/>
                <a:gd name="connsiteX45" fmla="*/ 6890140 w 27542354"/>
                <a:gd name="connsiteY45" fmla="*/ 5243782 h 15152939"/>
                <a:gd name="connsiteX46" fmla="*/ 7568305 w 27542354"/>
                <a:gd name="connsiteY46" fmla="*/ 4674188 h 15152939"/>
                <a:gd name="connsiteX47" fmla="*/ 8137967 w 27542354"/>
                <a:gd name="connsiteY47" fmla="*/ 4231167 h 15152939"/>
                <a:gd name="connsiteX48" fmla="*/ 8463480 w 27542354"/>
                <a:gd name="connsiteY48" fmla="*/ 3426500 h 15152939"/>
                <a:gd name="connsiteX49" fmla="*/ 9024093 w 27542354"/>
                <a:gd name="connsiteY49" fmla="*/ 3073893 h 15152939"/>
                <a:gd name="connsiteX50" fmla="*/ 9675138 w 27542354"/>
                <a:gd name="connsiteY50" fmla="*/ 2721291 h 15152939"/>
                <a:gd name="connsiteX51" fmla="*/ 9558580 w 27542354"/>
                <a:gd name="connsiteY51" fmla="*/ 2173007 h 15152939"/>
                <a:gd name="connsiteX52" fmla="*/ 10353296 w 27542354"/>
                <a:gd name="connsiteY52" fmla="*/ 1500723 h 15152939"/>
                <a:gd name="connsiteX53" fmla="*/ 10832530 w 27542354"/>
                <a:gd name="connsiteY53" fmla="*/ 1428389 h 15152939"/>
                <a:gd name="connsiteX54" fmla="*/ 11058585 w 27542354"/>
                <a:gd name="connsiteY54" fmla="*/ 1880458 h 15152939"/>
                <a:gd name="connsiteX55" fmla="*/ 11411229 w 27542354"/>
                <a:gd name="connsiteY55" fmla="*/ 2260189 h 15152939"/>
                <a:gd name="connsiteX56" fmla="*/ 11998974 w 27542354"/>
                <a:gd name="connsiteY56" fmla="*/ 2341559 h 15152939"/>
                <a:gd name="connsiteX57" fmla="*/ 12315449 w 27542354"/>
                <a:gd name="connsiteY57" fmla="*/ 3001571 h 15152939"/>
                <a:gd name="connsiteX58" fmla="*/ 12785642 w 27542354"/>
                <a:gd name="connsiteY58" fmla="*/ 2820742 h 15152939"/>
                <a:gd name="connsiteX59" fmla="*/ 13671776 w 27542354"/>
                <a:gd name="connsiteY59" fmla="*/ 3272803 h 15152939"/>
                <a:gd name="connsiteX60" fmla="*/ 14123886 w 27542354"/>
                <a:gd name="connsiteY60" fmla="*/ 2974450 h 15152939"/>
                <a:gd name="connsiteX61" fmla="*/ 14259509 w 27542354"/>
                <a:gd name="connsiteY61" fmla="*/ 2404849 h 15152939"/>
                <a:gd name="connsiteX62" fmla="*/ 14892468 w 27542354"/>
                <a:gd name="connsiteY62" fmla="*/ 1762918 h 15152939"/>
                <a:gd name="connsiteX63" fmla="*/ 15778605 w 27542354"/>
                <a:gd name="connsiteY63" fmla="*/ 1211398 h 15152939"/>
                <a:gd name="connsiteX64" fmla="*/ 16022739 w 27542354"/>
                <a:gd name="connsiteY64" fmla="*/ 1681548 h 15152939"/>
                <a:gd name="connsiteX65" fmla="*/ 16013694 w 27542354"/>
                <a:gd name="connsiteY65" fmla="*/ 2169778 h 15152939"/>
                <a:gd name="connsiteX66" fmla="*/ 16556232 w 27542354"/>
                <a:gd name="connsiteY66" fmla="*/ 2260200 h 15152939"/>
                <a:gd name="connsiteX67" fmla="*/ 16863663 w 27542354"/>
                <a:gd name="connsiteY67" fmla="*/ 1744834 h 15152939"/>
                <a:gd name="connsiteX68" fmla="*/ 17406193 w 27542354"/>
                <a:gd name="connsiteY68" fmla="*/ 1410312 h 15152939"/>
                <a:gd name="connsiteX69" fmla="*/ 17623203 w 27542354"/>
                <a:gd name="connsiteY69" fmla="*/ 867840 h 15152939"/>
                <a:gd name="connsiteX70" fmla="*/ 18120524 w 27542354"/>
                <a:gd name="connsiteY70" fmla="*/ 831675 h 15152939"/>
                <a:gd name="connsiteX71" fmla="*/ 18201903 w 27542354"/>
                <a:gd name="connsiteY71" fmla="*/ 542358 h 15152939"/>
                <a:gd name="connsiteX72" fmla="*/ 18744437 w 27542354"/>
                <a:gd name="connsiteY72" fmla="*/ 117414 h 15152939"/>
                <a:gd name="connsiteX73" fmla="*/ 19443290 w 27542354"/>
                <a:gd name="connsiteY73" fmla="*/ 0 h 15152939"/>
                <a:gd name="connsiteX74" fmla="*/ 19982300 w 27542354"/>
                <a:gd name="connsiteY74" fmla="*/ 460880 h 15152939"/>
                <a:gd name="connsiteX75" fmla="*/ 19530143 w 27542354"/>
                <a:gd name="connsiteY75" fmla="*/ 913038 h 15152939"/>
                <a:gd name="connsiteX76" fmla="*/ 19837609 w 27542354"/>
                <a:gd name="connsiteY76" fmla="*/ 1238588 h 15152939"/>
                <a:gd name="connsiteX77" fmla="*/ 20886614 w 27542354"/>
                <a:gd name="connsiteY77" fmla="*/ 1546055 h 15152939"/>
                <a:gd name="connsiteX78" fmla="*/ 21881359 w 27542354"/>
                <a:gd name="connsiteY78" fmla="*/ 1889694 h 15152939"/>
                <a:gd name="connsiteX79" fmla="*/ 21772837 w 27542354"/>
                <a:gd name="connsiteY79" fmla="*/ 2269505 h 15152939"/>
                <a:gd name="connsiteX80" fmla="*/ 21537712 w 27542354"/>
                <a:gd name="connsiteY80" fmla="*/ 2884438 h 15152939"/>
                <a:gd name="connsiteX81" fmla="*/ 21996067 w 27542354"/>
                <a:gd name="connsiteY81" fmla="*/ 2911656 h 15152939"/>
                <a:gd name="connsiteX82" fmla="*/ 22478203 w 27542354"/>
                <a:gd name="connsiteY82" fmla="*/ 2414189 h 15152939"/>
                <a:gd name="connsiteX83" fmla="*/ 23292084 w 27542354"/>
                <a:gd name="connsiteY83" fmla="*/ 2016293 h 15152939"/>
                <a:gd name="connsiteX84" fmla="*/ 23888932 w 27542354"/>
                <a:gd name="connsiteY84" fmla="*/ 1998212 h 15152939"/>
                <a:gd name="connsiteX85" fmla="*/ 24612383 w 27542354"/>
                <a:gd name="connsiteY85" fmla="*/ 1582227 h 15152939"/>
                <a:gd name="connsiteX86" fmla="*/ 25010275 w 27542354"/>
                <a:gd name="connsiteY86" fmla="*/ 695990 h 15152939"/>
                <a:gd name="connsiteX87" fmla="*/ 25769899 w 27542354"/>
                <a:gd name="connsiteY87" fmla="*/ 840685 h 15152939"/>
                <a:gd name="connsiteX88" fmla="*/ 26402920 w 27542354"/>
                <a:gd name="connsiteY88" fmla="*/ 876857 h 15152939"/>
                <a:gd name="connsiteX89" fmla="*/ 26240141 w 27542354"/>
                <a:gd name="connsiteY89" fmla="*/ 1491794 h 15152939"/>
                <a:gd name="connsiteX90" fmla="*/ 26554742 w 27542354"/>
                <a:gd name="connsiteY90" fmla="*/ 2052454 h 15152939"/>
                <a:gd name="connsiteX91" fmla="*/ 25679461 w 27542354"/>
                <a:gd name="connsiteY91" fmla="*/ 2775920 h 15152939"/>
                <a:gd name="connsiteX92" fmla="*/ 25751806 w 27542354"/>
                <a:gd name="connsiteY92" fmla="*/ 3806840 h 15152939"/>
                <a:gd name="connsiteX93" fmla="*/ 26157237 w 27542354"/>
                <a:gd name="connsiteY93"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023104 w 27542354"/>
                <a:gd name="connsiteY6" fmla="*/ 7478344 h 15152939"/>
                <a:gd name="connsiteX7" fmla="*/ 26619948 w 27542354"/>
                <a:gd name="connsiteY7" fmla="*/ 7840060 h 15152939"/>
                <a:gd name="connsiteX8" fmla="*/ 26276305 w 27542354"/>
                <a:gd name="connsiteY8" fmla="*/ 8672029 h 15152939"/>
                <a:gd name="connsiteX9" fmla="*/ 26312478 w 27542354"/>
                <a:gd name="connsiteY9" fmla="*/ 9666777 h 15152939"/>
                <a:gd name="connsiteX10" fmla="*/ 25878405 w 27542354"/>
                <a:gd name="connsiteY10" fmla="*/ 10227453 h 15152939"/>
                <a:gd name="connsiteX11" fmla="*/ 26402912 w 27542354"/>
                <a:gd name="connsiteY11" fmla="*/ 10643437 h 15152939"/>
                <a:gd name="connsiteX12" fmla="*/ 27542355 w 27542354"/>
                <a:gd name="connsiteY12" fmla="*/ 12005935 h 15152939"/>
                <a:gd name="connsiteX13" fmla="*/ 26089423 w 27542354"/>
                <a:gd name="connsiteY13" fmla="*/ 11975789 h 15152939"/>
                <a:gd name="connsiteX14" fmla="*/ 24473715 w 27542354"/>
                <a:gd name="connsiteY14" fmla="*/ 12090334 h 15152939"/>
                <a:gd name="connsiteX15" fmla="*/ 23135328 w 27542354"/>
                <a:gd name="connsiteY15" fmla="*/ 12222964 h 15152939"/>
                <a:gd name="connsiteX16" fmla="*/ 22261159 w 27542354"/>
                <a:gd name="connsiteY16" fmla="*/ 12934357 h 15152939"/>
                <a:gd name="connsiteX17" fmla="*/ 20826342 w 27542354"/>
                <a:gd name="connsiteY17" fmla="*/ 14369204 h 15152939"/>
                <a:gd name="connsiteX18" fmla="*/ 12952786 w 27542354"/>
                <a:gd name="connsiteY18" fmla="*/ 14960014 h 15152939"/>
                <a:gd name="connsiteX19" fmla="*/ 11934663 w 27542354"/>
                <a:gd name="connsiteY19" fmla="*/ 15008264 h 15152939"/>
                <a:gd name="connsiteX20" fmla="*/ 8506848 w 27542354"/>
                <a:gd name="connsiteY20" fmla="*/ 15152939 h 15152939"/>
                <a:gd name="connsiteX21" fmla="*/ 7985095 w 27542354"/>
                <a:gd name="connsiteY21" fmla="*/ 14507857 h 15152939"/>
                <a:gd name="connsiteX22" fmla="*/ 7400308 w 27542354"/>
                <a:gd name="connsiteY22" fmla="*/ 14477712 h 15152939"/>
                <a:gd name="connsiteX23" fmla="*/ 6972273 w 27542354"/>
                <a:gd name="connsiteY23" fmla="*/ 14749009 h 15152939"/>
                <a:gd name="connsiteX24" fmla="*/ 5181729 w 27542354"/>
                <a:gd name="connsiteY24" fmla="*/ 14664610 h 15152939"/>
                <a:gd name="connsiteX25" fmla="*/ 4397998 w 27542354"/>
                <a:gd name="connsiteY25" fmla="*/ 14031593 h 15152939"/>
                <a:gd name="connsiteX26" fmla="*/ 2908896 w 27542354"/>
                <a:gd name="connsiteY26" fmla="*/ 13223739 h 15152939"/>
                <a:gd name="connsiteX27" fmla="*/ 1263043 w 27542354"/>
                <a:gd name="connsiteY27" fmla="*/ 12512346 h 15152939"/>
                <a:gd name="connsiteX28" fmla="*/ 485320 w 27542354"/>
                <a:gd name="connsiteY28" fmla="*/ 12060189 h 15152939"/>
                <a:gd name="connsiteX29" fmla="*/ 0 w 27542354"/>
                <a:gd name="connsiteY29" fmla="*/ 11767077 h 15152939"/>
                <a:gd name="connsiteX30" fmla="*/ 1003686 w 27542354"/>
                <a:gd name="connsiteY30" fmla="*/ 11021112 h 15152939"/>
                <a:gd name="connsiteX31" fmla="*/ 2902551 w 27542354"/>
                <a:gd name="connsiteY31" fmla="*/ 9836713 h 15152939"/>
                <a:gd name="connsiteX32" fmla="*/ 2558940 w 27542354"/>
                <a:gd name="connsiteY32" fmla="*/ 9303282 h 15152939"/>
                <a:gd name="connsiteX33" fmla="*/ 2402508 w 27542354"/>
                <a:gd name="connsiteY33" fmla="*/ 8616199 h 15152939"/>
                <a:gd name="connsiteX34" fmla="*/ 2730740 w 27542354"/>
                <a:gd name="connsiteY34" fmla="*/ 8589028 h 15152939"/>
                <a:gd name="connsiteX35" fmla="*/ 2947754 w 27542354"/>
                <a:gd name="connsiteY35" fmla="*/ 8118883 h 15152939"/>
                <a:gd name="connsiteX36" fmla="*/ 3499325 w 27542354"/>
                <a:gd name="connsiteY36" fmla="*/ 7675866 h 15152939"/>
                <a:gd name="connsiteX37" fmla="*/ 3680166 w 27542354"/>
                <a:gd name="connsiteY37" fmla="*/ 6798868 h 15152939"/>
                <a:gd name="connsiteX38" fmla="*/ 4186528 w 27542354"/>
                <a:gd name="connsiteY38" fmla="*/ 6807904 h 15152939"/>
                <a:gd name="connsiteX39" fmla="*/ 4837569 w 27542354"/>
                <a:gd name="connsiteY39" fmla="*/ 7278054 h 15152939"/>
                <a:gd name="connsiteX40" fmla="*/ 5352976 w 27542354"/>
                <a:gd name="connsiteY40" fmla="*/ 7196687 h 15152939"/>
                <a:gd name="connsiteX41" fmla="*/ 5741786 w 27542354"/>
                <a:gd name="connsiteY41" fmla="*/ 6825992 h 15152939"/>
                <a:gd name="connsiteX42" fmla="*/ 6157723 w 27542354"/>
                <a:gd name="connsiteY42" fmla="*/ 6663251 h 15152939"/>
                <a:gd name="connsiteX43" fmla="*/ 6745471 w 27542354"/>
                <a:gd name="connsiteY43" fmla="*/ 6093658 h 15152939"/>
                <a:gd name="connsiteX44" fmla="*/ 6890140 w 27542354"/>
                <a:gd name="connsiteY44" fmla="*/ 5243782 h 15152939"/>
                <a:gd name="connsiteX45" fmla="*/ 7568305 w 27542354"/>
                <a:gd name="connsiteY45" fmla="*/ 4674188 h 15152939"/>
                <a:gd name="connsiteX46" fmla="*/ 8137967 w 27542354"/>
                <a:gd name="connsiteY46" fmla="*/ 4231167 h 15152939"/>
                <a:gd name="connsiteX47" fmla="*/ 8463480 w 27542354"/>
                <a:gd name="connsiteY47" fmla="*/ 3426500 h 15152939"/>
                <a:gd name="connsiteX48" fmla="*/ 9024093 w 27542354"/>
                <a:gd name="connsiteY48" fmla="*/ 3073893 h 15152939"/>
                <a:gd name="connsiteX49" fmla="*/ 9675138 w 27542354"/>
                <a:gd name="connsiteY49" fmla="*/ 2721291 h 15152939"/>
                <a:gd name="connsiteX50" fmla="*/ 9558580 w 27542354"/>
                <a:gd name="connsiteY50" fmla="*/ 2173007 h 15152939"/>
                <a:gd name="connsiteX51" fmla="*/ 10353296 w 27542354"/>
                <a:gd name="connsiteY51" fmla="*/ 1500723 h 15152939"/>
                <a:gd name="connsiteX52" fmla="*/ 10832530 w 27542354"/>
                <a:gd name="connsiteY52" fmla="*/ 1428389 h 15152939"/>
                <a:gd name="connsiteX53" fmla="*/ 11058585 w 27542354"/>
                <a:gd name="connsiteY53" fmla="*/ 1880458 h 15152939"/>
                <a:gd name="connsiteX54" fmla="*/ 11411229 w 27542354"/>
                <a:gd name="connsiteY54" fmla="*/ 2260189 h 15152939"/>
                <a:gd name="connsiteX55" fmla="*/ 11998974 w 27542354"/>
                <a:gd name="connsiteY55" fmla="*/ 2341559 h 15152939"/>
                <a:gd name="connsiteX56" fmla="*/ 12315449 w 27542354"/>
                <a:gd name="connsiteY56" fmla="*/ 3001571 h 15152939"/>
                <a:gd name="connsiteX57" fmla="*/ 12785642 w 27542354"/>
                <a:gd name="connsiteY57" fmla="*/ 2820742 h 15152939"/>
                <a:gd name="connsiteX58" fmla="*/ 13671776 w 27542354"/>
                <a:gd name="connsiteY58" fmla="*/ 3272803 h 15152939"/>
                <a:gd name="connsiteX59" fmla="*/ 14123886 w 27542354"/>
                <a:gd name="connsiteY59" fmla="*/ 2974450 h 15152939"/>
                <a:gd name="connsiteX60" fmla="*/ 14259509 w 27542354"/>
                <a:gd name="connsiteY60" fmla="*/ 2404849 h 15152939"/>
                <a:gd name="connsiteX61" fmla="*/ 14892468 w 27542354"/>
                <a:gd name="connsiteY61" fmla="*/ 1762918 h 15152939"/>
                <a:gd name="connsiteX62" fmla="*/ 15778605 w 27542354"/>
                <a:gd name="connsiteY62" fmla="*/ 1211398 h 15152939"/>
                <a:gd name="connsiteX63" fmla="*/ 16022739 w 27542354"/>
                <a:gd name="connsiteY63" fmla="*/ 1681548 h 15152939"/>
                <a:gd name="connsiteX64" fmla="*/ 16013694 w 27542354"/>
                <a:gd name="connsiteY64" fmla="*/ 2169778 h 15152939"/>
                <a:gd name="connsiteX65" fmla="*/ 16556232 w 27542354"/>
                <a:gd name="connsiteY65" fmla="*/ 2260200 h 15152939"/>
                <a:gd name="connsiteX66" fmla="*/ 16863663 w 27542354"/>
                <a:gd name="connsiteY66" fmla="*/ 1744834 h 15152939"/>
                <a:gd name="connsiteX67" fmla="*/ 17406193 w 27542354"/>
                <a:gd name="connsiteY67" fmla="*/ 1410312 h 15152939"/>
                <a:gd name="connsiteX68" fmla="*/ 17623203 w 27542354"/>
                <a:gd name="connsiteY68" fmla="*/ 867840 h 15152939"/>
                <a:gd name="connsiteX69" fmla="*/ 18120524 w 27542354"/>
                <a:gd name="connsiteY69" fmla="*/ 831675 h 15152939"/>
                <a:gd name="connsiteX70" fmla="*/ 18201903 w 27542354"/>
                <a:gd name="connsiteY70" fmla="*/ 542358 h 15152939"/>
                <a:gd name="connsiteX71" fmla="*/ 18744437 w 27542354"/>
                <a:gd name="connsiteY71" fmla="*/ 117414 h 15152939"/>
                <a:gd name="connsiteX72" fmla="*/ 19443290 w 27542354"/>
                <a:gd name="connsiteY72" fmla="*/ 0 h 15152939"/>
                <a:gd name="connsiteX73" fmla="*/ 19982300 w 27542354"/>
                <a:gd name="connsiteY73" fmla="*/ 460880 h 15152939"/>
                <a:gd name="connsiteX74" fmla="*/ 19530143 w 27542354"/>
                <a:gd name="connsiteY74" fmla="*/ 913038 h 15152939"/>
                <a:gd name="connsiteX75" fmla="*/ 19837609 w 27542354"/>
                <a:gd name="connsiteY75" fmla="*/ 1238588 h 15152939"/>
                <a:gd name="connsiteX76" fmla="*/ 20886614 w 27542354"/>
                <a:gd name="connsiteY76" fmla="*/ 1546055 h 15152939"/>
                <a:gd name="connsiteX77" fmla="*/ 21881359 w 27542354"/>
                <a:gd name="connsiteY77" fmla="*/ 1889694 h 15152939"/>
                <a:gd name="connsiteX78" fmla="*/ 21772837 w 27542354"/>
                <a:gd name="connsiteY78" fmla="*/ 2269505 h 15152939"/>
                <a:gd name="connsiteX79" fmla="*/ 21537712 w 27542354"/>
                <a:gd name="connsiteY79" fmla="*/ 2884438 h 15152939"/>
                <a:gd name="connsiteX80" fmla="*/ 21996067 w 27542354"/>
                <a:gd name="connsiteY80" fmla="*/ 2911656 h 15152939"/>
                <a:gd name="connsiteX81" fmla="*/ 22478203 w 27542354"/>
                <a:gd name="connsiteY81" fmla="*/ 2414189 h 15152939"/>
                <a:gd name="connsiteX82" fmla="*/ 23292084 w 27542354"/>
                <a:gd name="connsiteY82" fmla="*/ 2016293 h 15152939"/>
                <a:gd name="connsiteX83" fmla="*/ 23888932 w 27542354"/>
                <a:gd name="connsiteY83" fmla="*/ 1998212 h 15152939"/>
                <a:gd name="connsiteX84" fmla="*/ 24612383 w 27542354"/>
                <a:gd name="connsiteY84" fmla="*/ 1582227 h 15152939"/>
                <a:gd name="connsiteX85" fmla="*/ 25010275 w 27542354"/>
                <a:gd name="connsiteY85" fmla="*/ 695990 h 15152939"/>
                <a:gd name="connsiteX86" fmla="*/ 25769899 w 27542354"/>
                <a:gd name="connsiteY86" fmla="*/ 840685 h 15152939"/>
                <a:gd name="connsiteX87" fmla="*/ 26402920 w 27542354"/>
                <a:gd name="connsiteY87" fmla="*/ 876857 h 15152939"/>
                <a:gd name="connsiteX88" fmla="*/ 26240141 w 27542354"/>
                <a:gd name="connsiteY88" fmla="*/ 1491794 h 15152939"/>
                <a:gd name="connsiteX89" fmla="*/ 26554742 w 27542354"/>
                <a:gd name="connsiteY89" fmla="*/ 2052454 h 15152939"/>
                <a:gd name="connsiteX90" fmla="*/ 25679461 w 27542354"/>
                <a:gd name="connsiteY90" fmla="*/ 2775920 h 15152939"/>
                <a:gd name="connsiteX91" fmla="*/ 25751806 w 27542354"/>
                <a:gd name="connsiteY91" fmla="*/ 3806840 h 15152939"/>
                <a:gd name="connsiteX92" fmla="*/ 26157237 w 27542354"/>
                <a:gd name="connsiteY92"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023104 w 27542354"/>
                <a:gd name="connsiteY6" fmla="*/ 7478344 h 15152939"/>
                <a:gd name="connsiteX7" fmla="*/ 26619948 w 27542354"/>
                <a:gd name="connsiteY7" fmla="*/ 7840060 h 15152939"/>
                <a:gd name="connsiteX8" fmla="*/ 26276305 w 27542354"/>
                <a:gd name="connsiteY8" fmla="*/ 8672029 h 15152939"/>
                <a:gd name="connsiteX9" fmla="*/ 26312478 w 27542354"/>
                <a:gd name="connsiteY9" fmla="*/ 9666777 h 15152939"/>
                <a:gd name="connsiteX10" fmla="*/ 26402912 w 27542354"/>
                <a:gd name="connsiteY10" fmla="*/ 10643437 h 15152939"/>
                <a:gd name="connsiteX11" fmla="*/ 27542355 w 27542354"/>
                <a:gd name="connsiteY11" fmla="*/ 12005935 h 15152939"/>
                <a:gd name="connsiteX12" fmla="*/ 26089423 w 27542354"/>
                <a:gd name="connsiteY12" fmla="*/ 11975789 h 15152939"/>
                <a:gd name="connsiteX13" fmla="*/ 24473715 w 27542354"/>
                <a:gd name="connsiteY13" fmla="*/ 12090334 h 15152939"/>
                <a:gd name="connsiteX14" fmla="*/ 23135328 w 27542354"/>
                <a:gd name="connsiteY14" fmla="*/ 12222964 h 15152939"/>
                <a:gd name="connsiteX15" fmla="*/ 22261159 w 27542354"/>
                <a:gd name="connsiteY15" fmla="*/ 12934357 h 15152939"/>
                <a:gd name="connsiteX16" fmla="*/ 20826342 w 27542354"/>
                <a:gd name="connsiteY16" fmla="*/ 14369204 h 15152939"/>
                <a:gd name="connsiteX17" fmla="*/ 12952786 w 27542354"/>
                <a:gd name="connsiteY17" fmla="*/ 14960014 h 15152939"/>
                <a:gd name="connsiteX18" fmla="*/ 11934663 w 27542354"/>
                <a:gd name="connsiteY18" fmla="*/ 15008264 h 15152939"/>
                <a:gd name="connsiteX19" fmla="*/ 8506848 w 27542354"/>
                <a:gd name="connsiteY19" fmla="*/ 15152939 h 15152939"/>
                <a:gd name="connsiteX20" fmla="*/ 7985095 w 27542354"/>
                <a:gd name="connsiteY20" fmla="*/ 14507857 h 15152939"/>
                <a:gd name="connsiteX21" fmla="*/ 7400308 w 27542354"/>
                <a:gd name="connsiteY21" fmla="*/ 14477712 h 15152939"/>
                <a:gd name="connsiteX22" fmla="*/ 6972273 w 27542354"/>
                <a:gd name="connsiteY22" fmla="*/ 14749009 h 15152939"/>
                <a:gd name="connsiteX23" fmla="*/ 5181729 w 27542354"/>
                <a:gd name="connsiteY23" fmla="*/ 14664610 h 15152939"/>
                <a:gd name="connsiteX24" fmla="*/ 4397998 w 27542354"/>
                <a:gd name="connsiteY24" fmla="*/ 14031593 h 15152939"/>
                <a:gd name="connsiteX25" fmla="*/ 2908896 w 27542354"/>
                <a:gd name="connsiteY25" fmla="*/ 13223739 h 15152939"/>
                <a:gd name="connsiteX26" fmla="*/ 1263043 w 27542354"/>
                <a:gd name="connsiteY26" fmla="*/ 12512346 h 15152939"/>
                <a:gd name="connsiteX27" fmla="*/ 485320 w 27542354"/>
                <a:gd name="connsiteY27" fmla="*/ 12060189 h 15152939"/>
                <a:gd name="connsiteX28" fmla="*/ 0 w 27542354"/>
                <a:gd name="connsiteY28" fmla="*/ 11767077 h 15152939"/>
                <a:gd name="connsiteX29" fmla="*/ 1003686 w 27542354"/>
                <a:gd name="connsiteY29" fmla="*/ 11021112 h 15152939"/>
                <a:gd name="connsiteX30" fmla="*/ 2902551 w 27542354"/>
                <a:gd name="connsiteY30" fmla="*/ 9836713 h 15152939"/>
                <a:gd name="connsiteX31" fmla="*/ 2558940 w 27542354"/>
                <a:gd name="connsiteY31" fmla="*/ 9303282 h 15152939"/>
                <a:gd name="connsiteX32" fmla="*/ 2402508 w 27542354"/>
                <a:gd name="connsiteY32" fmla="*/ 8616199 h 15152939"/>
                <a:gd name="connsiteX33" fmla="*/ 2730740 w 27542354"/>
                <a:gd name="connsiteY33" fmla="*/ 8589028 h 15152939"/>
                <a:gd name="connsiteX34" fmla="*/ 2947754 w 27542354"/>
                <a:gd name="connsiteY34" fmla="*/ 8118883 h 15152939"/>
                <a:gd name="connsiteX35" fmla="*/ 3499325 w 27542354"/>
                <a:gd name="connsiteY35" fmla="*/ 7675866 h 15152939"/>
                <a:gd name="connsiteX36" fmla="*/ 3680166 w 27542354"/>
                <a:gd name="connsiteY36" fmla="*/ 6798868 h 15152939"/>
                <a:gd name="connsiteX37" fmla="*/ 4186528 w 27542354"/>
                <a:gd name="connsiteY37" fmla="*/ 6807904 h 15152939"/>
                <a:gd name="connsiteX38" fmla="*/ 4837569 w 27542354"/>
                <a:gd name="connsiteY38" fmla="*/ 7278054 h 15152939"/>
                <a:gd name="connsiteX39" fmla="*/ 5352976 w 27542354"/>
                <a:gd name="connsiteY39" fmla="*/ 7196687 h 15152939"/>
                <a:gd name="connsiteX40" fmla="*/ 5741786 w 27542354"/>
                <a:gd name="connsiteY40" fmla="*/ 6825992 h 15152939"/>
                <a:gd name="connsiteX41" fmla="*/ 6157723 w 27542354"/>
                <a:gd name="connsiteY41" fmla="*/ 6663251 h 15152939"/>
                <a:gd name="connsiteX42" fmla="*/ 6745471 w 27542354"/>
                <a:gd name="connsiteY42" fmla="*/ 6093658 h 15152939"/>
                <a:gd name="connsiteX43" fmla="*/ 6890140 w 27542354"/>
                <a:gd name="connsiteY43" fmla="*/ 5243782 h 15152939"/>
                <a:gd name="connsiteX44" fmla="*/ 7568305 w 27542354"/>
                <a:gd name="connsiteY44" fmla="*/ 4674188 h 15152939"/>
                <a:gd name="connsiteX45" fmla="*/ 8137967 w 27542354"/>
                <a:gd name="connsiteY45" fmla="*/ 4231167 h 15152939"/>
                <a:gd name="connsiteX46" fmla="*/ 8463480 w 27542354"/>
                <a:gd name="connsiteY46" fmla="*/ 3426500 h 15152939"/>
                <a:gd name="connsiteX47" fmla="*/ 9024093 w 27542354"/>
                <a:gd name="connsiteY47" fmla="*/ 3073893 h 15152939"/>
                <a:gd name="connsiteX48" fmla="*/ 9675138 w 27542354"/>
                <a:gd name="connsiteY48" fmla="*/ 2721291 h 15152939"/>
                <a:gd name="connsiteX49" fmla="*/ 9558580 w 27542354"/>
                <a:gd name="connsiteY49" fmla="*/ 2173007 h 15152939"/>
                <a:gd name="connsiteX50" fmla="*/ 10353296 w 27542354"/>
                <a:gd name="connsiteY50" fmla="*/ 1500723 h 15152939"/>
                <a:gd name="connsiteX51" fmla="*/ 10832530 w 27542354"/>
                <a:gd name="connsiteY51" fmla="*/ 1428389 h 15152939"/>
                <a:gd name="connsiteX52" fmla="*/ 11058585 w 27542354"/>
                <a:gd name="connsiteY52" fmla="*/ 1880458 h 15152939"/>
                <a:gd name="connsiteX53" fmla="*/ 11411229 w 27542354"/>
                <a:gd name="connsiteY53" fmla="*/ 2260189 h 15152939"/>
                <a:gd name="connsiteX54" fmla="*/ 11998974 w 27542354"/>
                <a:gd name="connsiteY54" fmla="*/ 2341559 h 15152939"/>
                <a:gd name="connsiteX55" fmla="*/ 12315449 w 27542354"/>
                <a:gd name="connsiteY55" fmla="*/ 3001571 h 15152939"/>
                <a:gd name="connsiteX56" fmla="*/ 12785642 w 27542354"/>
                <a:gd name="connsiteY56" fmla="*/ 2820742 h 15152939"/>
                <a:gd name="connsiteX57" fmla="*/ 13671776 w 27542354"/>
                <a:gd name="connsiteY57" fmla="*/ 3272803 h 15152939"/>
                <a:gd name="connsiteX58" fmla="*/ 14123886 w 27542354"/>
                <a:gd name="connsiteY58" fmla="*/ 2974450 h 15152939"/>
                <a:gd name="connsiteX59" fmla="*/ 14259509 w 27542354"/>
                <a:gd name="connsiteY59" fmla="*/ 2404849 h 15152939"/>
                <a:gd name="connsiteX60" fmla="*/ 14892468 w 27542354"/>
                <a:gd name="connsiteY60" fmla="*/ 1762918 h 15152939"/>
                <a:gd name="connsiteX61" fmla="*/ 15778605 w 27542354"/>
                <a:gd name="connsiteY61" fmla="*/ 1211398 h 15152939"/>
                <a:gd name="connsiteX62" fmla="*/ 16022739 w 27542354"/>
                <a:gd name="connsiteY62" fmla="*/ 1681548 h 15152939"/>
                <a:gd name="connsiteX63" fmla="*/ 16013694 w 27542354"/>
                <a:gd name="connsiteY63" fmla="*/ 2169778 h 15152939"/>
                <a:gd name="connsiteX64" fmla="*/ 16556232 w 27542354"/>
                <a:gd name="connsiteY64" fmla="*/ 2260200 h 15152939"/>
                <a:gd name="connsiteX65" fmla="*/ 16863663 w 27542354"/>
                <a:gd name="connsiteY65" fmla="*/ 1744834 h 15152939"/>
                <a:gd name="connsiteX66" fmla="*/ 17406193 w 27542354"/>
                <a:gd name="connsiteY66" fmla="*/ 1410312 h 15152939"/>
                <a:gd name="connsiteX67" fmla="*/ 17623203 w 27542354"/>
                <a:gd name="connsiteY67" fmla="*/ 867840 h 15152939"/>
                <a:gd name="connsiteX68" fmla="*/ 18120524 w 27542354"/>
                <a:gd name="connsiteY68" fmla="*/ 831675 h 15152939"/>
                <a:gd name="connsiteX69" fmla="*/ 18201903 w 27542354"/>
                <a:gd name="connsiteY69" fmla="*/ 542358 h 15152939"/>
                <a:gd name="connsiteX70" fmla="*/ 18744437 w 27542354"/>
                <a:gd name="connsiteY70" fmla="*/ 117414 h 15152939"/>
                <a:gd name="connsiteX71" fmla="*/ 19443290 w 27542354"/>
                <a:gd name="connsiteY71" fmla="*/ 0 h 15152939"/>
                <a:gd name="connsiteX72" fmla="*/ 19982300 w 27542354"/>
                <a:gd name="connsiteY72" fmla="*/ 460880 h 15152939"/>
                <a:gd name="connsiteX73" fmla="*/ 19530143 w 27542354"/>
                <a:gd name="connsiteY73" fmla="*/ 913038 h 15152939"/>
                <a:gd name="connsiteX74" fmla="*/ 19837609 w 27542354"/>
                <a:gd name="connsiteY74" fmla="*/ 1238588 h 15152939"/>
                <a:gd name="connsiteX75" fmla="*/ 20886614 w 27542354"/>
                <a:gd name="connsiteY75" fmla="*/ 1546055 h 15152939"/>
                <a:gd name="connsiteX76" fmla="*/ 21881359 w 27542354"/>
                <a:gd name="connsiteY76" fmla="*/ 1889694 h 15152939"/>
                <a:gd name="connsiteX77" fmla="*/ 21772837 w 27542354"/>
                <a:gd name="connsiteY77" fmla="*/ 2269505 h 15152939"/>
                <a:gd name="connsiteX78" fmla="*/ 21537712 w 27542354"/>
                <a:gd name="connsiteY78" fmla="*/ 2884438 h 15152939"/>
                <a:gd name="connsiteX79" fmla="*/ 21996067 w 27542354"/>
                <a:gd name="connsiteY79" fmla="*/ 2911656 h 15152939"/>
                <a:gd name="connsiteX80" fmla="*/ 22478203 w 27542354"/>
                <a:gd name="connsiteY80" fmla="*/ 2414189 h 15152939"/>
                <a:gd name="connsiteX81" fmla="*/ 23292084 w 27542354"/>
                <a:gd name="connsiteY81" fmla="*/ 2016293 h 15152939"/>
                <a:gd name="connsiteX82" fmla="*/ 23888932 w 27542354"/>
                <a:gd name="connsiteY82" fmla="*/ 1998212 h 15152939"/>
                <a:gd name="connsiteX83" fmla="*/ 24612383 w 27542354"/>
                <a:gd name="connsiteY83" fmla="*/ 1582227 h 15152939"/>
                <a:gd name="connsiteX84" fmla="*/ 25010275 w 27542354"/>
                <a:gd name="connsiteY84" fmla="*/ 695990 h 15152939"/>
                <a:gd name="connsiteX85" fmla="*/ 25769899 w 27542354"/>
                <a:gd name="connsiteY85" fmla="*/ 840685 h 15152939"/>
                <a:gd name="connsiteX86" fmla="*/ 26402920 w 27542354"/>
                <a:gd name="connsiteY86" fmla="*/ 876857 h 15152939"/>
                <a:gd name="connsiteX87" fmla="*/ 26240141 w 27542354"/>
                <a:gd name="connsiteY87" fmla="*/ 1491794 h 15152939"/>
                <a:gd name="connsiteX88" fmla="*/ 26554742 w 27542354"/>
                <a:gd name="connsiteY88" fmla="*/ 2052454 h 15152939"/>
                <a:gd name="connsiteX89" fmla="*/ 25679461 w 27542354"/>
                <a:gd name="connsiteY89" fmla="*/ 2775920 h 15152939"/>
                <a:gd name="connsiteX90" fmla="*/ 25751806 w 27542354"/>
                <a:gd name="connsiteY90" fmla="*/ 3806840 h 15152939"/>
                <a:gd name="connsiteX91" fmla="*/ 26157237 w 27542354"/>
                <a:gd name="connsiteY91"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023104 w 27542354"/>
                <a:gd name="connsiteY6" fmla="*/ 7478344 h 15152939"/>
                <a:gd name="connsiteX7" fmla="*/ 26619948 w 27542354"/>
                <a:gd name="connsiteY7" fmla="*/ 7840060 h 15152939"/>
                <a:gd name="connsiteX8" fmla="*/ 26312478 w 27542354"/>
                <a:gd name="connsiteY8" fmla="*/ 9666777 h 15152939"/>
                <a:gd name="connsiteX9" fmla="*/ 26402912 w 27542354"/>
                <a:gd name="connsiteY9" fmla="*/ 10643437 h 15152939"/>
                <a:gd name="connsiteX10" fmla="*/ 27542355 w 27542354"/>
                <a:gd name="connsiteY10" fmla="*/ 12005935 h 15152939"/>
                <a:gd name="connsiteX11" fmla="*/ 26089423 w 27542354"/>
                <a:gd name="connsiteY11" fmla="*/ 11975789 h 15152939"/>
                <a:gd name="connsiteX12" fmla="*/ 24473715 w 27542354"/>
                <a:gd name="connsiteY12" fmla="*/ 12090334 h 15152939"/>
                <a:gd name="connsiteX13" fmla="*/ 23135328 w 27542354"/>
                <a:gd name="connsiteY13" fmla="*/ 12222964 h 15152939"/>
                <a:gd name="connsiteX14" fmla="*/ 22261159 w 27542354"/>
                <a:gd name="connsiteY14" fmla="*/ 12934357 h 15152939"/>
                <a:gd name="connsiteX15" fmla="*/ 20826342 w 27542354"/>
                <a:gd name="connsiteY15" fmla="*/ 14369204 h 15152939"/>
                <a:gd name="connsiteX16" fmla="*/ 12952786 w 27542354"/>
                <a:gd name="connsiteY16" fmla="*/ 14960014 h 15152939"/>
                <a:gd name="connsiteX17" fmla="*/ 11934663 w 27542354"/>
                <a:gd name="connsiteY17" fmla="*/ 15008264 h 15152939"/>
                <a:gd name="connsiteX18" fmla="*/ 8506848 w 27542354"/>
                <a:gd name="connsiteY18" fmla="*/ 15152939 h 15152939"/>
                <a:gd name="connsiteX19" fmla="*/ 7985095 w 27542354"/>
                <a:gd name="connsiteY19" fmla="*/ 14507857 h 15152939"/>
                <a:gd name="connsiteX20" fmla="*/ 7400308 w 27542354"/>
                <a:gd name="connsiteY20" fmla="*/ 14477712 h 15152939"/>
                <a:gd name="connsiteX21" fmla="*/ 6972273 w 27542354"/>
                <a:gd name="connsiteY21" fmla="*/ 14749009 h 15152939"/>
                <a:gd name="connsiteX22" fmla="*/ 5181729 w 27542354"/>
                <a:gd name="connsiteY22" fmla="*/ 14664610 h 15152939"/>
                <a:gd name="connsiteX23" fmla="*/ 4397998 w 27542354"/>
                <a:gd name="connsiteY23" fmla="*/ 14031593 h 15152939"/>
                <a:gd name="connsiteX24" fmla="*/ 2908896 w 27542354"/>
                <a:gd name="connsiteY24" fmla="*/ 13223739 h 15152939"/>
                <a:gd name="connsiteX25" fmla="*/ 1263043 w 27542354"/>
                <a:gd name="connsiteY25" fmla="*/ 12512346 h 15152939"/>
                <a:gd name="connsiteX26" fmla="*/ 485320 w 27542354"/>
                <a:gd name="connsiteY26" fmla="*/ 12060189 h 15152939"/>
                <a:gd name="connsiteX27" fmla="*/ 0 w 27542354"/>
                <a:gd name="connsiteY27" fmla="*/ 11767077 h 15152939"/>
                <a:gd name="connsiteX28" fmla="*/ 1003686 w 27542354"/>
                <a:gd name="connsiteY28" fmla="*/ 11021112 h 15152939"/>
                <a:gd name="connsiteX29" fmla="*/ 2902551 w 27542354"/>
                <a:gd name="connsiteY29" fmla="*/ 9836713 h 15152939"/>
                <a:gd name="connsiteX30" fmla="*/ 2558940 w 27542354"/>
                <a:gd name="connsiteY30" fmla="*/ 9303282 h 15152939"/>
                <a:gd name="connsiteX31" fmla="*/ 2402508 w 27542354"/>
                <a:gd name="connsiteY31" fmla="*/ 8616199 h 15152939"/>
                <a:gd name="connsiteX32" fmla="*/ 2730740 w 27542354"/>
                <a:gd name="connsiteY32" fmla="*/ 8589028 h 15152939"/>
                <a:gd name="connsiteX33" fmla="*/ 2947754 w 27542354"/>
                <a:gd name="connsiteY33" fmla="*/ 8118883 h 15152939"/>
                <a:gd name="connsiteX34" fmla="*/ 3499325 w 27542354"/>
                <a:gd name="connsiteY34" fmla="*/ 7675866 h 15152939"/>
                <a:gd name="connsiteX35" fmla="*/ 3680166 w 27542354"/>
                <a:gd name="connsiteY35" fmla="*/ 6798868 h 15152939"/>
                <a:gd name="connsiteX36" fmla="*/ 4186528 w 27542354"/>
                <a:gd name="connsiteY36" fmla="*/ 6807904 h 15152939"/>
                <a:gd name="connsiteX37" fmla="*/ 4837569 w 27542354"/>
                <a:gd name="connsiteY37" fmla="*/ 7278054 h 15152939"/>
                <a:gd name="connsiteX38" fmla="*/ 5352976 w 27542354"/>
                <a:gd name="connsiteY38" fmla="*/ 7196687 h 15152939"/>
                <a:gd name="connsiteX39" fmla="*/ 5741786 w 27542354"/>
                <a:gd name="connsiteY39" fmla="*/ 6825992 h 15152939"/>
                <a:gd name="connsiteX40" fmla="*/ 6157723 w 27542354"/>
                <a:gd name="connsiteY40" fmla="*/ 6663251 h 15152939"/>
                <a:gd name="connsiteX41" fmla="*/ 6745471 w 27542354"/>
                <a:gd name="connsiteY41" fmla="*/ 6093658 h 15152939"/>
                <a:gd name="connsiteX42" fmla="*/ 6890140 w 27542354"/>
                <a:gd name="connsiteY42" fmla="*/ 5243782 h 15152939"/>
                <a:gd name="connsiteX43" fmla="*/ 7568305 w 27542354"/>
                <a:gd name="connsiteY43" fmla="*/ 4674188 h 15152939"/>
                <a:gd name="connsiteX44" fmla="*/ 8137967 w 27542354"/>
                <a:gd name="connsiteY44" fmla="*/ 4231167 h 15152939"/>
                <a:gd name="connsiteX45" fmla="*/ 8463480 w 27542354"/>
                <a:gd name="connsiteY45" fmla="*/ 3426500 h 15152939"/>
                <a:gd name="connsiteX46" fmla="*/ 9024093 w 27542354"/>
                <a:gd name="connsiteY46" fmla="*/ 3073893 h 15152939"/>
                <a:gd name="connsiteX47" fmla="*/ 9675138 w 27542354"/>
                <a:gd name="connsiteY47" fmla="*/ 2721291 h 15152939"/>
                <a:gd name="connsiteX48" fmla="*/ 9558580 w 27542354"/>
                <a:gd name="connsiteY48" fmla="*/ 2173007 h 15152939"/>
                <a:gd name="connsiteX49" fmla="*/ 10353296 w 27542354"/>
                <a:gd name="connsiteY49" fmla="*/ 1500723 h 15152939"/>
                <a:gd name="connsiteX50" fmla="*/ 10832530 w 27542354"/>
                <a:gd name="connsiteY50" fmla="*/ 1428389 h 15152939"/>
                <a:gd name="connsiteX51" fmla="*/ 11058585 w 27542354"/>
                <a:gd name="connsiteY51" fmla="*/ 1880458 h 15152939"/>
                <a:gd name="connsiteX52" fmla="*/ 11411229 w 27542354"/>
                <a:gd name="connsiteY52" fmla="*/ 2260189 h 15152939"/>
                <a:gd name="connsiteX53" fmla="*/ 11998974 w 27542354"/>
                <a:gd name="connsiteY53" fmla="*/ 2341559 h 15152939"/>
                <a:gd name="connsiteX54" fmla="*/ 12315449 w 27542354"/>
                <a:gd name="connsiteY54" fmla="*/ 3001571 h 15152939"/>
                <a:gd name="connsiteX55" fmla="*/ 12785642 w 27542354"/>
                <a:gd name="connsiteY55" fmla="*/ 2820742 h 15152939"/>
                <a:gd name="connsiteX56" fmla="*/ 13671776 w 27542354"/>
                <a:gd name="connsiteY56" fmla="*/ 3272803 h 15152939"/>
                <a:gd name="connsiteX57" fmla="*/ 14123886 w 27542354"/>
                <a:gd name="connsiteY57" fmla="*/ 2974450 h 15152939"/>
                <a:gd name="connsiteX58" fmla="*/ 14259509 w 27542354"/>
                <a:gd name="connsiteY58" fmla="*/ 2404849 h 15152939"/>
                <a:gd name="connsiteX59" fmla="*/ 14892468 w 27542354"/>
                <a:gd name="connsiteY59" fmla="*/ 1762918 h 15152939"/>
                <a:gd name="connsiteX60" fmla="*/ 15778605 w 27542354"/>
                <a:gd name="connsiteY60" fmla="*/ 1211398 h 15152939"/>
                <a:gd name="connsiteX61" fmla="*/ 16022739 w 27542354"/>
                <a:gd name="connsiteY61" fmla="*/ 1681548 h 15152939"/>
                <a:gd name="connsiteX62" fmla="*/ 16013694 w 27542354"/>
                <a:gd name="connsiteY62" fmla="*/ 2169778 h 15152939"/>
                <a:gd name="connsiteX63" fmla="*/ 16556232 w 27542354"/>
                <a:gd name="connsiteY63" fmla="*/ 2260200 h 15152939"/>
                <a:gd name="connsiteX64" fmla="*/ 16863663 w 27542354"/>
                <a:gd name="connsiteY64" fmla="*/ 1744834 h 15152939"/>
                <a:gd name="connsiteX65" fmla="*/ 17406193 w 27542354"/>
                <a:gd name="connsiteY65" fmla="*/ 1410312 h 15152939"/>
                <a:gd name="connsiteX66" fmla="*/ 17623203 w 27542354"/>
                <a:gd name="connsiteY66" fmla="*/ 867840 h 15152939"/>
                <a:gd name="connsiteX67" fmla="*/ 18120524 w 27542354"/>
                <a:gd name="connsiteY67" fmla="*/ 831675 h 15152939"/>
                <a:gd name="connsiteX68" fmla="*/ 18201903 w 27542354"/>
                <a:gd name="connsiteY68" fmla="*/ 542358 h 15152939"/>
                <a:gd name="connsiteX69" fmla="*/ 18744437 w 27542354"/>
                <a:gd name="connsiteY69" fmla="*/ 117414 h 15152939"/>
                <a:gd name="connsiteX70" fmla="*/ 19443290 w 27542354"/>
                <a:gd name="connsiteY70" fmla="*/ 0 h 15152939"/>
                <a:gd name="connsiteX71" fmla="*/ 19982300 w 27542354"/>
                <a:gd name="connsiteY71" fmla="*/ 460880 h 15152939"/>
                <a:gd name="connsiteX72" fmla="*/ 19530143 w 27542354"/>
                <a:gd name="connsiteY72" fmla="*/ 913038 h 15152939"/>
                <a:gd name="connsiteX73" fmla="*/ 19837609 w 27542354"/>
                <a:gd name="connsiteY73" fmla="*/ 1238588 h 15152939"/>
                <a:gd name="connsiteX74" fmla="*/ 20886614 w 27542354"/>
                <a:gd name="connsiteY74" fmla="*/ 1546055 h 15152939"/>
                <a:gd name="connsiteX75" fmla="*/ 21881359 w 27542354"/>
                <a:gd name="connsiteY75" fmla="*/ 1889694 h 15152939"/>
                <a:gd name="connsiteX76" fmla="*/ 21772837 w 27542354"/>
                <a:gd name="connsiteY76" fmla="*/ 2269505 h 15152939"/>
                <a:gd name="connsiteX77" fmla="*/ 21537712 w 27542354"/>
                <a:gd name="connsiteY77" fmla="*/ 2884438 h 15152939"/>
                <a:gd name="connsiteX78" fmla="*/ 21996067 w 27542354"/>
                <a:gd name="connsiteY78" fmla="*/ 2911656 h 15152939"/>
                <a:gd name="connsiteX79" fmla="*/ 22478203 w 27542354"/>
                <a:gd name="connsiteY79" fmla="*/ 2414189 h 15152939"/>
                <a:gd name="connsiteX80" fmla="*/ 23292084 w 27542354"/>
                <a:gd name="connsiteY80" fmla="*/ 2016293 h 15152939"/>
                <a:gd name="connsiteX81" fmla="*/ 23888932 w 27542354"/>
                <a:gd name="connsiteY81" fmla="*/ 1998212 h 15152939"/>
                <a:gd name="connsiteX82" fmla="*/ 24612383 w 27542354"/>
                <a:gd name="connsiteY82" fmla="*/ 1582227 h 15152939"/>
                <a:gd name="connsiteX83" fmla="*/ 25010275 w 27542354"/>
                <a:gd name="connsiteY83" fmla="*/ 695990 h 15152939"/>
                <a:gd name="connsiteX84" fmla="*/ 25769899 w 27542354"/>
                <a:gd name="connsiteY84" fmla="*/ 840685 h 15152939"/>
                <a:gd name="connsiteX85" fmla="*/ 26402920 w 27542354"/>
                <a:gd name="connsiteY85" fmla="*/ 876857 h 15152939"/>
                <a:gd name="connsiteX86" fmla="*/ 26240141 w 27542354"/>
                <a:gd name="connsiteY86" fmla="*/ 1491794 h 15152939"/>
                <a:gd name="connsiteX87" fmla="*/ 26554742 w 27542354"/>
                <a:gd name="connsiteY87" fmla="*/ 2052454 h 15152939"/>
                <a:gd name="connsiteX88" fmla="*/ 25679461 w 27542354"/>
                <a:gd name="connsiteY88" fmla="*/ 2775920 h 15152939"/>
                <a:gd name="connsiteX89" fmla="*/ 25751806 w 27542354"/>
                <a:gd name="connsiteY89" fmla="*/ 3806840 h 15152939"/>
                <a:gd name="connsiteX90" fmla="*/ 26157237 w 27542354"/>
                <a:gd name="connsiteY90"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619948 w 27542354"/>
                <a:gd name="connsiteY6" fmla="*/ 7840060 h 15152939"/>
                <a:gd name="connsiteX7" fmla="*/ 26312478 w 27542354"/>
                <a:gd name="connsiteY7" fmla="*/ 9666777 h 15152939"/>
                <a:gd name="connsiteX8" fmla="*/ 26402912 w 27542354"/>
                <a:gd name="connsiteY8" fmla="*/ 10643437 h 15152939"/>
                <a:gd name="connsiteX9" fmla="*/ 27542355 w 27542354"/>
                <a:gd name="connsiteY9" fmla="*/ 12005935 h 15152939"/>
                <a:gd name="connsiteX10" fmla="*/ 26089423 w 27542354"/>
                <a:gd name="connsiteY10" fmla="*/ 11975789 h 15152939"/>
                <a:gd name="connsiteX11" fmla="*/ 24473715 w 27542354"/>
                <a:gd name="connsiteY11" fmla="*/ 12090334 h 15152939"/>
                <a:gd name="connsiteX12" fmla="*/ 23135328 w 27542354"/>
                <a:gd name="connsiteY12" fmla="*/ 12222964 h 15152939"/>
                <a:gd name="connsiteX13" fmla="*/ 22261159 w 27542354"/>
                <a:gd name="connsiteY13" fmla="*/ 12934357 h 15152939"/>
                <a:gd name="connsiteX14" fmla="*/ 20826342 w 27542354"/>
                <a:gd name="connsiteY14" fmla="*/ 14369204 h 15152939"/>
                <a:gd name="connsiteX15" fmla="*/ 12952786 w 27542354"/>
                <a:gd name="connsiteY15" fmla="*/ 14960014 h 15152939"/>
                <a:gd name="connsiteX16" fmla="*/ 11934663 w 27542354"/>
                <a:gd name="connsiteY16" fmla="*/ 15008264 h 15152939"/>
                <a:gd name="connsiteX17" fmla="*/ 8506848 w 27542354"/>
                <a:gd name="connsiteY17" fmla="*/ 15152939 h 15152939"/>
                <a:gd name="connsiteX18" fmla="*/ 7985095 w 27542354"/>
                <a:gd name="connsiteY18" fmla="*/ 14507857 h 15152939"/>
                <a:gd name="connsiteX19" fmla="*/ 7400308 w 27542354"/>
                <a:gd name="connsiteY19" fmla="*/ 14477712 h 15152939"/>
                <a:gd name="connsiteX20" fmla="*/ 6972273 w 27542354"/>
                <a:gd name="connsiteY20" fmla="*/ 14749009 h 15152939"/>
                <a:gd name="connsiteX21" fmla="*/ 5181729 w 27542354"/>
                <a:gd name="connsiteY21" fmla="*/ 14664610 h 15152939"/>
                <a:gd name="connsiteX22" fmla="*/ 4397998 w 27542354"/>
                <a:gd name="connsiteY22" fmla="*/ 14031593 h 15152939"/>
                <a:gd name="connsiteX23" fmla="*/ 2908896 w 27542354"/>
                <a:gd name="connsiteY23" fmla="*/ 13223739 h 15152939"/>
                <a:gd name="connsiteX24" fmla="*/ 1263043 w 27542354"/>
                <a:gd name="connsiteY24" fmla="*/ 12512346 h 15152939"/>
                <a:gd name="connsiteX25" fmla="*/ 485320 w 27542354"/>
                <a:gd name="connsiteY25" fmla="*/ 12060189 h 15152939"/>
                <a:gd name="connsiteX26" fmla="*/ 0 w 27542354"/>
                <a:gd name="connsiteY26" fmla="*/ 11767077 h 15152939"/>
                <a:gd name="connsiteX27" fmla="*/ 1003686 w 27542354"/>
                <a:gd name="connsiteY27" fmla="*/ 11021112 h 15152939"/>
                <a:gd name="connsiteX28" fmla="*/ 2902551 w 27542354"/>
                <a:gd name="connsiteY28" fmla="*/ 9836713 h 15152939"/>
                <a:gd name="connsiteX29" fmla="*/ 2558940 w 27542354"/>
                <a:gd name="connsiteY29" fmla="*/ 9303282 h 15152939"/>
                <a:gd name="connsiteX30" fmla="*/ 2402508 w 27542354"/>
                <a:gd name="connsiteY30" fmla="*/ 8616199 h 15152939"/>
                <a:gd name="connsiteX31" fmla="*/ 2730740 w 27542354"/>
                <a:gd name="connsiteY31" fmla="*/ 8589028 h 15152939"/>
                <a:gd name="connsiteX32" fmla="*/ 2947754 w 27542354"/>
                <a:gd name="connsiteY32" fmla="*/ 8118883 h 15152939"/>
                <a:gd name="connsiteX33" fmla="*/ 3499325 w 27542354"/>
                <a:gd name="connsiteY33" fmla="*/ 7675866 h 15152939"/>
                <a:gd name="connsiteX34" fmla="*/ 3680166 w 27542354"/>
                <a:gd name="connsiteY34" fmla="*/ 6798868 h 15152939"/>
                <a:gd name="connsiteX35" fmla="*/ 4186528 w 27542354"/>
                <a:gd name="connsiteY35" fmla="*/ 6807904 h 15152939"/>
                <a:gd name="connsiteX36" fmla="*/ 4837569 w 27542354"/>
                <a:gd name="connsiteY36" fmla="*/ 7278054 h 15152939"/>
                <a:gd name="connsiteX37" fmla="*/ 5352976 w 27542354"/>
                <a:gd name="connsiteY37" fmla="*/ 7196687 h 15152939"/>
                <a:gd name="connsiteX38" fmla="*/ 5741786 w 27542354"/>
                <a:gd name="connsiteY38" fmla="*/ 6825992 h 15152939"/>
                <a:gd name="connsiteX39" fmla="*/ 6157723 w 27542354"/>
                <a:gd name="connsiteY39" fmla="*/ 6663251 h 15152939"/>
                <a:gd name="connsiteX40" fmla="*/ 6745471 w 27542354"/>
                <a:gd name="connsiteY40" fmla="*/ 6093658 h 15152939"/>
                <a:gd name="connsiteX41" fmla="*/ 6890140 w 27542354"/>
                <a:gd name="connsiteY41" fmla="*/ 5243782 h 15152939"/>
                <a:gd name="connsiteX42" fmla="*/ 7568305 w 27542354"/>
                <a:gd name="connsiteY42" fmla="*/ 4674188 h 15152939"/>
                <a:gd name="connsiteX43" fmla="*/ 8137967 w 27542354"/>
                <a:gd name="connsiteY43" fmla="*/ 4231167 h 15152939"/>
                <a:gd name="connsiteX44" fmla="*/ 8463480 w 27542354"/>
                <a:gd name="connsiteY44" fmla="*/ 3426500 h 15152939"/>
                <a:gd name="connsiteX45" fmla="*/ 9024093 w 27542354"/>
                <a:gd name="connsiteY45" fmla="*/ 3073893 h 15152939"/>
                <a:gd name="connsiteX46" fmla="*/ 9675138 w 27542354"/>
                <a:gd name="connsiteY46" fmla="*/ 2721291 h 15152939"/>
                <a:gd name="connsiteX47" fmla="*/ 9558580 w 27542354"/>
                <a:gd name="connsiteY47" fmla="*/ 2173007 h 15152939"/>
                <a:gd name="connsiteX48" fmla="*/ 10353296 w 27542354"/>
                <a:gd name="connsiteY48" fmla="*/ 1500723 h 15152939"/>
                <a:gd name="connsiteX49" fmla="*/ 10832530 w 27542354"/>
                <a:gd name="connsiteY49" fmla="*/ 1428389 h 15152939"/>
                <a:gd name="connsiteX50" fmla="*/ 11058585 w 27542354"/>
                <a:gd name="connsiteY50" fmla="*/ 1880458 h 15152939"/>
                <a:gd name="connsiteX51" fmla="*/ 11411229 w 27542354"/>
                <a:gd name="connsiteY51" fmla="*/ 2260189 h 15152939"/>
                <a:gd name="connsiteX52" fmla="*/ 11998974 w 27542354"/>
                <a:gd name="connsiteY52" fmla="*/ 2341559 h 15152939"/>
                <a:gd name="connsiteX53" fmla="*/ 12315449 w 27542354"/>
                <a:gd name="connsiteY53" fmla="*/ 3001571 h 15152939"/>
                <a:gd name="connsiteX54" fmla="*/ 12785642 w 27542354"/>
                <a:gd name="connsiteY54" fmla="*/ 2820742 h 15152939"/>
                <a:gd name="connsiteX55" fmla="*/ 13671776 w 27542354"/>
                <a:gd name="connsiteY55" fmla="*/ 3272803 h 15152939"/>
                <a:gd name="connsiteX56" fmla="*/ 14123886 w 27542354"/>
                <a:gd name="connsiteY56" fmla="*/ 2974450 h 15152939"/>
                <a:gd name="connsiteX57" fmla="*/ 14259509 w 27542354"/>
                <a:gd name="connsiteY57" fmla="*/ 2404849 h 15152939"/>
                <a:gd name="connsiteX58" fmla="*/ 14892468 w 27542354"/>
                <a:gd name="connsiteY58" fmla="*/ 1762918 h 15152939"/>
                <a:gd name="connsiteX59" fmla="*/ 15778605 w 27542354"/>
                <a:gd name="connsiteY59" fmla="*/ 1211398 h 15152939"/>
                <a:gd name="connsiteX60" fmla="*/ 16022739 w 27542354"/>
                <a:gd name="connsiteY60" fmla="*/ 1681548 h 15152939"/>
                <a:gd name="connsiteX61" fmla="*/ 16013694 w 27542354"/>
                <a:gd name="connsiteY61" fmla="*/ 2169778 h 15152939"/>
                <a:gd name="connsiteX62" fmla="*/ 16556232 w 27542354"/>
                <a:gd name="connsiteY62" fmla="*/ 2260200 h 15152939"/>
                <a:gd name="connsiteX63" fmla="*/ 16863663 w 27542354"/>
                <a:gd name="connsiteY63" fmla="*/ 1744834 h 15152939"/>
                <a:gd name="connsiteX64" fmla="*/ 17406193 w 27542354"/>
                <a:gd name="connsiteY64" fmla="*/ 1410312 h 15152939"/>
                <a:gd name="connsiteX65" fmla="*/ 17623203 w 27542354"/>
                <a:gd name="connsiteY65" fmla="*/ 867840 h 15152939"/>
                <a:gd name="connsiteX66" fmla="*/ 18120524 w 27542354"/>
                <a:gd name="connsiteY66" fmla="*/ 831675 h 15152939"/>
                <a:gd name="connsiteX67" fmla="*/ 18201903 w 27542354"/>
                <a:gd name="connsiteY67" fmla="*/ 542358 h 15152939"/>
                <a:gd name="connsiteX68" fmla="*/ 18744437 w 27542354"/>
                <a:gd name="connsiteY68" fmla="*/ 117414 h 15152939"/>
                <a:gd name="connsiteX69" fmla="*/ 19443290 w 27542354"/>
                <a:gd name="connsiteY69" fmla="*/ 0 h 15152939"/>
                <a:gd name="connsiteX70" fmla="*/ 19982300 w 27542354"/>
                <a:gd name="connsiteY70" fmla="*/ 460880 h 15152939"/>
                <a:gd name="connsiteX71" fmla="*/ 19530143 w 27542354"/>
                <a:gd name="connsiteY71" fmla="*/ 913038 h 15152939"/>
                <a:gd name="connsiteX72" fmla="*/ 19837609 w 27542354"/>
                <a:gd name="connsiteY72" fmla="*/ 1238588 h 15152939"/>
                <a:gd name="connsiteX73" fmla="*/ 20886614 w 27542354"/>
                <a:gd name="connsiteY73" fmla="*/ 1546055 h 15152939"/>
                <a:gd name="connsiteX74" fmla="*/ 21881359 w 27542354"/>
                <a:gd name="connsiteY74" fmla="*/ 1889694 h 15152939"/>
                <a:gd name="connsiteX75" fmla="*/ 21772837 w 27542354"/>
                <a:gd name="connsiteY75" fmla="*/ 2269505 h 15152939"/>
                <a:gd name="connsiteX76" fmla="*/ 21537712 w 27542354"/>
                <a:gd name="connsiteY76" fmla="*/ 2884438 h 15152939"/>
                <a:gd name="connsiteX77" fmla="*/ 21996067 w 27542354"/>
                <a:gd name="connsiteY77" fmla="*/ 2911656 h 15152939"/>
                <a:gd name="connsiteX78" fmla="*/ 22478203 w 27542354"/>
                <a:gd name="connsiteY78" fmla="*/ 2414189 h 15152939"/>
                <a:gd name="connsiteX79" fmla="*/ 23292084 w 27542354"/>
                <a:gd name="connsiteY79" fmla="*/ 2016293 h 15152939"/>
                <a:gd name="connsiteX80" fmla="*/ 23888932 w 27542354"/>
                <a:gd name="connsiteY80" fmla="*/ 1998212 h 15152939"/>
                <a:gd name="connsiteX81" fmla="*/ 24612383 w 27542354"/>
                <a:gd name="connsiteY81" fmla="*/ 1582227 h 15152939"/>
                <a:gd name="connsiteX82" fmla="*/ 25010275 w 27542354"/>
                <a:gd name="connsiteY82" fmla="*/ 695990 h 15152939"/>
                <a:gd name="connsiteX83" fmla="*/ 25769899 w 27542354"/>
                <a:gd name="connsiteY83" fmla="*/ 840685 h 15152939"/>
                <a:gd name="connsiteX84" fmla="*/ 26402920 w 27542354"/>
                <a:gd name="connsiteY84" fmla="*/ 876857 h 15152939"/>
                <a:gd name="connsiteX85" fmla="*/ 26240141 w 27542354"/>
                <a:gd name="connsiteY85" fmla="*/ 1491794 h 15152939"/>
                <a:gd name="connsiteX86" fmla="*/ 26554742 w 27542354"/>
                <a:gd name="connsiteY86" fmla="*/ 2052454 h 15152939"/>
                <a:gd name="connsiteX87" fmla="*/ 25679461 w 27542354"/>
                <a:gd name="connsiteY87" fmla="*/ 2775920 h 15152939"/>
                <a:gd name="connsiteX88" fmla="*/ 25751806 w 27542354"/>
                <a:gd name="connsiteY88" fmla="*/ 3806840 h 15152939"/>
                <a:gd name="connsiteX89" fmla="*/ 26157237 w 27542354"/>
                <a:gd name="connsiteY89"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5824148 w 27542354"/>
                <a:gd name="connsiteY4" fmla="*/ 6827228 h 15152939"/>
                <a:gd name="connsiteX5" fmla="*/ 26619948 w 27542354"/>
                <a:gd name="connsiteY5" fmla="*/ 7840060 h 15152939"/>
                <a:gd name="connsiteX6" fmla="*/ 26312478 w 27542354"/>
                <a:gd name="connsiteY6" fmla="*/ 9666777 h 15152939"/>
                <a:gd name="connsiteX7" fmla="*/ 26402912 w 27542354"/>
                <a:gd name="connsiteY7" fmla="*/ 10643437 h 15152939"/>
                <a:gd name="connsiteX8" fmla="*/ 27542355 w 27542354"/>
                <a:gd name="connsiteY8" fmla="*/ 12005935 h 15152939"/>
                <a:gd name="connsiteX9" fmla="*/ 26089423 w 27542354"/>
                <a:gd name="connsiteY9" fmla="*/ 11975789 h 15152939"/>
                <a:gd name="connsiteX10" fmla="*/ 24473715 w 27542354"/>
                <a:gd name="connsiteY10" fmla="*/ 12090334 h 15152939"/>
                <a:gd name="connsiteX11" fmla="*/ 23135328 w 27542354"/>
                <a:gd name="connsiteY11" fmla="*/ 12222964 h 15152939"/>
                <a:gd name="connsiteX12" fmla="*/ 22261159 w 27542354"/>
                <a:gd name="connsiteY12" fmla="*/ 12934357 h 15152939"/>
                <a:gd name="connsiteX13" fmla="*/ 20826342 w 27542354"/>
                <a:gd name="connsiteY13" fmla="*/ 14369204 h 15152939"/>
                <a:gd name="connsiteX14" fmla="*/ 12952786 w 27542354"/>
                <a:gd name="connsiteY14" fmla="*/ 14960014 h 15152939"/>
                <a:gd name="connsiteX15" fmla="*/ 11934663 w 27542354"/>
                <a:gd name="connsiteY15" fmla="*/ 15008264 h 15152939"/>
                <a:gd name="connsiteX16" fmla="*/ 8506848 w 27542354"/>
                <a:gd name="connsiteY16" fmla="*/ 15152939 h 15152939"/>
                <a:gd name="connsiteX17" fmla="*/ 7985095 w 27542354"/>
                <a:gd name="connsiteY17" fmla="*/ 14507857 h 15152939"/>
                <a:gd name="connsiteX18" fmla="*/ 7400308 w 27542354"/>
                <a:gd name="connsiteY18" fmla="*/ 14477712 h 15152939"/>
                <a:gd name="connsiteX19" fmla="*/ 6972273 w 27542354"/>
                <a:gd name="connsiteY19" fmla="*/ 14749009 h 15152939"/>
                <a:gd name="connsiteX20" fmla="*/ 5181729 w 27542354"/>
                <a:gd name="connsiteY20" fmla="*/ 14664610 h 15152939"/>
                <a:gd name="connsiteX21" fmla="*/ 4397998 w 27542354"/>
                <a:gd name="connsiteY21" fmla="*/ 14031593 h 15152939"/>
                <a:gd name="connsiteX22" fmla="*/ 2908896 w 27542354"/>
                <a:gd name="connsiteY22" fmla="*/ 13223739 h 15152939"/>
                <a:gd name="connsiteX23" fmla="*/ 1263043 w 27542354"/>
                <a:gd name="connsiteY23" fmla="*/ 12512346 h 15152939"/>
                <a:gd name="connsiteX24" fmla="*/ 485320 w 27542354"/>
                <a:gd name="connsiteY24" fmla="*/ 12060189 h 15152939"/>
                <a:gd name="connsiteX25" fmla="*/ 0 w 27542354"/>
                <a:gd name="connsiteY25" fmla="*/ 11767077 h 15152939"/>
                <a:gd name="connsiteX26" fmla="*/ 1003686 w 27542354"/>
                <a:gd name="connsiteY26" fmla="*/ 11021112 h 15152939"/>
                <a:gd name="connsiteX27" fmla="*/ 2902551 w 27542354"/>
                <a:gd name="connsiteY27" fmla="*/ 9836713 h 15152939"/>
                <a:gd name="connsiteX28" fmla="*/ 2558940 w 27542354"/>
                <a:gd name="connsiteY28" fmla="*/ 9303282 h 15152939"/>
                <a:gd name="connsiteX29" fmla="*/ 2402508 w 27542354"/>
                <a:gd name="connsiteY29" fmla="*/ 8616199 h 15152939"/>
                <a:gd name="connsiteX30" fmla="*/ 2730740 w 27542354"/>
                <a:gd name="connsiteY30" fmla="*/ 8589028 h 15152939"/>
                <a:gd name="connsiteX31" fmla="*/ 2947754 w 27542354"/>
                <a:gd name="connsiteY31" fmla="*/ 8118883 h 15152939"/>
                <a:gd name="connsiteX32" fmla="*/ 3499325 w 27542354"/>
                <a:gd name="connsiteY32" fmla="*/ 7675866 h 15152939"/>
                <a:gd name="connsiteX33" fmla="*/ 3680166 w 27542354"/>
                <a:gd name="connsiteY33" fmla="*/ 6798868 h 15152939"/>
                <a:gd name="connsiteX34" fmla="*/ 4186528 w 27542354"/>
                <a:gd name="connsiteY34" fmla="*/ 6807904 h 15152939"/>
                <a:gd name="connsiteX35" fmla="*/ 4837569 w 27542354"/>
                <a:gd name="connsiteY35" fmla="*/ 7278054 h 15152939"/>
                <a:gd name="connsiteX36" fmla="*/ 5352976 w 27542354"/>
                <a:gd name="connsiteY36" fmla="*/ 7196687 h 15152939"/>
                <a:gd name="connsiteX37" fmla="*/ 5741786 w 27542354"/>
                <a:gd name="connsiteY37" fmla="*/ 6825992 h 15152939"/>
                <a:gd name="connsiteX38" fmla="*/ 6157723 w 27542354"/>
                <a:gd name="connsiteY38" fmla="*/ 6663251 h 15152939"/>
                <a:gd name="connsiteX39" fmla="*/ 6745471 w 27542354"/>
                <a:gd name="connsiteY39" fmla="*/ 6093658 h 15152939"/>
                <a:gd name="connsiteX40" fmla="*/ 6890140 w 27542354"/>
                <a:gd name="connsiteY40" fmla="*/ 5243782 h 15152939"/>
                <a:gd name="connsiteX41" fmla="*/ 7568305 w 27542354"/>
                <a:gd name="connsiteY41" fmla="*/ 4674188 h 15152939"/>
                <a:gd name="connsiteX42" fmla="*/ 8137967 w 27542354"/>
                <a:gd name="connsiteY42" fmla="*/ 4231167 h 15152939"/>
                <a:gd name="connsiteX43" fmla="*/ 8463480 w 27542354"/>
                <a:gd name="connsiteY43" fmla="*/ 3426500 h 15152939"/>
                <a:gd name="connsiteX44" fmla="*/ 9024093 w 27542354"/>
                <a:gd name="connsiteY44" fmla="*/ 3073893 h 15152939"/>
                <a:gd name="connsiteX45" fmla="*/ 9675138 w 27542354"/>
                <a:gd name="connsiteY45" fmla="*/ 2721291 h 15152939"/>
                <a:gd name="connsiteX46" fmla="*/ 9558580 w 27542354"/>
                <a:gd name="connsiteY46" fmla="*/ 2173007 h 15152939"/>
                <a:gd name="connsiteX47" fmla="*/ 10353296 w 27542354"/>
                <a:gd name="connsiteY47" fmla="*/ 1500723 h 15152939"/>
                <a:gd name="connsiteX48" fmla="*/ 10832530 w 27542354"/>
                <a:gd name="connsiteY48" fmla="*/ 1428389 h 15152939"/>
                <a:gd name="connsiteX49" fmla="*/ 11058585 w 27542354"/>
                <a:gd name="connsiteY49" fmla="*/ 1880458 h 15152939"/>
                <a:gd name="connsiteX50" fmla="*/ 11411229 w 27542354"/>
                <a:gd name="connsiteY50" fmla="*/ 2260189 h 15152939"/>
                <a:gd name="connsiteX51" fmla="*/ 11998974 w 27542354"/>
                <a:gd name="connsiteY51" fmla="*/ 2341559 h 15152939"/>
                <a:gd name="connsiteX52" fmla="*/ 12315449 w 27542354"/>
                <a:gd name="connsiteY52" fmla="*/ 3001571 h 15152939"/>
                <a:gd name="connsiteX53" fmla="*/ 12785642 w 27542354"/>
                <a:gd name="connsiteY53" fmla="*/ 2820742 h 15152939"/>
                <a:gd name="connsiteX54" fmla="*/ 13671776 w 27542354"/>
                <a:gd name="connsiteY54" fmla="*/ 3272803 h 15152939"/>
                <a:gd name="connsiteX55" fmla="*/ 14123886 w 27542354"/>
                <a:gd name="connsiteY55" fmla="*/ 2974450 h 15152939"/>
                <a:gd name="connsiteX56" fmla="*/ 14259509 w 27542354"/>
                <a:gd name="connsiteY56" fmla="*/ 2404849 h 15152939"/>
                <a:gd name="connsiteX57" fmla="*/ 14892468 w 27542354"/>
                <a:gd name="connsiteY57" fmla="*/ 1762918 h 15152939"/>
                <a:gd name="connsiteX58" fmla="*/ 15778605 w 27542354"/>
                <a:gd name="connsiteY58" fmla="*/ 1211398 h 15152939"/>
                <a:gd name="connsiteX59" fmla="*/ 16022739 w 27542354"/>
                <a:gd name="connsiteY59" fmla="*/ 1681548 h 15152939"/>
                <a:gd name="connsiteX60" fmla="*/ 16013694 w 27542354"/>
                <a:gd name="connsiteY60" fmla="*/ 2169778 h 15152939"/>
                <a:gd name="connsiteX61" fmla="*/ 16556232 w 27542354"/>
                <a:gd name="connsiteY61" fmla="*/ 2260200 h 15152939"/>
                <a:gd name="connsiteX62" fmla="*/ 16863663 w 27542354"/>
                <a:gd name="connsiteY62" fmla="*/ 1744834 h 15152939"/>
                <a:gd name="connsiteX63" fmla="*/ 17406193 w 27542354"/>
                <a:gd name="connsiteY63" fmla="*/ 1410312 h 15152939"/>
                <a:gd name="connsiteX64" fmla="*/ 17623203 w 27542354"/>
                <a:gd name="connsiteY64" fmla="*/ 867840 h 15152939"/>
                <a:gd name="connsiteX65" fmla="*/ 18120524 w 27542354"/>
                <a:gd name="connsiteY65" fmla="*/ 831675 h 15152939"/>
                <a:gd name="connsiteX66" fmla="*/ 18201903 w 27542354"/>
                <a:gd name="connsiteY66" fmla="*/ 542358 h 15152939"/>
                <a:gd name="connsiteX67" fmla="*/ 18744437 w 27542354"/>
                <a:gd name="connsiteY67" fmla="*/ 117414 h 15152939"/>
                <a:gd name="connsiteX68" fmla="*/ 19443290 w 27542354"/>
                <a:gd name="connsiteY68" fmla="*/ 0 h 15152939"/>
                <a:gd name="connsiteX69" fmla="*/ 19982300 w 27542354"/>
                <a:gd name="connsiteY69" fmla="*/ 460880 h 15152939"/>
                <a:gd name="connsiteX70" fmla="*/ 19530143 w 27542354"/>
                <a:gd name="connsiteY70" fmla="*/ 913038 h 15152939"/>
                <a:gd name="connsiteX71" fmla="*/ 19837609 w 27542354"/>
                <a:gd name="connsiteY71" fmla="*/ 1238588 h 15152939"/>
                <a:gd name="connsiteX72" fmla="*/ 20886614 w 27542354"/>
                <a:gd name="connsiteY72" fmla="*/ 1546055 h 15152939"/>
                <a:gd name="connsiteX73" fmla="*/ 21881359 w 27542354"/>
                <a:gd name="connsiteY73" fmla="*/ 1889694 h 15152939"/>
                <a:gd name="connsiteX74" fmla="*/ 21772837 w 27542354"/>
                <a:gd name="connsiteY74" fmla="*/ 2269505 h 15152939"/>
                <a:gd name="connsiteX75" fmla="*/ 21537712 w 27542354"/>
                <a:gd name="connsiteY75" fmla="*/ 2884438 h 15152939"/>
                <a:gd name="connsiteX76" fmla="*/ 21996067 w 27542354"/>
                <a:gd name="connsiteY76" fmla="*/ 2911656 h 15152939"/>
                <a:gd name="connsiteX77" fmla="*/ 22478203 w 27542354"/>
                <a:gd name="connsiteY77" fmla="*/ 2414189 h 15152939"/>
                <a:gd name="connsiteX78" fmla="*/ 23292084 w 27542354"/>
                <a:gd name="connsiteY78" fmla="*/ 2016293 h 15152939"/>
                <a:gd name="connsiteX79" fmla="*/ 23888932 w 27542354"/>
                <a:gd name="connsiteY79" fmla="*/ 1998212 h 15152939"/>
                <a:gd name="connsiteX80" fmla="*/ 24612383 w 27542354"/>
                <a:gd name="connsiteY80" fmla="*/ 1582227 h 15152939"/>
                <a:gd name="connsiteX81" fmla="*/ 25010275 w 27542354"/>
                <a:gd name="connsiteY81" fmla="*/ 695990 h 15152939"/>
                <a:gd name="connsiteX82" fmla="*/ 25769899 w 27542354"/>
                <a:gd name="connsiteY82" fmla="*/ 840685 h 15152939"/>
                <a:gd name="connsiteX83" fmla="*/ 26402920 w 27542354"/>
                <a:gd name="connsiteY83" fmla="*/ 876857 h 15152939"/>
                <a:gd name="connsiteX84" fmla="*/ 26240141 w 27542354"/>
                <a:gd name="connsiteY84" fmla="*/ 1491794 h 15152939"/>
                <a:gd name="connsiteX85" fmla="*/ 26554742 w 27542354"/>
                <a:gd name="connsiteY85" fmla="*/ 2052454 h 15152939"/>
                <a:gd name="connsiteX86" fmla="*/ 25679461 w 27542354"/>
                <a:gd name="connsiteY86" fmla="*/ 2775920 h 15152939"/>
                <a:gd name="connsiteX87" fmla="*/ 25751806 w 27542354"/>
                <a:gd name="connsiteY87" fmla="*/ 3806840 h 15152939"/>
                <a:gd name="connsiteX88" fmla="*/ 26157237 w 27542354"/>
                <a:gd name="connsiteY88" fmla="*/ 4322377 h 15152939"/>
                <a:gd name="connsiteX0" fmla="*/ 26157237 w 27542354"/>
                <a:gd name="connsiteY0" fmla="*/ 4322377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5769899 w 27542354"/>
                <a:gd name="connsiteY81" fmla="*/ 840685 h 15152939"/>
                <a:gd name="connsiteX82" fmla="*/ 26402920 w 27542354"/>
                <a:gd name="connsiteY82" fmla="*/ 876857 h 15152939"/>
                <a:gd name="connsiteX83" fmla="*/ 26240141 w 27542354"/>
                <a:gd name="connsiteY83" fmla="*/ 1491794 h 15152939"/>
                <a:gd name="connsiteX84" fmla="*/ 26554742 w 27542354"/>
                <a:gd name="connsiteY84" fmla="*/ 2052454 h 15152939"/>
                <a:gd name="connsiteX85" fmla="*/ 25679461 w 27542354"/>
                <a:gd name="connsiteY85" fmla="*/ 2775920 h 15152939"/>
                <a:gd name="connsiteX86" fmla="*/ 25751806 w 27542354"/>
                <a:gd name="connsiteY86" fmla="*/ 3806840 h 15152939"/>
                <a:gd name="connsiteX87" fmla="*/ 26157237 w 27542354"/>
                <a:gd name="connsiteY87" fmla="*/ 4322377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5769899 w 27542354"/>
                <a:gd name="connsiteY81" fmla="*/ 840685 h 15152939"/>
                <a:gd name="connsiteX82" fmla="*/ 26402920 w 27542354"/>
                <a:gd name="connsiteY82" fmla="*/ 876857 h 15152939"/>
                <a:gd name="connsiteX83" fmla="*/ 26240141 w 27542354"/>
                <a:gd name="connsiteY83" fmla="*/ 1491794 h 15152939"/>
                <a:gd name="connsiteX84" fmla="*/ 26554742 w 27542354"/>
                <a:gd name="connsiteY84" fmla="*/ 2052454 h 15152939"/>
                <a:gd name="connsiteX85" fmla="*/ 25679461 w 27542354"/>
                <a:gd name="connsiteY85" fmla="*/ 2775920 h 15152939"/>
                <a:gd name="connsiteX86" fmla="*/ 25751806 w 27542354"/>
                <a:gd name="connsiteY86"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5769899 w 27542354"/>
                <a:gd name="connsiteY81" fmla="*/ 840685 h 15152939"/>
                <a:gd name="connsiteX82" fmla="*/ 26402920 w 27542354"/>
                <a:gd name="connsiteY82" fmla="*/ 876857 h 15152939"/>
                <a:gd name="connsiteX83" fmla="*/ 26240141 w 27542354"/>
                <a:gd name="connsiteY83" fmla="*/ 1491794 h 15152939"/>
                <a:gd name="connsiteX84" fmla="*/ 26554742 w 27542354"/>
                <a:gd name="connsiteY84" fmla="*/ 2052454 h 15152939"/>
                <a:gd name="connsiteX85" fmla="*/ 25751806 w 27542354"/>
                <a:gd name="connsiteY85"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5769899 w 27542354"/>
                <a:gd name="connsiteY81" fmla="*/ 840685 h 15152939"/>
                <a:gd name="connsiteX82" fmla="*/ 26402920 w 27542354"/>
                <a:gd name="connsiteY82" fmla="*/ 876857 h 15152939"/>
                <a:gd name="connsiteX83" fmla="*/ 26554742 w 27542354"/>
                <a:gd name="connsiteY83" fmla="*/ 2052454 h 15152939"/>
                <a:gd name="connsiteX84" fmla="*/ 25751806 w 27542354"/>
                <a:gd name="connsiteY84"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6402920 w 27542354"/>
                <a:gd name="connsiteY81" fmla="*/ 876857 h 15152939"/>
                <a:gd name="connsiteX82" fmla="*/ 26554742 w 27542354"/>
                <a:gd name="connsiteY82" fmla="*/ 2052454 h 15152939"/>
                <a:gd name="connsiteX83" fmla="*/ 25751806 w 27542354"/>
                <a:gd name="connsiteY83"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5010275 w 27542354"/>
                <a:gd name="connsiteY79" fmla="*/ 695990 h 15152939"/>
                <a:gd name="connsiteX80" fmla="*/ 26402920 w 27542354"/>
                <a:gd name="connsiteY80" fmla="*/ 876857 h 15152939"/>
                <a:gd name="connsiteX81" fmla="*/ 26554742 w 27542354"/>
                <a:gd name="connsiteY81" fmla="*/ 2052454 h 15152939"/>
                <a:gd name="connsiteX82" fmla="*/ 25751806 w 27542354"/>
                <a:gd name="connsiteY82"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888932 w 27542354"/>
                <a:gd name="connsiteY77" fmla="*/ 1998212 h 15152939"/>
                <a:gd name="connsiteX78" fmla="*/ 25010275 w 27542354"/>
                <a:gd name="connsiteY78" fmla="*/ 695990 h 15152939"/>
                <a:gd name="connsiteX79" fmla="*/ 26402920 w 27542354"/>
                <a:gd name="connsiteY79" fmla="*/ 876857 h 15152939"/>
                <a:gd name="connsiteX80" fmla="*/ 26554742 w 27542354"/>
                <a:gd name="connsiteY80" fmla="*/ 2052454 h 15152939"/>
                <a:gd name="connsiteX81" fmla="*/ 25751806 w 27542354"/>
                <a:gd name="connsiteY81"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2478203 w 27542354"/>
                <a:gd name="connsiteY75" fmla="*/ 2414189 h 15152939"/>
                <a:gd name="connsiteX76" fmla="*/ 23888932 w 27542354"/>
                <a:gd name="connsiteY76" fmla="*/ 1998212 h 15152939"/>
                <a:gd name="connsiteX77" fmla="*/ 25010275 w 27542354"/>
                <a:gd name="connsiteY77" fmla="*/ 695990 h 15152939"/>
                <a:gd name="connsiteX78" fmla="*/ 26402920 w 27542354"/>
                <a:gd name="connsiteY78" fmla="*/ 876857 h 15152939"/>
                <a:gd name="connsiteX79" fmla="*/ 26554742 w 27542354"/>
                <a:gd name="connsiteY79" fmla="*/ 2052454 h 15152939"/>
                <a:gd name="connsiteX80" fmla="*/ 25751806 w 27542354"/>
                <a:gd name="connsiteY80"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537712 w 27542354"/>
                <a:gd name="connsiteY73" fmla="*/ 2884438 h 15152939"/>
                <a:gd name="connsiteX74" fmla="*/ 22478203 w 27542354"/>
                <a:gd name="connsiteY74" fmla="*/ 2414189 h 15152939"/>
                <a:gd name="connsiteX75" fmla="*/ 23888932 w 27542354"/>
                <a:gd name="connsiteY75" fmla="*/ 1998212 h 15152939"/>
                <a:gd name="connsiteX76" fmla="*/ 25010275 w 27542354"/>
                <a:gd name="connsiteY76" fmla="*/ 695990 h 15152939"/>
                <a:gd name="connsiteX77" fmla="*/ 26402920 w 27542354"/>
                <a:gd name="connsiteY77" fmla="*/ 876857 h 15152939"/>
                <a:gd name="connsiteX78" fmla="*/ 26554742 w 27542354"/>
                <a:gd name="connsiteY78" fmla="*/ 2052454 h 15152939"/>
                <a:gd name="connsiteX79" fmla="*/ 25751806 w 27542354"/>
                <a:gd name="connsiteY79"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1881359 w 27542354"/>
                <a:gd name="connsiteY71" fmla="*/ 1889694 h 15152939"/>
                <a:gd name="connsiteX72" fmla="*/ 21537712 w 27542354"/>
                <a:gd name="connsiteY72" fmla="*/ 2884438 h 15152939"/>
                <a:gd name="connsiteX73" fmla="*/ 22478203 w 27542354"/>
                <a:gd name="connsiteY73" fmla="*/ 2414189 h 15152939"/>
                <a:gd name="connsiteX74" fmla="*/ 23888932 w 27542354"/>
                <a:gd name="connsiteY74" fmla="*/ 1998212 h 15152939"/>
                <a:gd name="connsiteX75" fmla="*/ 25010275 w 27542354"/>
                <a:gd name="connsiteY75" fmla="*/ 695990 h 15152939"/>
                <a:gd name="connsiteX76" fmla="*/ 26402920 w 27542354"/>
                <a:gd name="connsiteY76" fmla="*/ 876857 h 15152939"/>
                <a:gd name="connsiteX77" fmla="*/ 26554742 w 27542354"/>
                <a:gd name="connsiteY77" fmla="*/ 2052454 h 15152939"/>
                <a:gd name="connsiteX78" fmla="*/ 25751806 w 27542354"/>
                <a:gd name="connsiteY78"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837609 w 27542354"/>
                <a:gd name="connsiteY69" fmla="*/ 1238588 h 15152939"/>
                <a:gd name="connsiteX70" fmla="*/ 21881359 w 27542354"/>
                <a:gd name="connsiteY70" fmla="*/ 1889694 h 15152939"/>
                <a:gd name="connsiteX71" fmla="*/ 21537712 w 27542354"/>
                <a:gd name="connsiteY71" fmla="*/ 2884438 h 15152939"/>
                <a:gd name="connsiteX72" fmla="*/ 22478203 w 27542354"/>
                <a:gd name="connsiteY72" fmla="*/ 2414189 h 15152939"/>
                <a:gd name="connsiteX73" fmla="*/ 23888932 w 27542354"/>
                <a:gd name="connsiteY73" fmla="*/ 1998212 h 15152939"/>
                <a:gd name="connsiteX74" fmla="*/ 25010275 w 27542354"/>
                <a:gd name="connsiteY74" fmla="*/ 695990 h 15152939"/>
                <a:gd name="connsiteX75" fmla="*/ 26402920 w 27542354"/>
                <a:gd name="connsiteY75" fmla="*/ 876857 h 15152939"/>
                <a:gd name="connsiteX76" fmla="*/ 26554742 w 27542354"/>
                <a:gd name="connsiteY76" fmla="*/ 2052454 h 15152939"/>
                <a:gd name="connsiteX77" fmla="*/ 25751806 w 27542354"/>
                <a:gd name="connsiteY77" fmla="*/ 3806840 h 15152939"/>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013694 w 27542354"/>
                <a:gd name="connsiteY59" fmla="*/ 2052363 h 15035524"/>
                <a:gd name="connsiteX60" fmla="*/ 16556232 w 27542354"/>
                <a:gd name="connsiteY60" fmla="*/ 2142785 h 15035524"/>
                <a:gd name="connsiteX61" fmla="*/ 16863663 w 27542354"/>
                <a:gd name="connsiteY61" fmla="*/ 1627419 h 15035524"/>
                <a:gd name="connsiteX62" fmla="*/ 17406193 w 27542354"/>
                <a:gd name="connsiteY62" fmla="*/ 1292897 h 15035524"/>
                <a:gd name="connsiteX63" fmla="*/ 17623203 w 27542354"/>
                <a:gd name="connsiteY63" fmla="*/ 750425 h 15035524"/>
                <a:gd name="connsiteX64" fmla="*/ 18120524 w 27542354"/>
                <a:gd name="connsiteY64" fmla="*/ 714260 h 15035524"/>
                <a:gd name="connsiteX65" fmla="*/ 18201903 w 27542354"/>
                <a:gd name="connsiteY65" fmla="*/ 424943 h 15035524"/>
                <a:gd name="connsiteX66" fmla="*/ 18744437 w 27542354"/>
                <a:gd name="connsiteY66" fmla="*/ -1 h 15035524"/>
                <a:gd name="connsiteX67" fmla="*/ 19982300 w 27542354"/>
                <a:gd name="connsiteY67" fmla="*/ 343465 h 15035524"/>
                <a:gd name="connsiteX68" fmla="*/ 19837609 w 27542354"/>
                <a:gd name="connsiteY68" fmla="*/ 1121173 h 15035524"/>
                <a:gd name="connsiteX69" fmla="*/ 21881359 w 27542354"/>
                <a:gd name="connsiteY69" fmla="*/ 1772279 h 15035524"/>
                <a:gd name="connsiteX70" fmla="*/ 21537712 w 27542354"/>
                <a:gd name="connsiteY70" fmla="*/ 2767023 h 15035524"/>
                <a:gd name="connsiteX71" fmla="*/ 22478203 w 27542354"/>
                <a:gd name="connsiteY71" fmla="*/ 2296774 h 15035524"/>
                <a:gd name="connsiteX72" fmla="*/ 23888932 w 27542354"/>
                <a:gd name="connsiteY72" fmla="*/ 1880797 h 15035524"/>
                <a:gd name="connsiteX73" fmla="*/ 25010275 w 27542354"/>
                <a:gd name="connsiteY73" fmla="*/ 578575 h 15035524"/>
                <a:gd name="connsiteX74" fmla="*/ 26402920 w 27542354"/>
                <a:gd name="connsiteY74" fmla="*/ 759442 h 15035524"/>
                <a:gd name="connsiteX75" fmla="*/ 26554742 w 27542354"/>
                <a:gd name="connsiteY75" fmla="*/ 1935039 h 15035524"/>
                <a:gd name="connsiteX76" fmla="*/ 25751806 w 27542354"/>
                <a:gd name="connsiteY76"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013694 w 27542354"/>
                <a:gd name="connsiteY59" fmla="*/ 2052363 h 15035524"/>
                <a:gd name="connsiteX60" fmla="*/ 16556232 w 27542354"/>
                <a:gd name="connsiteY60" fmla="*/ 2142785 h 15035524"/>
                <a:gd name="connsiteX61" fmla="*/ 16863663 w 27542354"/>
                <a:gd name="connsiteY61" fmla="*/ 1627419 h 15035524"/>
                <a:gd name="connsiteX62" fmla="*/ 17406193 w 27542354"/>
                <a:gd name="connsiteY62" fmla="*/ 1292897 h 15035524"/>
                <a:gd name="connsiteX63" fmla="*/ 17623203 w 27542354"/>
                <a:gd name="connsiteY63" fmla="*/ 750425 h 15035524"/>
                <a:gd name="connsiteX64" fmla="*/ 18120524 w 27542354"/>
                <a:gd name="connsiteY64" fmla="*/ 714260 h 15035524"/>
                <a:gd name="connsiteX65" fmla="*/ 18744437 w 27542354"/>
                <a:gd name="connsiteY65" fmla="*/ -1 h 15035524"/>
                <a:gd name="connsiteX66" fmla="*/ 19982300 w 27542354"/>
                <a:gd name="connsiteY66" fmla="*/ 343465 h 15035524"/>
                <a:gd name="connsiteX67" fmla="*/ 19837609 w 27542354"/>
                <a:gd name="connsiteY67" fmla="*/ 1121173 h 15035524"/>
                <a:gd name="connsiteX68" fmla="*/ 21881359 w 27542354"/>
                <a:gd name="connsiteY68" fmla="*/ 1772279 h 15035524"/>
                <a:gd name="connsiteX69" fmla="*/ 21537712 w 27542354"/>
                <a:gd name="connsiteY69" fmla="*/ 2767023 h 15035524"/>
                <a:gd name="connsiteX70" fmla="*/ 22478203 w 27542354"/>
                <a:gd name="connsiteY70" fmla="*/ 2296774 h 15035524"/>
                <a:gd name="connsiteX71" fmla="*/ 23888932 w 27542354"/>
                <a:gd name="connsiteY71" fmla="*/ 1880797 h 15035524"/>
                <a:gd name="connsiteX72" fmla="*/ 25010275 w 27542354"/>
                <a:gd name="connsiteY72" fmla="*/ 578575 h 15035524"/>
                <a:gd name="connsiteX73" fmla="*/ 26402920 w 27542354"/>
                <a:gd name="connsiteY73" fmla="*/ 759442 h 15035524"/>
                <a:gd name="connsiteX74" fmla="*/ 26554742 w 27542354"/>
                <a:gd name="connsiteY74" fmla="*/ 1935039 h 15035524"/>
                <a:gd name="connsiteX75" fmla="*/ 25751806 w 27542354"/>
                <a:gd name="connsiteY75"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013694 w 27542354"/>
                <a:gd name="connsiteY59" fmla="*/ 2052363 h 15035524"/>
                <a:gd name="connsiteX60" fmla="*/ 16556232 w 27542354"/>
                <a:gd name="connsiteY60" fmla="*/ 2142785 h 15035524"/>
                <a:gd name="connsiteX61" fmla="*/ 16863663 w 27542354"/>
                <a:gd name="connsiteY61" fmla="*/ 1627419 h 15035524"/>
                <a:gd name="connsiteX62" fmla="*/ 17406193 w 27542354"/>
                <a:gd name="connsiteY62" fmla="*/ 1292897 h 15035524"/>
                <a:gd name="connsiteX63" fmla="*/ 18120524 w 27542354"/>
                <a:gd name="connsiteY63" fmla="*/ 714260 h 15035524"/>
                <a:gd name="connsiteX64" fmla="*/ 18744437 w 27542354"/>
                <a:gd name="connsiteY64" fmla="*/ -1 h 15035524"/>
                <a:gd name="connsiteX65" fmla="*/ 19982300 w 27542354"/>
                <a:gd name="connsiteY65" fmla="*/ 343465 h 15035524"/>
                <a:gd name="connsiteX66" fmla="*/ 19837609 w 27542354"/>
                <a:gd name="connsiteY66" fmla="*/ 1121173 h 15035524"/>
                <a:gd name="connsiteX67" fmla="*/ 21881359 w 27542354"/>
                <a:gd name="connsiteY67" fmla="*/ 1772279 h 15035524"/>
                <a:gd name="connsiteX68" fmla="*/ 21537712 w 27542354"/>
                <a:gd name="connsiteY68" fmla="*/ 2767023 h 15035524"/>
                <a:gd name="connsiteX69" fmla="*/ 22478203 w 27542354"/>
                <a:gd name="connsiteY69" fmla="*/ 2296774 h 15035524"/>
                <a:gd name="connsiteX70" fmla="*/ 23888932 w 27542354"/>
                <a:gd name="connsiteY70" fmla="*/ 1880797 h 15035524"/>
                <a:gd name="connsiteX71" fmla="*/ 25010275 w 27542354"/>
                <a:gd name="connsiteY71" fmla="*/ 578575 h 15035524"/>
                <a:gd name="connsiteX72" fmla="*/ 26402920 w 27542354"/>
                <a:gd name="connsiteY72" fmla="*/ 759442 h 15035524"/>
                <a:gd name="connsiteX73" fmla="*/ 26554742 w 27542354"/>
                <a:gd name="connsiteY73" fmla="*/ 1935039 h 15035524"/>
                <a:gd name="connsiteX74" fmla="*/ 25751806 w 27542354"/>
                <a:gd name="connsiteY74"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013694 w 27542354"/>
                <a:gd name="connsiteY59" fmla="*/ 2052363 h 15035524"/>
                <a:gd name="connsiteX60" fmla="*/ 16556232 w 27542354"/>
                <a:gd name="connsiteY60" fmla="*/ 2142785 h 15035524"/>
                <a:gd name="connsiteX61" fmla="*/ 17406193 w 27542354"/>
                <a:gd name="connsiteY61" fmla="*/ 1292897 h 15035524"/>
                <a:gd name="connsiteX62" fmla="*/ 18120524 w 27542354"/>
                <a:gd name="connsiteY62" fmla="*/ 714260 h 15035524"/>
                <a:gd name="connsiteX63" fmla="*/ 18744437 w 27542354"/>
                <a:gd name="connsiteY63" fmla="*/ -1 h 15035524"/>
                <a:gd name="connsiteX64" fmla="*/ 19982300 w 27542354"/>
                <a:gd name="connsiteY64" fmla="*/ 343465 h 15035524"/>
                <a:gd name="connsiteX65" fmla="*/ 19837609 w 27542354"/>
                <a:gd name="connsiteY65" fmla="*/ 1121173 h 15035524"/>
                <a:gd name="connsiteX66" fmla="*/ 21881359 w 27542354"/>
                <a:gd name="connsiteY66" fmla="*/ 1772279 h 15035524"/>
                <a:gd name="connsiteX67" fmla="*/ 21537712 w 27542354"/>
                <a:gd name="connsiteY67" fmla="*/ 2767023 h 15035524"/>
                <a:gd name="connsiteX68" fmla="*/ 22478203 w 27542354"/>
                <a:gd name="connsiteY68" fmla="*/ 2296774 h 15035524"/>
                <a:gd name="connsiteX69" fmla="*/ 23888932 w 27542354"/>
                <a:gd name="connsiteY69" fmla="*/ 1880797 h 15035524"/>
                <a:gd name="connsiteX70" fmla="*/ 25010275 w 27542354"/>
                <a:gd name="connsiteY70" fmla="*/ 578575 h 15035524"/>
                <a:gd name="connsiteX71" fmla="*/ 26402920 w 27542354"/>
                <a:gd name="connsiteY71" fmla="*/ 759442 h 15035524"/>
                <a:gd name="connsiteX72" fmla="*/ 26554742 w 27542354"/>
                <a:gd name="connsiteY72" fmla="*/ 1935039 h 15035524"/>
                <a:gd name="connsiteX73" fmla="*/ 25751806 w 27542354"/>
                <a:gd name="connsiteY73"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16081136 w 27542354"/>
                <a:gd name="connsiteY12" fmla="*/ 11254718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13276149 w 27542354"/>
                <a:gd name="connsiteY11" fmla="*/ 11528479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14150319 w 27542354"/>
                <a:gd name="connsiteY10" fmla="*/ 11405301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14618283 w 27542354"/>
                <a:gd name="connsiteY9" fmla="*/ 10516400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15011380 w 27542354"/>
                <a:gd name="connsiteY9" fmla="*/ 11048592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13482332 w 27542354"/>
                <a:gd name="connsiteY8" fmla="*/ 8749261 h 15035524"/>
                <a:gd name="connsiteX9" fmla="*/ 15011380 w 27542354"/>
                <a:gd name="connsiteY9" fmla="*/ 11048592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15195097 w 27542354"/>
                <a:gd name="connsiteY8" fmla="*/ 10093742 h 15035524"/>
                <a:gd name="connsiteX9" fmla="*/ 15011380 w 27542354"/>
                <a:gd name="connsiteY9" fmla="*/ 11048592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26312478 w 26619949"/>
                <a:gd name="connsiteY5" fmla="*/ 9549362 h 15035524"/>
                <a:gd name="connsiteX6" fmla="*/ 26402912 w 26619949"/>
                <a:gd name="connsiteY6" fmla="*/ 10526022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26312478 w 26619949"/>
                <a:gd name="connsiteY5" fmla="*/ 9549362 h 15035524"/>
                <a:gd name="connsiteX6" fmla="*/ 14862794 w 26619949"/>
                <a:gd name="connsiteY6" fmla="*/ 7108798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26312478 w 26619949"/>
                <a:gd name="connsiteY5" fmla="*/ 9549362 h 15035524"/>
                <a:gd name="connsiteX6" fmla="*/ 16070155 w 26619949"/>
                <a:gd name="connsiteY6" fmla="*/ 9937808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15193523 w 26619949"/>
                <a:gd name="connsiteY5" fmla="*/ 6720348 h 15035524"/>
                <a:gd name="connsiteX6" fmla="*/ 16070155 w 26619949"/>
                <a:gd name="connsiteY6" fmla="*/ 9937808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16372801 w 26619949"/>
                <a:gd name="connsiteY5" fmla="*/ 9717422 h 15035524"/>
                <a:gd name="connsiteX6" fmla="*/ 16070155 w 26619949"/>
                <a:gd name="connsiteY6" fmla="*/ 9937808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554741"/>
                <a:gd name="connsiteY0" fmla="*/ 3689425 h 15035524"/>
                <a:gd name="connsiteX1" fmla="*/ 25950755 w 26554741"/>
                <a:gd name="connsiteY1" fmla="*/ 4828850 h 15035524"/>
                <a:gd name="connsiteX2" fmla="*/ 26439085 w 26554741"/>
                <a:gd name="connsiteY2" fmla="*/ 5986362 h 15035524"/>
                <a:gd name="connsiteX3" fmla="*/ 25824148 w 26554741"/>
                <a:gd name="connsiteY3" fmla="*/ 6709813 h 15035524"/>
                <a:gd name="connsiteX4" fmla="*/ 14321716 w 26554741"/>
                <a:gd name="connsiteY4" fmla="*/ 6574229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26439085 w 26554741"/>
                <a:gd name="connsiteY2" fmla="*/ 5986362 h 15035524"/>
                <a:gd name="connsiteX3" fmla="*/ 25824148 w 26554741"/>
                <a:gd name="connsiteY3" fmla="*/ 6709813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26439085 w 26554741"/>
                <a:gd name="connsiteY2" fmla="*/ 5986362 h 15035524"/>
                <a:gd name="connsiteX3" fmla="*/ 14340183 w 26554741"/>
                <a:gd name="connsiteY3" fmla="*/ 7354046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26439085 w 26554741"/>
                <a:gd name="connsiteY2" fmla="*/ 5986362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15179740 w 26554741"/>
                <a:gd name="connsiteY2" fmla="*/ 7863038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15505685 w 26554741"/>
                <a:gd name="connsiteY1" fmla="*/ 7181691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16432262 w 26554741"/>
                <a:gd name="connsiteY1" fmla="*/ 7825917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15138264 w 26554741"/>
                <a:gd name="connsiteY0" fmla="*/ 6406394 h 15035524"/>
                <a:gd name="connsiteX1" fmla="*/ 16432262 w 26554741"/>
                <a:gd name="connsiteY1" fmla="*/ 7825917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15138264 w 26554741"/>
                <a:gd name="connsiteY72" fmla="*/ 6406394 h 15035524"/>
                <a:gd name="connsiteX0" fmla="*/ 16682563 w 26554741"/>
                <a:gd name="connsiteY0" fmla="*/ 6798531 h 15035524"/>
                <a:gd name="connsiteX1" fmla="*/ 16432262 w 26554741"/>
                <a:gd name="connsiteY1" fmla="*/ 7825917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16682563 w 26554741"/>
                <a:gd name="connsiteY72" fmla="*/ 6798531 h 15035524"/>
                <a:gd name="connsiteX0" fmla="*/ 16682563 w 26402921"/>
                <a:gd name="connsiteY0" fmla="*/ 6798531 h 15035524"/>
                <a:gd name="connsiteX1" fmla="*/ 16432262 w 26402921"/>
                <a:gd name="connsiteY1" fmla="*/ 7825917 h 15035524"/>
                <a:gd name="connsiteX2" fmla="*/ 16106317 w 26402921"/>
                <a:gd name="connsiteY2" fmla="*/ 8367221 h 15035524"/>
                <a:gd name="connsiteX3" fmla="*/ 16305649 w 26402921"/>
                <a:gd name="connsiteY3" fmla="*/ 8754550 h 15035524"/>
                <a:gd name="connsiteX4" fmla="*/ 16287189 w 26402921"/>
                <a:gd name="connsiteY4" fmla="*/ 9151157 h 15035524"/>
                <a:gd name="connsiteX5" fmla="*/ 16372801 w 26402921"/>
                <a:gd name="connsiteY5" fmla="*/ 9717422 h 15035524"/>
                <a:gd name="connsiteX6" fmla="*/ 16070155 w 26402921"/>
                <a:gd name="connsiteY6" fmla="*/ 9937808 h 15035524"/>
                <a:gd name="connsiteX7" fmla="*/ 15805690 w 26402921"/>
                <a:gd name="connsiteY7" fmla="*/ 10431999 h 15035524"/>
                <a:gd name="connsiteX8" fmla="*/ 15195097 w 26402921"/>
                <a:gd name="connsiteY8" fmla="*/ 10093742 h 15035524"/>
                <a:gd name="connsiteX9" fmla="*/ 15011380 w 26402921"/>
                <a:gd name="connsiteY9" fmla="*/ 11048592 h 15035524"/>
                <a:gd name="connsiteX10" fmla="*/ 14908430 w 26402921"/>
                <a:gd name="connsiteY10" fmla="*/ 11937487 h 15035524"/>
                <a:gd name="connsiteX11" fmla="*/ 14904684 w 26402921"/>
                <a:gd name="connsiteY11" fmla="*/ 12760926 h 15035524"/>
                <a:gd name="connsiteX12" fmla="*/ 14929927 w 26402921"/>
                <a:gd name="connsiteY12" fmla="*/ 14391846 h 15035524"/>
                <a:gd name="connsiteX13" fmla="*/ 12952786 w 26402921"/>
                <a:gd name="connsiteY13" fmla="*/ 14842599 h 15035524"/>
                <a:gd name="connsiteX14" fmla="*/ 11934663 w 26402921"/>
                <a:gd name="connsiteY14" fmla="*/ 14890849 h 15035524"/>
                <a:gd name="connsiteX15" fmla="*/ 8506848 w 26402921"/>
                <a:gd name="connsiteY15" fmla="*/ 15035524 h 15035524"/>
                <a:gd name="connsiteX16" fmla="*/ 7985095 w 26402921"/>
                <a:gd name="connsiteY16" fmla="*/ 14390442 h 15035524"/>
                <a:gd name="connsiteX17" fmla="*/ 7400308 w 26402921"/>
                <a:gd name="connsiteY17" fmla="*/ 14360297 h 15035524"/>
                <a:gd name="connsiteX18" fmla="*/ 6972273 w 26402921"/>
                <a:gd name="connsiteY18" fmla="*/ 14631594 h 15035524"/>
                <a:gd name="connsiteX19" fmla="*/ 5181729 w 26402921"/>
                <a:gd name="connsiteY19" fmla="*/ 14547195 h 15035524"/>
                <a:gd name="connsiteX20" fmla="*/ 4397998 w 26402921"/>
                <a:gd name="connsiteY20" fmla="*/ 13914178 h 15035524"/>
                <a:gd name="connsiteX21" fmla="*/ 2908896 w 26402921"/>
                <a:gd name="connsiteY21" fmla="*/ 13106324 h 15035524"/>
                <a:gd name="connsiteX22" fmla="*/ 1263043 w 26402921"/>
                <a:gd name="connsiteY22" fmla="*/ 12394931 h 15035524"/>
                <a:gd name="connsiteX23" fmla="*/ 485320 w 26402921"/>
                <a:gd name="connsiteY23" fmla="*/ 11942774 h 15035524"/>
                <a:gd name="connsiteX24" fmla="*/ 0 w 26402921"/>
                <a:gd name="connsiteY24" fmla="*/ 11649662 h 15035524"/>
                <a:gd name="connsiteX25" fmla="*/ 1003686 w 26402921"/>
                <a:gd name="connsiteY25" fmla="*/ 10903697 h 15035524"/>
                <a:gd name="connsiteX26" fmla="*/ 2902551 w 26402921"/>
                <a:gd name="connsiteY26" fmla="*/ 9719298 h 15035524"/>
                <a:gd name="connsiteX27" fmla="*/ 2558940 w 26402921"/>
                <a:gd name="connsiteY27" fmla="*/ 9185867 h 15035524"/>
                <a:gd name="connsiteX28" fmla="*/ 2402508 w 26402921"/>
                <a:gd name="connsiteY28" fmla="*/ 8498784 h 15035524"/>
                <a:gd name="connsiteX29" fmla="*/ 2730740 w 26402921"/>
                <a:gd name="connsiteY29" fmla="*/ 8471613 h 15035524"/>
                <a:gd name="connsiteX30" fmla="*/ 2947754 w 26402921"/>
                <a:gd name="connsiteY30" fmla="*/ 8001468 h 15035524"/>
                <a:gd name="connsiteX31" fmla="*/ 3499325 w 26402921"/>
                <a:gd name="connsiteY31" fmla="*/ 7558451 h 15035524"/>
                <a:gd name="connsiteX32" fmla="*/ 3680166 w 26402921"/>
                <a:gd name="connsiteY32" fmla="*/ 6681453 h 15035524"/>
                <a:gd name="connsiteX33" fmla="*/ 4186528 w 26402921"/>
                <a:gd name="connsiteY33" fmla="*/ 6690489 h 15035524"/>
                <a:gd name="connsiteX34" fmla="*/ 4837569 w 26402921"/>
                <a:gd name="connsiteY34" fmla="*/ 7160639 h 15035524"/>
                <a:gd name="connsiteX35" fmla="*/ 5352976 w 26402921"/>
                <a:gd name="connsiteY35" fmla="*/ 7079272 h 15035524"/>
                <a:gd name="connsiteX36" fmla="*/ 5741786 w 26402921"/>
                <a:gd name="connsiteY36" fmla="*/ 6708577 h 15035524"/>
                <a:gd name="connsiteX37" fmla="*/ 6157723 w 26402921"/>
                <a:gd name="connsiteY37" fmla="*/ 6545836 h 15035524"/>
                <a:gd name="connsiteX38" fmla="*/ 6745471 w 26402921"/>
                <a:gd name="connsiteY38" fmla="*/ 5976243 h 15035524"/>
                <a:gd name="connsiteX39" fmla="*/ 6890140 w 26402921"/>
                <a:gd name="connsiteY39" fmla="*/ 5126367 h 15035524"/>
                <a:gd name="connsiteX40" fmla="*/ 7568305 w 26402921"/>
                <a:gd name="connsiteY40" fmla="*/ 4556773 h 15035524"/>
                <a:gd name="connsiteX41" fmla="*/ 8137967 w 26402921"/>
                <a:gd name="connsiteY41" fmla="*/ 4113752 h 15035524"/>
                <a:gd name="connsiteX42" fmla="*/ 8463480 w 26402921"/>
                <a:gd name="connsiteY42" fmla="*/ 3309085 h 15035524"/>
                <a:gd name="connsiteX43" fmla="*/ 9024093 w 26402921"/>
                <a:gd name="connsiteY43" fmla="*/ 2956478 h 15035524"/>
                <a:gd name="connsiteX44" fmla="*/ 9675138 w 26402921"/>
                <a:gd name="connsiteY44" fmla="*/ 2603876 h 15035524"/>
                <a:gd name="connsiteX45" fmla="*/ 9558580 w 26402921"/>
                <a:gd name="connsiteY45" fmla="*/ 2055592 h 15035524"/>
                <a:gd name="connsiteX46" fmla="*/ 10353296 w 26402921"/>
                <a:gd name="connsiteY46" fmla="*/ 1383308 h 15035524"/>
                <a:gd name="connsiteX47" fmla="*/ 10832530 w 26402921"/>
                <a:gd name="connsiteY47" fmla="*/ 1310974 h 15035524"/>
                <a:gd name="connsiteX48" fmla="*/ 11058585 w 26402921"/>
                <a:gd name="connsiteY48" fmla="*/ 1763043 h 15035524"/>
                <a:gd name="connsiteX49" fmla="*/ 11411229 w 26402921"/>
                <a:gd name="connsiteY49" fmla="*/ 2142774 h 15035524"/>
                <a:gd name="connsiteX50" fmla="*/ 11998974 w 26402921"/>
                <a:gd name="connsiteY50" fmla="*/ 2224144 h 15035524"/>
                <a:gd name="connsiteX51" fmla="*/ 12315449 w 26402921"/>
                <a:gd name="connsiteY51" fmla="*/ 2884156 h 15035524"/>
                <a:gd name="connsiteX52" fmla="*/ 12785642 w 26402921"/>
                <a:gd name="connsiteY52" fmla="*/ 2703327 h 15035524"/>
                <a:gd name="connsiteX53" fmla="*/ 13671776 w 26402921"/>
                <a:gd name="connsiteY53" fmla="*/ 3155388 h 15035524"/>
                <a:gd name="connsiteX54" fmla="*/ 14123886 w 26402921"/>
                <a:gd name="connsiteY54" fmla="*/ 2857035 h 15035524"/>
                <a:gd name="connsiteX55" fmla="*/ 14259509 w 26402921"/>
                <a:gd name="connsiteY55" fmla="*/ 2287434 h 15035524"/>
                <a:gd name="connsiteX56" fmla="*/ 14892468 w 26402921"/>
                <a:gd name="connsiteY56" fmla="*/ 1645503 h 15035524"/>
                <a:gd name="connsiteX57" fmla="*/ 15778605 w 26402921"/>
                <a:gd name="connsiteY57" fmla="*/ 1093983 h 15035524"/>
                <a:gd name="connsiteX58" fmla="*/ 16022739 w 26402921"/>
                <a:gd name="connsiteY58" fmla="*/ 1564133 h 15035524"/>
                <a:gd name="connsiteX59" fmla="*/ 16556232 w 26402921"/>
                <a:gd name="connsiteY59" fmla="*/ 2142785 h 15035524"/>
                <a:gd name="connsiteX60" fmla="*/ 17406193 w 26402921"/>
                <a:gd name="connsiteY60" fmla="*/ 1292897 h 15035524"/>
                <a:gd name="connsiteX61" fmla="*/ 18120524 w 26402921"/>
                <a:gd name="connsiteY61" fmla="*/ 714260 h 15035524"/>
                <a:gd name="connsiteX62" fmla="*/ 18744437 w 26402921"/>
                <a:gd name="connsiteY62" fmla="*/ -1 h 15035524"/>
                <a:gd name="connsiteX63" fmla="*/ 19982300 w 26402921"/>
                <a:gd name="connsiteY63" fmla="*/ 343465 h 15035524"/>
                <a:gd name="connsiteX64" fmla="*/ 19837609 w 26402921"/>
                <a:gd name="connsiteY64" fmla="*/ 1121173 h 15035524"/>
                <a:gd name="connsiteX65" fmla="*/ 21881359 w 26402921"/>
                <a:gd name="connsiteY65" fmla="*/ 1772279 h 15035524"/>
                <a:gd name="connsiteX66" fmla="*/ 21537712 w 26402921"/>
                <a:gd name="connsiteY66" fmla="*/ 2767023 h 15035524"/>
                <a:gd name="connsiteX67" fmla="*/ 22478203 w 26402921"/>
                <a:gd name="connsiteY67" fmla="*/ 2296774 h 15035524"/>
                <a:gd name="connsiteX68" fmla="*/ 23888932 w 26402921"/>
                <a:gd name="connsiteY68" fmla="*/ 1880797 h 15035524"/>
                <a:gd name="connsiteX69" fmla="*/ 25010275 w 26402921"/>
                <a:gd name="connsiteY69" fmla="*/ 578575 h 15035524"/>
                <a:gd name="connsiteX70" fmla="*/ 26402920 w 26402921"/>
                <a:gd name="connsiteY70" fmla="*/ 759442 h 15035524"/>
                <a:gd name="connsiteX71" fmla="*/ 14902301 w 26402921"/>
                <a:gd name="connsiteY71" fmla="*/ 5604356 h 15035524"/>
                <a:gd name="connsiteX72" fmla="*/ 16682563 w 26402921"/>
                <a:gd name="connsiteY72" fmla="*/ 6798531 h 15035524"/>
                <a:gd name="connsiteX0" fmla="*/ 16682563 w 26402921"/>
                <a:gd name="connsiteY0" fmla="*/ 6798531 h 15035524"/>
                <a:gd name="connsiteX1" fmla="*/ 16432262 w 26402921"/>
                <a:gd name="connsiteY1" fmla="*/ 7825917 h 15035524"/>
                <a:gd name="connsiteX2" fmla="*/ 16106317 w 26402921"/>
                <a:gd name="connsiteY2" fmla="*/ 8367221 h 15035524"/>
                <a:gd name="connsiteX3" fmla="*/ 16305649 w 26402921"/>
                <a:gd name="connsiteY3" fmla="*/ 8754550 h 15035524"/>
                <a:gd name="connsiteX4" fmla="*/ 16287189 w 26402921"/>
                <a:gd name="connsiteY4" fmla="*/ 9151157 h 15035524"/>
                <a:gd name="connsiteX5" fmla="*/ 16372801 w 26402921"/>
                <a:gd name="connsiteY5" fmla="*/ 9717422 h 15035524"/>
                <a:gd name="connsiteX6" fmla="*/ 16070155 w 26402921"/>
                <a:gd name="connsiteY6" fmla="*/ 9937808 h 15035524"/>
                <a:gd name="connsiteX7" fmla="*/ 15805690 w 26402921"/>
                <a:gd name="connsiteY7" fmla="*/ 10431999 h 15035524"/>
                <a:gd name="connsiteX8" fmla="*/ 15195097 w 26402921"/>
                <a:gd name="connsiteY8" fmla="*/ 10093742 h 15035524"/>
                <a:gd name="connsiteX9" fmla="*/ 15011380 w 26402921"/>
                <a:gd name="connsiteY9" fmla="*/ 11048592 h 15035524"/>
                <a:gd name="connsiteX10" fmla="*/ 14908430 w 26402921"/>
                <a:gd name="connsiteY10" fmla="*/ 11937487 h 15035524"/>
                <a:gd name="connsiteX11" fmla="*/ 14904684 w 26402921"/>
                <a:gd name="connsiteY11" fmla="*/ 12760926 h 15035524"/>
                <a:gd name="connsiteX12" fmla="*/ 14929927 w 26402921"/>
                <a:gd name="connsiteY12" fmla="*/ 14391846 h 15035524"/>
                <a:gd name="connsiteX13" fmla="*/ 12952786 w 26402921"/>
                <a:gd name="connsiteY13" fmla="*/ 14842599 h 15035524"/>
                <a:gd name="connsiteX14" fmla="*/ 11934663 w 26402921"/>
                <a:gd name="connsiteY14" fmla="*/ 14890849 h 15035524"/>
                <a:gd name="connsiteX15" fmla="*/ 8506848 w 26402921"/>
                <a:gd name="connsiteY15" fmla="*/ 15035524 h 15035524"/>
                <a:gd name="connsiteX16" fmla="*/ 7985095 w 26402921"/>
                <a:gd name="connsiteY16" fmla="*/ 14390442 h 15035524"/>
                <a:gd name="connsiteX17" fmla="*/ 7400308 w 26402921"/>
                <a:gd name="connsiteY17" fmla="*/ 14360297 h 15035524"/>
                <a:gd name="connsiteX18" fmla="*/ 6972273 w 26402921"/>
                <a:gd name="connsiteY18" fmla="*/ 14631594 h 15035524"/>
                <a:gd name="connsiteX19" fmla="*/ 5181729 w 26402921"/>
                <a:gd name="connsiteY19" fmla="*/ 14547195 h 15035524"/>
                <a:gd name="connsiteX20" fmla="*/ 4397998 w 26402921"/>
                <a:gd name="connsiteY20" fmla="*/ 13914178 h 15035524"/>
                <a:gd name="connsiteX21" fmla="*/ 2908896 w 26402921"/>
                <a:gd name="connsiteY21" fmla="*/ 13106324 h 15035524"/>
                <a:gd name="connsiteX22" fmla="*/ 1263043 w 26402921"/>
                <a:gd name="connsiteY22" fmla="*/ 12394931 h 15035524"/>
                <a:gd name="connsiteX23" fmla="*/ 485320 w 26402921"/>
                <a:gd name="connsiteY23" fmla="*/ 11942774 h 15035524"/>
                <a:gd name="connsiteX24" fmla="*/ 0 w 26402921"/>
                <a:gd name="connsiteY24" fmla="*/ 11649662 h 15035524"/>
                <a:gd name="connsiteX25" fmla="*/ 1003686 w 26402921"/>
                <a:gd name="connsiteY25" fmla="*/ 10903697 h 15035524"/>
                <a:gd name="connsiteX26" fmla="*/ 2902551 w 26402921"/>
                <a:gd name="connsiteY26" fmla="*/ 9719298 h 15035524"/>
                <a:gd name="connsiteX27" fmla="*/ 2558940 w 26402921"/>
                <a:gd name="connsiteY27" fmla="*/ 9185867 h 15035524"/>
                <a:gd name="connsiteX28" fmla="*/ 2402508 w 26402921"/>
                <a:gd name="connsiteY28" fmla="*/ 8498784 h 15035524"/>
                <a:gd name="connsiteX29" fmla="*/ 2730740 w 26402921"/>
                <a:gd name="connsiteY29" fmla="*/ 8471613 h 15035524"/>
                <a:gd name="connsiteX30" fmla="*/ 2947754 w 26402921"/>
                <a:gd name="connsiteY30" fmla="*/ 8001468 h 15035524"/>
                <a:gd name="connsiteX31" fmla="*/ 3499325 w 26402921"/>
                <a:gd name="connsiteY31" fmla="*/ 7558451 h 15035524"/>
                <a:gd name="connsiteX32" fmla="*/ 3680166 w 26402921"/>
                <a:gd name="connsiteY32" fmla="*/ 6681453 h 15035524"/>
                <a:gd name="connsiteX33" fmla="*/ 4186528 w 26402921"/>
                <a:gd name="connsiteY33" fmla="*/ 6690489 h 15035524"/>
                <a:gd name="connsiteX34" fmla="*/ 4837569 w 26402921"/>
                <a:gd name="connsiteY34" fmla="*/ 7160639 h 15035524"/>
                <a:gd name="connsiteX35" fmla="*/ 5352976 w 26402921"/>
                <a:gd name="connsiteY35" fmla="*/ 7079272 h 15035524"/>
                <a:gd name="connsiteX36" fmla="*/ 5741786 w 26402921"/>
                <a:gd name="connsiteY36" fmla="*/ 6708577 h 15035524"/>
                <a:gd name="connsiteX37" fmla="*/ 6157723 w 26402921"/>
                <a:gd name="connsiteY37" fmla="*/ 6545836 h 15035524"/>
                <a:gd name="connsiteX38" fmla="*/ 6745471 w 26402921"/>
                <a:gd name="connsiteY38" fmla="*/ 5976243 h 15035524"/>
                <a:gd name="connsiteX39" fmla="*/ 6890140 w 26402921"/>
                <a:gd name="connsiteY39" fmla="*/ 5126367 h 15035524"/>
                <a:gd name="connsiteX40" fmla="*/ 7568305 w 26402921"/>
                <a:gd name="connsiteY40" fmla="*/ 4556773 h 15035524"/>
                <a:gd name="connsiteX41" fmla="*/ 8137967 w 26402921"/>
                <a:gd name="connsiteY41" fmla="*/ 4113752 h 15035524"/>
                <a:gd name="connsiteX42" fmla="*/ 8463480 w 26402921"/>
                <a:gd name="connsiteY42" fmla="*/ 3309085 h 15035524"/>
                <a:gd name="connsiteX43" fmla="*/ 9024093 w 26402921"/>
                <a:gd name="connsiteY43" fmla="*/ 2956478 h 15035524"/>
                <a:gd name="connsiteX44" fmla="*/ 9675138 w 26402921"/>
                <a:gd name="connsiteY44" fmla="*/ 2603876 h 15035524"/>
                <a:gd name="connsiteX45" fmla="*/ 9558580 w 26402921"/>
                <a:gd name="connsiteY45" fmla="*/ 2055592 h 15035524"/>
                <a:gd name="connsiteX46" fmla="*/ 10353296 w 26402921"/>
                <a:gd name="connsiteY46" fmla="*/ 1383308 h 15035524"/>
                <a:gd name="connsiteX47" fmla="*/ 10832530 w 26402921"/>
                <a:gd name="connsiteY47" fmla="*/ 1310974 h 15035524"/>
                <a:gd name="connsiteX48" fmla="*/ 11058585 w 26402921"/>
                <a:gd name="connsiteY48" fmla="*/ 1763043 h 15035524"/>
                <a:gd name="connsiteX49" fmla="*/ 11411229 w 26402921"/>
                <a:gd name="connsiteY49" fmla="*/ 2142774 h 15035524"/>
                <a:gd name="connsiteX50" fmla="*/ 11998974 w 26402921"/>
                <a:gd name="connsiteY50" fmla="*/ 2224144 h 15035524"/>
                <a:gd name="connsiteX51" fmla="*/ 12315449 w 26402921"/>
                <a:gd name="connsiteY51" fmla="*/ 2884156 h 15035524"/>
                <a:gd name="connsiteX52" fmla="*/ 12785642 w 26402921"/>
                <a:gd name="connsiteY52" fmla="*/ 2703327 h 15035524"/>
                <a:gd name="connsiteX53" fmla="*/ 13671776 w 26402921"/>
                <a:gd name="connsiteY53" fmla="*/ 3155388 h 15035524"/>
                <a:gd name="connsiteX54" fmla="*/ 14123886 w 26402921"/>
                <a:gd name="connsiteY54" fmla="*/ 2857035 h 15035524"/>
                <a:gd name="connsiteX55" fmla="*/ 14259509 w 26402921"/>
                <a:gd name="connsiteY55" fmla="*/ 2287434 h 15035524"/>
                <a:gd name="connsiteX56" fmla="*/ 14892468 w 26402921"/>
                <a:gd name="connsiteY56" fmla="*/ 1645503 h 15035524"/>
                <a:gd name="connsiteX57" fmla="*/ 15778605 w 26402921"/>
                <a:gd name="connsiteY57" fmla="*/ 1093983 h 15035524"/>
                <a:gd name="connsiteX58" fmla="*/ 16022739 w 26402921"/>
                <a:gd name="connsiteY58" fmla="*/ 1564133 h 15035524"/>
                <a:gd name="connsiteX59" fmla="*/ 16556232 w 26402921"/>
                <a:gd name="connsiteY59" fmla="*/ 2142785 h 15035524"/>
                <a:gd name="connsiteX60" fmla="*/ 17406193 w 26402921"/>
                <a:gd name="connsiteY60" fmla="*/ 1292897 h 15035524"/>
                <a:gd name="connsiteX61" fmla="*/ 18120524 w 26402921"/>
                <a:gd name="connsiteY61" fmla="*/ 714260 h 15035524"/>
                <a:gd name="connsiteX62" fmla="*/ 18744437 w 26402921"/>
                <a:gd name="connsiteY62" fmla="*/ -1 h 15035524"/>
                <a:gd name="connsiteX63" fmla="*/ 19982300 w 26402921"/>
                <a:gd name="connsiteY63" fmla="*/ 343465 h 15035524"/>
                <a:gd name="connsiteX64" fmla="*/ 19837609 w 26402921"/>
                <a:gd name="connsiteY64" fmla="*/ 1121173 h 15035524"/>
                <a:gd name="connsiteX65" fmla="*/ 21881359 w 26402921"/>
                <a:gd name="connsiteY65" fmla="*/ 1772279 h 15035524"/>
                <a:gd name="connsiteX66" fmla="*/ 21537712 w 26402921"/>
                <a:gd name="connsiteY66" fmla="*/ 2767023 h 15035524"/>
                <a:gd name="connsiteX67" fmla="*/ 22478203 w 26402921"/>
                <a:gd name="connsiteY67" fmla="*/ 2296774 h 15035524"/>
                <a:gd name="connsiteX68" fmla="*/ 23888932 w 26402921"/>
                <a:gd name="connsiteY68" fmla="*/ 1880797 h 15035524"/>
                <a:gd name="connsiteX69" fmla="*/ 25010275 w 26402921"/>
                <a:gd name="connsiteY69" fmla="*/ 578575 h 15035524"/>
                <a:gd name="connsiteX70" fmla="*/ 26402920 w 26402921"/>
                <a:gd name="connsiteY70" fmla="*/ 759442 h 15035524"/>
                <a:gd name="connsiteX71" fmla="*/ 16362364 w 26402921"/>
                <a:gd name="connsiteY71" fmla="*/ 6360628 h 15035524"/>
                <a:gd name="connsiteX72" fmla="*/ 16682563 w 26402921"/>
                <a:gd name="connsiteY72" fmla="*/ 6798531 h 15035524"/>
                <a:gd name="connsiteX0" fmla="*/ 16682563 w 25010275"/>
                <a:gd name="connsiteY0" fmla="*/ 6798531 h 15035524"/>
                <a:gd name="connsiteX1" fmla="*/ 16432262 w 25010275"/>
                <a:gd name="connsiteY1" fmla="*/ 7825917 h 15035524"/>
                <a:gd name="connsiteX2" fmla="*/ 16106317 w 25010275"/>
                <a:gd name="connsiteY2" fmla="*/ 8367221 h 15035524"/>
                <a:gd name="connsiteX3" fmla="*/ 16305649 w 25010275"/>
                <a:gd name="connsiteY3" fmla="*/ 8754550 h 15035524"/>
                <a:gd name="connsiteX4" fmla="*/ 16287189 w 25010275"/>
                <a:gd name="connsiteY4" fmla="*/ 9151157 h 15035524"/>
                <a:gd name="connsiteX5" fmla="*/ 16372801 w 25010275"/>
                <a:gd name="connsiteY5" fmla="*/ 9717422 h 15035524"/>
                <a:gd name="connsiteX6" fmla="*/ 16070155 w 25010275"/>
                <a:gd name="connsiteY6" fmla="*/ 9937808 h 15035524"/>
                <a:gd name="connsiteX7" fmla="*/ 15805690 w 25010275"/>
                <a:gd name="connsiteY7" fmla="*/ 10431999 h 15035524"/>
                <a:gd name="connsiteX8" fmla="*/ 15195097 w 25010275"/>
                <a:gd name="connsiteY8" fmla="*/ 10093742 h 15035524"/>
                <a:gd name="connsiteX9" fmla="*/ 15011380 w 25010275"/>
                <a:gd name="connsiteY9" fmla="*/ 11048592 h 15035524"/>
                <a:gd name="connsiteX10" fmla="*/ 14908430 w 25010275"/>
                <a:gd name="connsiteY10" fmla="*/ 11937487 h 15035524"/>
                <a:gd name="connsiteX11" fmla="*/ 14904684 w 25010275"/>
                <a:gd name="connsiteY11" fmla="*/ 12760926 h 15035524"/>
                <a:gd name="connsiteX12" fmla="*/ 14929927 w 25010275"/>
                <a:gd name="connsiteY12" fmla="*/ 14391846 h 15035524"/>
                <a:gd name="connsiteX13" fmla="*/ 12952786 w 25010275"/>
                <a:gd name="connsiteY13" fmla="*/ 14842599 h 15035524"/>
                <a:gd name="connsiteX14" fmla="*/ 11934663 w 25010275"/>
                <a:gd name="connsiteY14" fmla="*/ 14890849 h 15035524"/>
                <a:gd name="connsiteX15" fmla="*/ 8506848 w 25010275"/>
                <a:gd name="connsiteY15" fmla="*/ 15035524 h 15035524"/>
                <a:gd name="connsiteX16" fmla="*/ 7985095 w 25010275"/>
                <a:gd name="connsiteY16" fmla="*/ 14390442 h 15035524"/>
                <a:gd name="connsiteX17" fmla="*/ 7400308 w 25010275"/>
                <a:gd name="connsiteY17" fmla="*/ 14360297 h 15035524"/>
                <a:gd name="connsiteX18" fmla="*/ 6972273 w 25010275"/>
                <a:gd name="connsiteY18" fmla="*/ 14631594 h 15035524"/>
                <a:gd name="connsiteX19" fmla="*/ 5181729 w 25010275"/>
                <a:gd name="connsiteY19" fmla="*/ 14547195 h 15035524"/>
                <a:gd name="connsiteX20" fmla="*/ 4397998 w 25010275"/>
                <a:gd name="connsiteY20" fmla="*/ 13914178 h 15035524"/>
                <a:gd name="connsiteX21" fmla="*/ 2908896 w 25010275"/>
                <a:gd name="connsiteY21" fmla="*/ 13106324 h 15035524"/>
                <a:gd name="connsiteX22" fmla="*/ 1263043 w 25010275"/>
                <a:gd name="connsiteY22" fmla="*/ 12394931 h 15035524"/>
                <a:gd name="connsiteX23" fmla="*/ 485320 w 25010275"/>
                <a:gd name="connsiteY23" fmla="*/ 11942774 h 15035524"/>
                <a:gd name="connsiteX24" fmla="*/ 0 w 25010275"/>
                <a:gd name="connsiteY24" fmla="*/ 11649662 h 15035524"/>
                <a:gd name="connsiteX25" fmla="*/ 1003686 w 25010275"/>
                <a:gd name="connsiteY25" fmla="*/ 10903697 h 15035524"/>
                <a:gd name="connsiteX26" fmla="*/ 2902551 w 25010275"/>
                <a:gd name="connsiteY26" fmla="*/ 9719298 h 15035524"/>
                <a:gd name="connsiteX27" fmla="*/ 2558940 w 25010275"/>
                <a:gd name="connsiteY27" fmla="*/ 9185867 h 15035524"/>
                <a:gd name="connsiteX28" fmla="*/ 2402508 w 25010275"/>
                <a:gd name="connsiteY28" fmla="*/ 8498784 h 15035524"/>
                <a:gd name="connsiteX29" fmla="*/ 2730740 w 25010275"/>
                <a:gd name="connsiteY29" fmla="*/ 8471613 h 15035524"/>
                <a:gd name="connsiteX30" fmla="*/ 2947754 w 25010275"/>
                <a:gd name="connsiteY30" fmla="*/ 8001468 h 15035524"/>
                <a:gd name="connsiteX31" fmla="*/ 3499325 w 25010275"/>
                <a:gd name="connsiteY31" fmla="*/ 7558451 h 15035524"/>
                <a:gd name="connsiteX32" fmla="*/ 3680166 w 25010275"/>
                <a:gd name="connsiteY32" fmla="*/ 6681453 h 15035524"/>
                <a:gd name="connsiteX33" fmla="*/ 4186528 w 25010275"/>
                <a:gd name="connsiteY33" fmla="*/ 6690489 h 15035524"/>
                <a:gd name="connsiteX34" fmla="*/ 4837569 w 25010275"/>
                <a:gd name="connsiteY34" fmla="*/ 7160639 h 15035524"/>
                <a:gd name="connsiteX35" fmla="*/ 5352976 w 25010275"/>
                <a:gd name="connsiteY35" fmla="*/ 7079272 h 15035524"/>
                <a:gd name="connsiteX36" fmla="*/ 5741786 w 25010275"/>
                <a:gd name="connsiteY36" fmla="*/ 6708577 h 15035524"/>
                <a:gd name="connsiteX37" fmla="*/ 6157723 w 25010275"/>
                <a:gd name="connsiteY37" fmla="*/ 6545836 h 15035524"/>
                <a:gd name="connsiteX38" fmla="*/ 6745471 w 25010275"/>
                <a:gd name="connsiteY38" fmla="*/ 5976243 h 15035524"/>
                <a:gd name="connsiteX39" fmla="*/ 6890140 w 25010275"/>
                <a:gd name="connsiteY39" fmla="*/ 5126367 h 15035524"/>
                <a:gd name="connsiteX40" fmla="*/ 7568305 w 25010275"/>
                <a:gd name="connsiteY40" fmla="*/ 4556773 h 15035524"/>
                <a:gd name="connsiteX41" fmla="*/ 8137967 w 25010275"/>
                <a:gd name="connsiteY41" fmla="*/ 4113752 h 15035524"/>
                <a:gd name="connsiteX42" fmla="*/ 8463480 w 25010275"/>
                <a:gd name="connsiteY42" fmla="*/ 3309085 h 15035524"/>
                <a:gd name="connsiteX43" fmla="*/ 9024093 w 25010275"/>
                <a:gd name="connsiteY43" fmla="*/ 2956478 h 15035524"/>
                <a:gd name="connsiteX44" fmla="*/ 9675138 w 25010275"/>
                <a:gd name="connsiteY44" fmla="*/ 2603876 h 15035524"/>
                <a:gd name="connsiteX45" fmla="*/ 9558580 w 25010275"/>
                <a:gd name="connsiteY45" fmla="*/ 2055592 h 15035524"/>
                <a:gd name="connsiteX46" fmla="*/ 10353296 w 25010275"/>
                <a:gd name="connsiteY46" fmla="*/ 1383308 h 15035524"/>
                <a:gd name="connsiteX47" fmla="*/ 10832530 w 25010275"/>
                <a:gd name="connsiteY47" fmla="*/ 1310974 h 15035524"/>
                <a:gd name="connsiteX48" fmla="*/ 11058585 w 25010275"/>
                <a:gd name="connsiteY48" fmla="*/ 1763043 h 15035524"/>
                <a:gd name="connsiteX49" fmla="*/ 11411229 w 25010275"/>
                <a:gd name="connsiteY49" fmla="*/ 2142774 h 15035524"/>
                <a:gd name="connsiteX50" fmla="*/ 11998974 w 25010275"/>
                <a:gd name="connsiteY50" fmla="*/ 2224144 h 15035524"/>
                <a:gd name="connsiteX51" fmla="*/ 12315449 w 25010275"/>
                <a:gd name="connsiteY51" fmla="*/ 2884156 h 15035524"/>
                <a:gd name="connsiteX52" fmla="*/ 12785642 w 25010275"/>
                <a:gd name="connsiteY52" fmla="*/ 2703327 h 15035524"/>
                <a:gd name="connsiteX53" fmla="*/ 13671776 w 25010275"/>
                <a:gd name="connsiteY53" fmla="*/ 3155388 h 15035524"/>
                <a:gd name="connsiteX54" fmla="*/ 14123886 w 25010275"/>
                <a:gd name="connsiteY54" fmla="*/ 2857035 h 15035524"/>
                <a:gd name="connsiteX55" fmla="*/ 14259509 w 25010275"/>
                <a:gd name="connsiteY55" fmla="*/ 2287434 h 15035524"/>
                <a:gd name="connsiteX56" fmla="*/ 14892468 w 25010275"/>
                <a:gd name="connsiteY56" fmla="*/ 1645503 h 15035524"/>
                <a:gd name="connsiteX57" fmla="*/ 15778605 w 25010275"/>
                <a:gd name="connsiteY57" fmla="*/ 1093983 h 15035524"/>
                <a:gd name="connsiteX58" fmla="*/ 16022739 w 25010275"/>
                <a:gd name="connsiteY58" fmla="*/ 1564133 h 15035524"/>
                <a:gd name="connsiteX59" fmla="*/ 16556232 w 25010275"/>
                <a:gd name="connsiteY59" fmla="*/ 2142785 h 15035524"/>
                <a:gd name="connsiteX60" fmla="*/ 17406193 w 25010275"/>
                <a:gd name="connsiteY60" fmla="*/ 1292897 h 15035524"/>
                <a:gd name="connsiteX61" fmla="*/ 18120524 w 25010275"/>
                <a:gd name="connsiteY61" fmla="*/ 714260 h 15035524"/>
                <a:gd name="connsiteX62" fmla="*/ 18744437 w 25010275"/>
                <a:gd name="connsiteY62" fmla="*/ -1 h 15035524"/>
                <a:gd name="connsiteX63" fmla="*/ 19982300 w 25010275"/>
                <a:gd name="connsiteY63" fmla="*/ 343465 h 15035524"/>
                <a:gd name="connsiteX64" fmla="*/ 19837609 w 25010275"/>
                <a:gd name="connsiteY64" fmla="*/ 1121173 h 15035524"/>
                <a:gd name="connsiteX65" fmla="*/ 21881359 w 25010275"/>
                <a:gd name="connsiteY65" fmla="*/ 1772279 h 15035524"/>
                <a:gd name="connsiteX66" fmla="*/ 21537712 w 25010275"/>
                <a:gd name="connsiteY66" fmla="*/ 2767023 h 15035524"/>
                <a:gd name="connsiteX67" fmla="*/ 22478203 w 25010275"/>
                <a:gd name="connsiteY67" fmla="*/ 2296774 h 15035524"/>
                <a:gd name="connsiteX68" fmla="*/ 23888932 w 25010275"/>
                <a:gd name="connsiteY68" fmla="*/ 1880797 h 15035524"/>
                <a:gd name="connsiteX69" fmla="*/ 25010275 w 25010275"/>
                <a:gd name="connsiteY69" fmla="*/ 578575 h 15035524"/>
                <a:gd name="connsiteX70" fmla="*/ 14750481 w 25010275"/>
                <a:gd name="connsiteY70" fmla="*/ 5913293 h 15035524"/>
                <a:gd name="connsiteX71" fmla="*/ 16362364 w 25010275"/>
                <a:gd name="connsiteY71" fmla="*/ 6360628 h 15035524"/>
                <a:gd name="connsiteX72" fmla="*/ 16682563 w 25010275"/>
                <a:gd name="connsiteY72" fmla="*/ 6798531 h 15035524"/>
                <a:gd name="connsiteX0" fmla="*/ 16682563 w 25010275"/>
                <a:gd name="connsiteY0" fmla="*/ 6798531 h 15035524"/>
                <a:gd name="connsiteX1" fmla="*/ 16432262 w 25010275"/>
                <a:gd name="connsiteY1" fmla="*/ 7825917 h 15035524"/>
                <a:gd name="connsiteX2" fmla="*/ 16106317 w 25010275"/>
                <a:gd name="connsiteY2" fmla="*/ 8367221 h 15035524"/>
                <a:gd name="connsiteX3" fmla="*/ 16305649 w 25010275"/>
                <a:gd name="connsiteY3" fmla="*/ 8754550 h 15035524"/>
                <a:gd name="connsiteX4" fmla="*/ 16287189 w 25010275"/>
                <a:gd name="connsiteY4" fmla="*/ 9151157 h 15035524"/>
                <a:gd name="connsiteX5" fmla="*/ 16372801 w 25010275"/>
                <a:gd name="connsiteY5" fmla="*/ 9717422 h 15035524"/>
                <a:gd name="connsiteX6" fmla="*/ 16070155 w 25010275"/>
                <a:gd name="connsiteY6" fmla="*/ 9937808 h 15035524"/>
                <a:gd name="connsiteX7" fmla="*/ 15805690 w 25010275"/>
                <a:gd name="connsiteY7" fmla="*/ 10431999 h 15035524"/>
                <a:gd name="connsiteX8" fmla="*/ 15195097 w 25010275"/>
                <a:gd name="connsiteY8" fmla="*/ 10093742 h 15035524"/>
                <a:gd name="connsiteX9" fmla="*/ 15011380 w 25010275"/>
                <a:gd name="connsiteY9" fmla="*/ 11048592 h 15035524"/>
                <a:gd name="connsiteX10" fmla="*/ 14908430 w 25010275"/>
                <a:gd name="connsiteY10" fmla="*/ 11937487 h 15035524"/>
                <a:gd name="connsiteX11" fmla="*/ 14904684 w 25010275"/>
                <a:gd name="connsiteY11" fmla="*/ 12760926 h 15035524"/>
                <a:gd name="connsiteX12" fmla="*/ 14929927 w 25010275"/>
                <a:gd name="connsiteY12" fmla="*/ 14391846 h 15035524"/>
                <a:gd name="connsiteX13" fmla="*/ 12952786 w 25010275"/>
                <a:gd name="connsiteY13" fmla="*/ 14842599 h 15035524"/>
                <a:gd name="connsiteX14" fmla="*/ 11934663 w 25010275"/>
                <a:gd name="connsiteY14" fmla="*/ 14890849 h 15035524"/>
                <a:gd name="connsiteX15" fmla="*/ 8506848 w 25010275"/>
                <a:gd name="connsiteY15" fmla="*/ 15035524 h 15035524"/>
                <a:gd name="connsiteX16" fmla="*/ 7985095 w 25010275"/>
                <a:gd name="connsiteY16" fmla="*/ 14390442 h 15035524"/>
                <a:gd name="connsiteX17" fmla="*/ 7400308 w 25010275"/>
                <a:gd name="connsiteY17" fmla="*/ 14360297 h 15035524"/>
                <a:gd name="connsiteX18" fmla="*/ 6972273 w 25010275"/>
                <a:gd name="connsiteY18" fmla="*/ 14631594 h 15035524"/>
                <a:gd name="connsiteX19" fmla="*/ 5181729 w 25010275"/>
                <a:gd name="connsiteY19" fmla="*/ 14547195 h 15035524"/>
                <a:gd name="connsiteX20" fmla="*/ 4397998 w 25010275"/>
                <a:gd name="connsiteY20" fmla="*/ 13914178 h 15035524"/>
                <a:gd name="connsiteX21" fmla="*/ 2908896 w 25010275"/>
                <a:gd name="connsiteY21" fmla="*/ 13106324 h 15035524"/>
                <a:gd name="connsiteX22" fmla="*/ 1263043 w 25010275"/>
                <a:gd name="connsiteY22" fmla="*/ 12394931 h 15035524"/>
                <a:gd name="connsiteX23" fmla="*/ 485320 w 25010275"/>
                <a:gd name="connsiteY23" fmla="*/ 11942774 h 15035524"/>
                <a:gd name="connsiteX24" fmla="*/ 0 w 25010275"/>
                <a:gd name="connsiteY24" fmla="*/ 11649662 h 15035524"/>
                <a:gd name="connsiteX25" fmla="*/ 1003686 w 25010275"/>
                <a:gd name="connsiteY25" fmla="*/ 10903697 h 15035524"/>
                <a:gd name="connsiteX26" fmla="*/ 2902551 w 25010275"/>
                <a:gd name="connsiteY26" fmla="*/ 9719298 h 15035524"/>
                <a:gd name="connsiteX27" fmla="*/ 2558940 w 25010275"/>
                <a:gd name="connsiteY27" fmla="*/ 9185867 h 15035524"/>
                <a:gd name="connsiteX28" fmla="*/ 2402508 w 25010275"/>
                <a:gd name="connsiteY28" fmla="*/ 8498784 h 15035524"/>
                <a:gd name="connsiteX29" fmla="*/ 2730740 w 25010275"/>
                <a:gd name="connsiteY29" fmla="*/ 8471613 h 15035524"/>
                <a:gd name="connsiteX30" fmla="*/ 2947754 w 25010275"/>
                <a:gd name="connsiteY30" fmla="*/ 8001468 h 15035524"/>
                <a:gd name="connsiteX31" fmla="*/ 3499325 w 25010275"/>
                <a:gd name="connsiteY31" fmla="*/ 7558451 h 15035524"/>
                <a:gd name="connsiteX32" fmla="*/ 3680166 w 25010275"/>
                <a:gd name="connsiteY32" fmla="*/ 6681453 h 15035524"/>
                <a:gd name="connsiteX33" fmla="*/ 4186528 w 25010275"/>
                <a:gd name="connsiteY33" fmla="*/ 6690489 h 15035524"/>
                <a:gd name="connsiteX34" fmla="*/ 4837569 w 25010275"/>
                <a:gd name="connsiteY34" fmla="*/ 7160639 h 15035524"/>
                <a:gd name="connsiteX35" fmla="*/ 5352976 w 25010275"/>
                <a:gd name="connsiteY35" fmla="*/ 7079272 h 15035524"/>
                <a:gd name="connsiteX36" fmla="*/ 5741786 w 25010275"/>
                <a:gd name="connsiteY36" fmla="*/ 6708577 h 15035524"/>
                <a:gd name="connsiteX37" fmla="*/ 6157723 w 25010275"/>
                <a:gd name="connsiteY37" fmla="*/ 6545836 h 15035524"/>
                <a:gd name="connsiteX38" fmla="*/ 6745471 w 25010275"/>
                <a:gd name="connsiteY38" fmla="*/ 5976243 h 15035524"/>
                <a:gd name="connsiteX39" fmla="*/ 6890140 w 25010275"/>
                <a:gd name="connsiteY39" fmla="*/ 5126367 h 15035524"/>
                <a:gd name="connsiteX40" fmla="*/ 7568305 w 25010275"/>
                <a:gd name="connsiteY40" fmla="*/ 4556773 h 15035524"/>
                <a:gd name="connsiteX41" fmla="*/ 8137967 w 25010275"/>
                <a:gd name="connsiteY41" fmla="*/ 4113752 h 15035524"/>
                <a:gd name="connsiteX42" fmla="*/ 8463480 w 25010275"/>
                <a:gd name="connsiteY42" fmla="*/ 3309085 h 15035524"/>
                <a:gd name="connsiteX43" fmla="*/ 9024093 w 25010275"/>
                <a:gd name="connsiteY43" fmla="*/ 2956478 h 15035524"/>
                <a:gd name="connsiteX44" fmla="*/ 9675138 w 25010275"/>
                <a:gd name="connsiteY44" fmla="*/ 2603876 h 15035524"/>
                <a:gd name="connsiteX45" fmla="*/ 9558580 w 25010275"/>
                <a:gd name="connsiteY45" fmla="*/ 2055592 h 15035524"/>
                <a:gd name="connsiteX46" fmla="*/ 10353296 w 25010275"/>
                <a:gd name="connsiteY46" fmla="*/ 1383308 h 15035524"/>
                <a:gd name="connsiteX47" fmla="*/ 10832530 w 25010275"/>
                <a:gd name="connsiteY47" fmla="*/ 1310974 h 15035524"/>
                <a:gd name="connsiteX48" fmla="*/ 11058585 w 25010275"/>
                <a:gd name="connsiteY48" fmla="*/ 1763043 h 15035524"/>
                <a:gd name="connsiteX49" fmla="*/ 11411229 w 25010275"/>
                <a:gd name="connsiteY49" fmla="*/ 2142774 h 15035524"/>
                <a:gd name="connsiteX50" fmla="*/ 11998974 w 25010275"/>
                <a:gd name="connsiteY50" fmla="*/ 2224144 h 15035524"/>
                <a:gd name="connsiteX51" fmla="*/ 12315449 w 25010275"/>
                <a:gd name="connsiteY51" fmla="*/ 2884156 h 15035524"/>
                <a:gd name="connsiteX52" fmla="*/ 12785642 w 25010275"/>
                <a:gd name="connsiteY52" fmla="*/ 2703327 h 15035524"/>
                <a:gd name="connsiteX53" fmla="*/ 13671776 w 25010275"/>
                <a:gd name="connsiteY53" fmla="*/ 3155388 h 15035524"/>
                <a:gd name="connsiteX54" fmla="*/ 14123886 w 25010275"/>
                <a:gd name="connsiteY54" fmla="*/ 2857035 h 15035524"/>
                <a:gd name="connsiteX55" fmla="*/ 14259509 w 25010275"/>
                <a:gd name="connsiteY55" fmla="*/ 2287434 h 15035524"/>
                <a:gd name="connsiteX56" fmla="*/ 14892468 w 25010275"/>
                <a:gd name="connsiteY56" fmla="*/ 1645503 h 15035524"/>
                <a:gd name="connsiteX57" fmla="*/ 15778605 w 25010275"/>
                <a:gd name="connsiteY57" fmla="*/ 1093983 h 15035524"/>
                <a:gd name="connsiteX58" fmla="*/ 16022739 w 25010275"/>
                <a:gd name="connsiteY58" fmla="*/ 1564133 h 15035524"/>
                <a:gd name="connsiteX59" fmla="*/ 16556232 w 25010275"/>
                <a:gd name="connsiteY59" fmla="*/ 2142785 h 15035524"/>
                <a:gd name="connsiteX60" fmla="*/ 17406193 w 25010275"/>
                <a:gd name="connsiteY60" fmla="*/ 1292897 h 15035524"/>
                <a:gd name="connsiteX61" fmla="*/ 18120524 w 25010275"/>
                <a:gd name="connsiteY61" fmla="*/ 714260 h 15035524"/>
                <a:gd name="connsiteX62" fmla="*/ 18744437 w 25010275"/>
                <a:gd name="connsiteY62" fmla="*/ -1 h 15035524"/>
                <a:gd name="connsiteX63" fmla="*/ 19982300 w 25010275"/>
                <a:gd name="connsiteY63" fmla="*/ 343465 h 15035524"/>
                <a:gd name="connsiteX64" fmla="*/ 19837609 w 25010275"/>
                <a:gd name="connsiteY64" fmla="*/ 1121173 h 15035524"/>
                <a:gd name="connsiteX65" fmla="*/ 21881359 w 25010275"/>
                <a:gd name="connsiteY65" fmla="*/ 1772279 h 15035524"/>
                <a:gd name="connsiteX66" fmla="*/ 21537712 w 25010275"/>
                <a:gd name="connsiteY66" fmla="*/ 2767023 h 15035524"/>
                <a:gd name="connsiteX67" fmla="*/ 22478203 w 25010275"/>
                <a:gd name="connsiteY67" fmla="*/ 2296774 h 15035524"/>
                <a:gd name="connsiteX68" fmla="*/ 23888932 w 25010275"/>
                <a:gd name="connsiteY68" fmla="*/ 1880797 h 15035524"/>
                <a:gd name="connsiteX69" fmla="*/ 25010275 w 25010275"/>
                <a:gd name="connsiteY69" fmla="*/ 578575 h 15035524"/>
                <a:gd name="connsiteX70" fmla="*/ 16350939 w 25010275"/>
                <a:gd name="connsiteY70" fmla="*/ 6053348 h 15035524"/>
                <a:gd name="connsiteX71" fmla="*/ 16362364 w 25010275"/>
                <a:gd name="connsiteY71" fmla="*/ 6360628 h 15035524"/>
                <a:gd name="connsiteX72" fmla="*/ 16682563 w 25010275"/>
                <a:gd name="connsiteY72" fmla="*/ 6798531 h 15035524"/>
                <a:gd name="connsiteX0" fmla="*/ 16682563 w 23888933"/>
                <a:gd name="connsiteY0" fmla="*/ 6798531 h 15035524"/>
                <a:gd name="connsiteX1" fmla="*/ 16432262 w 23888933"/>
                <a:gd name="connsiteY1" fmla="*/ 7825917 h 15035524"/>
                <a:gd name="connsiteX2" fmla="*/ 16106317 w 23888933"/>
                <a:gd name="connsiteY2" fmla="*/ 8367221 h 15035524"/>
                <a:gd name="connsiteX3" fmla="*/ 16305649 w 23888933"/>
                <a:gd name="connsiteY3" fmla="*/ 8754550 h 15035524"/>
                <a:gd name="connsiteX4" fmla="*/ 16287189 w 23888933"/>
                <a:gd name="connsiteY4" fmla="*/ 9151157 h 15035524"/>
                <a:gd name="connsiteX5" fmla="*/ 16372801 w 23888933"/>
                <a:gd name="connsiteY5" fmla="*/ 9717422 h 15035524"/>
                <a:gd name="connsiteX6" fmla="*/ 16070155 w 23888933"/>
                <a:gd name="connsiteY6" fmla="*/ 9937808 h 15035524"/>
                <a:gd name="connsiteX7" fmla="*/ 15805690 w 23888933"/>
                <a:gd name="connsiteY7" fmla="*/ 10431999 h 15035524"/>
                <a:gd name="connsiteX8" fmla="*/ 15195097 w 23888933"/>
                <a:gd name="connsiteY8" fmla="*/ 10093742 h 15035524"/>
                <a:gd name="connsiteX9" fmla="*/ 15011380 w 23888933"/>
                <a:gd name="connsiteY9" fmla="*/ 11048592 h 15035524"/>
                <a:gd name="connsiteX10" fmla="*/ 14908430 w 23888933"/>
                <a:gd name="connsiteY10" fmla="*/ 11937487 h 15035524"/>
                <a:gd name="connsiteX11" fmla="*/ 14904684 w 23888933"/>
                <a:gd name="connsiteY11" fmla="*/ 12760926 h 15035524"/>
                <a:gd name="connsiteX12" fmla="*/ 14929927 w 23888933"/>
                <a:gd name="connsiteY12" fmla="*/ 14391846 h 15035524"/>
                <a:gd name="connsiteX13" fmla="*/ 12952786 w 23888933"/>
                <a:gd name="connsiteY13" fmla="*/ 14842599 h 15035524"/>
                <a:gd name="connsiteX14" fmla="*/ 11934663 w 23888933"/>
                <a:gd name="connsiteY14" fmla="*/ 14890849 h 15035524"/>
                <a:gd name="connsiteX15" fmla="*/ 8506848 w 23888933"/>
                <a:gd name="connsiteY15" fmla="*/ 15035524 h 15035524"/>
                <a:gd name="connsiteX16" fmla="*/ 7985095 w 23888933"/>
                <a:gd name="connsiteY16" fmla="*/ 14390442 h 15035524"/>
                <a:gd name="connsiteX17" fmla="*/ 7400308 w 23888933"/>
                <a:gd name="connsiteY17" fmla="*/ 14360297 h 15035524"/>
                <a:gd name="connsiteX18" fmla="*/ 6972273 w 23888933"/>
                <a:gd name="connsiteY18" fmla="*/ 14631594 h 15035524"/>
                <a:gd name="connsiteX19" fmla="*/ 5181729 w 23888933"/>
                <a:gd name="connsiteY19" fmla="*/ 14547195 h 15035524"/>
                <a:gd name="connsiteX20" fmla="*/ 4397998 w 23888933"/>
                <a:gd name="connsiteY20" fmla="*/ 13914178 h 15035524"/>
                <a:gd name="connsiteX21" fmla="*/ 2908896 w 23888933"/>
                <a:gd name="connsiteY21" fmla="*/ 13106324 h 15035524"/>
                <a:gd name="connsiteX22" fmla="*/ 1263043 w 23888933"/>
                <a:gd name="connsiteY22" fmla="*/ 12394931 h 15035524"/>
                <a:gd name="connsiteX23" fmla="*/ 485320 w 23888933"/>
                <a:gd name="connsiteY23" fmla="*/ 11942774 h 15035524"/>
                <a:gd name="connsiteX24" fmla="*/ 0 w 23888933"/>
                <a:gd name="connsiteY24" fmla="*/ 11649662 h 15035524"/>
                <a:gd name="connsiteX25" fmla="*/ 1003686 w 23888933"/>
                <a:gd name="connsiteY25" fmla="*/ 10903697 h 15035524"/>
                <a:gd name="connsiteX26" fmla="*/ 2902551 w 23888933"/>
                <a:gd name="connsiteY26" fmla="*/ 9719298 h 15035524"/>
                <a:gd name="connsiteX27" fmla="*/ 2558940 w 23888933"/>
                <a:gd name="connsiteY27" fmla="*/ 9185867 h 15035524"/>
                <a:gd name="connsiteX28" fmla="*/ 2402508 w 23888933"/>
                <a:gd name="connsiteY28" fmla="*/ 8498784 h 15035524"/>
                <a:gd name="connsiteX29" fmla="*/ 2730740 w 23888933"/>
                <a:gd name="connsiteY29" fmla="*/ 8471613 h 15035524"/>
                <a:gd name="connsiteX30" fmla="*/ 2947754 w 23888933"/>
                <a:gd name="connsiteY30" fmla="*/ 8001468 h 15035524"/>
                <a:gd name="connsiteX31" fmla="*/ 3499325 w 23888933"/>
                <a:gd name="connsiteY31" fmla="*/ 7558451 h 15035524"/>
                <a:gd name="connsiteX32" fmla="*/ 3680166 w 23888933"/>
                <a:gd name="connsiteY32" fmla="*/ 6681453 h 15035524"/>
                <a:gd name="connsiteX33" fmla="*/ 4186528 w 23888933"/>
                <a:gd name="connsiteY33" fmla="*/ 6690489 h 15035524"/>
                <a:gd name="connsiteX34" fmla="*/ 4837569 w 23888933"/>
                <a:gd name="connsiteY34" fmla="*/ 7160639 h 15035524"/>
                <a:gd name="connsiteX35" fmla="*/ 5352976 w 23888933"/>
                <a:gd name="connsiteY35" fmla="*/ 7079272 h 15035524"/>
                <a:gd name="connsiteX36" fmla="*/ 5741786 w 23888933"/>
                <a:gd name="connsiteY36" fmla="*/ 6708577 h 15035524"/>
                <a:gd name="connsiteX37" fmla="*/ 6157723 w 23888933"/>
                <a:gd name="connsiteY37" fmla="*/ 6545836 h 15035524"/>
                <a:gd name="connsiteX38" fmla="*/ 6745471 w 23888933"/>
                <a:gd name="connsiteY38" fmla="*/ 5976243 h 15035524"/>
                <a:gd name="connsiteX39" fmla="*/ 6890140 w 23888933"/>
                <a:gd name="connsiteY39" fmla="*/ 5126367 h 15035524"/>
                <a:gd name="connsiteX40" fmla="*/ 7568305 w 23888933"/>
                <a:gd name="connsiteY40" fmla="*/ 4556773 h 15035524"/>
                <a:gd name="connsiteX41" fmla="*/ 8137967 w 23888933"/>
                <a:gd name="connsiteY41" fmla="*/ 4113752 h 15035524"/>
                <a:gd name="connsiteX42" fmla="*/ 8463480 w 23888933"/>
                <a:gd name="connsiteY42" fmla="*/ 3309085 h 15035524"/>
                <a:gd name="connsiteX43" fmla="*/ 9024093 w 23888933"/>
                <a:gd name="connsiteY43" fmla="*/ 2956478 h 15035524"/>
                <a:gd name="connsiteX44" fmla="*/ 9675138 w 23888933"/>
                <a:gd name="connsiteY44" fmla="*/ 2603876 h 15035524"/>
                <a:gd name="connsiteX45" fmla="*/ 9558580 w 23888933"/>
                <a:gd name="connsiteY45" fmla="*/ 2055592 h 15035524"/>
                <a:gd name="connsiteX46" fmla="*/ 10353296 w 23888933"/>
                <a:gd name="connsiteY46" fmla="*/ 1383308 h 15035524"/>
                <a:gd name="connsiteX47" fmla="*/ 10832530 w 23888933"/>
                <a:gd name="connsiteY47" fmla="*/ 1310974 h 15035524"/>
                <a:gd name="connsiteX48" fmla="*/ 11058585 w 23888933"/>
                <a:gd name="connsiteY48" fmla="*/ 1763043 h 15035524"/>
                <a:gd name="connsiteX49" fmla="*/ 11411229 w 23888933"/>
                <a:gd name="connsiteY49" fmla="*/ 2142774 h 15035524"/>
                <a:gd name="connsiteX50" fmla="*/ 11998974 w 23888933"/>
                <a:gd name="connsiteY50" fmla="*/ 2224144 h 15035524"/>
                <a:gd name="connsiteX51" fmla="*/ 12315449 w 23888933"/>
                <a:gd name="connsiteY51" fmla="*/ 2884156 h 15035524"/>
                <a:gd name="connsiteX52" fmla="*/ 12785642 w 23888933"/>
                <a:gd name="connsiteY52" fmla="*/ 2703327 h 15035524"/>
                <a:gd name="connsiteX53" fmla="*/ 13671776 w 23888933"/>
                <a:gd name="connsiteY53" fmla="*/ 3155388 h 15035524"/>
                <a:gd name="connsiteX54" fmla="*/ 14123886 w 23888933"/>
                <a:gd name="connsiteY54" fmla="*/ 2857035 h 15035524"/>
                <a:gd name="connsiteX55" fmla="*/ 14259509 w 23888933"/>
                <a:gd name="connsiteY55" fmla="*/ 2287434 h 15035524"/>
                <a:gd name="connsiteX56" fmla="*/ 14892468 w 23888933"/>
                <a:gd name="connsiteY56" fmla="*/ 1645503 h 15035524"/>
                <a:gd name="connsiteX57" fmla="*/ 15778605 w 23888933"/>
                <a:gd name="connsiteY57" fmla="*/ 1093983 h 15035524"/>
                <a:gd name="connsiteX58" fmla="*/ 16022739 w 23888933"/>
                <a:gd name="connsiteY58" fmla="*/ 1564133 h 15035524"/>
                <a:gd name="connsiteX59" fmla="*/ 16556232 w 23888933"/>
                <a:gd name="connsiteY59" fmla="*/ 2142785 h 15035524"/>
                <a:gd name="connsiteX60" fmla="*/ 17406193 w 23888933"/>
                <a:gd name="connsiteY60" fmla="*/ 1292897 h 15035524"/>
                <a:gd name="connsiteX61" fmla="*/ 18120524 w 23888933"/>
                <a:gd name="connsiteY61" fmla="*/ 714260 h 15035524"/>
                <a:gd name="connsiteX62" fmla="*/ 18744437 w 23888933"/>
                <a:gd name="connsiteY62" fmla="*/ -1 h 15035524"/>
                <a:gd name="connsiteX63" fmla="*/ 19982300 w 23888933"/>
                <a:gd name="connsiteY63" fmla="*/ 343465 h 15035524"/>
                <a:gd name="connsiteX64" fmla="*/ 19837609 w 23888933"/>
                <a:gd name="connsiteY64" fmla="*/ 1121173 h 15035524"/>
                <a:gd name="connsiteX65" fmla="*/ 21881359 w 23888933"/>
                <a:gd name="connsiteY65" fmla="*/ 1772279 h 15035524"/>
                <a:gd name="connsiteX66" fmla="*/ 21537712 w 23888933"/>
                <a:gd name="connsiteY66" fmla="*/ 2767023 h 15035524"/>
                <a:gd name="connsiteX67" fmla="*/ 22478203 w 23888933"/>
                <a:gd name="connsiteY67" fmla="*/ 2296774 h 15035524"/>
                <a:gd name="connsiteX68" fmla="*/ 23888932 w 23888933"/>
                <a:gd name="connsiteY68" fmla="*/ 1880797 h 15035524"/>
                <a:gd name="connsiteX69" fmla="*/ 17541488 w 23888933"/>
                <a:gd name="connsiteY69" fmla="*/ 3715695 h 15035524"/>
                <a:gd name="connsiteX70" fmla="*/ 16350939 w 23888933"/>
                <a:gd name="connsiteY70" fmla="*/ 6053348 h 15035524"/>
                <a:gd name="connsiteX71" fmla="*/ 16362364 w 23888933"/>
                <a:gd name="connsiteY71" fmla="*/ 6360628 h 15035524"/>
                <a:gd name="connsiteX72" fmla="*/ 16682563 w 23888933"/>
                <a:gd name="connsiteY72" fmla="*/ 6798531 h 15035524"/>
                <a:gd name="connsiteX0" fmla="*/ 16682563 w 23888933"/>
                <a:gd name="connsiteY0" fmla="*/ 6798531 h 15035524"/>
                <a:gd name="connsiteX1" fmla="*/ 16432262 w 23888933"/>
                <a:gd name="connsiteY1" fmla="*/ 7825917 h 15035524"/>
                <a:gd name="connsiteX2" fmla="*/ 16106317 w 23888933"/>
                <a:gd name="connsiteY2" fmla="*/ 8367221 h 15035524"/>
                <a:gd name="connsiteX3" fmla="*/ 16305649 w 23888933"/>
                <a:gd name="connsiteY3" fmla="*/ 8754550 h 15035524"/>
                <a:gd name="connsiteX4" fmla="*/ 16287189 w 23888933"/>
                <a:gd name="connsiteY4" fmla="*/ 9151157 h 15035524"/>
                <a:gd name="connsiteX5" fmla="*/ 16372801 w 23888933"/>
                <a:gd name="connsiteY5" fmla="*/ 9717422 h 15035524"/>
                <a:gd name="connsiteX6" fmla="*/ 16070155 w 23888933"/>
                <a:gd name="connsiteY6" fmla="*/ 9937808 h 15035524"/>
                <a:gd name="connsiteX7" fmla="*/ 15805690 w 23888933"/>
                <a:gd name="connsiteY7" fmla="*/ 10431999 h 15035524"/>
                <a:gd name="connsiteX8" fmla="*/ 15195097 w 23888933"/>
                <a:gd name="connsiteY8" fmla="*/ 10093742 h 15035524"/>
                <a:gd name="connsiteX9" fmla="*/ 15011380 w 23888933"/>
                <a:gd name="connsiteY9" fmla="*/ 11048592 h 15035524"/>
                <a:gd name="connsiteX10" fmla="*/ 14908430 w 23888933"/>
                <a:gd name="connsiteY10" fmla="*/ 11937487 h 15035524"/>
                <a:gd name="connsiteX11" fmla="*/ 14904684 w 23888933"/>
                <a:gd name="connsiteY11" fmla="*/ 12760926 h 15035524"/>
                <a:gd name="connsiteX12" fmla="*/ 14929927 w 23888933"/>
                <a:gd name="connsiteY12" fmla="*/ 14391846 h 15035524"/>
                <a:gd name="connsiteX13" fmla="*/ 12952786 w 23888933"/>
                <a:gd name="connsiteY13" fmla="*/ 14842599 h 15035524"/>
                <a:gd name="connsiteX14" fmla="*/ 11934663 w 23888933"/>
                <a:gd name="connsiteY14" fmla="*/ 14890849 h 15035524"/>
                <a:gd name="connsiteX15" fmla="*/ 8506848 w 23888933"/>
                <a:gd name="connsiteY15" fmla="*/ 15035524 h 15035524"/>
                <a:gd name="connsiteX16" fmla="*/ 7985095 w 23888933"/>
                <a:gd name="connsiteY16" fmla="*/ 14390442 h 15035524"/>
                <a:gd name="connsiteX17" fmla="*/ 7400308 w 23888933"/>
                <a:gd name="connsiteY17" fmla="*/ 14360297 h 15035524"/>
                <a:gd name="connsiteX18" fmla="*/ 6972273 w 23888933"/>
                <a:gd name="connsiteY18" fmla="*/ 14631594 h 15035524"/>
                <a:gd name="connsiteX19" fmla="*/ 5181729 w 23888933"/>
                <a:gd name="connsiteY19" fmla="*/ 14547195 h 15035524"/>
                <a:gd name="connsiteX20" fmla="*/ 4397998 w 23888933"/>
                <a:gd name="connsiteY20" fmla="*/ 13914178 h 15035524"/>
                <a:gd name="connsiteX21" fmla="*/ 2908896 w 23888933"/>
                <a:gd name="connsiteY21" fmla="*/ 13106324 h 15035524"/>
                <a:gd name="connsiteX22" fmla="*/ 1263043 w 23888933"/>
                <a:gd name="connsiteY22" fmla="*/ 12394931 h 15035524"/>
                <a:gd name="connsiteX23" fmla="*/ 485320 w 23888933"/>
                <a:gd name="connsiteY23" fmla="*/ 11942774 h 15035524"/>
                <a:gd name="connsiteX24" fmla="*/ 0 w 23888933"/>
                <a:gd name="connsiteY24" fmla="*/ 11649662 h 15035524"/>
                <a:gd name="connsiteX25" fmla="*/ 1003686 w 23888933"/>
                <a:gd name="connsiteY25" fmla="*/ 10903697 h 15035524"/>
                <a:gd name="connsiteX26" fmla="*/ 2902551 w 23888933"/>
                <a:gd name="connsiteY26" fmla="*/ 9719298 h 15035524"/>
                <a:gd name="connsiteX27" fmla="*/ 2558940 w 23888933"/>
                <a:gd name="connsiteY27" fmla="*/ 9185867 h 15035524"/>
                <a:gd name="connsiteX28" fmla="*/ 2402508 w 23888933"/>
                <a:gd name="connsiteY28" fmla="*/ 8498784 h 15035524"/>
                <a:gd name="connsiteX29" fmla="*/ 2730740 w 23888933"/>
                <a:gd name="connsiteY29" fmla="*/ 8471613 h 15035524"/>
                <a:gd name="connsiteX30" fmla="*/ 2947754 w 23888933"/>
                <a:gd name="connsiteY30" fmla="*/ 8001468 h 15035524"/>
                <a:gd name="connsiteX31" fmla="*/ 3499325 w 23888933"/>
                <a:gd name="connsiteY31" fmla="*/ 7558451 h 15035524"/>
                <a:gd name="connsiteX32" fmla="*/ 3680166 w 23888933"/>
                <a:gd name="connsiteY32" fmla="*/ 6681453 h 15035524"/>
                <a:gd name="connsiteX33" fmla="*/ 4186528 w 23888933"/>
                <a:gd name="connsiteY33" fmla="*/ 6690489 h 15035524"/>
                <a:gd name="connsiteX34" fmla="*/ 4837569 w 23888933"/>
                <a:gd name="connsiteY34" fmla="*/ 7160639 h 15035524"/>
                <a:gd name="connsiteX35" fmla="*/ 5352976 w 23888933"/>
                <a:gd name="connsiteY35" fmla="*/ 7079272 h 15035524"/>
                <a:gd name="connsiteX36" fmla="*/ 5741786 w 23888933"/>
                <a:gd name="connsiteY36" fmla="*/ 6708577 h 15035524"/>
                <a:gd name="connsiteX37" fmla="*/ 6157723 w 23888933"/>
                <a:gd name="connsiteY37" fmla="*/ 6545836 h 15035524"/>
                <a:gd name="connsiteX38" fmla="*/ 6745471 w 23888933"/>
                <a:gd name="connsiteY38" fmla="*/ 5976243 h 15035524"/>
                <a:gd name="connsiteX39" fmla="*/ 6890140 w 23888933"/>
                <a:gd name="connsiteY39" fmla="*/ 5126367 h 15035524"/>
                <a:gd name="connsiteX40" fmla="*/ 7568305 w 23888933"/>
                <a:gd name="connsiteY40" fmla="*/ 4556773 h 15035524"/>
                <a:gd name="connsiteX41" fmla="*/ 8137967 w 23888933"/>
                <a:gd name="connsiteY41" fmla="*/ 4113752 h 15035524"/>
                <a:gd name="connsiteX42" fmla="*/ 8463480 w 23888933"/>
                <a:gd name="connsiteY42" fmla="*/ 3309085 h 15035524"/>
                <a:gd name="connsiteX43" fmla="*/ 9024093 w 23888933"/>
                <a:gd name="connsiteY43" fmla="*/ 2956478 h 15035524"/>
                <a:gd name="connsiteX44" fmla="*/ 9675138 w 23888933"/>
                <a:gd name="connsiteY44" fmla="*/ 2603876 h 15035524"/>
                <a:gd name="connsiteX45" fmla="*/ 9558580 w 23888933"/>
                <a:gd name="connsiteY45" fmla="*/ 2055592 h 15035524"/>
                <a:gd name="connsiteX46" fmla="*/ 10353296 w 23888933"/>
                <a:gd name="connsiteY46" fmla="*/ 1383308 h 15035524"/>
                <a:gd name="connsiteX47" fmla="*/ 10832530 w 23888933"/>
                <a:gd name="connsiteY47" fmla="*/ 1310974 h 15035524"/>
                <a:gd name="connsiteX48" fmla="*/ 11058585 w 23888933"/>
                <a:gd name="connsiteY48" fmla="*/ 1763043 h 15035524"/>
                <a:gd name="connsiteX49" fmla="*/ 11411229 w 23888933"/>
                <a:gd name="connsiteY49" fmla="*/ 2142774 h 15035524"/>
                <a:gd name="connsiteX50" fmla="*/ 11998974 w 23888933"/>
                <a:gd name="connsiteY50" fmla="*/ 2224144 h 15035524"/>
                <a:gd name="connsiteX51" fmla="*/ 12315449 w 23888933"/>
                <a:gd name="connsiteY51" fmla="*/ 2884156 h 15035524"/>
                <a:gd name="connsiteX52" fmla="*/ 12785642 w 23888933"/>
                <a:gd name="connsiteY52" fmla="*/ 2703327 h 15035524"/>
                <a:gd name="connsiteX53" fmla="*/ 13671776 w 23888933"/>
                <a:gd name="connsiteY53" fmla="*/ 3155388 h 15035524"/>
                <a:gd name="connsiteX54" fmla="*/ 14123886 w 23888933"/>
                <a:gd name="connsiteY54" fmla="*/ 2857035 h 15035524"/>
                <a:gd name="connsiteX55" fmla="*/ 14259509 w 23888933"/>
                <a:gd name="connsiteY55" fmla="*/ 2287434 h 15035524"/>
                <a:gd name="connsiteX56" fmla="*/ 14892468 w 23888933"/>
                <a:gd name="connsiteY56" fmla="*/ 1645503 h 15035524"/>
                <a:gd name="connsiteX57" fmla="*/ 15778605 w 23888933"/>
                <a:gd name="connsiteY57" fmla="*/ 1093983 h 15035524"/>
                <a:gd name="connsiteX58" fmla="*/ 16022739 w 23888933"/>
                <a:gd name="connsiteY58" fmla="*/ 1564133 h 15035524"/>
                <a:gd name="connsiteX59" fmla="*/ 16556232 w 23888933"/>
                <a:gd name="connsiteY59" fmla="*/ 2142785 h 15035524"/>
                <a:gd name="connsiteX60" fmla="*/ 17406193 w 23888933"/>
                <a:gd name="connsiteY60" fmla="*/ 1292897 h 15035524"/>
                <a:gd name="connsiteX61" fmla="*/ 18120524 w 23888933"/>
                <a:gd name="connsiteY61" fmla="*/ 714260 h 15035524"/>
                <a:gd name="connsiteX62" fmla="*/ 18744437 w 23888933"/>
                <a:gd name="connsiteY62" fmla="*/ -1 h 15035524"/>
                <a:gd name="connsiteX63" fmla="*/ 19982300 w 23888933"/>
                <a:gd name="connsiteY63" fmla="*/ 343465 h 15035524"/>
                <a:gd name="connsiteX64" fmla="*/ 19837609 w 23888933"/>
                <a:gd name="connsiteY64" fmla="*/ 1121173 h 15035524"/>
                <a:gd name="connsiteX65" fmla="*/ 21881359 w 23888933"/>
                <a:gd name="connsiteY65" fmla="*/ 1772279 h 15035524"/>
                <a:gd name="connsiteX66" fmla="*/ 21537712 w 23888933"/>
                <a:gd name="connsiteY66" fmla="*/ 2767023 h 15035524"/>
                <a:gd name="connsiteX67" fmla="*/ 22478203 w 23888933"/>
                <a:gd name="connsiteY67" fmla="*/ 2296774 h 15035524"/>
                <a:gd name="connsiteX68" fmla="*/ 23888932 w 23888933"/>
                <a:gd name="connsiteY68" fmla="*/ 1880797 h 15035524"/>
                <a:gd name="connsiteX69" fmla="*/ 14031723 w 23888933"/>
                <a:gd name="connsiteY69" fmla="*/ 5592368 h 15035524"/>
                <a:gd name="connsiteX70" fmla="*/ 16350939 w 23888933"/>
                <a:gd name="connsiteY70" fmla="*/ 6053348 h 15035524"/>
                <a:gd name="connsiteX71" fmla="*/ 16362364 w 23888933"/>
                <a:gd name="connsiteY71" fmla="*/ 6360628 h 15035524"/>
                <a:gd name="connsiteX72" fmla="*/ 16682563 w 23888933"/>
                <a:gd name="connsiteY72" fmla="*/ 6798531 h 15035524"/>
                <a:gd name="connsiteX0" fmla="*/ 16682563 w 23888933"/>
                <a:gd name="connsiteY0" fmla="*/ 6798531 h 15035524"/>
                <a:gd name="connsiteX1" fmla="*/ 16432262 w 23888933"/>
                <a:gd name="connsiteY1" fmla="*/ 7825917 h 15035524"/>
                <a:gd name="connsiteX2" fmla="*/ 16106317 w 23888933"/>
                <a:gd name="connsiteY2" fmla="*/ 8367221 h 15035524"/>
                <a:gd name="connsiteX3" fmla="*/ 16305649 w 23888933"/>
                <a:gd name="connsiteY3" fmla="*/ 8754550 h 15035524"/>
                <a:gd name="connsiteX4" fmla="*/ 16287189 w 23888933"/>
                <a:gd name="connsiteY4" fmla="*/ 9151157 h 15035524"/>
                <a:gd name="connsiteX5" fmla="*/ 16372801 w 23888933"/>
                <a:gd name="connsiteY5" fmla="*/ 9717422 h 15035524"/>
                <a:gd name="connsiteX6" fmla="*/ 16070155 w 23888933"/>
                <a:gd name="connsiteY6" fmla="*/ 9937808 h 15035524"/>
                <a:gd name="connsiteX7" fmla="*/ 15805690 w 23888933"/>
                <a:gd name="connsiteY7" fmla="*/ 10431999 h 15035524"/>
                <a:gd name="connsiteX8" fmla="*/ 15195097 w 23888933"/>
                <a:gd name="connsiteY8" fmla="*/ 10093742 h 15035524"/>
                <a:gd name="connsiteX9" fmla="*/ 15011380 w 23888933"/>
                <a:gd name="connsiteY9" fmla="*/ 11048592 h 15035524"/>
                <a:gd name="connsiteX10" fmla="*/ 14908430 w 23888933"/>
                <a:gd name="connsiteY10" fmla="*/ 11937487 h 15035524"/>
                <a:gd name="connsiteX11" fmla="*/ 14904684 w 23888933"/>
                <a:gd name="connsiteY11" fmla="*/ 12760926 h 15035524"/>
                <a:gd name="connsiteX12" fmla="*/ 14929927 w 23888933"/>
                <a:gd name="connsiteY12" fmla="*/ 14391846 h 15035524"/>
                <a:gd name="connsiteX13" fmla="*/ 12952786 w 23888933"/>
                <a:gd name="connsiteY13" fmla="*/ 14842599 h 15035524"/>
                <a:gd name="connsiteX14" fmla="*/ 11934663 w 23888933"/>
                <a:gd name="connsiteY14" fmla="*/ 14890849 h 15035524"/>
                <a:gd name="connsiteX15" fmla="*/ 8506848 w 23888933"/>
                <a:gd name="connsiteY15" fmla="*/ 15035524 h 15035524"/>
                <a:gd name="connsiteX16" fmla="*/ 7985095 w 23888933"/>
                <a:gd name="connsiteY16" fmla="*/ 14390442 h 15035524"/>
                <a:gd name="connsiteX17" fmla="*/ 7400308 w 23888933"/>
                <a:gd name="connsiteY17" fmla="*/ 14360297 h 15035524"/>
                <a:gd name="connsiteX18" fmla="*/ 6972273 w 23888933"/>
                <a:gd name="connsiteY18" fmla="*/ 14631594 h 15035524"/>
                <a:gd name="connsiteX19" fmla="*/ 5181729 w 23888933"/>
                <a:gd name="connsiteY19" fmla="*/ 14547195 h 15035524"/>
                <a:gd name="connsiteX20" fmla="*/ 4397998 w 23888933"/>
                <a:gd name="connsiteY20" fmla="*/ 13914178 h 15035524"/>
                <a:gd name="connsiteX21" fmla="*/ 2908896 w 23888933"/>
                <a:gd name="connsiteY21" fmla="*/ 13106324 h 15035524"/>
                <a:gd name="connsiteX22" fmla="*/ 1263043 w 23888933"/>
                <a:gd name="connsiteY22" fmla="*/ 12394931 h 15035524"/>
                <a:gd name="connsiteX23" fmla="*/ 485320 w 23888933"/>
                <a:gd name="connsiteY23" fmla="*/ 11942774 h 15035524"/>
                <a:gd name="connsiteX24" fmla="*/ 0 w 23888933"/>
                <a:gd name="connsiteY24" fmla="*/ 11649662 h 15035524"/>
                <a:gd name="connsiteX25" fmla="*/ 1003686 w 23888933"/>
                <a:gd name="connsiteY25" fmla="*/ 10903697 h 15035524"/>
                <a:gd name="connsiteX26" fmla="*/ 2902551 w 23888933"/>
                <a:gd name="connsiteY26" fmla="*/ 9719298 h 15035524"/>
                <a:gd name="connsiteX27" fmla="*/ 2558940 w 23888933"/>
                <a:gd name="connsiteY27" fmla="*/ 9185867 h 15035524"/>
                <a:gd name="connsiteX28" fmla="*/ 2402508 w 23888933"/>
                <a:gd name="connsiteY28" fmla="*/ 8498784 h 15035524"/>
                <a:gd name="connsiteX29" fmla="*/ 2730740 w 23888933"/>
                <a:gd name="connsiteY29" fmla="*/ 8471613 h 15035524"/>
                <a:gd name="connsiteX30" fmla="*/ 2947754 w 23888933"/>
                <a:gd name="connsiteY30" fmla="*/ 8001468 h 15035524"/>
                <a:gd name="connsiteX31" fmla="*/ 3499325 w 23888933"/>
                <a:gd name="connsiteY31" fmla="*/ 7558451 h 15035524"/>
                <a:gd name="connsiteX32" fmla="*/ 3680166 w 23888933"/>
                <a:gd name="connsiteY32" fmla="*/ 6681453 h 15035524"/>
                <a:gd name="connsiteX33" fmla="*/ 4186528 w 23888933"/>
                <a:gd name="connsiteY33" fmla="*/ 6690489 h 15035524"/>
                <a:gd name="connsiteX34" fmla="*/ 4837569 w 23888933"/>
                <a:gd name="connsiteY34" fmla="*/ 7160639 h 15035524"/>
                <a:gd name="connsiteX35" fmla="*/ 5352976 w 23888933"/>
                <a:gd name="connsiteY35" fmla="*/ 7079272 h 15035524"/>
                <a:gd name="connsiteX36" fmla="*/ 5741786 w 23888933"/>
                <a:gd name="connsiteY36" fmla="*/ 6708577 h 15035524"/>
                <a:gd name="connsiteX37" fmla="*/ 6157723 w 23888933"/>
                <a:gd name="connsiteY37" fmla="*/ 6545836 h 15035524"/>
                <a:gd name="connsiteX38" fmla="*/ 6745471 w 23888933"/>
                <a:gd name="connsiteY38" fmla="*/ 5976243 h 15035524"/>
                <a:gd name="connsiteX39" fmla="*/ 6890140 w 23888933"/>
                <a:gd name="connsiteY39" fmla="*/ 5126367 h 15035524"/>
                <a:gd name="connsiteX40" fmla="*/ 7568305 w 23888933"/>
                <a:gd name="connsiteY40" fmla="*/ 4556773 h 15035524"/>
                <a:gd name="connsiteX41" fmla="*/ 8137967 w 23888933"/>
                <a:gd name="connsiteY41" fmla="*/ 4113752 h 15035524"/>
                <a:gd name="connsiteX42" fmla="*/ 8463480 w 23888933"/>
                <a:gd name="connsiteY42" fmla="*/ 3309085 h 15035524"/>
                <a:gd name="connsiteX43" fmla="*/ 9024093 w 23888933"/>
                <a:gd name="connsiteY43" fmla="*/ 2956478 h 15035524"/>
                <a:gd name="connsiteX44" fmla="*/ 9675138 w 23888933"/>
                <a:gd name="connsiteY44" fmla="*/ 2603876 h 15035524"/>
                <a:gd name="connsiteX45" fmla="*/ 9558580 w 23888933"/>
                <a:gd name="connsiteY45" fmla="*/ 2055592 h 15035524"/>
                <a:gd name="connsiteX46" fmla="*/ 10353296 w 23888933"/>
                <a:gd name="connsiteY46" fmla="*/ 1383308 h 15035524"/>
                <a:gd name="connsiteX47" fmla="*/ 10832530 w 23888933"/>
                <a:gd name="connsiteY47" fmla="*/ 1310974 h 15035524"/>
                <a:gd name="connsiteX48" fmla="*/ 11058585 w 23888933"/>
                <a:gd name="connsiteY48" fmla="*/ 1763043 h 15035524"/>
                <a:gd name="connsiteX49" fmla="*/ 11411229 w 23888933"/>
                <a:gd name="connsiteY49" fmla="*/ 2142774 h 15035524"/>
                <a:gd name="connsiteX50" fmla="*/ 11998974 w 23888933"/>
                <a:gd name="connsiteY50" fmla="*/ 2224144 h 15035524"/>
                <a:gd name="connsiteX51" fmla="*/ 12315449 w 23888933"/>
                <a:gd name="connsiteY51" fmla="*/ 2884156 h 15035524"/>
                <a:gd name="connsiteX52" fmla="*/ 12785642 w 23888933"/>
                <a:gd name="connsiteY52" fmla="*/ 2703327 h 15035524"/>
                <a:gd name="connsiteX53" fmla="*/ 13671776 w 23888933"/>
                <a:gd name="connsiteY53" fmla="*/ 3155388 h 15035524"/>
                <a:gd name="connsiteX54" fmla="*/ 14123886 w 23888933"/>
                <a:gd name="connsiteY54" fmla="*/ 2857035 h 15035524"/>
                <a:gd name="connsiteX55" fmla="*/ 14259509 w 23888933"/>
                <a:gd name="connsiteY55" fmla="*/ 2287434 h 15035524"/>
                <a:gd name="connsiteX56" fmla="*/ 14892468 w 23888933"/>
                <a:gd name="connsiteY56" fmla="*/ 1645503 h 15035524"/>
                <a:gd name="connsiteX57" fmla="*/ 15778605 w 23888933"/>
                <a:gd name="connsiteY57" fmla="*/ 1093983 h 15035524"/>
                <a:gd name="connsiteX58" fmla="*/ 16022739 w 23888933"/>
                <a:gd name="connsiteY58" fmla="*/ 1564133 h 15035524"/>
                <a:gd name="connsiteX59" fmla="*/ 16556232 w 23888933"/>
                <a:gd name="connsiteY59" fmla="*/ 2142785 h 15035524"/>
                <a:gd name="connsiteX60" fmla="*/ 17406193 w 23888933"/>
                <a:gd name="connsiteY60" fmla="*/ 1292897 h 15035524"/>
                <a:gd name="connsiteX61" fmla="*/ 18120524 w 23888933"/>
                <a:gd name="connsiteY61" fmla="*/ 714260 h 15035524"/>
                <a:gd name="connsiteX62" fmla="*/ 18744437 w 23888933"/>
                <a:gd name="connsiteY62" fmla="*/ -1 h 15035524"/>
                <a:gd name="connsiteX63" fmla="*/ 19982300 w 23888933"/>
                <a:gd name="connsiteY63" fmla="*/ 343465 h 15035524"/>
                <a:gd name="connsiteX64" fmla="*/ 19837609 w 23888933"/>
                <a:gd name="connsiteY64" fmla="*/ 1121173 h 15035524"/>
                <a:gd name="connsiteX65" fmla="*/ 21881359 w 23888933"/>
                <a:gd name="connsiteY65" fmla="*/ 1772279 h 15035524"/>
                <a:gd name="connsiteX66" fmla="*/ 21537712 w 23888933"/>
                <a:gd name="connsiteY66" fmla="*/ 2767023 h 15035524"/>
                <a:gd name="connsiteX67" fmla="*/ 22478203 w 23888933"/>
                <a:gd name="connsiteY67" fmla="*/ 2296774 h 15035524"/>
                <a:gd name="connsiteX68" fmla="*/ 23888932 w 23888933"/>
                <a:gd name="connsiteY68" fmla="*/ 1880797 h 15035524"/>
                <a:gd name="connsiteX69" fmla="*/ 15323320 w 23888933"/>
                <a:gd name="connsiteY69" fmla="*/ 5928489 h 15035524"/>
                <a:gd name="connsiteX70" fmla="*/ 16350939 w 23888933"/>
                <a:gd name="connsiteY70" fmla="*/ 6053348 h 15035524"/>
                <a:gd name="connsiteX71" fmla="*/ 16362364 w 23888933"/>
                <a:gd name="connsiteY71" fmla="*/ 6360628 h 15035524"/>
                <a:gd name="connsiteX72" fmla="*/ 16682563 w 23888933"/>
                <a:gd name="connsiteY72" fmla="*/ 6798531 h 15035524"/>
                <a:gd name="connsiteX0" fmla="*/ 16682563 w 22478203"/>
                <a:gd name="connsiteY0" fmla="*/ 6798531 h 15035524"/>
                <a:gd name="connsiteX1" fmla="*/ 16432262 w 22478203"/>
                <a:gd name="connsiteY1" fmla="*/ 7825917 h 15035524"/>
                <a:gd name="connsiteX2" fmla="*/ 16106317 w 22478203"/>
                <a:gd name="connsiteY2" fmla="*/ 8367221 h 15035524"/>
                <a:gd name="connsiteX3" fmla="*/ 16305649 w 22478203"/>
                <a:gd name="connsiteY3" fmla="*/ 8754550 h 15035524"/>
                <a:gd name="connsiteX4" fmla="*/ 16287189 w 22478203"/>
                <a:gd name="connsiteY4" fmla="*/ 9151157 h 15035524"/>
                <a:gd name="connsiteX5" fmla="*/ 16372801 w 22478203"/>
                <a:gd name="connsiteY5" fmla="*/ 9717422 h 15035524"/>
                <a:gd name="connsiteX6" fmla="*/ 16070155 w 22478203"/>
                <a:gd name="connsiteY6" fmla="*/ 9937808 h 15035524"/>
                <a:gd name="connsiteX7" fmla="*/ 15805690 w 22478203"/>
                <a:gd name="connsiteY7" fmla="*/ 10431999 h 15035524"/>
                <a:gd name="connsiteX8" fmla="*/ 15195097 w 22478203"/>
                <a:gd name="connsiteY8" fmla="*/ 10093742 h 15035524"/>
                <a:gd name="connsiteX9" fmla="*/ 15011380 w 22478203"/>
                <a:gd name="connsiteY9" fmla="*/ 11048592 h 15035524"/>
                <a:gd name="connsiteX10" fmla="*/ 14908430 w 22478203"/>
                <a:gd name="connsiteY10" fmla="*/ 11937487 h 15035524"/>
                <a:gd name="connsiteX11" fmla="*/ 14904684 w 22478203"/>
                <a:gd name="connsiteY11" fmla="*/ 12760926 h 15035524"/>
                <a:gd name="connsiteX12" fmla="*/ 14929927 w 22478203"/>
                <a:gd name="connsiteY12" fmla="*/ 14391846 h 15035524"/>
                <a:gd name="connsiteX13" fmla="*/ 12952786 w 22478203"/>
                <a:gd name="connsiteY13" fmla="*/ 14842599 h 15035524"/>
                <a:gd name="connsiteX14" fmla="*/ 11934663 w 22478203"/>
                <a:gd name="connsiteY14" fmla="*/ 14890849 h 15035524"/>
                <a:gd name="connsiteX15" fmla="*/ 8506848 w 22478203"/>
                <a:gd name="connsiteY15" fmla="*/ 15035524 h 15035524"/>
                <a:gd name="connsiteX16" fmla="*/ 7985095 w 22478203"/>
                <a:gd name="connsiteY16" fmla="*/ 14390442 h 15035524"/>
                <a:gd name="connsiteX17" fmla="*/ 7400308 w 22478203"/>
                <a:gd name="connsiteY17" fmla="*/ 14360297 h 15035524"/>
                <a:gd name="connsiteX18" fmla="*/ 6972273 w 22478203"/>
                <a:gd name="connsiteY18" fmla="*/ 14631594 h 15035524"/>
                <a:gd name="connsiteX19" fmla="*/ 5181729 w 22478203"/>
                <a:gd name="connsiteY19" fmla="*/ 14547195 h 15035524"/>
                <a:gd name="connsiteX20" fmla="*/ 4397998 w 22478203"/>
                <a:gd name="connsiteY20" fmla="*/ 13914178 h 15035524"/>
                <a:gd name="connsiteX21" fmla="*/ 2908896 w 22478203"/>
                <a:gd name="connsiteY21" fmla="*/ 13106324 h 15035524"/>
                <a:gd name="connsiteX22" fmla="*/ 1263043 w 22478203"/>
                <a:gd name="connsiteY22" fmla="*/ 12394931 h 15035524"/>
                <a:gd name="connsiteX23" fmla="*/ 485320 w 22478203"/>
                <a:gd name="connsiteY23" fmla="*/ 11942774 h 15035524"/>
                <a:gd name="connsiteX24" fmla="*/ 0 w 22478203"/>
                <a:gd name="connsiteY24" fmla="*/ 11649662 h 15035524"/>
                <a:gd name="connsiteX25" fmla="*/ 1003686 w 22478203"/>
                <a:gd name="connsiteY25" fmla="*/ 10903697 h 15035524"/>
                <a:gd name="connsiteX26" fmla="*/ 2902551 w 22478203"/>
                <a:gd name="connsiteY26" fmla="*/ 9719298 h 15035524"/>
                <a:gd name="connsiteX27" fmla="*/ 2558940 w 22478203"/>
                <a:gd name="connsiteY27" fmla="*/ 9185867 h 15035524"/>
                <a:gd name="connsiteX28" fmla="*/ 2402508 w 22478203"/>
                <a:gd name="connsiteY28" fmla="*/ 8498784 h 15035524"/>
                <a:gd name="connsiteX29" fmla="*/ 2730740 w 22478203"/>
                <a:gd name="connsiteY29" fmla="*/ 8471613 h 15035524"/>
                <a:gd name="connsiteX30" fmla="*/ 2947754 w 22478203"/>
                <a:gd name="connsiteY30" fmla="*/ 8001468 h 15035524"/>
                <a:gd name="connsiteX31" fmla="*/ 3499325 w 22478203"/>
                <a:gd name="connsiteY31" fmla="*/ 7558451 h 15035524"/>
                <a:gd name="connsiteX32" fmla="*/ 3680166 w 22478203"/>
                <a:gd name="connsiteY32" fmla="*/ 6681453 h 15035524"/>
                <a:gd name="connsiteX33" fmla="*/ 4186528 w 22478203"/>
                <a:gd name="connsiteY33" fmla="*/ 6690489 h 15035524"/>
                <a:gd name="connsiteX34" fmla="*/ 4837569 w 22478203"/>
                <a:gd name="connsiteY34" fmla="*/ 7160639 h 15035524"/>
                <a:gd name="connsiteX35" fmla="*/ 5352976 w 22478203"/>
                <a:gd name="connsiteY35" fmla="*/ 7079272 h 15035524"/>
                <a:gd name="connsiteX36" fmla="*/ 5741786 w 22478203"/>
                <a:gd name="connsiteY36" fmla="*/ 6708577 h 15035524"/>
                <a:gd name="connsiteX37" fmla="*/ 6157723 w 22478203"/>
                <a:gd name="connsiteY37" fmla="*/ 6545836 h 15035524"/>
                <a:gd name="connsiteX38" fmla="*/ 6745471 w 22478203"/>
                <a:gd name="connsiteY38" fmla="*/ 5976243 h 15035524"/>
                <a:gd name="connsiteX39" fmla="*/ 6890140 w 22478203"/>
                <a:gd name="connsiteY39" fmla="*/ 5126367 h 15035524"/>
                <a:gd name="connsiteX40" fmla="*/ 7568305 w 22478203"/>
                <a:gd name="connsiteY40" fmla="*/ 4556773 h 15035524"/>
                <a:gd name="connsiteX41" fmla="*/ 8137967 w 22478203"/>
                <a:gd name="connsiteY41" fmla="*/ 4113752 h 15035524"/>
                <a:gd name="connsiteX42" fmla="*/ 8463480 w 22478203"/>
                <a:gd name="connsiteY42" fmla="*/ 3309085 h 15035524"/>
                <a:gd name="connsiteX43" fmla="*/ 9024093 w 22478203"/>
                <a:gd name="connsiteY43" fmla="*/ 2956478 h 15035524"/>
                <a:gd name="connsiteX44" fmla="*/ 9675138 w 22478203"/>
                <a:gd name="connsiteY44" fmla="*/ 2603876 h 15035524"/>
                <a:gd name="connsiteX45" fmla="*/ 9558580 w 22478203"/>
                <a:gd name="connsiteY45" fmla="*/ 2055592 h 15035524"/>
                <a:gd name="connsiteX46" fmla="*/ 10353296 w 22478203"/>
                <a:gd name="connsiteY46" fmla="*/ 1383308 h 15035524"/>
                <a:gd name="connsiteX47" fmla="*/ 10832530 w 22478203"/>
                <a:gd name="connsiteY47" fmla="*/ 1310974 h 15035524"/>
                <a:gd name="connsiteX48" fmla="*/ 11058585 w 22478203"/>
                <a:gd name="connsiteY48" fmla="*/ 1763043 h 15035524"/>
                <a:gd name="connsiteX49" fmla="*/ 11411229 w 22478203"/>
                <a:gd name="connsiteY49" fmla="*/ 2142774 h 15035524"/>
                <a:gd name="connsiteX50" fmla="*/ 11998974 w 22478203"/>
                <a:gd name="connsiteY50" fmla="*/ 2224144 h 15035524"/>
                <a:gd name="connsiteX51" fmla="*/ 12315449 w 22478203"/>
                <a:gd name="connsiteY51" fmla="*/ 2884156 h 15035524"/>
                <a:gd name="connsiteX52" fmla="*/ 12785642 w 22478203"/>
                <a:gd name="connsiteY52" fmla="*/ 2703327 h 15035524"/>
                <a:gd name="connsiteX53" fmla="*/ 13671776 w 22478203"/>
                <a:gd name="connsiteY53" fmla="*/ 3155388 h 15035524"/>
                <a:gd name="connsiteX54" fmla="*/ 14123886 w 22478203"/>
                <a:gd name="connsiteY54" fmla="*/ 2857035 h 15035524"/>
                <a:gd name="connsiteX55" fmla="*/ 14259509 w 22478203"/>
                <a:gd name="connsiteY55" fmla="*/ 2287434 h 15035524"/>
                <a:gd name="connsiteX56" fmla="*/ 14892468 w 22478203"/>
                <a:gd name="connsiteY56" fmla="*/ 1645503 h 15035524"/>
                <a:gd name="connsiteX57" fmla="*/ 15778605 w 22478203"/>
                <a:gd name="connsiteY57" fmla="*/ 1093983 h 15035524"/>
                <a:gd name="connsiteX58" fmla="*/ 16022739 w 22478203"/>
                <a:gd name="connsiteY58" fmla="*/ 1564133 h 15035524"/>
                <a:gd name="connsiteX59" fmla="*/ 16556232 w 22478203"/>
                <a:gd name="connsiteY59" fmla="*/ 2142785 h 15035524"/>
                <a:gd name="connsiteX60" fmla="*/ 17406193 w 22478203"/>
                <a:gd name="connsiteY60" fmla="*/ 1292897 h 15035524"/>
                <a:gd name="connsiteX61" fmla="*/ 18120524 w 22478203"/>
                <a:gd name="connsiteY61" fmla="*/ 714260 h 15035524"/>
                <a:gd name="connsiteX62" fmla="*/ 18744437 w 22478203"/>
                <a:gd name="connsiteY62" fmla="*/ -1 h 15035524"/>
                <a:gd name="connsiteX63" fmla="*/ 19982300 w 22478203"/>
                <a:gd name="connsiteY63" fmla="*/ 343465 h 15035524"/>
                <a:gd name="connsiteX64" fmla="*/ 19837609 w 22478203"/>
                <a:gd name="connsiteY64" fmla="*/ 1121173 h 15035524"/>
                <a:gd name="connsiteX65" fmla="*/ 21881359 w 22478203"/>
                <a:gd name="connsiteY65" fmla="*/ 1772279 h 15035524"/>
                <a:gd name="connsiteX66" fmla="*/ 21537712 w 22478203"/>
                <a:gd name="connsiteY66" fmla="*/ 2767023 h 15035524"/>
                <a:gd name="connsiteX67" fmla="*/ 22478203 w 22478203"/>
                <a:gd name="connsiteY67" fmla="*/ 2296774 h 15035524"/>
                <a:gd name="connsiteX68" fmla="*/ 14960077 w 22478203"/>
                <a:gd name="connsiteY68" fmla="*/ 5017927 h 15035524"/>
                <a:gd name="connsiteX69" fmla="*/ 15323320 w 22478203"/>
                <a:gd name="connsiteY69" fmla="*/ 5928489 h 15035524"/>
                <a:gd name="connsiteX70" fmla="*/ 16350939 w 22478203"/>
                <a:gd name="connsiteY70" fmla="*/ 6053348 h 15035524"/>
                <a:gd name="connsiteX71" fmla="*/ 16362364 w 22478203"/>
                <a:gd name="connsiteY71" fmla="*/ 6360628 h 15035524"/>
                <a:gd name="connsiteX72" fmla="*/ 16682563 w 22478203"/>
                <a:gd name="connsiteY72" fmla="*/ 6798531 h 15035524"/>
                <a:gd name="connsiteX0" fmla="*/ 16682563 w 22478203"/>
                <a:gd name="connsiteY0" fmla="*/ 6798531 h 15035524"/>
                <a:gd name="connsiteX1" fmla="*/ 16432262 w 22478203"/>
                <a:gd name="connsiteY1" fmla="*/ 7825917 h 15035524"/>
                <a:gd name="connsiteX2" fmla="*/ 16106317 w 22478203"/>
                <a:gd name="connsiteY2" fmla="*/ 8367221 h 15035524"/>
                <a:gd name="connsiteX3" fmla="*/ 16305649 w 22478203"/>
                <a:gd name="connsiteY3" fmla="*/ 8754550 h 15035524"/>
                <a:gd name="connsiteX4" fmla="*/ 16287189 w 22478203"/>
                <a:gd name="connsiteY4" fmla="*/ 9151157 h 15035524"/>
                <a:gd name="connsiteX5" fmla="*/ 16372801 w 22478203"/>
                <a:gd name="connsiteY5" fmla="*/ 9717422 h 15035524"/>
                <a:gd name="connsiteX6" fmla="*/ 16070155 w 22478203"/>
                <a:gd name="connsiteY6" fmla="*/ 9937808 h 15035524"/>
                <a:gd name="connsiteX7" fmla="*/ 15805690 w 22478203"/>
                <a:gd name="connsiteY7" fmla="*/ 10431999 h 15035524"/>
                <a:gd name="connsiteX8" fmla="*/ 15195097 w 22478203"/>
                <a:gd name="connsiteY8" fmla="*/ 10093742 h 15035524"/>
                <a:gd name="connsiteX9" fmla="*/ 15011380 w 22478203"/>
                <a:gd name="connsiteY9" fmla="*/ 11048592 h 15035524"/>
                <a:gd name="connsiteX10" fmla="*/ 14908430 w 22478203"/>
                <a:gd name="connsiteY10" fmla="*/ 11937487 h 15035524"/>
                <a:gd name="connsiteX11" fmla="*/ 14904684 w 22478203"/>
                <a:gd name="connsiteY11" fmla="*/ 12760926 h 15035524"/>
                <a:gd name="connsiteX12" fmla="*/ 14929927 w 22478203"/>
                <a:gd name="connsiteY12" fmla="*/ 14391846 h 15035524"/>
                <a:gd name="connsiteX13" fmla="*/ 12952786 w 22478203"/>
                <a:gd name="connsiteY13" fmla="*/ 14842599 h 15035524"/>
                <a:gd name="connsiteX14" fmla="*/ 11934663 w 22478203"/>
                <a:gd name="connsiteY14" fmla="*/ 14890849 h 15035524"/>
                <a:gd name="connsiteX15" fmla="*/ 8506848 w 22478203"/>
                <a:gd name="connsiteY15" fmla="*/ 15035524 h 15035524"/>
                <a:gd name="connsiteX16" fmla="*/ 7985095 w 22478203"/>
                <a:gd name="connsiteY16" fmla="*/ 14390442 h 15035524"/>
                <a:gd name="connsiteX17" fmla="*/ 7400308 w 22478203"/>
                <a:gd name="connsiteY17" fmla="*/ 14360297 h 15035524"/>
                <a:gd name="connsiteX18" fmla="*/ 6972273 w 22478203"/>
                <a:gd name="connsiteY18" fmla="*/ 14631594 h 15035524"/>
                <a:gd name="connsiteX19" fmla="*/ 5181729 w 22478203"/>
                <a:gd name="connsiteY19" fmla="*/ 14547195 h 15035524"/>
                <a:gd name="connsiteX20" fmla="*/ 4397998 w 22478203"/>
                <a:gd name="connsiteY20" fmla="*/ 13914178 h 15035524"/>
                <a:gd name="connsiteX21" fmla="*/ 2908896 w 22478203"/>
                <a:gd name="connsiteY21" fmla="*/ 13106324 h 15035524"/>
                <a:gd name="connsiteX22" fmla="*/ 1263043 w 22478203"/>
                <a:gd name="connsiteY22" fmla="*/ 12394931 h 15035524"/>
                <a:gd name="connsiteX23" fmla="*/ 485320 w 22478203"/>
                <a:gd name="connsiteY23" fmla="*/ 11942774 h 15035524"/>
                <a:gd name="connsiteX24" fmla="*/ 0 w 22478203"/>
                <a:gd name="connsiteY24" fmla="*/ 11649662 h 15035524"/>
                <a:gd name="connsiteX25" fmla="*/ 1003686 w 22478203"/>
                <a:gd name="connsiteY25" fmla="*/ 10903697 h 15035524"/>
                <a:gd name="connsiteX26" fmla="*/ 2902551 w 22478203"/>
                <a:gd name="connsiteY26" fmla="*/ 9719298 h 15035524"/>
                <a:gd name="connsiteX27" fmla="*/ 2558940 w 22478203"/>
                <a:gd name="connsiteY27" fmla="*/ 9185867 h 15035524"/>
                <a:gd name="connsiteX28" fmla="*/ 2402508 w 22478203"/>
                <a:gd name="connsiteY28" fmla="*/ 8498784 h 15035524"/>
                <a:gd name="connsiteX29" fmla="*/ 2730740 w 22478203"/>
                <a:gd name="connsiteY29" fmla="*/ 8471613 h 15035524"/>
                <a:gd name="connsiteX30" fmla="*/ 2947754 w 22478203"/>
                <a:gd name="connsiteY30" fmla="*/ 8001468 h 15035524"/>
                <a:gd name="connsiteX31" fmla="*/ 3499325 w 22478203"/>
                <a:gd name="connsiteY31" fmla="*/ 7558451 h 15035524"/>
                <a:gd name="connsiteX32" fmla="*/ 3680166 w 22478203"/>
                <a:gd name="connsiteY32" fmla="*/ 6681453 h 15035524"/>
                <a:gd name="connsiteX33" fmla="*/ 4186528 w 22478203"/>
                <a:gd name="connsiteY33" fmla="*/ 6690489 h 15035524"/>
                <a:gd name="connsiteX34" fmla="*/ 4837569 w 22478203"/>
                <a:gd name="connsiteY34" fmla="*/ 7160639 h 15035524"/>
                <a:gd name="connsiteX35" fmla="*/ 5352976 w 22478203"/>
                <a:gd name="connsiteY35" fmla="*/ 7079272 h 15035524"/>
                <a:gd name="connsiteX36" fmla="*/ 5741786 w 22478203"/>
                <a:gd name="connsiteY36" fmla="*/ 6708577 h 15035524"/>
                <a:gd name="connsiteX37" fmla="*/ 6157723 w 22478203"/>
                <a:gd name="connsiteY37" fmla="*/ 6545836 h 15035524"/>
                <a:gd name="connsiteX38" fmla="*/ 6745471 w 22478203"/>
                <a:gd name="connsiteY38" fmla="*/ 5976243 h 15035524"/>
                <a:gd name="connsiteX39" fmla="*/ 6890140 w 22478203"/>
                <a:gd name="connsiteY39" fmla="*/ 5126367 h 15035524"/>
                <a:gd name="connsiteX40" fmla="*/ 7568305 w 22478203"/>
                <a:gd name="connsiteY40" fmla="*/ 4556773 h 15035524"/>
                <a:gd name="connsiteX41" fmla="*/ 8137967 w 22478203"/>
                <a:gd name="connsiteY41" fmla="*/ 4113752 h 15035524"/>
                <a:gd name="connsiteX42" fmla="*/ 8463480 w 22478203"/>
                <a:gd name="connsiteY42" fmla="*/ 3309085 h 15035524"/>
                <a:gd name="connsiteX43" fmla="*/ 9024093 w 22478203"/>
                <a:gd name="connsiteY43" fmla="*/ 2956478 h 15035524"/>
                <a:gd name="connsiteX44" fmla="*/ 9675138 w 22478203"/>
                <a:gd name="connsiteY44" fmla="*/ 2603876 h 15035524"/>
                <a:gd name="connsiteX45" fmla="*/ 9558580 w 22478203"/>
                <a:gd name="connsiteY45" fmla="*/ 2055592 h 15035524"/>
                <a:gd name="connsiteX46" fmla="*/ 10353296 w 22478203"/>
                <a:gd name="connsiteY46" fmla="*/ 1383308 h 15035524"/>
                <a:gd name="connsiteX47" fmla="*/ 10832530 w 22478203"/>
                <a:gd name="connsiteY47" fmla="*/ 1310974 h 15035524"/>
                <a:gd name="connsiteX48" fmla="*/ 11058585 w 22478203"/>
                <a:gd name="connsiteY48" fmla="*/ 1763043 h 15035524"/>
                <a:gd name="connsiteX49" fmla="*/ 11411229 w 22478203"/>
                <a:gd name="connsiteY49" fmla="*/ 2142774 h 15035524"/>
                <a:gd name="connsiteX50" fmla="*/ 11998974 w 22478203"/>
                <a:gd name="connsiteY50" fmla="*/ 2224144 h 15035524"/>
                <a:gd name="connsiteX51" fmla="*/ 12315449 w 22478203"/>
                <a:gd name="connsiteY51" fmla="*/ 2884156 h 15035524"/>
                <a:gd name="connsiteX52" fmla="*/ 12785642 w 22478203"/>
                <a:gd name="connsiteY52" fmla="*/ 2703327 h 15035524"/>
                <a:gd name="connsiteX53" fmla="*/ 13671776 w 22478203"/>
                <a:gd name="connsiteY53" fmla="*/ 3155388 h 15035524"/>
                <a:gd name="connsiteX54" fmla="*/ 14123886 w 22478203"/>
                <a:gd name="connsiteY54" fmla="*/ 2857035 h 15035524"/>
                <a:gd name="connsiteX55" fmla="*/ 14259509 w 22478203"/>
                <a:gd name="connsiteY55" fmla="*/ 2287434 h 15035524"/>
                <a:gd name="connsiteX56" fmla="*/ 14892468 w 22478203"/>
                <a:gd name="connsiteY56" fmla="*/ 1645503 h 15035524"/>
                <a:gd name="connsiteX57" fmla="*/ 15778605 w 22478203"/>
                <a:gd name="connsiteY57" fmla="*/ 1093983 h 15035524"/>
                <a:gd name="connsiteX58" fmla="*/ 16022739 w 22478203"/>
                <a:gd name="connsiteY58" fmla="*/ 1564133 h 15035524"/>
                <a:gd name="connsiteX59" fmla="*/ 16556232 w 22478203"/>
                <a:gd name="connsiteY59" fmla="*/ 2142785 h 15035524"/>
                <a:gd name="connsiteX60" fmla="*/ 17406193 w 22478203"/>
                <a:gd name="connsiteY60" fmla="*/ 1292897 h 15035524"/>
                <a:gd name="connsiteX61" fmla="*/ 18120524 w 22478203"/>
                <a:gd name="connsiteY61" fmla="*/ 714260 h 15035524"/>
                <a:gd name="connsiteX62" fmla="*/ 18744437 w 22478203"/>
                <a:gd name="connsiteY62" fmla="*/ -1 h 15035524"/>
                <a:gd name="connsiteX63" fmla="*/ 19982300 w 22478203"/>
                <a:gd name="connsiteY63" fmla="*/ 343465 h 15035524"/>
                <a:gd name="connsiteX64" fmla="*/ 19837609 w 22478203"/>
                <a:gd name="connsiteY64" fmla="*/ 1121173 h 15035524"/>
                <a:gd name="connsiteX65" fmla="*/ 21881359 w 22478203"/>
                <a:gd name="connsiteY65" fmla="*/ 1772279 h 15035524"/>
                <a:gd name="connsiteX66" fmla="*/ 21537712 w 22478203"/>
                <a:gd name="connsiteY66" fmla="*/ 2767023 h 15035524"/>
                <a:gd name="connsiteX67" fmla="*/ 22478203 w 22478203"/>
                <a:gd name="connsiteY67" fmla="*/ 2296774 h 15035524"/>
                <a:gd name="connsiteX68" fmla="*/ 13387695 w 22478203"/>
                <a:gd name="connsiteY68" fmla="*/ 5998279 h 15035524"/>
                <a:gd name="connsiteX69" fmla="*/ 15323320 w 22478203"/>
                <a:gd name="connsiteY69" fmla="*/ 5928489 h 15035524"/>
                <a:gd name="connsiteX70" fmla="*/ 16350939 w 22478203"/>
                <a:gd name="connsiteY70" fmla="*/ 6053348 h 15035524"/>
                <a:gd name="connsiteX71" fmla="*/ 16362364 w 22478203"/>
                <a:gd name="connsiteY71" fmla="*/ 6360628 h 15035524"/>
                <a:gd name="connsiteX72" fmla="*/ 16682563 w 22478203"/>
                <a:gd name="connsiteY72" fmla="*/ 6798531 h 15035524"/>
                <a:gd name="connsiteX0" fmla="*/ 16682563 w 22478203"/>
                <a:gd name="connsiteY0" fmla="*/ 6798531 h 15035524"/>
                <a:gd name="connsiteX1" fmla="*/ 16432262 w 22478203"/>
                <a:gd name="connsiteY1" fmla="*/ 7825917 h 15035524"/>
                <a:gd name="connsiteX2" fmla="*/ 16106317 w 22478203"/>
                <a:gd name="connsiteY2" fmla="*/ 8367221 h 15035524"/>
                <a:gd name="connsiteX3" fmla="*/ 16305649 w 22478203"/>
                <a:gd name="connsiteY3" fmla="*/ 8754550 h 15035524"/>
                <a:gd name="connsiteX4" fmla="*/ 16287189 w 22478203"/>
                <a:gd name="connsiteY4" fmla="*/ 9151157 h 15035524"/>
                <a:gd name="connsiteX5" fmla="*/ 16372801 w 22478203"/>
                <a:gd name="connsiteY5" fmla="*/ 9717422 h 15035524"/>
                <a:gd name="connsiteX6" fmla="*/ 16070155 w 22478203"/>
                <a:gd name="connsiteY6" fmla="*/ 9937808 h 15035524"/>
                <a:gd name="connsiteX7" fmla="*/ 15805690 w 22478203"/>
                <a:gd name="connsiteY7" fmla="*/ 10431999 h 15035524"/>
                <a:gd name="connsiteX8" fmla="*/ 15195097 w 22478203"/>
                <a:gd name="connsiteY8" fmla="*/ 10093742 h 15035524"/>
                <a:gd name="connsiteX9" fmla="*/ 15011380 w 22478203"/>
                <a:gd name="connsiteY9" fmla="*/ 11048592 h 15035524"/>
                <a:gd name="connsiteX10" fmla="*/ 14908430 w 22478203"/>
                <a:gd name="connsiteY10" fmla="*/ 11937487 h 15035524"/>
                <a:gd name="connsiteX11" fmla="*/ 14904684 w 22478203"/>
                <a:gd name="connsiteY11" fmla="*/ 12760926 h 15035524"/>
                <a:gd name="connsiteX12" fmla="*/ 14929927 w 22478203"/>
                <a:gd name="connsiteY12" fmla="*/ 14391846 h 15035524"/>
                <a:gd name="connsiteX13" fmla="*/ 12952786 w 22478203"/>
                <a:gd name="connsiteY13" fmla="*/ 14842599 h 15035524"/>
                <a:gd name="connsiteX14" fmla="*/ 11934663 w 22478203"/>
                <a:gd name="connsiteY14" fmla="*/ 14890849 h 15035524"/>
                <a:gd name="connsiteX15" fmla="*/ 8506848 w 22478203"/>
                <a:gd name="connsiteY15" fmla="*/ 15035524 h 15035524"/>
                <a:gd name="connsiteX16" fmla="*/ 7985095 w 22478203"/>
                <a:gd name="connsiteY16" fmla="*/ 14390442 h 15035524"/>
                <a:gd name="connsiteX17" fmla="*/ 7400308 w 22478203"/>
                <a:gd name="connsiteY17" fmla="*/ 14360297 h 15035524"/>
                <a:gd name="connsiteX18" fmla="*/ 6972273 w 22478203"/>
                <a:gd name="connsiteY18" fmla="*/ 14631594 h 15035524"/>
                <a:gd name="connsiteX19" fmla="*/ 5181729 w 22478203"/>
                <a:gd name="connsiteY19" fmla="*/ 14547195 h 15035524"/>
                <a:gd name="connsiteX20" fmla="*/ 4397998 w 22478203"/>
                <a:gd name="connsiteY20" fmla="*/ 13914178 h 15035524"/>
                <a:gd name="connsiteX21" fmla="*/ 2908896 w 22478203"/>
                <a:gd name="connsiteY21" fmla="*/ 13106324 h 15035524"/>
                <a:gd name="connsiteX22" fmla="*/ 1263043 w 22478203"/>
                <a:gd name="connsiteY22" fmla="*/ 12394931 h 15035524"/>
                <a:gd name="connsiteX23" fmla="*/ 485320 w 22478203"/>
                <a:gd name="connsiteY23" fmla="*/ 11942774 h 15035524"/>
                <a:gd name="connsiteX24" fmla="*/ 0 w 22478203"/>
                <a:gd name="connsiteY24" fmla="*/ 11649662 h 15035524"/>
                <a:gd name="connsiteX25" fmla="*/ 1003686 w 22478203"/>
                <a:gd name="connsiteY25" fmla="*/ 10903697 h 15035524"/>
                <a:gd name="connsiteX26" fmla="*/ 2902551 w 22478203"/>
                <a:gd name="connsiteY26" fmla="*/ 9719298 h 15035524"/>
                <a:gd name="connsiteX27" fmla="*/ 2558940 w 22478203"/>
                <a:gd name="connsiteY27" fmla="*/ 9185867 h 15035524"/>
                <a:gd name="connsiteX28" fmla="*/ 2402508 w 22478203"/>
                <a:gd name="connsiteY28" fmla="*/ 8498784 h 15035524"/>
                <a:gd name="connsiteX29" fmla="*/ 2730740 w 22478203"/>
                <a:gd name="connsiteY29" fmla="*/ 8471613 h 15035524"/>
                <a:gd name="connsiteX30" fmla="*/ 2947754 w 22478203"/>
                <a:gd name="connsiteY30" fmla="*/ 8001468 h 15035524"/>
                <a:gd name="connsiteX31" fmla="*/ 3499325 w 22478203"/>
                <a:gd name="connsiteY31" fmla="*/ 7558451 h 15035524"/>
                <a:gd name="connsiteX32" fmla="*/ 3680166 w 22478203"/>
                <a:gd name="connsiteY32" fmla="*/ 6681453 h 15035524"/>
                <a:gd name="connsiteX33" fmla="*/ 4186528 w 22478203"/>
                <a:gd name="connsiteY33" fmla="*/ 6690489 h 15035524"/>
                <a:gd name="connsiteX34" fmla="*/ 4837569 w 22478203"/>
                <a:gd name="connsiteY34" fmla="*/ 7160639 h 15035524"/>
                <a:gd name="connsiteX35" fmla="*/ 5352976 w 22478203"/>
                <a:gd name="connsiteY35" fmla="*/ 7079272 h 15035524"/>
                <a:gd name="connsiteX36" fmla="*/ 5741786 w 22478203"/>
                <a:gd name="connsiteY36" fmla="*/ 6708577 h 15035524"/>
                <a:gd name="connsiteX37" fmla="*/ 6157723 w 22478203"/>
                <a:gd name="connsiteY37" fmla="*/ 6545836 h 15035524"/>
                <a:gd name="connsiteX38" fmla="*/ 6745471 w 22478203"/>
                <a:gd name="connsiteY38" fmla="*/ 5976243 h 15035524"/>
                <a:gd name="connsiteX39" fmla="*/ 6890140 w 22478203"/>
                <a:gd name="connsiteY39" fmla="*/ 5126367 h 15035524"/>
                <a:gd name="connsiteX40" fmla="*/ 7568305 w 22478203"/>
                <a:gd name="connsiteY40" fmla="*/ 4556773 h 15035524"/>
                <a:gd name="connsiteX41" fmla="*/ 8137967 w 22478203"/>
                <a:gd name="connsiteY41" fmla="*/ 4113752 h 15035524"/>
                <a:gd name="connsiteX42" fmla="*/ 8463480 w 22478203"/>
                <a:gd name="connsiteY42" fmla="*/ 3309085 h 15035524"/>
                <a:gd name="connsiteX43" fmla="*/ 9024093 w 22478203"/>
                <a:gd name="connsiteY43" fmla="*/ 2956478 h 15035524"/>
                <a:gd name="connsiteX44" fmla="*/ 9675138 w 22478203"/>
                <a:gd name="connsiteY44" fmla="*/ 2603876 h 15035524"/>
                <a:gd name="connsiteX45" fmla="*/ 9558580 w 22478203"/>
                <a:gd name="connsiteY45" fmla="*/ 2055592 h 15035524"/>
                <a:gd name="connsiteX46" fmla="*/ 10353296 w 22478203"/>
                <a:gd name="connsiteY46" fmla="*/ 1383308 h 15035524"/>
                <a:gd name="connsiteX47" fmla="*/ 10832530 w 22478203"/>
                <a:gd name="connsiteY47" fmla="*/ 1310974 h 15035524"/>
                <a:gd name="connsiteX48" fmla="*/ 11058585 w 22478203"/>
                <a:gd name="connsiteY48" fmla="*/ 1763043 h 15035524"/>
                <a:gd name="connsiteX49" fmla="*/ 11411229 w 22478203"/>
                <a:gd name="connsiteY49" fmla="*/ 2142774 h 15035524"/>
                <a:gd name="connsiteX50" fmla="*/ 11998974 w 22478203"/>
                <a:gd name="connsiteY50" fmla="*/ 2224144 h 15035524"/>
                <a:gd name="connsiteX51" fmla="*/ 12315449 w 22478203"/>
                <a:gd name="connsiteY51" fmla="*/ 2884156 h 15035524"/>
                <a:gd name="connsiteX52" fmla="*/ 12785642 w 22478203"/>
                <a:gd name="connsiteY52" fmla="*/ 2703327 h 15035524"/>
                <a:gd name="connsiteX53" fmla="*/ 13671776 w 22478203"/>
                <a:gd name="connsiteY53" fmla="*/ 3155388 h 15035524"/>
                <a:gd name="connsiteX54" fmla="*/ 14123886 w 22478203"/>
                <a:gd name="connsiteY54" fmla="*/ 2857035 h 15035524"/>
                <a:gd name="connsiteX55" fmla="*/ 14259509 w 22478203"/>
                <a:gd name="connsiteY55" fmla="*/ 2287434 h 15035524"/>
                <a:gd name="connsiteX56" fmla="*/ 14892468 w 22478203"/>
                <a:gd name="connsiteY56" fmla="*/ 1645503 h 15035524"/>
                <a:gd name="connsiteX57" fmla="*/ 15778605 w 22478203"/>
                <a:gd name="connsiteY57" fmla="*/ 1093983 h 15035524"/>
                <a:gd name="connsiteX58" fmla="*/ 16022739 w 22478203"/>
                <a:gd name="connsiteY58" fmla="*/ 1564133 h 15035524"/>
                <a:gd name="connsiteX59" fmla="*/ 16556232 w 22478203"/>
                <a:gd name="connsiteY59" fmla="*/ 2142785 h 15035524"/>
                <a:gd name="connsiteX60" fmla="*/ 17406193 w 22478203"/>
                <a:gd name="connsiteY60" fmla="*/ 1292897 h 15035524"/>
                <a:gd name="connsiteX61" fmla="*/ 18120524 w 22478203"/>
                <a:gd name="connsiteY61" fmla="*/ 714260 h 15035524"/>
                <a:gd name="connsiteX62" fmla="*/ 18744437 w 22478203"/>
                <a:gd name="connsiteY62" fmla="*/ -1 h 15035524"/>
                <a:gd name="connsiteX63" fmla="*/ 19982300 w 22478203"/>
                <a:gd name="connsiteY63" fmla="*/ 343465 h 15035524"/>
                <a:gd name="connsiteX64" fmla="*/ 19837609 w 22478203"/>
                <a:gd name="connsiteY64" fmla="*/ 1121173 h 15035524"/>
                <a:gd name="connsiteX65" fmla="*/ 21881359 w 22478203"/>
                <a:gd name="connsiteY65" fmla="*/ 1772279 h 15035524"/>
                <a:gd name="connsiteX66" fmla="*/ 21537712 w 22478203"/>
                <a:gd name="connsiteY66" fmla="*/ 2767023 h 15035524"/>
                <a:gd name="connsiteX67" fmla="*/ 22478203 w 22478203"/>
                <a:gd name="connsiteY67" fmla="*/ 2296774 h 15035524"/>
                <a:gd name="connsiteX68" fmla="*/ 14370431 w 22478203"/>
                <a:gd name="connsiteY68" fmla="*/ 5830216 h 15035524"/>
                <a:gd name="connsiteX69" fmla="*/ 15323320 w 22478203"/>
                <a:gd name="connsiteY69" fmla="*/ 5928489 h 15035524"/>
                <a:gd name="connsiteX70" fmla="*/ 16350939 w 22478203"/>
                <a:gd name="connsiteY70" fmla="*/ 6053348 h 15035524"/>
                <a:gd name="connsiteX71" fmla="*/ 16362364 w 22478203"/>
                <a:gd name="connsiteY71" fmla="*/ 6360628 h 15035524"/>
                <a:gd name="connsiteX72" fmla="*/ 16682563 w 22478203"/>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21537712 w 21881361"/>
                <a:gd name="connsiteY66" fmla="*/ 2767023 h 15035524"/>
                <a:gd name="connsiteX67" fmla="*/ 15879834 w 21881361"/>
                <a:gd name="connsiteY67" fmla="*/ 3669271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21537712 w 21881361"/>
                <a:gd name="connsiteY66" fmla="*/ 2767023 h 15035524"/>
                <a:gd name="connsiteX67" fmla="*/ 12791242 w 21881361"/>
                <a:gd name="connsiteY67" fmla="*/ 4145446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21537712 w 21881361"/>
                <a:gd name="connsiteY66" fmla="*/ 2767023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9351795 w 21881361"/>
                <a:gd name="connsiteY66" fmla="*/ 5483998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8537524 w 21881361"/>
                <a:gd name="connsiteY66" fmla="*/ 7052559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8481365 w 21881361"/>
                <a:gd name="connsiteY66" fmla="*/ 9209329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13844296 w 21881361"/>
                <a:gd name="connsiteY66" fmla="*/ 6156232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9583129 w 19982300"/>
                <a:gd name="connsiteY65" fmla="*/ 5329554 h 15035524"/>
                <a:gd name="connsiteX66" fmla="*/ 13844296 w 19982300"/>
                <a:gd name="connsiteY66" fmla="*/ 6156232 h 15035524"/>
                <a:gd name="connsiteX67" fmla="*/ 14195152 w 19982300"/>
                <a:gd name="connsiteY67" fmla="*/ 5489927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0818567 w 19982300"/>
                <a:gd name="connsiteY65" fmla="*/ 7094187 h 15035524"/>
                <a:gd name="connsiteX66" fmla="*/ 13844296 w 19982300"/>
                <a:gd name="connsiteY66" fmla="*/ 6156232 h 15035524"/>
                <a:gd name="connsiteX67" fmla="*/ 14195152 w 19982300"/>
                <a:gd name="connsiteY67" fmla="*/ 5489927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0818567 w 19982300"/>
                <a:gd name="connsiteY65" fmla="*/ 709418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0902797 w 19982300"/>
                <a:gd name="connsiteY65" fmla="*/ 8634739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1717061 w 19982300"/>
                <a:gd name="connsiteY65" fmla="*/ 9643106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2531332 w 19982300"/>
                <a:gd name="connsiteY65" fmla="*/ 10399372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1239741 w 19982300"/>
                <a:gd name="connsiteY65" fmla="*/ 10035244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0537783 w 19982300"/>
                <a:gd name="connsiteY65" fmla="*/ 9419026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9358504 w 19982300"/>
                <a:gd name="connsiteY65" fmla="*/ 12556148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5820656 w 19982300"/>
                <a:gd name="connsiteY65" fmla="*/ 12276045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2868275 w 19982300"/>
                <a:gd name="connsiteY65" fmla="*/ 675806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9926023 w 19982300"/>
                <a:gd name="connsiteY64" fmla="*/ 5238645 h 15035524"/>
                <a:gd name="connsiteX65" fmla="*/ 12868275 w 19982300"/>
                <a:gd name="connsiteY65" fmla="*/ 675806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8353647 w 19982300"/>
                <a:gd name="connsiteY64" fmla="*/ 9412143 h 15035524"/>
                <a:gd name="connsiteX65" fmla="*/ 12868275 w 19982300"/>
                <a:gd name="connsiteY65" fmla="*/ 675806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1919572 w 19982300"/>
                <a:gd name="connsiteY64" fmla="*/ 7003278 h 15035524"/>
                <a:gd name="connsiteX65" fmla="*/ 12868275 w 19982300"/>
                <a:gd name="connsiteY65" fmla="*/ 675806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8744436"/>
                <a:gd name="connsiteY0" fmla="*/ 6798531 h 15035524"/>
                <a:gd name="connsiteX1" fmla="*/ 16432262 w 18744436"/>
                <a:gd name="connsiteY1" fmla="*/ 7825917 h 15035524"/>
                <a:gd name="connsiteX2" fmla="*/ 16106317 w 18744436"/>
                <a:gd name="connsiteY2" fmla="*/ 8367221 h 15035524"/>
                <a:gd name="connsiteX3" fmla="*/ 16305649 w 18744436"/>
                <a:gd name="connsiteY3" fmla="*/ 8754550 h 15035524"/>
                <a:gd name="connsiteX4" fmla="*/ 16287189 w 18744436"/>
                <a:gd name="connsiteY4" fmla="*/ 9151157 h 15035524"/>
                <a:gd name="connsiteX5" fmla="*/ 16372801 w 18744436"/>
                <a:gd name="connsiteY5" fmla="*/ 9717422 h 15035524"/>
                <a:gd name="connsiteX6" fmla="*/ 16070155 w 18744436"/>
                <a:gd name="connsiteY6" fmla="*/ 9937808 h 15035524"/>
                <a:gd name="connsiteX7" fmla="*/ 15805690 w 18744436"/>
                <a:gd name="connsiteY7" fmla="*/ 10431999 h 15035524"/>
                <a:gd name="connsiteX8" fmla="*/ 15195097 w 18744436"/>
                <a:gd name="connsiteY8" fmla="*/ 10093742 h 15035524"/>
                <a:gd name="connsiteX9" fmla="*/ 15011380 w 18744436"/>
                <a:gd name="connsiteY9" fmla="*/ 11048592 h 15035524"/>
                <a:gd name="connsiteX10" fmla="*/ 14908430 w 18744436"/>
                <a:gd name="connsiteY10" fmla="*/ 11937487 h 15035524"/>
                <a:gd name="connsiteX11" fmla="*/ 14904684 w 18744436"/>
                <a:gd name="connsiteY11" fmla="*/ 12760926 h 15035524"/>
                <a:gd name="connsiteX12" fmla="*/ 14929927 w 18744436"/>
                <a:gd name="connsiteY12" fmla="*/ 14391846 h 15035524"/>
                <a:gd name="connsiteX13" fmla="*/ 12952786 w 18744436"/>
                <a:gd name="connsiteY13" fmla="*/ 14842599 h 15035524"/>
                <a:gd name="connsiteX14" fmla="*/ 11934663 w 18744436"/>
                <a:gd name="connsiteY14" fmla="*/ 14890849 h 15035524"/>
                <a:gd name="connsiteX15" fmla="*/ 8506848 w 18744436"/>
                <a:gd name="connsiteY15" fmla="*/ 15035524 h 15035524"/>
                <a:gd name="connsiteX16" fmla="*/ 7985095 w 18744436"/>
                <a:gd name="connsiteY16" fmla="*/ 14390442 h 15035524"/>
                <a:gd name="connsiteX17" fmla="*/ 7400308 w 18744436"/>
                <a:gd name="connsiteY17" fmla="*/ 14360297 h 15035524"/>
                <a:gd name="connsiteX18" fmla="*/ 6972273 w 18744436"/>
                <a:gd name="connsiteY18" fmla="*/ 14631594 h 15035524"/>
                <a:gd name="connsiteX19" fmla="*/ 5181729 w 18744436"/>
                <a:gd name="connsiteY19" fmla="*/ 14547195 h 15035524"/>
                <a:gd name="connsiteX20" fmla="*/ 4397998 w 18744436"/>
                <a:gd name="connsiteY20" fmla="*/ 13914178 h 15035524"/>
                <a:gd name="connsiteX21" fmla="*/ 2908896 w 18744436"/>
                <a:gd name="connsiteY21" fmla="*/ 13106324 h 15035524"/>
                <a:gd name="connsiteX22" fmla="*/ 1263043 w 18744436"/>
                <a:gd name="connsiteY22" fmla="*/ 12394931 h 15035524"/>
                <a:gd name="connsiteX23" fmla="*/ 485320 w 18744436"/>
                <a:gd name="connsiteY23" fmla="*/ 11942774 h 15035524"/>
                <a:gd name="connsiteX24" fmla="*/ 0 w 18744436"/>
                <a:gd name="connsiteY24" fmla="*/ 11649662 h 15035524"/>
                <a:gd name="connsiteX25" fmla="*/ 1003686 w 18744436"/>
                <a:gd name="connsiteY25" fmla="*/ 10903697 h 15035524"/>
                <a:gd name="connsiteX26" fmla="*/ 2902551 w 18744436"/>
                <a:gd name="connsiteY26" fmla="*/ 9719298 h 15035524"/>
                <a:gd name="connsiteX27" fmla="*/ 2558940 w 18744436"/>
                <a:gd name="connsiteY27" fmla="*/ 9185867 h 15035524"/>
                <a:gd name="connsiteX28" fmla="*/ 2402508 w 18744436"/>
                <a:gd name="connsiteY28" fmla="*/ 8498784 h 15035524"/>
                <a:gd name="connsiteX29" fmla="*/ 2730740 w 18744436"/>
                <a:gd name="connsiteY29" fmla="*/ 8471613 h 15035524"/>
                <a:gd name="connsiteX30" fmla="*/ 2947754 w 18744436"/>
                <a:gd name="connsiteY30" fmla="*/ 8001468 h 15035524"/>
                <a:gd name="connsiteX31" fmla="*/ 3499325 w 18744436"/>
                <a:gd name="connsiteY31" fmla="*/ 7558451 h 15035524"/>
                <a:gd name="connsiteX32" fmla="*/ 3680166 w 18744436"/>
                <a:gd name="connsiteY32" fmla="*/ 6681453 h 15035524"/>
                <a:gd name="connsiteX33" fmla="*/ 4186528 w 18744436"/>
                <a:gd name="connsiteY33" fmla="*/ 6690489 h 15035524"/>
                <a:gd name="connsiteX34" fmla="*/ 4837569 w 18744436"/>
                <a:gd name="connsiteY34" fmla="*/ 7160639 h 15035524"/>
                <a:gd name="connsiteX35" fmla="*/ 5352976 w 18744436"/>
                <a:gd name="connsiteY35" fmla="*/ 7079272 h 15035524"/>
                <a:gd name="connsiteX36" fmla="*/ 5741786 w 18744436"/>
                <a:gd name="connsiteY36" fmla="*/ 6708577 h 15035524"/>
                <a:gd name="connsiteX37" fmla="*/ 6157723 w 18744436"/>
                <a:gd name="connsiteY37" fmla="*/ 6545836 h 15035524"/>
                <a:gd name="connsiteX38" fmla="*/ 6745471 w 18744436"/>
                <a:gd name="connsiteY38" fmla="*/ 5976243 h 15035524"/>
                <a:gd name="connsiteX39" fmla="*/ 6890140 w 18744436"/>
                <a:gd name="connsiteY39" fmla="*/ 5126367 h 15035524"/>
                <a:gd name="connsiteX40" fmla="*/ 7568305 w 18744436"/>
                <a:gd name="connsiteY40" fmla="*/ 4556773 h 15035524"/>
                <a:gd name="connsiteX41" fmla="*/ 8137967 w 18744436"/>
                <a:gd name="connsiteY41" fmla="*/ 4113752 h 15035524"/>
                <a:gd name="connsiteX42" fmla="*/ 8463480 w 18744436"/>
                <a:gd name="connsiteY42" fmla="*/ 3309085 h 15035524"/>
                <a:gd name="connsiteX43" fmla="*/ 9024093 w 18744436"/>
                <a:gd name="connsiteY43" fmla="*/ 2956478 h 15035524"/>
                <a:gd name="connsiteX44" fmla="*/ 9675138 w 18744436"/>
                <a:gd name="connsiteY44" fmla="*/ 2603876 h 15035524"/>
                <a:gd name="connsiteX45" fmla="*/ 9558580 w 18744436"/>
                <a:gd name="connsiteY45" fmla="*/ 2055592 h 15035524"/>
                <a:gd name="connsiteX46" fmla="*/ 10353296 w 18744436"/>
                <a:gd name="connsiteY46" fmla="*/ 1383308 h 15035524"/>
                <a:gd name="connsiteX47" fmla="*/ 10832530 w 18744436"/>
                <a:gd name="connsiteY47" fmla="*/ 1310974 h 15035524"/>
                <a:gd name="connsiteX48" fmla="*/ 11058585 w 18744436"/>
                <a:gd name="connsiteY48" fmla="*/ 1763043 h 15035524"/>
                <a:gd name="connsiteX49" fmla="*/ 11411229 w 18744436"/>
                <a:gd name="connsiteY49" fmla="*/ 2142774 h 15035524"/>
                <a:gd name="connsiteX50" fmla="*/ 11998974 w 18744436"/>
                <a:gd name="connsiteY50" fmla="*/ 2224144 h 15035524"/>
                <a:gd name="connsiteX51" fmla="*/ 12315449 w 18744436"/>
                <a:gd name="connsiteY51" fmla="*/ 2884156 h 15035524"/>
                <a:gd name="connsiteX52" fmla="*/ 12785642 w 18744436"/>
                <a:gd name="connsiteY52" fmla="*/ 2703327 h 15035524"/>
                <a:gd name="connsiteX53" fmla="*/ 13671776 w 18744436"/>
                <a:gd name="connsiteY53" fmla="*/ 3155388 h 15035524"/>
                <a:gd name="connsiteX54" fmla="*/ 14123886 w 18744436"/>
                <a:gd name="connsiteY54" fmla="*/ 2857035 h 15035524"/>
                <a:gd name="connsiteX55" fmla="*/ 14259509 w 18744436"/>
                <a:gd name="connsiteY55" fmla="*/ 2287434 h 15035524"/>
                <a:gd name="connsiteX56" fmla="*/ 14892468 w 18744436"/>
                <a:gd name="connsiteY56" fmla="*/ 1645503 h 15035524"/>
                <a:gd name="connsiteX57" fmla="*/ 15778605 w 18744436"/>
                <a:gd name="connsiteY57" fmla="*/ 1093983 h 15035524"/>
                <a:gd name="connsiteX58" fmla="*/ 16022739 w 18744436"/>
                <a:gd name="connsiteY58" fmla="*/ 1564133 h 15035524"/>
                <a:gd name="connsiteX59" fmla="*/ 16556232 w 18744436"/>
                <a:gd name="connsiteY59" fmla="*/ 2142785 h 15035524"/>
                <a:gd name="connsiteX60" fmla="*/ 17406193 w 18744436"/>
                <a:gd name="connsiteY60" fmla="*/ 1292897 h 15035524"/>
                <a:gd name="connsiteX61" fmla="*/ 18120524 w 18744436"/>
                <a:gd name="connsiteY61" fmla="*/ 714260 h 15035524"/>
                <a:gd name="connsiteX62" fmla="*/ 18744437 w 18744436"/>
                <a:gd name="connsiteY62" fmla="*/ -1 h 15035524"/>
                <a:gd name="connsiteX63" fmla="*/ 3500421 w 18744436"/>
                <a:gd name="connsiteY63" fmla="*/ 4096811 h 15035524"/>
                <a:gd name="connsiteX64" fmla="*/ 11919572 w 18744436"/>
                <a:gd name="connsiteY64" fmla="*/ 7003278 h 15035524"/>
                <a:gd name="connsiteX65" fmla="*/ 12868275 w 18744436"/>
                <a:gd name="connsiteY65" fmla="*/ 6758067 h 15035524"/>
                <a:gd name="connsiteX66" fmla="*/ 13844296 w 18744436"/>
                <a:gd name="connsiteY66" fmla="*/ 6156232 h 15035524"/>
                <a:gd name="connsiteX67" fmla="*/ 13886291 w 18744436"/>
                <a:gd name="connsiteY67" fmla="*/ 5321864 h 15035524"/>
                <a:gd name="connsiteX68" fmla="*/ 14370431 w 18744436"/>
                <a:gd name="connsiteY68" fmla="*/ 5830216 h 15035524"/>
                <a:gd name="connsiteX69" fmla="*/ 15323320 w 18744436"/>
                <a:gd name="connsiteY69" fmla="*/ 5928489 h 15035524"/>
                <a:gd name="connsiteX70" fmla="*/ 16350939 w 18744436"/>
                <a:gd name="connsiteY70" fmla="*/ 6053348 h 15035524"/>
                <a:gd name="connsiteX71" fmla="*/ 16362364 w 18744436"/>
                <a:gd name="connsiteY71" fmla="*/ 6360628 h 15035524"/>
                <a:gd name="connsiteX72" fmla="*/ 16682563 w 18744436"/>
                <a:gd name="connsiteY72" fmla="*/ 6798531 h 15035524"/>
                <a:gd name="connsiteX0" fmla="*/ 16682563 w 18744436"/>
                <a:gd name="connsiteY0" fmla="*/ 6798531 h 15035524"/>
                <a:gd name="connsiteX1" fmla="*/ 16432262 w 18744436"/>
                <a:gd name="connsiteY1" fmla="*/ 7825917 h 15035524"/>
                <a:gd name="connsiteX2" fmla="*/ 16106317 w 18744436"/>
                <a:gd name="connsiteY2" fmla="*/ 8367221 h 15035524"/>
                <a:gd name="connsiteX3" fmla="*/ 16305649 w 18744436"/>
                <a:gd name="connsiteY3" fmla="*/ 8754550 h 15035524"/>
                <a:gd name="connsiteX4" fmla="*/ 16287189 w 18744436"/>
                <a:gd name="connsiteY4" fmla="*/ 9151157 h 15035524"/>
                <a:gd name="connsiteX5" fmla="*/ 16372801 w 18744436"/>
                <a:gd name="connsiteY5" fmla="*/ 9717422 h 15035524"/>
                <a:gd name="connsiteX6" fmla="*/ 16070155 w 18744436"/>
                <a:gd name="connsiteY6" fmla="*/ 9937808 h 15035524"/>
                <a:gd name="connsiteX7" fmla="*/ 15805690 w 18744436"/>
                <a:gd name="connsiteY7" fmla="*/ 10431999 h 15035524"/>
                <a:gd name="connsiteX8" fmla="*/ 15195097 w 18744436"/>
                <a:gd name="connsiteY8" fmla="*/ 10093742 h 15035524"/>
                <a:gd name="connsiteX9" fmla="*/ 15011380 w 18744436"/>
                <a:gd name="connsiteY9" fmla="*/ 11048592 h 15035524"/>
                <a:gd name="connsiteX10" fmla="*/ 14908430 w 18744436"/>
                <a:gd name="connsiteY10" fmla="*/ 11937487 h 15035524"/>
                <a:gd name="connsiteX11" fmla="*/ 14904684 w 18744436"/>
                <a:gd name="connsiteY11" fmla="*/ 12760926 h 15035524"/>
                <a:gd name="connsiteX12" fmla="*/ 14929927 w 18744436"/>
                <a:gd name="connsiteY12" fmla="*/ 14391846 h 15035524"/>
                <a:gd name="connsiteX13" fmla="*/ 12952786 w 18744436"/>
                <a:gd name="connsiteY13" fmla="*/ 14842599 h 15035524"/>
                <a:gd name="connsiteX14" fmla="*/ 11934663 w 18744436"/>
                <a:gd name="connsiteY14" fmla="*/ 14890849 h 15035524"/>
                <a:gd name="connsiteX15" fmla="*/ 8506848 w 18744436"/>
                <a:gd name="connsiteY15" fmla="*/ 15035524 h 15035524"/>
                <a:gd name="connsiteX16" fmla="*/ 7985095 w 18744436"/>
                <a:gd name="connsiteY16" fmla="*/ 14390442 h 15035524"/>
                <a:gd name="connsiteX17" fmla="*/ 7400308 w 18744436"/>
                <a:gd name="connsiteY17" fmla="*/ 14360297 h 15035524"/>
                <a:gd name="connsiteX18" fmla="*/ 6972273 w 18744436"/>
                <a:gd name="connsiteY18" fmla="*/ 14631594 h 15035524"/>
                <a:gd name="connsiteX19" fmla="*/ 5181729 w 18744436"/>
                <a:gd name="connsiteY19" fmla="*/ 14547195 h 15035524"/>
                <a:gd name="connsiteX20" fmla="*/ 4397998 w 18744436"/>
                <a:gd name="connsiteY20" fmla="*/ 13914178 h 15035524"/>
                <a:gd name="connsiteX21" fmla="*/ 2908896 w 18744436"/>
                <a:gd name="connsiteY21" fmla="*/ 13106324 h 15035524"/>
                <a:gd name="connsiteX22" fmla="*/ 1263043 w 18744436"/>
                <a:gd name="connsiteY22" fmla="*/ 12394931 h 15035524"/>
                <a:gd name="connsiteX23" fmla="*/ 485320 w 18744436"/>
                <a:gd name="connsiteY23" fmla="*/ 11942774 h 15035524"/>
                <a:gd name="connsiteX24" fmla="*/ 0 w 18744436"/>
                <a:gd name="connsiteY24" fmla="*/ 11649662 h 15035524"/>
                <a:gd name="connsiteX25" fmla="*/ 1003686 w 18744436"/>
                <a:gd name="connsiteY25" fmla="*/ 10903697 h 15035524"/>
                <a:gd name="connsiteX26" fmla="*/ 2902551 w 18744436"/>
                <a:gd name="connsiteY26" fmla="*/ 9719298 h 15035524"/>
                <a:gd name="connsiteX27" fmla="*/ 2558940 w 18744436"/>
                <a:gd name="connsiteY27" fmla="*/ 9185867 h 15035524"/>
                <a:gd name="connsiteX28" fmla="*/ 2402508 w 18744436"/>
                <a:gd name="connsiteY28" fmla="*/ 8498784 h 15035524"/>
                <a:gd name="connsiteX29" fmla="*/ 2730740 w 18744436"/>
                <a:gd name="connsiteY29" fmla="*/ 8471613 h 15035524"/>
                <a:gd name="connsiteX30" fmla="*/ 2947754 w 18744436"/>
                <a:gd name="connsiteY30" fmla="*/ 8001468 h 15035524"/>
                <a:gd name="connsiteX31" fmla="*/ 3499325 w 18744436"/>
                <a:gd name="connsiteY31" fmla="*/ 7558451 h 15035524"/>
                <a:gd name="connsiteX32" fmla="*/ 3680166 w 18744436"/>
                <a:gd name="connsiteY32" fmla="*/ 6681453 h 15035524"/>
                <a:gd name="connsiteX33" fmla="*/ 4186528 w 18744436"/>
                <a:gd name="connsiteY33" fmla="*/ 6690489 h 15035524"/>
                <a:gd name="connsiteX34" fmla="*/ 4837569 w 18744436"/>
                <a:gd name="connsiteY34" fmla="*/ 7160639 h 15035524"/>
                <a:gd name="connsiteX35" fmla="*/ 5352976 w 18744436"/>
                <a:gd name="connsiteY35" fmla="*/ 7079272 h 15035524"/>
                <a:gd name="connsiteX36" fmla="*/ 5741786 w 18744436"/>
                <a:gd name="connsiteY36" fmla="*/ 6708577 h 15035524"/>
                <a:gd name="connsiteX37" fmla="*/ 6157723 w 18744436"/>
                <a:gd name="connsiteY37" fmla="*/ 6545836 h 15035524"/>
                <a:gd name="connsiteX38" fmla="*/ 6745471 w 18744436"/>
                <a:gd name="connsiteY38" fmla="*/ 5976243 h 15035524"/>
                <a:gd name="connsiteX39" fmla="*/ 6890140 w 18744436"/>
                <a:gd name="connsiteY39" fmla="*/ 5126367 h 15035524"/>
                <a:gd name="connsiteX40" fmla="*/ 7568305 w 18744436"/>
                <a:gd name="connsiteY40" fmla="*/ 4556773 h 15035524"/>
                <a:gd name="connsiteX41" fmla="*/ 8137967 w 18744436"/>
                <a:gd name="connsiteY41" fmla="*/ 4113752 h 15035524"/>
                <a:gd name="connsiteX42" fmla="*/ 8463480 w 18744436"/>
                <a:gd name="connsiteY42" fmla="*/ 3309085 h 15035524"/>
                <a:gd name="connsiteX43" fmla="*/ 9024093 w 18744436"/>
                <a:gd name="connsiteY43" fmla="*/ 2956478 h 15035524"/>
                <a:gd name="connsiteX44" fmla="*/ 9675138 w 18744436"/>
                <a:gd name="connsiteY44" fmla="*/ 2603876 h 15035524"/>
                <a:gd name="connsiteX45" fmla="*/ 9558580 w 18744436"/>
                <a:gd name="connsiteY45" fmla="*/ 2055592 h 15035524"/>
                <a:gd name="connsiteX46" fmla="*/ 10353296 w 18744436"/>
                <a:gd name="connsiteY46" fmla="*/ 1383308 h 15035524"/>
                <a:gd name="connsiteX47" fmla="*/ 10832530 w 18744436"/>
                <a:gd name="connsiteY47" fmla="*/ 1310974 h 15035524"/>
                <a:gd name="connsiteX48" fmla="*/ 11058585 w 18744436"/>
                <a:gd name="connsiteY48" fmla="*/ 1763043 h 15035524"/>
                <a:gd name="connsiteX49" fmla="*/ 11411229 w 18744436"/>
                <a:gd name="connsiteY49" fmla="*/ 2142774 h 15035524"/>
                <a:gd name="connsiteX50" fmla="*/ 11998974 w 18744436"/>
                <a:gd name="connsiteY50" fmla="*/ 2224144 h 15035524"/>
                <a:gd name="connsiteX51" fmla="*/ 12315449 w 18744436"/>
                <a:gd name="connsiteY51" fmla="*/ 2884156 h 15035524"/>
                <a:gd name="connsiteX52" fmla="*/ 12785642 w 18744436"/>
                <a:gd name="connsiteY52" fmla="*/ 2703327 h 15035524"/>
                <a:gd name="connsiteX53" fmla="*/ 13671776 w 18744436"/>
                <a:gd name="connsiteY53" fmla="*/ 3155388 h 15035524"/>
                <a:gd name="connsiteX54" fmla="*/ 14123886 w 18744436"/>
                <a:gd name="connsiteY54" fmla="*/ 2857035 h 15035524"/>
                <a:gd name="connsiteX55" fmla="*/ 14259509 w 18744436"/>
                <a:gd name="connsiteY55" fmla="*/ 2287434 h 15035524"/>
                <a:gd name="connsiteX56" fmla="*/ 14892468 w 18744436"/>
                <a:gd name="connsiteY56" fmla="*/ 1645503 h 15035524"/>
                <a:gd name="connsiteX57" fmla="*/ 15778605 w 18744436"/>
                <a:gd name="connsiteY57" fmla="*/ 1093983 h 15035524"/>
                <a:gd name="connsiteX58" fmla="*/ 16022739 w 18744436"/>
                <a:gd name="connsiteY58" fmla="*/ 1564133 h 15035524"/>
                <a:gd name="connsiteX59" fmla="*/ 16556232 w 18744436"/>
                <a:gd name="connsiteY59" fmla="*/ 2142785 h 15035524"/>
                <a:gd name="connsiteX60" fmla="*/ 17406193 w 18744436"/>
                <a:gd name="connsiteY60" fmla="*/ 1292897 h 15035524"/>
                <a:gd name="connsiteX61" fmla="*/ 18120524 w 18744436"/>
                <a:gd name="connsiteY61" fmla="*/ 714260 h 15035524"/>
                <a:gd name="connsiteX62" fmla="*/ 18744437 w 18744436"/>
                <a:gd name="connsiteY62" fmla="*/ -1 h 15035524"/>
                <a:gd name="connsiteX63" fmla="*/ 496059 w 18744436"/>
                <a:gd name="connsiteY63" fmla="*/ 6029507 h 15035524"/>
                <a:gd name="connsiteX64" fmla="*/ 11919572 w 18744436"/>
                <a:gd name="connsiteY64" fmla="*/ 7003278 h 15035524"/>
                <a:gd name="connsiteX65" fmla="*/ 12868275 w 18744436"/>
                <a:gd name="connsiteY65" fmla="*/ 6758067 h 15035524"/>
                <a:gd name="connsiteX66" fmla="*/ 13844296 w 18744436"/>
                <a:gd name="connsiteY66" fmla="*/ 6156232 h 15035524"/>
                <a:gd name="connsiteX67" fmla="*/ 13886291 w 18744436"/>
                <a:gd name="connsiteY67" fmla="*/ 5321864 h 15035524"/>
                <a:gd name="connsiteX68" fmla="*/ 14370431 w 18744436"/>
                <a:gd name="connsiteY68" fmla="*/ 5830216 h 15035524"/>
                <a:gd name="connsiteX69" fmla="*/ 15323320 w 18744436"/>
                <a:gd name="connsiteY69" fmla="*/ 5928489 h 15035524"/>
                <a:gd name="connsiteX70" fmla="*/ 16350939 w 18744436"/>
                <a:gd name="connsiteY70" fmla="*/ 6053348 h 15035524"/>
                <a:gd name="connsiteX71" fmla="*/ 16362364 w 18744436"/>
                <a:gd name="connsiteY71" fmla="*/ 6360628 h 15035524"/>
                <a:gd name="connsiteX72" fmla="*/ 16682563 w 18744436"/>
                <a:gd name="connsiteY72" fmla="*/ 6798531 h 15035524"/>
                <a:gd name="connsiteX0" fmla="*/ 16682563 w 18744436"/>
                <a:gd name="connsiteY0" fmla="*/ 6798531 h 15035524"/>
                <a:gd name="connsiteX1" fmla="*/ 16432262 w 18744436"/>
                <a:gd name="connsiteY1" fmla="*/ 7825917 h 15035524"/>
                <a:gd name="connsiteX2" fmla="*/ 16106317 w 18744436"/>
                <a:gd name="connsiteY2" fmla="*/ 8367221 h 15035524"/>
                <a:gd name="connsiteX3" fmla="*/ 16305649 w 18744436"/>
                <a:gd name="connsiteY3" fmla="*/ 8754550 h 15035524"/>
                <a:gd name="connsiteX4" fmla="*/ 16287189 w 18744436"/>
                <a:gd name="connsiteY4" fmla="*/ 9151157 h 15035524"/>
                <a:gd name="connsiteX5" fmla="*/ 16372801 w 18744436"/>
                <a:gd name="connsiteY5" fmla="*/ 9717422 h 15035524"/>
                <a:gd name="connsiteX6" fmla="*/ 16070155 w 18744436"/>
                <a:gd name="connsiteY6" fmla="*/ 9937808 h 15035524"/>
                <a:gd name="connsiteX7" fmla="*/ 15805690 w 18744436"/>
                <a:gd name="connsiteY7" fmla="*/ 10431999 h 15035524"/>
                <a:gd name="connsiteX8" fmla="*/ 15195097 w 18744436"/>
                <a:gd name="connsiteY8" fmla="*/ 10093742 h 15035524"/>
                <a:gd name="connsiteX9" fmla="*/ 15011380 w 18744436"/>
                <a:gd name="connsiteY9" fmla="*/ 11048592 h 15035524"/>
                <a:gd name="connsiteX10" fmla="*/ 14908430 w 18744436"/>
                <a:gd name="connsiteY10" fmla="*/ 11937487 h 15035524"/>
                <a:gd name="connsiteX11" fmla="*/ 14904684 w 18744436"/>
                <a:gd name="connsiteY11" fmla="*/ 12760926 h 15035524"/>
                <a:gd name="connsiteX12" fmla="*/ 14929927 w 18744436"/>
                <a:gd name="connsiteY12" fmla="*/ 14391846 h 15035524"/>
                <a:gd name="connsiteX13" fmla="*/ 12952786 w 18744436"/>
                <a:gd name="connsiteY13" fmla="*/ 14842599 h 15035524"/>
                <a:gd name="connsiteX14" fmla="*/ 11934663 w 18744436"/>
                <a:gd name="connsiteY14" fmla="*/ 14890849 h 15035524"/>
                <a:gd name="connsiteX15" fmla="*/ 8506848 w 18744436"/>
                <a:gd name="connsiteY15" fmla="*/ 15035524 h 15035524"/>
                <a:gd name="connsiteX16" fmla="*/ 7985095 w 18744436"/>
                <a:gd name="connsiteY16" fmla="*/ 14390442 h 15035524"/>
                <a:gd name="connsiteX17" fmla="*/ 7400308 w 18744436"/>
                <a:gd name="connsiteY17" fmla="*/ 14360297 h 15035524"/>
                <a:gd name="connsiteX18" fmla="*/ 6972273 w 18744436"/>
                <a:gd name="connsiteY18" fmla="*/ 14631594 h 15035524"/>
                <a:gd name="connsiteX19" fmla="*/ 5181729 w 18744436"/>
                <a:gd name="connsiteY19" fmla="*/ 14547195 h 15035524"/>
                <a:gd name="connsiteX20" fmla="*/ 4397998 w 18744436"/>
                <a:gd name="connsiteY20" fmla="*/ 13914178 h 15035524"/>
                <a:gd name="connsiteX21" fmla="*/ 2908896 w 18744436"/>
                <a:gd name="connsiteY21" fmla="*/ 13106324 h 15035524"/>
                <a:gd name="connsiteX22" fmla="*/ 1263043 w 18744436"/>
                <a:gd name="connsiteY22" fmla="*/ 12394931 h 15035524"/>
                <a:gd name="connsiteX23" fmla="*/ 485320 w 18744436"/>
                <a:gd name="connsiteY23" fmla="*/ 11942774 h 15035524"/>
                <a:gd name="connsiteX24" fmla="*/ 0 w 18744436"/>
                <a:gd name="connsiteY24" fmla="*/ 11649662 h 15035524"/>
                <a:gd name="connsiteX25" fmla="*/ 1003686 w 18744436"/>
                <a:gd name="connsiteY25" fmla="*/ 10903697 h 15035524"/>
                <a:gd name="connsiteX26" fmla="*/ 2902551 w 18744436"/>
                <a:gd name="connsiteY26" fmla="*/ 9719298 h 15035524"/>
                <a:gd name="connsiteX27" fmla="*/ 2558940 w 18744436"/>
                <a:gd name="connsiteY27" fmla="*/ 9185867 h 15035524"/>
                <a:gd name="connsiteX28" fmla="*/ 2402508 w 18744436"/>
                <a:gd name="connsiteY28" fmla="*/ 8498784 h 15035524"/>
                <a:gd name="connsiteX29" fmla="*/ 2730740 w 18744436"/>
                <a:gd name="connsiteY29" fmla="*/ 8471613 h 15035524"/>
                <a:gd name="connsiteX30" fmla="*/ 2947754 w 18744436"/>
                <a:gd name="connsiteY30" fmla="*/ 8001468 h 15035524"/>
                <a:gd name="connsiteX31" fmla="*/ 3499325 w 18744436"/>
                <a:gd name="connsiteY31" fmla="*/ 7558451 h 15035524"/>
                <a:gd name="connsiteX32" fmla="*/ 3680166 w 18744436"/>
                <a:gd name="connsiteY32" fmla="*/ 6681453 h 15035524"/>
                <a:gd name="connsiteX33" fmla="*/ 4186528 w 18744436"/>
                <a:gd name="connsiteY33" fmla="*/ 6690489 h 15035524"/>
                <a:gd name="connsiteX34" fmla="*/ 4837569 w 18744436"/>
                <a:gd name="connsiteY34" fmla="*/ 7160639 h 15035524"/>
                <a:gd name="connsiteX35" fmla="*/ 5352976 w 18744436"/>
                <a:gd name="connsiteY35" fmla="*/ 7079272 h 15035524"/>
                <a:gd name="connsiteX36" fmla="*/ 5741786 w 18744436"/>
                <a:gd name="connsiteY36" fmla="*/ 6708577 h 15035524"/>
                <a:gd name="connsiteX37" fmla="*/ 6157723 w 18744436"/>
                <a:gd name="connsiteY37" fmla="*/ 6545836 h 15035524"/>
                <a:gd name="connsiteX38" fmla="*/ 6745471 w 18744436"/>
                <a:gd name="connsiteY38" fmla="*/ 5976243 h 15035524"/>
                <a:gd name="connsiteX39" fmla="*/ 6890140 w 18744436"/>
                <a:gd name="connsiteY39" fmla="*/ 5126367 h 15035524"/>
                <a:gd name="connsiteX40" fmla="*/ 7568305 w 18744436"/>
                <a:gd name="connsiteY40" fmla="*/ 4556773 h 15035524"/>
                <a:gd name="connsiteX41" fmla="*/ 8137967 w 18744436"/>
                <a:gd name="connsiteY41" fmla="*/ 4113752 h 15035524"/>
                <a:gd name="connsiteX42" fmla="*/ 8463480 w 18744436"/>
                <a:gd name="connsiteY42" fmla="*/ 3309085 h 15035524"/>
                <a:gd name="connsiteX43" fmla="*/ 9024093 w 18744436"/>
                <a:gd name="connsiteY43" fmla="*/ 2956478 h 15035524"/>
                <a:gd name="connsiteX44" fmla="*/ 9675138 w 18744436"/>
                <a:gd name="connsiteY44" fmla="*/ 2603876 h 15035524"/>
                <a:gd name="connsiteX45" fmla="*/ 9558580 w 18744436"/>
                <a:gd name="connsiteY45" fmla="*/ 2055592 h 15035524"/>
                <a:gd name="connsiteX46" fmla="*/ 10353296 w 18744436"/>
                <a:gd name="connsiteY46" fmla="*/ 1383308 h 15035524"/>
                <a:gd name="connsiteX47" fmla="*/ 10832530 w 18744436"/>
                <a:gd name="connsiteY47" fmla="*/ 1310974 h 15035524"/>
                <a:gd name="connsiteX48" fmla="*/ 11058585 w 18744436"/>
                <a:gd name="connsiteY48" fmla="*/ 1763043 h 15035524"/>
                <a:gd name="connsiteX49" fmla="*/ 11411229 w 18744436"/>
                <a:gd name="connsiteY49" fmla="*/ 2142774 h 15035524"/>
                <a:gd name="connsiteX50" fmla="*/ 11998974 w 18744436"/>
                <a:gd name="connsiteY50" fmla="*/ 2224144 h 15035524"/>
                <a:gd name="connsiteX51" fmla="*/ 12315449 w 18744436"/>
                <a:gd name="connsiteY51" fmla="*/ 2884156 h 15035524"/>
                <a:gd name="connsiteX52" fmla="*/ 12785642 w 18744436"/>
                <a:gd name="connsiteY52" fmla="*/ 2703327 h 15035524"/>
                <a:gd name="connsiteX53" fmla="*/ 13671776 w 18744436"/>
                <a:gd name="connsiteY53" fmla="*/ 3155388 h 15035524"/>
                <a:gd name="connsiteX54" fmla="*/ 14123886 w 18744436"/>
                <a:gd name="connsiteY54" fmla="*/ 2857035 h 15035524"/>
                <a:gd name="connsiteX55" fmla="*/ 14259509 w 18744436"/>
                <a:gd name="connsiteY55" fmla="*/ 2287434 h 15035524"/>
                <a:gd name="connsiteX56" fmla="*/ 14892468 w 18744436"/>
                <a:gd name="connsiteY56" fmla="*/ 1645503 h 15035524"/>
                <a:gd name="connsiteX57" fmla="*/ 15778605 w 18744436"/>
                <a:gd name="connsiteY57" fmla="*/ 1093983 h 15035524"/>
                <a:gd name="connsiteX58" fmla="*/ 16022739 w 18744436"/>
                <a:gd name="connsiteY58" fmla="*/ 1564133 h 15035524"/>
                <a:gd name="connsiteX59" fmla="*/ 16556232 w 18744436"/>
                <a:gd name="connsiteY59" fmla="*/ 2142785 h 15035524"/>
                <a:gd name="connsiteX60" fmla="*/ 17406193 w 18744436"/>
                <a:gd name="connsiteY60" fmla="*/ 1292897 h 15035524"/>
                <a:gd name="connsiteX61" fmla="*/ 18120524 w 18744436"/>
                <a:gd name="connsiteY61" fmla="*/ 714260 h 15035524"/>
                <a:gd name="connsiteX62" fmla="*/ 18744437 w 18744436"/>
                <a:gd name="connsiteY62" fmla="*/ -1 h 15035524"/>
                <a:gd name="connsiteX63" fmla="*/ 271434 w 18744436"/>
                <a:gd name="connsiteY63" fmla="*/ 7065877 h 15035524"/>
                <a:gd name="connsiteX64" fmla="*/ 11919572 w 18744436"/>
                <a:gd name="connsiteY64" fmla="*/ 7003278 h 15035524"/>
                <a:gd name="connsiteX65" fmla="*/ 12868275 w 18744436"/>
                <a:gd name="connsiteY65" fmla="*/ 6758067 h 15035524"/>
                <a:gd name="connsiteX66" fmla="*/ 13844296 w 18744436"/>
                <a:gd name="connsiteY66" fmla="*/ 6156232 h 15035524"/>
                <a:gd name="connsiteX67" fmla="*/ 13886291 w 18744436"/>
                <a:gd name="connsiteY67" fmla="*/ 5321864 h 15035524"/>
                <a:gd name="connsiteX68" fmla="*/ 14370431 w 18744436"/>
                <a:gd name="connsiteY68" fmla="*/ 5830216 h 15035524"/>
                <a:gd name="connsiteX69" fmla="*/ 15323320 w 18744436"/>
                <a:gd name="connsiteY69" fmla="*/ 5928489 h 15035524"/>
                <a:gd name="connsiteX70" fmla="*/ 16350939 w 18744436"/>
                <a:gd name="connsiteY70" fmla="*/ 6053348 h 15035524"/>
                <a:gd name="connsiteX71" fmla="*/ 16362364 w 18744436"/>
                <a:gd name="connsiteY71" fmla="*/ 6360628 h 15035524"/>
                <a:gd name="connsiteX72" fmla="*/ 16682563 w 18744436"/>
                <a:gd name="connsiteY72" fmla="*/ 6798531 h 15035524"/>
                <a:gd name="connsiteX0" fmla="*/ 16682563 w 18744436"/>
                <a:gd name="connsiteY0" fmla="*/ 6798531 h 15035524"/>
                <a:gd name="connsiteX1" fmla="*/ 16432262 w 18744436"/>
                <a:gd name="connsiteY1" fmla="*/ 7825917 h 15035524"/>
                <a:gd name="connsiteX2" fmla="*/ 16106317 w 18744436"/>
                <a:gd name="connsiteY2" fmla="*/ 8367221 h 15035524"/>
                <a:gd name="connsiteX3" fmla="*/ 16305649 w 18744436"/>
                <a:gd name="connsiteY3" fmla="*/ 8754550 h 15035524"/>
                <a:gd name="connsiteX4" fmla="*/ 16287189 w 18744436"/>
                <a:gd name="connsiteY4" fmla="*/ 9151157 h 15035524"/>
                <a:gd name="connsiteX5" fmla="*/ 16372801 w 18744436"/>
                <a:gd name="connsiteY5" fmla="*/ 9717422 h 15035524"/>
                <a:gd name="connsiteX6" fmla="*/ 16070155 w 18744436"/>
                <a:gd name="connsiteY6" fmla="*/ 9937808 h 15035524"/>
                <a:gd name="connsiteX7" fmla="*/ 15805690 w 18744436"/>
                <a:gd name="connsiteY7" fmla="*/ 10431999 h 15035524"/>
                <a:gd name="connsiteX8" fmla="*/ 15195097 w 18744436"/>
                <a:gd name="connsiteY8" fmla="*/ 10093742 h 15035524"/>
                <a:gd name="connsiteX9" fmla="*/ 15011380 w 18744436"/>
                <a:gd name="connsiteY9" fmla="*/ 11048592 h 15035524"/>
                <a:gd name="connsiteX10" fmla="*/ 14908430 w 18744436"/>
                <a:gd name="connsiteY10" fmla="*/ 11937487 h 15035524"/>
                <a:gd name="connsiteX11" fmla="*/ 14904684 w 18744436"/>
                <a:gd name="connsiteY11" fmla="*/ 12760926 h 15035524"/>
                <a:gd name="connsiteX12" fmla="*/ 14929927 w 18744436"/>
                <a:gd name="connsiteY12" fmla="*/ 14391846 h 15035524"/>
                <a:gd name="connsiteX13" fmla="*/ 12952786 w 18744436"/>
                <a:gd name="connsiteY13" fmla="*/ 14842599 h 15035524"/>
                <a:gd name="connsiteX14" fmla="*/ 11934663 w 18744436"/>
                <a:gd name="connsiteY14" fmla="*/ 14890849 h 15035524"/>
                <a:gd name="connsiteX15" fmla="*/ 8506848 w 18744436"/>
                <a:gd name="connsiteY15" fmla="*/ 15035524 h 15035524"/>
                <a:gd name="connsiteX16" fmla="*/ 7985095 w 18744436"/>
                <a:gd name="connsiteY16" fmla="*/ 14390442 h 15035524"/>
                <a:gd name="connsiteX17" fmla="*/ 7400308 w 18744436"/>
                <a:gd name="connsiteY17" fmla="*/ 14360297 h 15035524"/>
                <a:gd name="connsiteX18" fmla="*/ 6972273 w 18744436"/>
                <a:gd name="connsiteY18" fmla="*/ 14631594 h 15035524"/>
                <a:gd name="connsiteX19" fmla="*/ 5181729 w 18744436"/>
                <a:gd name="connsiteY19" fmla="*/ 14547195 h 15035524"/>
                <a:gd name="connsiteX20" fmla="*/ 4397998 w 18744436"/>
                <a:gd name="connsiteY20" fmla="*/ 13914178 h 15035524"/>
                <a:gd name="connsiteX21" fmla="*/ 2908896 w 18744436"/>
                <a:gd name="connsiteY21" fmla="*/ 13106324 h 15035524"/>
                <a:gd name="connsiteX22" fmla="*/ 1263043 w 18744436"/>
                <a:gd name="connsiteY22" fmla="*/ 12394931 h 15035524"/>
                <a:gd name="connsiteX23" fmla="*/ 485320 w 18744436"/>
                <a:gd name="connsiteY23" fmla="*/ 11942774 h 15035524"/>
                <a:gd name="connsiteX24" fmla="*/ 0 w 18744436"/>
                <a:gd name="connsiteY24" fmla="*/ 11649662 h 15035524"/>
                <a:gd name="connsiteX25" fmla="*/ 1003686 w 18744436"/>
                <a:gd name="connsiteY25" fmla="*/ 10903697 h 15035524"/>
                <a:gd name="connsiteX26" fmla="*/ 2902551 w 18744436"/>
                <a:gd name="connsiteY26" fmla="*/ 9719298 h 15035524"/>
                <a:gd name="connsiteX27" fmla="*/ 2558940 w 18744436"/>
                <a:gd name="connsiteY27" fmla="*/ 9185867 h 15035524"/>
                <a:gd name="connsiteX28" fmla="*/ 2402508 w 18744436"/>
                <a:gd name="connsiteY28" fmla="*/ 8498784 h 15035524"/>
                <a:gd name="connsiteX29" fmla="*/ 2730740 w 18744436"/>
                <a:gd name="connsiteY29" fmla="*/ 8471613 h 15035524"/>
                <a:gd name="connsiteX30" fmla="*/ 2947754 w 18744436"/>
                <a:gd name="connsiteY30" fmla="*/ 8001468 h 15035524"/>
                <a:gd name="connsiteX31" fmla="*/ 3499325 w 18744436"/>
                <a:gd name="connsiteY31" fmla="*/ 7558451 h 15035524"/>
                <a:gd name="connsiteX32" fmla="*/ 3680166 w 18744436"/>
                <a:gd name="connsiteY32" fmla="*/ 6681453 h 15035524"/>
                <a:gd name="connsiteX33" fmla="*/ 4186528 w 18744436"/>
                <a:gd name="connsiteY33" fmla="*/ 6690489 h 15035524"/>
                <a:gd name="connsiteX34" fmla="*/ 4837569 w 18744436"/>
                <a:gd name="connsiteY34" fmla="*/ 7160639 h 15035524"/>
                <a:gd name="connsiteX35" fmla="*/ 5352976 w 18744436"/>
                <a:gd name="connsiteY35" fmla="*/ 7079272 h 15035524"/>
                <a:gd name="connsiteX36" fmla="*/ 5741786 w 18744436"/>
                <a:gd name="connsiteY36" fmla="*/ 6708577 h 15035524"/>
                <a:gd name="connsiteX37" fmla="*/ 6157723 w 18744436"/>
                <a:gd name="connsiteY37" fmla="*/ 6545836 h 15035524"/>
                <a:gd name="connsiteX38" fmla="*/ 6745471 w 18744436"/>
                <a:gd name="connsiteY38" fmla="*/ 5976243 h 15035524"/>
                <a:gd name="connsiteX39" fmla="*/ 6890140 w 18744436"/>
                <a:gd name="connsiteY39" fmla="*/ 5126367 h 15035524"/>
                <a:gd name="connsiteX40" fmla="*/ 7568305 w 18744436"/>
                <a:gd name="connsiteY40" fmla="*/ 4556773 h 15035524"/>
                <a:gd name="connsiteX41" fmla="*/ 8137967 w 18744436"/>
                <a:gd name="connsiteY41" fmla="*/ 4113752 h 15035524"/>
                <a:gd name="connsiteX42" fmla="*/ 8463480 w 18744436"/>
                <a:gd name="connsiteY42" fmla="*/ 3309085 h 15035524"/>
                <a:gd name="connsiteX43" fmla="*/ 9024093 w 18744436"/>
                <a:gd name="connsiteY43" fmla="*/ 2956478 h 15035524"/>
                <a:gd name="connsiteX44" fmla="*/ 9675138 w 18744436"/>
                <a:gd name="connsiteY44" fmla="*/ 2603876 h 15035524"/>
                <a:gd name="connsiteX45" fmla="*/ 9558580 w 18744436"/>
                <a:gd name="connsiteY45" fmla="*/ 2055592 h 15035524"/>
                <a:gd name="connsiteX46" fmla="*/ 10353296 w 18744436"/>
                <a:gd name="connsiteY46" fmla="*/ 1383308 h 15035524"/>
                <a:gd name="connsiteX47" fmla="*/ 10832530 w 18744436"/>
                <a:gd name="connsiteY47" fmla="*/ 1310974 h 15035524"/>
                <a:gd name="connsiteX48" fmla="*/ 11058585 w 18744436"/>
                <a:gd name="connsiteY48" fmla="*/ 1763043 h 15035524"/>
                <a:gd name="connsiteX49" fmla="*/ 11411229 w 18744436"/>
                <a:gd name="connsiteY49" fmla="*/ 2142774 h 15035524"/>
                <a:gd name="connsiteX50" fmla="*/ 11998974 w 18744436"/>
                <a:gd name="connsiteY50" fmla="*/ 2224144 h 15035524"/>
                <a:gd name="connsiteX51" fmla="*/ 12315449 w 18744436"/>
                <a:gd name="connsiteY51" fmla="*/ 2884156 h 15035524"/>
                <a:gd name="connsiteX52" fmla="*/ 12785642 w 18744436"/>
                <a:gd name="connsiteY52" fmla="*/ 2703327 h 15035524"/>
                <a:gd name="connsiteX53" fmla="*/ 13671776 w 18744436"/>
                <a:gd name="connsiteY53" fmla="*/ 3155388 h 15035524"/>
                <a:gd name="connsiteX54" fmla="*/ 14123886 w 18744436"/>
                <a:gd name="connsiteY54" fmla="*/ 2857035 h 15035524"/>
                <a:gd name="connsiteX55" fmla="*/ 14259509 w 18744436"/>
                <a:gd name="connsiteY55" fmla="*/ 2287434 h 15035524"/>
                <a:gd name="connsiteX56" fmla="*/ 14892468 w 18744436"/>
                <a:gd name="connsiteY56" fmla="*/ 1645503 h 15035524"/>
                <a:gd name="connsiteX57" fmla="*/ 15778605 w 18744436"/>
                <a:gd name="connsiteY57" fmla="*/ 1093983 h 15035524"/>
                <a:gd name="connsiteX58" fmla="*/ 16022739 w 18744436"/>
                <a:gd name="connsiteY58" fmla="*/ 1564133 h 15035524"/>
                <a:gd name="connsiteX59" fmla="*/ 16556232 w 18744436"/>
                <a:gd name="connsiteY59" fmla="*/ 2142785 h 15035524"/>
                <a:gd name="connsiteX60" fmla="*/ 17406193 w 18744436"/>
                <a:gd name="connsiteY60" fmla="*/ 1292897 h 15035524"/>
                <a:gd name="connsiteX61" fmla="*/ 18120524 w 18744436"/>
                <a:gd name="connsiteY61" fmla="*/ 714260 h 15035524"/>
                <a:gd name="connsiteX62" fmla="*/ 18744437 w 18744436"/>
                <a:gd name="connsiteY62" fmla="*/ -1 h 15035524"/>
                <a:gd name="connsiteX63" fmla="*/ 11109603 w 18744436"/>
                <a:gd name="connsiteY63" fmla="*/ 6729756 h 15035524"/>
                <a:gd name="connsiteX64" fmla="*/ 11919572 w 18744436"/>
                <a:gd name="connsiteY64" fmla="*/ 7003278 h 15035524"/>
                <a:gd name="connsiteX65" fmla="*/ 12868275 w 18744436"/>
                <a:gd name="connsiteY65" fmla="*/ 6758067 h 15035524"/>
                <a:gd name="connsiteX66" fmla="*/ 13844296 w 18744436"/>
                <a:gd name="connsiteY66" fmla="*/ 6156232 h 15035524"/>
                <a:gd name="connsiteX67" fmla="*/ 13886291 w 18744436"/>
                <a:gd name="connsiteY67" fmla="*/ 5321864 h 15035524"/>
                <a:gd name="connsiteX68" fmla="*/ 14370431 w 18744436"/>
                <a:gd name="connsiteY68" fmla="*/ 5830216 h 15035524"/>
                <a:gd name="connsiteX69" fmla="*/ 15323320 w 18744436"/>
                <a:gd name="connsiteY69" fmla="*/ 5928489 h 15035524"/>
                <a:gd name="connsiteX70" fmla="*/ 16350939 w 18744436"/>
                <a:gd name="connsiteY70" fmla="*/ 6053348 h 15035524"/>
                <a:gd name="connsiteX71" fmla="*/ 16362364 w 18744436"/>
                <a:gd name="connsiteY71" fmla="*/ 6360628 h 15035524"/>
                <a:gd name="connsiteX72" fmla="*/ 16682563 w 18744436"/>
                <a:gd name="connsiteY72" fmla="*/ 6798531 h 15035524"/>
                <a:gd name="connsiteX0" fmla="*/ 16682563 w 18120523"/>
                <a:gd name="connsiteY0" fmla="*/ 6084269 h 14321262"/>
                <a:gd name="connsiteX1" fmla="*/ 16432262 w 18120523"/>
                <a:gd name="connsiteY1" fmla="*/ 7111655 h 14321262"/>
                <a:gd name="connsiteX2" fmla="*/ 16106317 w 18120523"/>
                <a:gd name="connsiteY2" fmla="*/ 7652959 h 14321262"/>
                <a:gd name="connsiteX3" fmla="*/ 16305649 w 18120523"/>
                <a:gd name="connsiteY3" fmla="*/ 8040288 h 14321262"/>
                <a:gd name="connsiteX4" fmla="*/ 16287189 w 18120523"/>
                <a:gd name="connsiteY4" fmla="*/ 8436895 h 14321262"/>
                <a:gd name="connsiteX5" fmla="*/ 16372801 w 18120523"/>
                <a:gd name="connsiteY5" fmla="*/ 9003160 h 14321262"/>
                <a:gd name="connsiteX6" fmla="*/ 16070155 w 18120523"/>
                <a:gd name="connsiteY6" fmla="*/ 9223546 h 14321262"/>
                <a:gd name="connsiteX7" fmla="*/ 15805690 w 18120523"/>
                <a:gd name="connsiteY7" fmla="*/ 9717737 h 14321262"/>
                <a:gd name="connsiteX8" fmla="*/ 15195097 w 18120523"/>
                <a:gd name="connsiteY8" fmla="*/ 9379480 h 14321262"/>
                <a:gd name="connsiteX9" fmla="*/ 15011380 w 18120523"/>
                <a:gd name="connsiteY9" fmla="*/ 10334330 h 14321262"/>
                <a:gd name="connsiteX10" fmla="*/ 14908430 w 18120523"/>
                <a:gd name="connsiteY10" fmla="*/ 11223225 h 14321262"/>
                <a:gd name="connsiteX11" fmla="*/ 14904684 w 18120523"/>
                <a:gd name="connsiteY11" fmla="*/ 12046664 h 14321262"/>
                <a:gd name="connsiteX12" fmla="*/ 14929927 w 18120523"/>
                <a:gd name="connsiteY12" fmla="*/ 13677584 h 14321262"/>
                <a:gd name="connsiteX13" fmla="*/ 12952786 w 18120523"/>
                <a:gd name="connsiteY13" fmla="*/ 14128337 h 14321262"/>
                <a:gd name="connsiteX14" fmla="*/ 11934663 w 18120523"/>
                <a:gd name="connsiteY14" fmla="*/ 14176587 h 14321262"/>
                <a:gd name="connsiteX15" fmla="*/ 8506848 w 18120523"/>
                <a:gd name="connsiteY15" fmla="*/ 14321262 h 14321262"/>
                <a:gd name="connsiteX16" fmla="*/ 7985095 w 18120523"/>
                <a:gd name="connsiteY16" fmla="*/ 13676180 h 14321262"/>
                <a:gd name="connsiteX17" fmla="*/ 7400308 w 18120523"/>
                <a:gd name="connsiteY17" fmla="*/ 13646035 h 14321262"/>
                <a:gd name="connsiteX18" fmla="*/ 6972273 w 18120523"/>
                <a:gd name="connsiteY18" fmla="*/ 13917332 h 14321262"/>
                <a:gd name="connsiteX19" fmla="*/ 5181729 w 18120523"/>
                <a:gd name="connsiteY19" fmla="*/ 13832933 h 14321262"/>
                <a:gd name="connsiteX20" fmla="*/ 4397998 w 18120523"/>
                <a:gd name="connsiteY20" fmla="*/ 13199916 h 14321262"/>
                <a:gd name="connsiteX21" fmla="*/ 2908896 w 18120523"/>
                <a:gd name="connsiteY21" fmla="*/ 12392062 h 14321262"/>
                <a:gd name="connsiteX22" fmla="*/ 1263043 w 18120523"/>
                <a:gd name="connsiteY22" fmla="*/ 11680669 h 14321262"/>
                <a:gd name="connsiteX23" fmla="*/ 485320 w 18120523"/>
                <a:gd name="connsiteY23" fmla="*/ 11228512 h 14321262"/>
                <a:gd name="connsiteX24" fmla="*/ 0 w 18120523"/>
                <a:gd name="connsiteY24" fmla="*/ 10935400 h 14321262"/>
                <a:gd name="connsiteX25" fmla="*/ 1003686 w 18120523"/>
                <a:gd name="connsiteY25" fmla="*/ 10189435 h 14321262"/>
                <a:gd name="connsiteX26" fmla="*/ 2902551 w 18120523"/>
                <a:gd name="connsiteY26" fmla="*/ 9005036 h 14321262"/>
                <a:gd name="connsiteX27" fmla="*/ 2558940 w 18120523"/>
                <a:gd name="connsiteY27" fmla="*/ 8471605 h 14321262"/>
                <a:gd name="connsiteX28" fmla="*/ 2402508 w 18120523"/>
                <a:gd name="connsiteY28" fmla="*/ 7784522 h 14321262"/>
                <a:gd name="connsiteX29" fmla="*/ 2730740 w 18120523"/>
                <a:gd name="connsiteY29" fmla="*/ 7757351 h 14321262"/>
                <a:gd name="connsiteX30" fmla="*/ 2947754 w 18120523"/>
                <a:gd name="connsiteY30" fmla="*/ 7287206 h 14321262"/>
                <a:gd name="connsiteX31" fmla="*/ 3499325 w 18120523"/>
                <a:gd name="connsiteY31" fmla="*/ 6844189 h 14321262"/>
                <a:gd name="connsiteX32" fmla="*/ 3680166 w 18120523"/>
                <a:gd name="connsiteY32" fmla="*/ 5967191 h 14321262"/>
                <a:gd name="connsiteX33" fmla="*/ 4186528 w 18120523"/>
                <a:gd name="connsiteY33" fmla="*/ 5976227 h 14321262"/>
                <a:gd name="connsiteX34" fmla="*/ 4837569 w 18120523"/>
                <a:gd name="connsiteY34" fmla="*/ 6446377 h 14321262"/>
                <a:gd name="connsiteX35" fmla="*/ 5352976 w 18120523"/>
                <a:gd name="connsiteY35" fmla="*/ 6365010 h 14321262"/>
                <a:gd name="connsiteX36" fmla="*/ 5741786 w 18120523"/>
                <a:gd name="connsiteY36" fmla="*/ 5994315 h 14321262"/>
                <a:gd name="connsiteX37" fmla="*/ 6157723 w 18120523"/>
                <a:gd name="connsiteY37" fmla="*/ 5831574 h 14321262"/>
                <a:gd name="connsiteX38" fmla="*/ 6745471 w 18120523"/>
                <a:gd name="connsiteY38" fmla="*/ 5261981 h 14321262"/>
                <a:gd name="connsiteX39" fmla="*/ 6890140 w 18120523"/>
                <a:gd name="connsiteY39" fmla="*/ 4412105 h 14321262"/>
                <a:gd name="connsiteX40" fmla="*/ 7568305 w 18120523"/>
                <a:gd name="connsiteY40" fmla="*/ 3842511 h 14321262"/>
                <a:gd name="connsiteX41" fmla="*/ 8137967 w 18120523"/>
                <a:gd name="connsiteY41" fmla="*/ 3399490 h 14321262"/>
                <a:gd name="connsiteX42" fmla="*/ 8463480 w 18120523"/>
                <a:gd name="connsiteY42" fmla="*/ 2594823 h 14321262"/>
                <a:gd name="connsiteX43" fmla="*/ 9024093 w 18120523"/>
                <a:gd name="connsiteY43" fmla="*/ 2242216 h 14321262"/>
                <a:gd name="connsiteX44" fmla="*/ 9675138 w 18120523"/>
                <a:gd name="connsiteY44" fmla="*/ 1889614 h 14321262"/>
                <a:gd name="connsiteX45" fmla="*/ 9558580 w 18120523"/>
                <a:gd name="connsiteY45" fmla="*/ 1341330 h 14321262"/>
                <a:gd name="connsiteX46" fmla="*/ 10353296 w 18120523"/>
                <a:gd name="connsiteY46" fmla="*/ 669046 h 14321262"/>
                <a:gd name="connsiteX47" fmla="*/ 10832530 w 18120523"/>
                <a:gd name="connsiteY47" fmla="*/ 596712 h 14321262"/>
                <a:gd name="connsiteX48" fmla="*/ 11058585 w 18120523"/>
                <a:gd name="connsiteY48" fmla="*/ 1048781 h 14321262"/>
                <a:gd name="connsiteX49" fmla="*/ 11411229 w 18120523"/>
                <a:gd name="connsiteY49" fmla="*/ 1428512 h 14321262"/>
                <a:gd name="connsiteX50" fmla="*/ 11998974 w 18120523"/>
                <a:gd name="connsiteY50" fmla="*/ 1509882 h 14321262"/>
                <a:gd name="connsiteX51" fmla="*/ 12315449 w 18120523"/>
                <a:gd name="connsiteY51" fmla="*/ 2169894 h 14321262"/>
                <a:gd name="connsiteX52" fmla="*/ 12785642 w 18120523"/>
                <a:gd name="connsiteY52" fmla="*/ 1989065 h 14321262"/>
                <a:gd name="connsiteX53" fmla="*/ 13671776 w 18120523"/>
                <a:gd name="connsiteY53" fmla="*/ 2441126 h 14321262"/>
                <a:gd name="connsiteX54" fmla="*/ 14123886 w 18120523"/>
                <a:gd name="connsiteY54" fmla="*/ 2142773 h 14321262"/>
                <a:gd name="connsiteX55" fmla="*/ 14259509 w 18120523"/>
                <a:gd name="connsiteY55" fmla="*/ 1573172 h 14321262"/>
                <a:gd name="connsiteX56" fmla="*/ 14892468 w 18120523"/>
                <a:gd name="connsiteY56" fmla="*/ 931241 h 14321262"/>
                <a:gd name="connsiteX57" fmla="*/ 15778605 w 18120523"/>
                <a:gd name="connsiteY57" fmla="*/ 379721 h 14321262"/>
                <a:gd name="connsiteX58" fmla="*/ 16022739 w 18120523"/>
                <a:gd name="connsiteY58" fmla="*/ 849871 h 14321262"/>
                <a:gd name="connsiteX59" fmla="*/ 16556232 w 18120523"/>
                <a:gd name="connsiteY59" fmla="*/ 1428523 h 14321262"/>
                <a:gd name="connsiteX60" fmla="*/ 17406193 w 18120523"/>
                <a:gd name="connsiteY60" fmla="*/ 578635 h 14321262"/>
                <a:gd name="connsiteX61" fmla="*/ 18120524 w 18120523"/>
                <a:gd name="connsiteY61" fmla="*/ -2 h 14321262"/>
                <a:gd name="connsiteX62" fmla="*/ 7035843 w 18120523"/>
                <a:gd name="connsiteY62" fmla="*/ 6484324 h 14321262"/>
                <a:gd name="connsiteX63" fmla="*/ 11109603 w 18120523"/>
                <a:gd name="connsiteY63" fmla="*/ 6015494 h 14321262"/>
                <a:gd name="connsiteX64" fmla="*/ 11919572 w 18120523"/>
                <a:gd name="connsiteY64" fmla="*/ 6289016 h 14321262"/>
                <a:gd name="connsiteX65" fmla="*/ 12868275 w 18120523"/>
                <a:gd name="connsiteY65" fmla="*/ 6043805 h 14321262"/>
                <a:gd name="connsiteX66" fmla="*/ 13844296 w 18120523"/>
                <a:gd name="connsiteY66" fmla="*/ 5441970 h 14321262"/>
                <a:gd name="connsiteX67" fmla="*/ 13886291 w 18120523"/>
                <a:gd name="connsiteY67" fmla="*/ 4607602 h 14321262"/>
                <a:gd name="connsiteX68" fmla="*/ 14370431 w 18120523"/>
                <a:gd name="connsiteY68" fmla="*/ 5115954 h 14321262"/>
                <a:gd name="connsiteX69" fmla="*/ 15323320 w 18120523"/>
                <a:gd name="connsiteY69" fmla="*/ 5214227 h 14321262"/>
                <a:gd name="connsiteX70" fmla="*/ 16350939 w 18120523"/>
                <a:gd name="connsiteY70" fmla="*/ 5339086 h 14321262"/>
                <a:gd name="connsiteX71" fmla="*/ 16362364 w 18120523"/>
                <a:gd name="connsiteY71" fmla="*/ 5646366 h 14321262"/>
                <a:gd name="connsiteX72" fmla="*/ 16682563 w 18120523"/>
                <a:gd name="connsiteY72" fmla="*/ 6084269 h 14321262"/>
                <a:gd name="connsiteX0" fmla="*/ 16682563 w 18120523"/>
                <a:gd name="connsiteY0" fmla="*/ 6084269 h 14321262"/>
                <a:gd name="connsiteX1" fmla="*/ 16432262 w 18120523"/>
                <a:gd name="connsiteY1" fmla="*/ 7111655 h 14321262"/>
                <a:gd name="connsiteX2" fmla="*/ 16106317 w 18120523"/>
                <a:gd name="connsiteY2" fmla="*/ 7652959 h 14321262"/>
                <a:gd name="connsiteX3" fmla="*/ 16305649 w 18120523"/>
                <a:gd name="connsiteY3" fmla="*/ 8040288 h 14321262"/>
                <a:gd name="connsiteX4" fmla="*/ 16287189 w 18120523"/>
                <a:gd name="connsiteY4" fmla="*/ 8436895 h 14321262"/>
                <a:gd name="connsiteX5" fmla="*/ 16372801 w 18120523"/>
                <a:gd name="connsiteY5" fmla="*/ 9003160 h 14321262"/>
                <a:gd name="connsiteX6" fmla="*/ 16070155 w 18120523"/>
                <a:gd name="connsiteY6" fmla="*/ 9223546 h 14321262"/>
                <a:gd name="connsiteX7" fmla="*/ 15805690 w 18120523"/>
                <a:gd name="connsiteY7" fmla="*/ 9717737 h 14321262"/>
                <a:gd name="connsiteX8" fmla="*/ 15195097 w 18120523"/>
                <a:gd name="connsiteY8" fmla="*/ 9379480 h 14321262"/>
                <a:gd name="connsiteX9" fmla="*/ 15011380 w 18120523"/>
                <a:gd name="connsiteY9" fmla="*/ 10334330 h 14321262"/>
                <a:gd name="connsiteX10" fmla="*/ 14908430 w 18120523"/>
                <a:gd name="connsiteY10" fmla="*/ 11223225 h 14321262"/>
                <a:gd name="connsiteX11" fmla="*/ 14904684 w 18120523"/>
                <a:gd name="connsiteY11" fmla="*/ 12046664 h 14321262"/>
                <a:gd name="connsiteX12" fmla="*/ 14929927 w 18120523"/>
                <a:gd name="connsiteY12" fmla="*/ 13677584 h 14321262"/>
                <a:gd name="connsiteX13" fmla="*/ 12952786 w 18120523"/>
                <a:gd name="connsiteY13" fmla="*/ 14128337 h 14321262"/>
                <a:gd name="connsiteX14" fmla="*/ 11934663 w 18120523"/>
                <a:gd name="connsiteY14" fmla="*/ 14176587 h 14321262"/>
                <a:gd name="connsiteX15" fmla="*/ 8506848 w 18120523"/>
                <a:gd name="connsiteY15" fmla="*/ 14321262 h 14321262"/>
                <a:gd name="connsiteX16" fmla="*/ 7985095 w 18120523"/>
                <a:gd name="connsiteY16" fmla="*/ 13676180 h 14321262"/>
                <a:gd name="connsiteX17" fmla="*/ 7400308 w 18120523"/>
                <a:gd name="connsiteY17" fmla="*/ 13646035 h 14321262"/>
                <a:gd name="connsiteX18" fmla="*/ 6972273 w 18120523"/>
                <a:gd name="connsiteY18" fmla="*/ 13917332 h 14321262"/>
                <a:gd name="connsiteX19" fmla="*/ 5181729 w 18120523"/>
                <a:gd name="connsiteY19" fmla="*/ 13832933 h 14321262"/>
                <a:gd name="connsiteX20" fmla="*/ 4397998 w 18120523"/>
                <a:gd name="connsiteY20" fmla="*/ 13199916 h 14321262"/>
                <a:gd name="connsiteX21" fmla="*/ 2908896 w 18120523"/>
                <a:gd name="connsiteY21" fmla="*/ 12392062 h 14321262"/>
                <a:gd name="connsiteX22" fmla="*/ 1263043 w 18120523"/>
                <a:gd name="connsiteY22" fmla="*/ 11680669 h 14321262"/>
                <a:gd name="connsiteX23" fmla="*/ 485320 w 18120523"/>
                <a:gd name="connsiteY23" fmla="*/ 11228512 h 14321262"/>
                <a:gd name="connsiteX24" fmla="*/ 0 w 18120523"/>
                <a:gd name="connsiteY24" fmla="*/ 10935400 h 14321262"/>
                <a:gd name="connsiteX25" fmla="*/ 1003686 w 18120523"/>
                <a:gd name="connsiteY25" fmla="*/ 10189435 h 14321262"/>
                <a:gd name="connsiteX26" fmla="*/ 2902551 w 18120523"/>
                <a:gd name="connsiteY26" fmla="*/ 9005036 h 14321262"/>
                <a:gd name="connsiteX27" fmla="*/ 2558940 w 18120523"/>
                <a:gd name="connsiteY27" fmla="*/ 8471605 h 14321262"/>
                <a:gd name="connsiteX28" fmla="*/ 2402508 w 18120523"/>
                <a:gd name="connsiteY28" fmla="*/ 7784522 h 14321262"/>
                <a:gd name="connsiteX29" fmla="*/ 2730740 w 18120523"/>
                <a:gd name="connsiteY29" fmla="*/ 7757351 h 14321262"/>
                <a:gd name="connsiteX30" fmla="*/ 2947754 w 18120523"/>
                <a:gd name="connsiteY30" fmla="*/ 7287206 h 14321262"/>
                <a:gd name="connsiteX31" fmla="*/ 3499325 w 18120523"/>
                <a:gd name="connsiteY31" fmla="*/ 6844189 h 14321262"/>
                <a:gd name="connsiteX32" fmla="*/ 3680166 w 18120523"/>
                <a:gd name="connsiteY32" fmla="*/ 5967191 h 14321262"/>
                <a:gd name="connsiteX33" fmla="*/ 4186528 w 18120523"/>
                <a:gd name="connsiteY33" fmla="*/ 5976227 h 14321262"/>
                <a:gd name="connsiteX34" fmla="*/ 4837569 w 18120523"/>
                <a:gd name="connsiteY34" fmla="*/ 6446377 h 14321262"/>
                <a:gd name="connsiteX35" fmla="*/ 5352976 w 18120523"/>
                <a:gd name="connsiteY35" fmla="*/ 6365010 h 14321262"/>
                <a:gd name="connsiteX36" fmla="*/ 5741786 w 18120523"/>
                <a:gd name="connsiteY36" fmla="*/ 5994315 h 14321262"/>
                <a:gd name="connsiteX37" fmla="*/ 6157723 w 18120523"/>
                <a:gd name="connsiteY37" fmla="*/ 5831574 h 14321262"/>
                <a:gd name="connsiteX38" fmla="*/ 6745471 w 18120523"/>
                <a:gd name="connsiteY38" fmla="*/ 5261981 h 14321262"/>
                <a:gd name="connsiteX39" fmla="*/ 6890140 w 18120523"/>
                <a:gd name="connsiteY39" fmla="*/ 4412105 h 14321262"/>
                <a:gd name="connsiteX40" fmla="*/ 7568305 w 18120523"/>
                <a:gd name="connsiteY40" fmla="*/ 3842511 h 14321262"/>
                <a:gd name="connsiteX41" fmla="*/ 8137967 w 18120523"/>
                <a:gd name="connsiteY41" fmla="*/ 3399490 h 14321262"/>
                <a:gd name="connsiteX42" fmla="*/ 8463480 w 18120523"/>
                <a:gd name="connsiteY42" fmla="*/ 2594823 h 14321262"/>
                <a:gd name="connsiteX43" fmla="*/ 9024093 w 18120523"/>
                <a:gd name="connsiteY43" fmla="*/ 2242216 h 14321262"/>
                <a:gd name="connsiteX44" fmla="*/ 9675138 w 18120523"/>
                <a:gd name="connsiteY44" fmla="*/ 1889614 h 14321262"/>
                <a:gd name="connsiteX45" fmla="*/ 9558580 w 18120523"/>
                <a:gd name="connsiteY45" fmla="*/ 1341330 h 14321262"/>
                <a:gd name="connsiteX46" fmla="*/ 10353296 w 18120523"/>
                <a:gd name="connsiteY46" fmla="*/ 669046 h 14321262"/>
                <a:gd name="connsiteX47" fmla="*/ 10832530 w 18120523"/>
                <a:gd name="connsiteY47" fmla="*/ 596712 h 14321262"/>
                <a:gd name="connsiteX48" fmla="*/ 11058585 w 18120523"/>
                <a:gd name="connsiteY48" fmla="*/ 1048781 h 14321262"/>
                <a:gd name="connsiteX49" fmla="*/ 11411229 w 18120523"/>
                <a:gd name="connsiteY49" fmla="*/ 1428512 h 14321262"/>
                <a:gd name="connsiteX50" fmla="*/ 11998974 w 18120523"/>
                <a:gd name="connsiteY50" fmla="*/ 1509882 h 14321262"/>
                <a:gd name="connsiteX51" fmla="*/ 12315449 w 18120523"/>
                <a:gd name="connsiteY51" fmla="*/ 2169894 h 14321262"/>
                <a:gd name="connsiteX52" fmla="*/ 12785642 w 18120523"/>
                <a:gd name="connsiteY52" fmla="*/ 1989065 h 14321262"/>
                <a:gd name="connsiteX53" fmla="*/ 13671776 w 18120523"/>
                <a:gd name="connsiteY53" fmla="*/ 2441126 h 14321262"/>
                <a:gd name="connsiteX54" fmla="*/ 14123886 w 18120523"/>
                <a:gd name="connsiteY54" fmla="*/ 2142773 h 14321262"/>
                <a:gd name="connsiteX55" fmla="*/ 14259509 w 18120523"/>
                <a:gd name="connsiteY55" fmla="*/ 1573172 h 14321262"/>
                <a:gd name="connsiteX56" fmla="*/ 14892468 w 18120523"/>
                <a:gd name="connsiteY56" fmla="*/ 931241 h 14321262"/>
                <a:gd name="connsiteX57" fmla="*/ 15778605 w 18120523"/>
                <a:gd name="connsiteY57" fmla="*/ 379721 h 14321262"/>
                <a:gd name="connsiteX58" fmla="*/ 16022739 w 18120523"/>
                <a:gd name="connsiteY58" fmla="*/ 849871 h 14321262"/>
                <a:gd name="connsiteX59" fmla="*/ 16556232 w 18120523"/>
                <a:gd name="connsiteY59" fmla="*/ 1428523 h 14321262"/>
                <a:gd name="connsiteX60" fmla="*/ 17406193 w 18120523"/>
                <a:gd name="connsiteY60" fmla="*/ 578635 h 14321262"/>
                <a:gd name="connsiteX61" fmla="*/ 18120524 w 18120523"/>
                <a:gd name="connsiteY61" fmla="*/ -2 h 14321262"/>
                <a:gd name="connsiteX62" fmla="*/ 10152517 w 18120523"/>
                <a:gd name="connsiteY62" fmla="*/ 5644020 h 14321262"/>
                <a:gd name="connsiteX63" fmla="*/ 11109603 w 18120523"/>
                <a:gd name="connsiteY63" fmla="*/ 6015494 h 14321262"/>
                <a:gd name="connsiteX64" fmla="*/ 11919572 w 18120523"/>
                <a:gd name="connsiteY64" fmla="*/ 6289016 h 14321262"/>
                <a:gd name="connsiteX65" fmla="*/ 12868275 w 18120523"/>
                <a:gd name="connsiteY65" fmla="*/ 6043805 h 14321262"/>
                <a:gd name="connsiteX66" fmla="*/ 13844296 w 18120523"/>
                <a:gd name="connsiteY66" fmla="*/ 5441970 h 14321262"/>
                <a:gd name="connsiteX67" fmla="*/ 13886291 w 18120523"/>
                <a:gd name="connsiteY67" fmla="*/ 4607602 h 14321262"/>
                <a:gd name="connsiteX68" fmla="*/ 14370431 w 18120523"/>
                <a:gd name="connsiteY68" fmla="*/ 5115954 h 14321262"/>
                <a:gd name="connsiteX69" fmla="*/ 15323320 w 18120523"/>
                <a:gd name="connsiteY69" fmla="*/ 5214227 h 14321262"/>
                <a:gd name="connsiteX70" fmla="*/ 16350939 w 18120523"/>
                <a:gd name="connsiteY70" fmla="*/ 5339086 h 14321262"/>
                <a:gd name="connsiteX71" fmla="*/ 16362364 w 18120523"/>
                <a:gd name="connsiteY71" fmla="*/ 5646366 h 14321262"/>
                <a:gd name="connsiteX72" fmla="*/ 16682563 w 18120523"/>
                <a:gd name="connsiteY72" fmla="*/ 6084269 h 14321262"/>
                <a:gd name="connsiteX0" fmla="*/ 16682563 w 17406190"/>
                <a:gd name="connsiteY0" fmla="*/ 5704551 h 13941544"/>
                <a:gd name="connsiteX1" fmla="*/ 16432262 w 17406190"/>
                <a:gd name="connsiteY1" fmla="*/ 6731937 h 13941544"/>
                <a:gd name="connsiteX2" fmla="*/ 16106317 w 17406190"/>
                <a:gd name="connsiteY2" fmla="*/ 7273241 h 13941544"/>
                <a:gd name="connsiteX3" fmla="*/ 16305649 w 17406190"/>
                <a:gd name="connsiteY3" fmla="*/ 7660570 h 13941544"/>
                <a:gd name="connsiteX4" fmla="*/ 16287189 w 17406190"/>
                <a:gd name="connsiteY4" fmla="*/ 8057177 h 13941544"/>
                <a:gd name="connsiteX5" fmla="*/ 16372801 w 17406190"/>
                <a:gd name="connsiteY5" fmla="*/ 8623442 h 13941544"/>
                <a:gd name="connsiteX6" fmla="*/ 16070155 w 17406190"/>
                <a:gd name="connsiteY6" fmla="*/ 8843828 h 13941544"/>
                <a:gd name="connsiteX7" fmla="*/ 15805690 w 17406190"/>
                <a:gd name="connsiteY7" fmla="*/ 9338019 h 13941544"/>
                <a:gd name="connsiteX8" fmla="*/ 15195097 w 17406190"/>
                <a:gd name="connsiteY8" fmla="*/ 8999762 h 13941544"/>
                <a:gd name="connsiteX9" fmla="*/ 15011380 w 17406190"/>
                <a:gd name="connsiteY9" fmla="*/ 9954612 h 13941544"/>
                <a:gd name="connsiteX10" fmla="*/ 14908430 w 17406190"/>
                <a:gd name="connsiteY10" fmla="*/ 10843507 h 13941544"/>
                <a:gd name="connsiteX11" fmla="*/ 14904684 w 17406190"/>
                <a:gd name="connsiteY11" fmla="*/ 11666946 h 13941544"/>
                <a:gd name="connsiteX12" fmla="*/ 14929927 w 17406190"/>
                <a:gd name="connsiteY12" fmla="*/ 13297866 h 13941544"/>
                <a:gd name="connsiteX13" fmla="*/ 12952786 w 17406190"/>
                <a:gd name="connsiteY13" fmla="*/ 13748619 h 13941544"/>
                <a:gd name="connsiteX14" fmla="*/ 11934663 w 17406190"/>
                <a:gd name="connsiteY14" fmla="*/ 13796869 h 13941544"/>
                <a:gd name="connsiteX15" fmla="*/ 8506848 w 17406190"/>
                <a:gd name="connsiteY15" fmla="*/ 13941544 h 13941544"/>
                <a:gd name="connsiteX16" fmla="*/ 7985095 w 17406190"/>
                <a:gd name="connsiteY16" fmla="*/ 13296462 h 13941544"/>
                <a:gd name="connsiteX17" fmla="*/ 7400308 w 17406190"/>
                <a:gd name="connsiteY17" fmla="*/ 13266317 h 13941544"/>
                <a:gd name="connsiteX18" fmla="*/ 6972273 w 17406190"/>
                <a:gd name="connsiteY18" fmla="*/ 13537614 h 13941544"/>
                <a:gd name="connsiteX19" fmla="*/ 5181729 w 17406190"/>
                <a:gd name="connsiteY19" fmla="*/ 13453215 h 13941544"/>
                <a:gd name="connsiteX20" fmla="*/ 4397998 w 17406190"/>
                <a:gd name="connsiteY20" fmla="*/ 12820198 h 13941544"/>
                <a:gd name="connsiteX21" fmla="*/ 2908896 w 17406190"/>
                <a:gd name="connsiteY21" fmla="*/ 12012344 h 13941544"/>
                <a:gd name="connsiteX22" fmla="*/ 1263043 w 17406190"/>
                <a:gd name="connsiteY22" fmla="*/ 11300951 h 13941544"/>
                <a:gd name="connsiteX23" fmla="*/ 485320 w 17406190"/>
                <a:gd name="connsiteY23" fmla="*/ 10848794 h 13941544"/>
                <a:gd name="connsiteX24" fmla="*/ 0 w 17406190"/>
                <a:gd name="connsiteY24" fmla="*/ 10555682 h 13941544"/>
                <a:gd name="connsiteX25" fmla="*/ 1003686 w 17406190"/>
                <a:gd name="connsiteY25" fmla="*/ 9809717 h 13941544"/>
                <a:gd name="connsiteX26" fmla="*/ 2902551 w 17406190"/>
                <a:gd name="connsiteY26" fmla="*/ 8625318 h 13941544"/>
                <a:gd name="connsiteX27" fmla="*/ 2558940 w 17406190"/>
                <a:gd name="connsiteY27" fmla="*/ 8091887 h 13941544"/>
                <a:gd name="connsiteX28" fmla="*/ 2402508 w 17406190"/>
                <a:gd name="connsiteY28" fmla="*/ 7404804 h 13941544"/>
                <a:gd name="connsiteX29" fmla="*/ 2730740 w 17406190"/>
                <a:gd name="connsiteY29" fmla="*/ 7377633 h 13941544"/>
                <a:gd name="connsiteX30" fmla="*/ 2947754 w 17406190"/>
                <a:gd name="connsiteY30" fmla="*/ 6907488 h 13941544"/>
                <a:gd name="connsiteX31" fmla="*/ 3499325 w 17406190"/>
                <a:gd name="connsiteY31" fmla="*/ 6464471 h 13941544"/>
                <a:gd name="connsiteX32" fmla="*/ 3680166 w 17406190"/>
                <a:gd name="connsiteY32" fmla="*/ 5587473 h 13941544"/>
                <a:gd name="connsiteX33" fmla="*/ 4186528 w 17406190"/>
                <a:gd name="connsiteY33" fmla="*/ 5596509 h 13941544"/>
                <a:gd name="connsiteX34" fmla="*/ 4837569 w 17406190"/>
                <a:gd name="connsiteY34" fmla="*/ 6066659 h 13941544"/>
                <a:gd name="connsiteX35" fmla="*/ 5352976 w 17406190"/>
                <a:gd name="connsiteY35" fmla="*/ 5985292 h 13941544"/>
                <a:gd name="connsiteX36" fmla="*/ 5741786 w 17406190"/>
                <a:gd name="connsiteY36" fmla="*/ 5614597 h 13941544"/>
                <a:gd name="connsiteX37" fmla="*/ 6157723 w 17406190"/>
                <a:gd name="connsiteY37" fmla="*/ 5451856 h 13941544"/>
                <a:gd name="connsiteX38" fmla="*/ 6745471 w 17406190"/>
                <a:gd name="connsiteY38" fmla="*/ 4882263 h 13941544"/>
                <a:gd name="connsiteX39" fmla="*/ 6890140 w 17406190"/>
                <a:gd name="connsiteY39" fmla="*/ 4032387 h 13941544"/>
                <a:gd name="connsiteX40" fmla="*/ 7568305 w 17406190"/>
                <a:gd name="connsiteY40" fmla="*/ 3462793 h 13941544"/>
                <a:gd name="connsiteX41" fmla="*/ 8137967 w 17406190"/>
                <a:gd name="connsiteY41" fmla="*/ 3019772 h 13941544"/>
                <a:gd name="connsiteX42" fmla="*/ 8463480 w 17406190"/>
                <a:gd name="connsiteY42" fmla="*/ 2215105 h 13941544"/>
                <a:gd name="connsiteX43" fmla="*/ 9024093 w 17406190"/>
                <a:gd name="connsiteY43" fmla="*/ 1862498 h 13941544"/>
                <a:gd name="connsiteX44" fmla="*/ 9675138 w 17406190"/>
                <a:gd name="connsiteY44" fmla="*/ 1509896 h 13941544"/>
                <a:gd name="connsiteX45" fmla="*/ 9558580 w 17406190"/>
                <a:gd name="connsiteY45" fmla="*/ 961612 h 13941544"/>
                <a:gd name="connsiteX46" fmla="*/ 10353296 w 17406190"/>
                <a:gd name="connsiteY46" fmla="*/ 289328 h 13941544"/>
                <a:gd name="connsiteX47" fmla="*/ 10832530 w 17406190"/>
                <a:gd name="connsiteY47" fmla="*/ 216994 h 13941544"/>
                <a:gd name="connsiteX48" fmla="*/ 11058585 w 17406190"/>
                <a:gd name="connsiteY48" fmla="*/ 669063 h 13941544"/>
                <a:gd name="connsiteX49" fmla="*/ 11411229 w 17406190"/>
                <a:gd name="connsiteY49" fmla="*/ 1048794 h 13941544"/>
                <a:gd name="connsiteX50" fmla="*/ 11998974 w 17406190"/>
                <a:gd name="connsiteY50" fmla="*/ 1130164 h 13941544"/>
                <a:gd name="connsiteX51" fmla="*/ 12315449 w 17406190"/>
                <a:gd name="connsiteY51" fmla="*/ 1790176 h 13941544"/>
                <a:gd name="connsiteX52" fmla="*/ 12785642 w 17406190"/>
                <a:gd name="connsiteY52" fmla="*/ 1609347 h 13941544"/>
                <a:gd name="connsiteX53" fmla="*/ 13671776 w 17406190"/>
                <a:gd name="connsiteY53" fmla="*/ 2061408 h 13941544"/>
                <a:gd name="connsiteX54" fmla="*/ 14123886 w 17406190"/>
                <a:gd name="connsiteY54" fmla="*/ 1763055 h 13941544"/>
                <a:gd name="connsiteX55" fmla="*/ 14259509 w 17406190"/>
                <a:gd name="connsiteY55" fmla="*/ 1193454 h 13941544"/>
                <a:gd name="connsiteX56" fmla="*/ 14892468 w 17406190"/>
                <a:gd name="connsiteY56" fmla="*/ 551523 h 13941544"/>
                <a:gd name="connsiteX57" fmla="*/ 15778605 w 17406190"/>
                <a:gd name="connsiteY57" fmla="*/ 3 h 13941544"/>
                <a:gd name="connsiteX58" fmla="*/ 16022739 w 17406190"/>
                <a:gd name="connsiteY58" fmla="*/ 470153 h 13941544"/>
                <a:gd name="connsiteX59" fmla="*/ 16556232 w 17406190"/>
                <a:gd name="connsiteY59" fmla="*/ 1048805 h 13941544"/>
                <a:gd name="connsiteX60" fmla="*/ 17406193 w 17406190"/>
                <a:gd name="connsiteY60" fmla="*/ 198917 h 13941544"/>
                <a:gd name="connsiteX61" fmla="*/ 10152517 w 17406190"/>
                <a:gd name="connsiteY61" fmla="*/ 5264302 h 13941544"/>
                <a:gd name="connsiteX62" fmla="*/ 11109603 w 17406190"/>
                <a:gd name="connsiteY62" fmla="*/ 5635776 h 13941544"/>
                <a:gd name="connsiteX63" fmla="*/ 11919572 w 17406190"/>
                <a:gd name="connsiteY63" fmla="*/ 5909298 h 13941544"/>
                <a:gd name="connsiteX64" fmla="*/ 12868275 w 17406190"/>
                <a:gd name="connsiteY64" fmla="*/ 5664087 h 13941544"/>
                <a:gd name="connsiteX65" fmla="*/ 13844296 w 17406190"/>
                <a:gd name="connsiteY65" fmla="*/ 5062252 h 13941544"/>
                <a:gd name="connsiteX66" fmla="*/ 13886291 w 17406190"/>
                <a:gd name="connsiteY66" fmla="*/ 4227884 h 13941544"/>
                <a:gd name="connsiteX67" fmla="*/ 14370431 w 17406190"/>
                <a:gd name="connsiteY67" fmla="*/ 4736236 h 13941544"/>
                <a:gd name="connsiteX68" fmla="*/ 15323320 w 17406190"/>
                <a:gd name="connsiteY68" fmla="*/ 4834509 h 13941544"/>
                <a:gd name="connsiteX69" fmla="*/ 16350939 w 17406190"/>
                <a:gd name="connsiteY69" fmla="*/ 4959368 h 13941544"/>
                <a:gd name="connsiteX70" fmla="*/ 16362364 w 17406190"/>
                <a:gd name="connsiteY70" fmla="*/ 5266648 h 13941544"/>
                <a:gd name="connsiteX71" fmla="*/ 16682563 w 17406190"/>
                <a:gd name="connsiteY71" fmla="*/ 5704551 h 13941544"/>
                <a:gd name="connsiteX0" fmla="*/ 16682563 w 16682562"/>
                <a:gd name="connsiteY0" fmla="*/ 5704551 h 13941544"/>
                <a:gd name="connsiteX1" fmla="*/ 16432262 w 16682562"/>
                <a:gd name="connsiteY1" fmla="*/ 6731937 h 13941544"/>
                <a:gd name="connsiteX2" fmla="*/ 16106317 w 16682562"/>
                <a:gd name="connsiteY2" fmla="*/ 7273241 h 13941544"/>
                <a:gd name="connsiteX3" fmla="*/ 16305649 w 16682562"/>
                <a:gd name="connsiteY3" fmla="*/ 7660570 h 13941544"/>
                <a:gd name="connsiteX4" fmla="*/ 16287189 w 16682562"/>
                <a:gd name="connsiteY4" fmla="*/ 8057177 h 13941544"/>
                <a:gd name="connsiteX5" fmla="*/ 16372801 w 16682562"/>
                <a:gd name="connsiteY5" fmla="*/ 8623442 h 13941544"/>
                <a:gd name="connsiteX6" fmla="*/ 16070155 w 16682562"/>
                <a:gd name="connsiteY6" fmla="*/ 8843828 h 13941544"/>
                <a:gd name="connsiteX7" fmla="*/ 15805690 w 16682562"/>
                <a:gd name="connsiteY7" fmla="*/ 9338019 h 13941544"/>
                <a:gd name="connsiteX8" fmla="*/ 15195097 w 16682562"/>
                <a:gd name="connsiteY8" fmla="*/ 8999762 h 13941544"/>
                <a:gd name="connsiteX9" fmla="*/ 15011380 w 16682562"/>
                <a:gd name="connsiteY9" fmla="*/ 9954612 h 13941544"/>
                <a:gd name="connsiteX10" fmla="*/ 14908430 w 16682562"/>
                <a:gd name="connsiteY10" fmla="*/ 10843507 h 13941544"/>
                <a:gd name="connsiteX11" fmla="*/ 14904684 w 16682562"/>
                <a:gd name="connsiteY11" fmla="*/ 11666946 h 13941544"/>
                <a:gd name="connsiteX12" fmla="*/ 14929927 w 16682562"/>
                <a:gd name="connsiteY12" fmla="*/ 13297866 h 13941544"/>
                <a:gd name="connsiteX13" fmla="*/ 12952786 w 16682562"/>
                <a:gd name="connsiteY13" fmla="*/ 13748619 h 13941544"/>
                <a:gd name="connsiteX14" fmla="*/ 11934663 w 16682562"/>
                <a:gd name="connsiteY14" fmla="*/ 13796869 h 13941544"/>
                <a:gd name="connsiteX15" fmla="*/ 8506848 w 16682562"/>
                <a:gd name="connsiteY15" fmla="*/ 13941544 h 13941544"/>
                <a:gd name="connsiteX16" fmla="*/ 7985095 w 16682562"/>
                <a:gd name="connsiteY16" fmla="*/ 13296462 h 13941544"/>
                <a:gd name="connsiteX17" fmla="*/ 7400308 w 16682562"/>
                <a:gd name="connsiteY17" fmla="*/ 13266317 h 13941544"/>
                <a:gd name="connsiteX18" fmla="*/ 6972273 w 16682562"/>
                <a:gd name="connsiteY18" fmla="*/ 13537614 h 13941544"/>
                <a:gd name="connsiteX19" fmla="*/ 5181729 w 16682562"/>
                <a:gd name="connsiteY19" fmla="*/ 13453215 h 13941544"/>
                <a:gd name="connsiteX20" fmla="*/ 4397998 w 16682562"/>
                <a:gd name="connsiteY20" fmla="*/ 12820198 h 13941544"/>
                <a:gd name="connsiteX21" fmla="*/ 2908896 w 16682562"/>
                <a:gd name="connsiteY21" fmla="*/ 12012344 h 13941544"/>
                <a:gd name="connsiteX22" fmla="*/ 1263043 w 16682562"/>
                <a:gd name="connsiteY22" fmla="*/ 11300951 h 13941544"/>
                <a:gd name="connsiteX23" fmla="*/ 485320 w 16682562"/>
                <a:gd name="connsiteY23" fmla="*/ 10848794 h 13941544"/>
                <a:gd name="connsiteX24" fmla="*/ 0 w 16682562"/>
                <a:gd name="connsiteY24" fmla="*/ 10555682 h 13941544"/>
                <a:gd name="connsiteX25" fmla="*/ 1003686 w 16682562"/>
                <a:gd name="connsiteY25" fmla="*/ 9809717 h 13941544"/>
                <a:gd name="connsiteX26" fmla="*/ 2902551 w 16682562"/>
                <a:gd name="connsiteY26" fmla="*/ 8625318 h 13941544"/>
                <a:gd name="connsiteX27" fmla="*/ 2558940 w 16682562"/>
                <a:gd name="connsiteY27" fmla="*/ 8091887 h 13941544"/>
                <a:gd name="connsiteX28" fmla="*/ 2402508 w 16682562"/>
                <a:gd name="connsiteY28" fmla="*/ 7404804 h 13941544"/>
                <a:gd name="connsiteX29" fmla="*/ 2730740 w 16682562"/>
                <a:gd name="connsiteY29" fmla="*/ 7377633 h 13941544"/>
                <a:gd name="connsiteX30" fmla="*/ 2947754 w 16682562"/>
                <a:gd name="connsiteY30" fmla="*/ 6907488 h 13941544"/>
                <a:gd name="connsiteX31" fmla="*/ 3499325 w 16682562"/>
                <a:gd name="connsiteY31" fmla="*/ 6464471 h 13941544"/>
                <a:gd name="connsiteX32" fmla="*/ 3680166 w 16682562"/>
                <a:gd name="connsiteY32" fmla="*/ 5587473 h 13941544"/>
                <a:gd name="connsiteX33" fmla="*/ 4186528 w 16682562"/>
                <a:gd name="connsiteY33" fmla="*/ 5596509 h 13941544"/>
                <a:gd name="connsiteX34" fmla="*/ 4837569 w 16682562"/>
                <a:gd name="connsiteY34" fmla="*/ 6066659 h 13941544"/>
                <a:gd name="connsiteX35" fmla="*/ 5352976 w 16682562"/>
                <a:gd name="connsiteY35" fmla="*/ 5985292 h 13941544"/>
                <a:gd name="connsiteX36" fmla="*/ 5741786 w 16682562"/>
                <a:gd name="connsiteY36" fmla="*/ 5614597 h 13941544"/>
                <a:gd name="connsiteX37" fmla="*/ 6157723 w 16682562"/>
                <a:gd name="connsiteY37" fmla="*/ 5451856 h 13941544"/>
                <a:gd name="connsiteX38" fmla="*/ 6745471 w 16682562"/>
                <a:gd name="connsiteY38" fmla="*/ 4882263 h 13941544"/>
                <a:gd name="connsiteX39" fmla="*/ 6890140 w 16682562"/>
                <a:gd name="connsiteY39" fmla="*/ 4032387 h 13941544"/>
                <a:gd name="connsiteX40" fmla="*/ 7568305 w 16682562"/>
                <a:gd name="connsiteY40" fmla="*/ 3462793 h 13941544"/>
                <a:gd name="connsiteX41" fmla="*/ 8137967 w 16682562"/>
                <a:gd name="connsiteY41" fmla="*/ 3019772 h 13941544"/>
                <a:gd name="connsiteX42" fmla="*/ 8463480 w 16682562"/>
                <a:gd name="connsiteY42" fmla="*/ 2215105 h 13941544"/>
                <a:gd name="connsiteX43" fmla="*/ 9024093 w 16682562"/>
                <a:gd name="connsiteY43" fmla="*/ 1862498 h 13941544"/>
                <a:gd name="connsiteX44" fmla="*/ 9675138 w 16682562"/>
                <a:gd name="connsiteY44" fmla="*/ 1509896 h 13941544"/>
                <a:gd name="connsiteX45" fmla="*/ 9558580 w 16682562"/>
                <a:gd name="connsiteY45" fmla="*/ 961612 h 13941544"/>
                <a:gd name="connsiteX46" fmla="*/ 10353296 w 16682562"/>
                <a:gd name="connsiteY46" fmla="*/ 289328 h 13941544"/>
                <a:gd name="connsiteX47" fmla="*/ 10832530 w 16682562"/>
                <a:gd name="connsiteY47" fmla="*/ 216994 h 13941544"/>
                <a:gd name="connsiteX48" fmla="*/ 11058585 w 16682562"/>
                <a:gd name="connsiteY48" fmla="*/ 669063 h 13941544"/>
                <a:gd name="connsiteX49" fmla="*/ 11411229 w 16682562"/>
                <a:gd name="connsiteY49" fmla="*/ 1048794 h 13941544"/>
                <a:gd name="connsiteX50" fmla="*/ 11998974 w 16682562"/>
                <a:gd name="connsiteY50" fmla="*/ 1130164 h 13941544"/>
                <a:gd name="connsiteX51" fmla="*/ 12315449 w 16682562"/>
                <a:gd name="connsiteY51" fmla="*/ 1790176 h 13941544"/>
                <a:gd name="connsiteX52" fmla="*/ 12785642 w 16682562"/>
                <a:gd name="connsiteY52" fmla="*/ 1609347 h 13941544"/>
                <a:gd name="connsiteX53" fmla="*/ 13671776 w 16682562"/>
                <a:gd name="connsiteY53" fmla="*/ 2061408 h 13941544"/>
                <a:gd name="connsiteX54" fmla="*/ 14123886 w 16682562"/>
                <a:gd name="connsiteY54" fmla="*/ 1763055 h 13941544"/>
                <a:gd name="connsiteX55" fmla="*/ 14259509 w 16682562"/>
                <a:gd name="connsiteY55" fmla="*/ 1193454 h 13941544"/>
                <a:gd name="connsiteX56" fmla="*/ 14892468 w 16682562"/>
                <a:gd name="connsiteY56" fmla="*/ 551523 h 13941544"/>
                <a:gd name="connsiteX57" fmla="*/ 15778605 w 16682562"/>
                <a:gd name="connsiteY57" fmla="*/ 3 h 13941544"/>
                <a:gd name="connsiteX58" fmla="*/ 16022739 w 16682562"/>
                <a:gd name="connsiteY58" fmla="*/ 470153 h 13941544"/>
                <a:gd name="connsiteX59" fmla="*/ 16556232 w 16682562"/>
                <a:gd name="connsiteY59" fmla="*/ 1048805 h 13941544"/>
                <a:gd name="connsiteX60" fmla="*/ 10152517 w 16682562"/>
                <a:gd name="connsiteY60" fmla="*/ 5264302 h 13941544"/>
                <a:gd name="connsiteX61" fmla="*/ 11109603 w 16682562"/>
                <a:gd name="connsiteY61" fmla="*/ 5635776 h 13941544"/>
                <a:gd name="connsiteX62" fmla="*/ 11919572 w 16682562"/>
                <a:gd name="connsiteY62" fmla="*/ 5909298 h 13941544"/>
                <a:gd name="connsiteX63" fmla="*/ 12868275 w 16682562"/>
                <a:gd name="connsiteY63" fmla="*/ 5664087 h 13941544"/>
                <a:gd name="connsiteX64" fmla="*/ 13844296 w 16682562"/>
                <a:gd name="connsiteY64" fmla="*/ 5062252 h 13941544"/>
                <a:gd name="connsiteX65" fmla="*/ 13886291 w 16682562"/>
                <a:gd name="connsiteY65" fmla="*/ 4227884 h 13941544"/>
                <a:gd name="connsiteX66" fmla="*/ 14370431 w 16682562"/>
                <a:gd name="connsiteY66" fmla="*/ 4736236 h 13941544"/>
                <a:gd name="connsiteX67" fmla="*/ 15323320 w 16682562"/>
                <a:gd name="connsiteY67" fmla="*/ 4834509 h 13941544"/>
                <a:gd name="connsiteX68" fmla="*/ 16350939 w 16682562"/>
                <a:gd name="connsiteY68" fmla="*/ 4959368 h 13941544"/>
                <a:gd name="connsiteX69" fmla="*/ 16362364 w 16682562"/>
                <a:gd name="connsiteY69" fmla="*/ 5266648 h 13941544"/>
                <a:gd name="connsiteX70" fmla="*/ 16682563 w 16682562"/>
                <a:gd name="connsiteY70" fmla="*/ 5704551 h 13941544"/>
                <a:gd name="connsiteX0" fmla="*/ 16682563 w 16682562"/>
                <a:gd name="connsiteY0" fmla="*/ 5704551 h 13941544"/>
                <a:gd name="connsiteX1" fmla="*/ 16432262 w 16682562"/>
                <a:gd name="connsiteY1" fmla="*/ 6731937 h 13941544"/>
                <a:gd name="connsiteX2" fmla="*/ 16106317 w 16682562"/>
                <a:gd name="connsiteY2" fmla="*/ 7273241 h 13941544"/>
                <a:gd name="connsiteX3" fmla="*/ 16305649 w 16682562"/>
                <a:gd name="connsiteY3" fmla="*/ 7660570 h 13941544"/>
                <a:gd name="connsiteX4" fmla="*/ 16287189 w 16682562"/>
                <a:gd name="connsiteY4" fmla="*/ 8057177 h 13941544"/>
                <a:gd name="connsiteX5" fmla="*/ 16372801 w 16682562"/>
                <a:gd name="connsiteY5" fmla="*/ 8623442 h 13941544"/>
                <a:gd name="connsiteX6" fmla="*/ 16070155 w 16682562"/>
                <a:gd name="connsiteY6" fmla="*/ 8843828 h 13941544"/>
                <a:gd name="connsiteX7" fmla="*/ 15805690 w 16682562"/>
                <a:gd name="connsiteY7" fmla="*/ 9338019 h 13941544"/>
                <a:gd name="connsiteX8" fmla="*/ 15195097 w 16682562"/>
                <a:gd name="connsiteY8" fmla="*/ 8999762 h 13941544"/>
                <a:gd name="connsiteX9" fmla="*/ 15011380 w 16682562"/>
                <a:gd name="connsiteY9" fmla="*/ 9954612 h 13941544"/>
                <a:gd name="connsiteX10" fmla="*/ 14908430 w 16682562"/>
                <a:gd name="connsiteY10" fmla="*/ 10843507 h 13941544"/>
                <a:gd name="connsiteX11" fmla="*/ 14904684 w 16682562"/>
                <a:gd name="connsiteY11" fmla="*/ 11666946 h 13941544"/>
                <a:gd name="connsiteX12" fmla="*/ 14929927 w 16682562"/>
                <a:gd name="connsiteY12" fmla="*/ 13297866 h 13941544"/>
                <a:gd name="connsiteX13" fmla="*/ 12952786 w 16682562"/>
                <a:gd name="connsiteY13" fmla="*/ 13748619 h 13941544"/>
                <a:gd name="connsiteX14" fmla="*/ 11934663 w 16682562"/>
                <a:gd name="connsiteY14" fmla="*/ 13796869 h 13941544"/>
                <a:gd name="connsiteX15" fmla="*/ 8506848 w 16682562"/>
                <a:gd name="connsiteY15" fmla="*/ 13941544 h 13941544"/>
                <a:gd name="connsiteX16" fmla="*/ 7985095 w 16682562"/>
                <a:gd name="connsiteY16" fmla="*/ 13296462 h 13941544"/>
                <a:gd name="connsiteX17" fmla="*/ 7400308 w 16682562"/>
                <a:gd name="connsiteY17" fmla="*/ 13266317 h 13941544"/>
                <a:gd name="connsiteX18" fmla="*/ 6972273 w 16682562"/>
                <a:gd name="connsiteY18" fmla="*/ 13537614 h 13941544"/>
                <a:gd name="connsiteX19" fmla="*/ 5181729 w 16682562"/>
                <a:gd name="connsiteY19" fmla="*/ 13453215 h 13941544"/>
                <a:gd name="connsiteX20" fmla="*/ 4397998 w 16682562"/>
                <a:gd name="connsiteY20" fmla="*/ 12820198 h 13941544"/>
                <a:gd name="connsiteX21" fmla="*/ 2908896 w 16682562"/>
                <a:gd name="connsiteY21" fmla="*/ 12012344 h 13941544"/>
                <a:gd name="connsiteX22" fmla="*/ 1263043 w 16682562"/>
                <a:gd name="connsiteY22" fmla="*/ 11300951 h 13941544"/>
                <a:gd name="connsiteX23" fmla="*/ 485320 w 16682562"/>
                <a:gd name="connsiteY23" fmla="*/ 10848794 h 13941544"/>
                <a:gd name="connsiteX24" fmla="*/ 0 w 16682562"/>
                <a:gd name="connsiteY24" fmla="*/ 10555682 h 13941544"/>
                <a:gd name="connsiteX25" fmla="*/ 1003686 w 16682562"/>
                <a:gd name="connsiteY25" fmla="*/ 9809717 h 13941544"/>
                <a:gd name="connsiteX26" fmla="*/ 2902551 w 16682562"/>
                <a:gd name="connsiteY26" fmla="*/ 8625318 h 13941544"/>
                <a:gd name="connsiteX27" fmla="*/ 2558940 w 16682562"/>
                <a:gd name="connsiteY27" fmla="*/ 8091887 h 13941544"/>
                <a:gd name="connsiteX28" fmla="*/ 2402508 w 16682562"/>
                <a:gd name="connsiteY28" fmla="*/ 7404804 h 13941544"/>
                <a:gd name="connsiteX29" fmla="*/ 2730740 w 16682562"/>
                <a:gd name="connsiteY29" fmla="*/ 7377633 h 13941544"/>
                <a:gd name="connsiteX30" fmla="*/ 2947754 w 16682562"/>
                <a:gd name="connsiteY30" fmla="*/ 6907488 h 13941544"/>
                <a:gd name="connsiteX31" fmla="*/ 3499325 w 16682562"/>
                <a:gd name="connsiteY31" fmla="*/ 6464471 h 13941544"/>
                <a:gd name="connsiteX32" fmla="*/ 3680166 w 16682562"/>
                <a:gd name="connsiteY32" fmla="*/ 5587473 h 13941544"/>
                <a:gd name="connsiteX33" fmla="*/ 4186528 w 16682562"/>
                <a:gd name="connsiteY33" fmla="*/ 5596509 h 13941544"/>
                <a:gd name="connsiteX34" fmla="*/ 4837569 w 16682562"/>
                <a:gd name="connsiteY34" fmla="*/ 6066659 h 13941544"/>
                <a:gd name="connsiteX35" fmla="*/ 5352976 w 16682562"/>
                <a:gd name="connsiteY35" fmla="*/ 5985292 h 13941544"/>
                <a:gd name="connsiteX36" fmla="*/ 5741786 w 16682562"/>
                <a:gd name="connsiteY36" fmla="*/ 5614597 h 13941544"/>
                <a:gd name="connsiteX37" fmla="*/ 6157723 w 16682562"/>
                <a:gd name="connsiteY37" fmla="*/ 5451856 h 13941544"/>
                <a:gd name="connsiteX38" fmla="*/ 6745471 w 16682562"/>
                <a:gd name="connsiteY38" fmla="*/ 4882263 h 13941544"/>
                <a:gd name="connsiteX39" fmla="*/ 6890140 w 16682562"/>
                <a:gd name="connsiteY39" fmla="*/ 4032387 h 13941544"/>
                <a:gd name="connsiteX40" fmla="*/ 7568305 w 16682562"/>
                <a:gd name="connsiteY40" fmla="*/ 3462793 h 13941544"/>
                <a:gd name="connsiteX41" fmla="*/ 8137967 w 16682562"/>
                <a:gd name="connsiteY41" fmla="*/ 3019772 h 13941544"/>
                <a:gd name="connsiteX42" fmla="*/ 8463480 w 16682562"/>
                <a:gd name="connsiteY42" fmla="*/ 2215105 h 13941544"/>
                <a:gd name="connsiteX43" fmla="*/ 9024093 w 16682562"/>
                <a:gd name="connsiteY43" fmla="*/ 1862498 h 13941544"/>
                <a:gd name="connsiteX44" fmla="*/ 9675138 w 16682562"/>
                <a:gd name="connsiteY44" fmla="*/ 1509896 h 13941544"/>
                <a:gd name="connsiteX45" fmla="*/ 9558580 w 16682562"/>
                <a:gd name="connsiteY45" fmla="*/ 961612 h 13941544"/>
                <a:gd name="connsiteX46" fmla="*/ 10353296 w 16682562"/>
                <a:gd name="connsiteY46" fmla="*/ 289328 h 13941544"/>
                <a:gd name="connsiteX47" fmla="*/ 10832530 w 16682562"/>
                <a:gd name="connsiteY47" fmla="*/ 216994 h 13941544"/>
                <a:gd name="connsiteX48" fmla="*/ 11058585 w 16682562"/>
                <a:gd name="connsiteY48" fmla="*/ 669063 h 13941544"/>
                <a:gd name="connsiteX49" fmla="*/ 11411229 w 16682562"/>
                <a:gd name="connsiteY49" fmla="*/ 1048794 h 13941544"/>
                <a:gd name="connsiteX50" fmla="*/ 11998974 w 16682562"/>
                <a:gd name="connsiteY50" fmla="*/ 1130164 h 13941544"/>
                <a:gd name="connsiteX51" fmla="*/ 12315449 w 16682562"/>
                <a:gd name="connsiteY51" fmla="*/ 1790176 h 13941544"/>
                <a:gd name="connsiteX52" fmla="*/ 12785642 w 16682562"/>
                <a:gd name="connsiteY52" fmla="*/ 1609347 h 13941544"/>
                <a:gd name="connsiteX53" fmla="*/ 13671776 w 16682562"/>
                <a:gd name="connsiteY53" fmla="*/ 2061408 h 13941544"/>
                <a:gd name="connsiteX54" fmla="*/ 14123886 w 16682562"/>
                <a:gd name="connsiteY54" fmla="*/ 1763055 h 13941544"/>
                <a:gd name="connsiteX55" fmla="*/ 14259509 w 16682562"/>
                <a:gd name="connsiteY55" fmla="*/ 1193454 h 13941544"/>
                <a:gd name="connsiteX56" fmla="*/ 14892468 w 16682562"/>
                <a:gd name="connsiteY56" fmla="*/ 551523 h 13941544"/>
                <a:gd name="connsiteX57" fmla="*/ 15778605 w 16682562"/>
                <a:gd name="connsiteY57" fmla="*/ 3 h 13941544"/>
                <a:gd name="connsiteX58" fmla="*/ 16022739 w 16682562"/>
                <a:gd name="connsiteY58" fmla="*/ 470153 h 13941544"/>
                <a:gd name="connsiteX59" fmla="*/ 9312071 w 16682562"/>
                <a:gd name="connsiteY59" fmla="*/ 4353992 h 13941544"/>
                <a:gd name="connsiteX60" fmla="*/ 10152517 w 16682562"/>
                <a:gd name="connsiteY60" fmla="*/ 5264302 h 13941544"/>
                <a:gd name="connsiteX61" fmla="*/ 11109603 w 16682562"/>
                <a:gd name="connsiteY61" fmla="*/ 5635776 h 13941544"/>
                <a:gd name="connsiteX62" fmla="*/ 11919572 w 16682562"/>
                <a:gd name="connsiteY62" fmla="*/ 5909298 h 13941544"/>
                <a:gd name="connsiteX63" fmla="*/ 12868275 w 16682562"/>
                <a:gd name="connsiteY63" fmla="*/ 5664087 h 13941544"/>
                <a:gd name="connsiteX64" fmla="*/ 13844296 w 16682562"/>
                <a:gd name="connsiteY64" fmla="*/ 5062252 h 13941544"/>
                <a:gd name="connsiteX65" fmla="*/ 13886291 w 16682562"/>
                <a:gd name="connsiteY65" fmla="*/ 4227884 h 13941544"/>
                <a:gd name="connsiteX66" fmla="*/ 14370431 w 16682562"/>
                <a:gd name="connsiteY66" fmla="*/ 4736236 h 13941544"/>
                <a:gd name="connsiteX67" fmla="*/ 15323320 w 16682562"/>
                <a:gd name="connsiteY67" fmla="*/ 4834509 h 13941544"/>
                <a:gd name="connsiteX68" fmla="*/ 16350939 w 16682562"/>
                <a:gd name="connsiteY68" fmla="*/ 4959368 h 13941544"/>
                <a:gd name="connsiteX69" fmla="*/ 16362364 w 16682562"/>
                <a:gd name="connsiteY69" fmla="*/ 5266648 h 13941544"/>
                <a:gd name="connsiteX70" fmla="*/ 16682563 w 16682562"/>
                <a:gd name="connsiteY70" fmla="*/ 5704551 h 13941544"/>
                <a:gd name="connsiteX0" fmla="*/ 16682563 w 16682562"/>
                <a:gd name="connsiteY0" fmla="*/ 5704551 h 13941544"/>
                <a:gd name="connsiteX1" fmla="*/ 16432262 w 16682562"/>
                <a:gd name="connsiteY1" fmla="*/ 6731937 h 13941544"/>
                <a:gd name="connsiteX2" fmla="*/ 16106317 w 16682562"/>
                <a:gd name="connsiteY2" fmla="*/ 7273241 h 13941544"/>
                <a:gd name="connsiteX3" fmla="*/ 16305649 w 16682562"/>
                <a:gd name="connsiteY3" fmla="*/ 7660570 h 13941544"/>
                <a:gd name="connsiteX4" fmla="*/ 16287189 w 16682562"/>
                <a:gd name="connsiteY4" fmla="*/ 8057177 h 13941544"/>
                <a:gd name="connsiteX5" fmla="*/ 16372801 w 16682562"/>
                <a:gd name="connsiteY5" fmla="*/ 8623442 h 13941544"/>
                <a:gd name="connsiteX6" fmla="*/ 16070155 w 16682562"/>
                <a:gd name="connsiteY6" fmla="*/ 8843828 h 13941544"/>
                <a:gd name="connsiteX7" fmla="*/ 15805690 w 16682562"/>
                <a:gd name="connsiteY7" fmla="*/ 9338019 h 13941544"/>
                <a:gd name="connsiteX8" fmla="*/ 15195097 w 16682562"/>
                <a:gd name="connsiteY8" fmla="*/ 8999762 h 13941544"/>
                <a:gd name="connsiteX9" fmla="*/ 15011380 w 16682562"/>
                <a:gd name="connsiteY9" fmla="*/ 9954612 h 13941544"/>
                <a:gd name="connsiteX10" fmla="*/ 14908430 w 16682562"/>
                <a:gd name="connsiteY10" fmla="*/ 10843507 h 13941544"/>
                <a:gd name="connsiteX11" fmla="*/ 14904684 w 16682562"/>
                <a:gd name="connsiteY11" fmla="*/ 11666946 h 13941544"/>
                <a:gd name="connsiteX12" fmla="*/ 14929927 w 16682562"/>
                <a:gd name="connsiteY12" fmla="*/ 13297866 h 13941544"/>
                <a:gd name="connsiteX13" fmla="*/ 12952786 w 16682562"/>
                <a:gd name="connsiteY13" fmla="*/ 13748619 h 13941544"/>
                <a:gd name="connsiteX14" fmla="*/ 11934663 w 16682562"/>
                <a:gd name="connsiteY14" fmla="*/ 13796869 h 13941544"/>
                <a:gd name="connsiteX15" fmla="*/ 8506848 w 16682562"/>
                <a:gd name="connsiteY15" fmla="*/ 13941544 h 13941544"/>
                <a:gd name="connsiteX16" fmla="*/ 7985095 w 16682562"/>
                <a:gd name="connsiteY16" fmla="*/ 13296462 h 13941544"/>
                <a:gd name="connsiteX17" fmla="*/ 7400308 w 16682562"/>
                <a:gd name="connsiteY17" fmla="*/ 13266317 h 13941544"/>
                <a:gd name="connsiteX18" fmla="*/ 6972273 w 16682562"/>
                <a:gd name="connsiteY18" fmla="*/ 13537614 h 13941544"/>
                <a:gd name="connsiteX19" fmla="*/ 5181729 w 16682562"/>
                <a:gd name="connsiteY19" fmla="*/ 13453215 h 13941544"/>
                <a:gd name="connsiteX20" fmla="*/ 4397998 w 16682562"/>
                <a:gd name="connsiteY20" fmla="*/ 12820198 h 13941544"/>
                <a:gd name="connsiteX21" fmla="*/ 2908896 w 16682562"/>
                <a:gd name="connsiteY21" fmla="*/ 12012344 h 13941544"/>
                <a:gd name="connsiteX22" fmla="*/ 1263043 w 16682562"/>
                <a:gd name="connsiteY22" fmla="*/ 11300951 h 13941544"/>
                <a:gd name="connsiteX23" fmla="*/ 485320 w 16682562"/>
                <a:gd name="connsiteY23" fmla="*/ 10848794 h 13941544"/>
                <a:gd name="connsiteX24" fmla="*/ 0 w 16682562"/>
                <a:gd name="connsiteY24" fmla="*/ 10555682 h 13941544"/>
                <a:gd name="connsiteX25" fmla="*/ 1003686 w 16682562"/>
                <a:gd name="connsiteY25" fmla="*/ 9809717 h 13941544"/>
                <a:gd name="connsiteX26" fmla="*/ 2902551 w 16682562"/>
                <a:gd name="connsiteY26" fmla="*/ 8625318 h 13941544"/>
                <a:gd name="connsiteX27" fmla="*/ 2558940 w 16682562"/>
                <a:gd name="connsiteY27" fmla="*/ 8091887 h 13941544"/>
                <a:gd name="connsiteX28" fmla="*/ 2402508 w 16682562"/>
                <a:gd name="connsiteY28" fmla="*/ 7404804 h 13941544"/>
                <a:gd name="connsiteX29" fmla="*/ 2730740 w 16682562"/>
                <a:gd name="connsiteY29" fmla="*/ 7377633 h 13941544"/>
                <a:gd name="connsiteX30" fmla="*/ 2947754 w 16682562"/>
                <a:gd name="connsiteY30" fmla="*/ 6907488 h 13941544"/>
                <a:gd name="connsiteX31" fmla="*/ 3499325 w 16682562"/>
                <a:gd name="connsiteY31" fmla="*/ 6464471 h 13941544"/>
                <a:gd name="connsiteX32" fmla="*/ 3680166 w 16682562"/>
                <a:gd name="connsiteY32" fmla="*/ 5587473 h 13941544"/>
                <a:gd name="connsiteX33" fmla="*/ 4186528 w 16682562"/>
                <a:gd name="connsiteY33" fmla="*/ 5596509 h 13941544"/>
                <a:gd name="connsiteX34" fmla="*/ 4837569 w 16682562"/>
                <a:gd name="connsiteY34" fmla="*/ 6066659 h 13941544"/>
                <a:gd name="connsiteX35" fmla="*/ 5352976 w 16682562"/>
                <a:gd name="connsiteY35" fmla="*/ 5985292 h 13941544"/>
                <a:gd name="connsiteX36" fmla="*/ 5741786 w 16682562"/>
                <a:gd name="connsiteY36" fmla="*/ 5614597 h 13941544"/>
                <a:gd name="connsiteX37" fmla="*/ 6157723 w 16682562"/>
                <a:gd name="connsiteY37" fmla="*/ 5451856 h 13941544"/>
                <a:gd name="connsiteX38" fmla="*/ 6745471 w 16682562"/>
                <a:gd name="connsiteY38" fmla="*/ 4882263 h 13941544"/>
                <a:gd name="connsiteX39" fmla="*/ 6890140 w 16682562"/>
                <a:gd name="connsiteY39" fmla="*/ 4032387 h 13941544"/>
                <a:gd name="connsiteX40" fmla="*/ 7568305 w 16682562"/>
                <a:gd name="connsiteY40" fmla="*/ 3462793 h 13941544"/>
                <a:gd name="connsiteX41" fmla="*/ 8137967 w 16682562"/>
                <a:gd name="connsiteY41" fmla="*/ 3019772 h 13941544"/>
                <a:gd name="connsiteX42" fmla="*/ 8463480 w 16682562"/>
                <a:gd name="connsiteY42" fmla="*/ 2215105 h 13941544"/>
                <a:gd name="connsiteX43" fmla="*/ 9024093 w 16682562"/>
                <a:gd name="connsiteY43" fmla="*/ 1862498 h 13941544"/>
                <a:gd name="connsiteX44" fmla="*/ 9675138 w 16682562"/>
                <a:gd name="connsiteY44" fmla="*/ 1509896 h 13941544"/>
                <a:gd name="connsiteX45" fmla="*/ 9558580 w 16682562"/>
                <a:gd name="connsiteY45" fmla="*/ 961612 h 13941544"/>
                <a:gd name="connsiteX46" fmla="*/ 10353296 w 16682562"/>
                <a:gd name="connsiteY46" fmla="*/ 289328 h 13941544"/>
                <a:gd name="connsiteX47" fmla="*/ 10832530 w 16682562"/>
                <a:gd name="connsiteY47" fmla="*/ 216994 h 13941544"/>
                <a:gd name="connsiteX48" fmla="*/ 11058585 w 16682562"/>
                <a:gd name="connsiteY48" fmla="*/ 669063 h 13941544"/>
                <a:gd name="connsiteX49" fmla="*/ 11411229 w 16682562"/>
                <a:gd name="connsiteY49" fmla="*/ 1048794 h 13941544"/>
                <a:gd name="connsiteX50" fmla="*/ 11998974 w 16682562"/>
                <a:gd name="connsiteY50" fmla="*/ 1130164 h 13941544"/>
                <a:gd name="connsiteX51" fmla="*/ 12315449 w 16682562"/>
                <a:gd name="connsiteY51" fmla="*/ 1790176 h 13941544"/>
                <a:gd name="connsiteX52" fmla="*/ 12785642 w 16682562"/>
                <a:gd name="connsiteY52" fmla="*/ 1609347 h 13941544"/>
                <a:gd name="connsiteX53" fmla="*/ 13671776 w 16682562"/>
                <a:gd name="connsiteY53" fmla="*/ 2061408 h 13941544"/>
                <a:gd name="connsiteX54" fmla="*/ 14123886 w 16682562"/>
                <a:gd name="connsiteY54" fmla="*/ 1763055 h 13941544"/>
                <a:gd name="connsiteX55" fmla="*/ 14259509 w 16682562"/>
                <a:gd name="connsiteY55" fmla="*/ 1193454 h 13941544"/>
                <a:gd name="connsiteX56" fmla="*/ 14892468 w 16682562"/>
                <a:gd name="connsiteY56" fmla="*/ 551523 h 13941544"/>
                <a:gd name="connsiteX57" fmla="*/ 15778605 w 16682562"/>
                <a:gd name="connsiteY57" fmla="*/ 3 h 13941544"/>
                <a:gd name="connsiteX58" fmla="*/ 16022739 w 16682562"/>
                <a:gd name="connsiteY58" fmla="*/ 470153 h 13941544"/>
                <a:gd name="connsiteX59" fmla="*/ 9761321 w 16682562"/>
                <a:gd name="connsiteY59" fmla="*/ 4466032 h 13941544"/>
                <a:gd name="connsiteX60" fmla="*/ 10152517 w 16682562"/>
                <a:gd name="connsiteY60" fmla="*/ 5264302 h 13941544"/>
                <a:gd name="connsiteX61" fmla="*/ 11109603 w 16682562"/>
                <a:gd name="connsiteY61" fmla="*/ 5635776 h 13941544"/>
                <a:gd name="connsiteX62" fmla="*/ 11919572 w 16682562"/>
                <a:gd name="connsiteY62" fmla="*/ 5909298 h 13941544"/>
                <a:gd name="connsiteX63" fmla="*/ 12868275 w 16682562"/>
                <a:gd name="connsiteY63" fmla="*/ 5664087 h 13941544"/>
                <a:gd name="connsiteX64" fmla="*/ 13844296 w 16682562"/>
                <a:gd name="connsiteY64" fmla="*/ 5062252 h 13941544"/>
                <a:gd name="connsiteX65" fmla="*/ 13886291 w 16682562"/>
                <a:gd name="connsiteY65" fmla="*/ 4227884 h 13941544"/>
                <a:gd name="connsiteX66" fmla="*/ 14370431 w 16682562"/>
                <a:gd name="connsiteY66" fmla="*/ 4736236 h 13941544"/>
                <a:gd name="connsiteX67" fmla="*/ 15323320 w 16682562"/>
                <a:gd name="connsiteY67" fmla="*/ 4834509 h 13941544"/>
                <a:gd name="connsiteX68" fmla="*/ 16350939 w 16682562"/>
                <a:gd name="connsiteY68" fmla="*/ 4959368 h 13941544"/>
                <a:gd name="connsiteX69" fmla="*/ 16362364 w 16682562"/>
                <a:gd name="connsiteY69" fmla="*/ 5266648 h 13941544"/>
                <a:gd name="connsiteX70" fmla="*/ 16682563 w 16682562"/>
                <a:gd name="connsiteY70" fmla="*/ 5704551 h 13941544"/>
                <a:gd name="connsiteX0" fmla="*/ 16682563 w 16682562"/>
                <a:gd name="connsiteY0" fmla="*/ 5704551 h 13941544"/>
                <a:gd name="connsiteX1" fmla="*/ 16432262 w 16682562"/>
                <a:gd name="connsiteY1" fmla="*/ 6731937 h 13941544"/>
                <a:gd name="connsiteX2" fmla="*/ 16106317 w 16682562"/>
                <a:gd name="connsiteY2" fmla="*/ 7273241 h 13941544"/>
                <a:gd name="connsiteX3" fmla="*/ 16305649 w 16682562"/>
                <a:gd name="connsiteY3" fmla="*/ 7660570 h 13941544"/>
                <a:gd name="connsiteX4" fmla="*/ 16287189 w 16682562"/>
                <a:gd name="connsiteY4" fmla="*/ 8057177 h 13941544"/>
                <a:gd name="connsiteX5" fmla="*/ 16372801 w 16682562"/>
                <a:gd name="connsiteY5" fmla="*/ 8623442 h 13941544"/>
                <a:gd name="connsiteX6" fmla="*/ 16070155 w 16682562"/>
                <a:gd name="connsiteY6" fmla="*/ 8843828 h 13941544"/>
                <a:gd name="connsiteX7" fmla="*/ 15805690 w 16682562"/>
                <a:gd name="connsiteY7" fmla="*/ 9338019 h 13941544"/>
                <a:gd name="connsiteX8" fmla="*/ 15195097 w 16682562"/>
                <a:gd name="connsiteY8" fmla="*/ 8999762 h 13941544"/>
                <a:gd name="connsiteX9" fmla="*/ 15011380 w 16682562"/>
                <a:gd name="connsiteY9" fmla="*/ 9954612 h 13941544"/>
                <a:gd name="connsiteX10" fmla="*/ 14908430 w 16682562"/>
                <a:gd name="connsiteY10" fmla="*/ 10843507 h 13941544"/>
                <a:gd name="connsiteX11" fmla="*/ 14904684 w 16682562"/>
                <a:gd name="connsiteY11" fmla="*/ 11666946 h 13941544"/>
                <a:gd name="connsiteX12" fmla="*/ 14929927 w 16682562"/>
                <a:gd name="connsiteY12" fmla="*/ 13297866 h 13941544"/>
                <a:gd name="connsiteX13" fmla="*/ 12952786 w 16682562"/>
                <a:gd name="connsiteY13" fmla="*/ 13748619 h 13941544"/>
                <a:gd name="connsiteX14" fmla="*/ 11934663 w 16682562"/>
                <a:gd name="connsiteY14" fmla="*/ 13796869 h 13941544"/>
                <a:gd name="connsiteX15" fmla="*/ 8506848 w 16682562"/>
                <a:gd name="connsiteY15" fmla="*/ 13941544 h 13941544"/>
                <a:gd name="connsiteX16" fmla="*/ 7985095 w 16682562"/>
                <a:gd name="connsiteY16" fmla="*/ 13296462 h 13941544"/>
                <a:gd name="connsiteX17" fmla="*/ 7400308 w 16682562"/>
                <a:gd name="connsiteY17" fmla="*/ 13266317 h 13941544"/>
                <a:gd name="connsiteX18" fmla="*/ 6972273 w 16682562"/>
                <a:gd name="connsiteY18" fmla="*/ 13537614 h 13941544"/>
                <a:gd name="connsiteX19" fmla="*/ 5181729 w 16682562"/>
                <a:gd name="connsiteY19" fmla="*/ 13453215 h 13941544"/>
                <a:gd name="connsiteX20" fmla="*/ 4397998 w 16682562"/>
                <a:gd name="connsiteY20" fmla="*/ 12820198 h 13941544"/>
                <a:gd name="connsiteX21" fmla="*/ 2908896 w 16682562"/>
                <a:gd name="connsiteY21" fmla="*/ 12012344 h 13941544"/>
                <a:gd name="connsiteX22" fmla="*/ 1263043 w 16682562"/>
                <a:gd name="connsiteY22" fmla="*/ 11300951 h 13941544"/>
                <a:gd name="connsiteX23" fmla="*/ 485320 w 16682562"/>
                <a:gd name="connsiteY23" fmla="*/ 10848794 h 13941544"/>
                <a:gd name="connsiteX24" fmla="*/ 0 w 16682562"/>
                <a:gd name="connsiteY24" fmla="*/ 10555682 h 13941544"/>
                <a:gd name="connsiteX25" fmla="*/ 1003686 w 16682562"/>
                <a:gd name="connsiteY25" fmla="*/ 9809717 h 13941544"/>
                <a:gd name="connsiteX26" fmla="*/ 2902551 w 16682562"/>
                <a:gd name="connsiteY26" fmla="*/ 8625318 h 13941544"/>
                <a:gd name="connsiteX27" fmla="*/ 2558940 w 16682562"/>
                <a:gd name="connsiteY27" fmla="*/ 8091887 h 13941544"/>
                <a:gd name="connsiteX28" fmla="*/ 2402508 w 16682562"/>
                <a:gd name="connsiteY28" fmla="*/ 7404804 h 13941544"/>
                <a:gd name="connsiteX29" fmla="*/ 2730740 w 16682562"/>
                <a:gd name="connsiteY29" fmla="*/ 7377633 h 13941544"/>
                <a:gd name="connsiteX30" fmla="*/ 2947754 w 16682562"/>
                <a:gd name="connsiteY30" fmla="*/ 6907488 h 13941544"/>
                <a:gd name="connsiteX31" fmla="*/ 3499325 w 16682562"/>
                <a:gd name="connsiteY31" fmla="*/ 6464471 h 13941544"/>
                <a:gd name="connsiteX32" fmla="*/ 3680166 w 16682562"/>
                <a:gd name="connsiteY32" fmla="*/ 5587473 h 13941544"/>
                <a:gd name="connsiteX33" fmla="*/ 4186528 w 16682562"/>
                <a:gd name="connsiteY33" fmla="*/ 5596509 h 13941544"/>
                <a:gd name="connsiteX34" fmla="*/ 4837569 w 16682562"/>
                <a:gd name="connsiteY34" fmla="*/ 6066659 h 13941544"/>
                <a:gd name="connsiteX35" fmla="*/ 5352976 w 16682562"/>
                <a:gd name="connsiteY35" fmla="*/ 5985292 h 13941544"/>
                <a:gd name="connsiteX36" fmla="*/ 5741786 w 16682562"/>
                <a:gd name="connsiteY36" fmla="*/ 5614597 h 13941544"/>
                <a:gd name="connsiteX37" fmla="*/ 6157723 w 16682562"/>
                <a:gd name="connsiteY37" fmla="*/ 5451856 h 13941544"/>
                <a:gd name="connsiteX38" fmla="*/ 6745471 w 16682562"/>
                <a:gd name="connsiteY38" fmla="*/ 4882263 h 13941544"/>
                <a:gd name="connsiteX39" fmla="*/ 6890140 w 16682562"/>
                <a:gd name="connsiteY39" fmla="*/ 4032387 h 13941544"/>
                <a:gd name="connsiteX40" fmla="*/ 7568305 w 16682562"/>
                <a:gd name="connsiteY40" fmla="*/ 3462793 h 13941544"/>
                <a:gd name="connsiteX41" fmla="*/ 8137967 w 16682562"/>
                <a:gd name="connsiteY41" fmla="*/ 3019772 h 13941544"/>
                <a:gd name="connsiteX42" fmla="*/ 8463480 w 16682562"/>
                <a:gd name="connsiteY42" fmla="*/ 2215105 h 13941544"/>
                <a:gd name="connsiteX43" fmla="*/ 9024093 w 16682562"/>
                <a:gd name="connsiteY43" fmla="*/ 1862498 h 13941544"/>
                <a:gd name="connsiteX44" fmla="*/ 9675138 w 16682562"/>
                <a:gd name="connsiteY44" fmla="*/ 1509896 h 13941544"/>
                <a:gd name="connsiteX45" fmla="*/ 9558580 w 16682562"/>
                <a:gd name="connsiteY45" fmla="*/ 961612 h 13941544"/>
                <a:gd name="connsiteX46" fmla="*/ 10353296 w 16682562"/>
                <a:gd name="connsiteY46" fmla="*/ 289328 h 13941544"/>
                <a:gd name="connsiteX47" fmla="*/ 10832530 w 16682562"/>
                <a:gd name="connsiteY47" fmla="*/ 216994 h 13941544"/>
                <a:gd name="connsiteX48" fmla="*/ 11058585 w 16682562"/>
                <a:gd name="connsiteY48" fmla="*/ 669063 h 13941544"/>
                <a:gd name="connsiteX49" fmla="*/ 11411229 w 16682562"/>
                <a:gd name="connsiteY49" fmla="*/ 1048794 h 13941544"/>
                <a:gd name="connsiteX50" fmla="*/ 11998974 w 16682562"/>
                <a:gd name="connsiteY50" fmla="*/ 1130164 h 13941544"/>
                <a:gd name="connsiteX51" fmla="*/ 12315449 w 16682562"/>
                <a:gd name="connsiteY51" fmla="*/ 1790176 h 13941544"/>
                <a:gd name="connsiteX52" fmla="*/ 12785642 w 16682562"/>
                <a:gd name="connsiteY52" fmla="*/ 1609347 h 13941544"/>
                <a:gd name="connsiteX53" fmla="*/ 13671776 w 16682562"/>
                <a:gd name="connsiteY53" fmla="*/ 2061408 h 13941544"/>
                <a:gd name="connsiteX54" fmla="*/ 14123886 w 16682562"/>
                <a:gd name="connsiteY54" fmla="*/ 1763055 h 13941544"/>
                <a:gd name="connsiteX55" fmla="*/ 14259509 w 16682562"/>
                <a:gd name="connsiteY55" fmla="*/ 1193454 h 13941544"/>
                <a:gd name="connsiteX56" fmla="*/ 14892468 w 16682562"/>
                <a:gd name="connsiteY56" fmla="*/ 551523 h 13941544"/>
                <a:gd name="connsiteX57" fmla="*/ 15778605 w 16682562"/>
                <a:gd name="connsiteY57" fmla="*/ 3 h 13941544"/>
                <a:gd name="connsiteX58" fmla="*/ 9761321 w 16682562"/>
                <a:gd name="connsiteY58" fmla="*/ 4466032 h 13941544"/>
                <a:gd name="connsiteX59" fmla="*/ 10152517 w 16682562"/>
                <a:gd name="connsiteY59" fmla="*/ 5264302 h 13941544"/>
                <a:gd name="connsiteX60" fmla="*/ 11109603 w 16682562"/>
                <a:gd name="connsiteY60" fmla="*/ 5635776 h 13941544"/>
                <a:gd name="connsiteX61" fmla="*/ 11919572 w 16682562"/>
                <a:gd name="connsiteY61" fmla="*/ 5909298 h 13941544"/>
                <a:gd name="connsiteX62" fmla="*/ 12868275 w 16682562"/>
                <a:gd name="connsiteY62" fmla="*/ 5664087 h 13941544"/>
                <a:gd name="connsiteX63" fmla="*/ 13844296 w 16682562"/>
                <a:gd name="connsiteY63" fmla="*/ 5062252 h 13941544"/>
                <a:gd name="connsiteX64" fmla="*/ 13886291 w 16682562"/>
                <a:gd name="connsiteY64" fmla="*/ 4227884 h 13941544"/>
                <a:gd name="connsiteX65" fmla="*/ 14370431 w 16682562"/>
                <a:gd name="connsiteY65" fmla="*/ 4736236 h 13941544"/>
                <a:gd name="connsiteX66" fmla="*/ 15323320 w 16682562"/>
                <a:gd name="connsiteY66" fmla="*/ 4834509 h 13941544"/>
                <a:gd name="connsiteX67" fmla="*/ 16350939 w 16682562"/>
                <a:gd name="connsiteY67" fmla="*/ 4959368 h 13941544"/>
                <a:gd name="connsiteX68" fmla="*/ 16362364 w 16682562"/>
                <a:gd name="connsiteY68" fmla="*/ 5266648 h 13941544"/>
                <a:gd name="connsiteX69" fmla="*/ 16682563 w 16682562"/>
                <a:gd name="connsiteY69" fmla="*/ 5704551 h 13941544"/>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13671776 w 16682562"/>
                <a:gd name="connsiteY53" fmla="*/ 1844415 h 13724551"/>
                <a:gd name="connsiteX54" fmla="*/ 14123886 w 16682562"/>
                <a:gd name="connsiteY54" fmla="*/ 1546062 h 13724551"/>
                <a:gd name="connsiteX55" fmla="*/ 14259509 w 16682562"/>
                <a:gd name="connsiteY55" fmla="*/ 976461 h 13724551"/>
                <a:gd name="connsiteX56" fmla="*/ 14892468 w 16682562"/>
                <a:gd name="connsiteY56" fmla="*/ 334530 h 13724551"/>
                <a:gd name="connsiteX57" fmla="*/ 9761321 w 16682562"/>
                <a:gd name="connsiteY57" fmla="*/ 4249039 h 13724551"/>
                <a:gd name="connsiteX58" fmla="*/ 10152517 w 16682562"/>
                <a:gd name="connsiteY58" fmla="*/ 5047309 h 13724551"/>
                <a:gd name="connsiteX59" fmla="*/ 11109603 w 16682562"/>
                <a:gd name="connsiteY59" fmla="*/ 5418783 h 13724551"/>
                <a:gd name="connsiteX60" fmla="*/ 11919572 w 16682562"/>
                <a:gd name="connsiteY60" fmla="*/ 5692305 h 13724551"/>
                <a:gd name="connsiteX61" fmla="*/ 12868275 w 16682562"/>
                <a:gd name="connsiteY61" fmla="*/ 5447094 h 13724551"/>
                <a:gd name="connsiteX62" fmla="*/ 13844296 w 16682562"/>
                <a:gd name="connsiteY62" fmla="*/ 4845259 h 13724551"/>
                <a:gd name="connsiteX63" fmla="*/ 13886291 w 16682562"/>
                <a:gd name="connsiteY63" fmla="*/ 4010891 h 13724551"/>
                <a:gd name="connsiteX64" fmla="*/ 14370431 w 16682562"/>
                <a:gd name="connsiteY64" fmla="*/ 4519243 h 13724551"/>
                <a:gd name="connsiteX65" fmla="*/ 15323320 w 16682562"/>
                <a:gd name="connsiteY65" fmla="*/ 4617516 h 13724551"/>
                <a:gd name="connsiteX66" fmla="*/ 16350939 w 16682562"/>
                <a:gd name="connsiteY66" fmla="*/ 4742375 h 13724551"/>
                <a:gd name="connsiteX67" fmla="*/ 16362364 w 16682562"/>
                <a:gd name="connsiteY67" fmla="*/ 5049655 h 13724551"/>
                <a:gd name="connsiteX68" fmla="*/ 16682563 w 16682562"/>
                <a:gd name="connsiteY68"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13671776 w 16682562"/>
                <a:gd name="connsiteY53" fmla="*/ 1844415 h 13724551"/>
                <a:gd name="connsiteX54" fmla="*/ 14123886 w 16682562"/>
                <a:gd name="connsiteY54" fmla="*/ 1546062 h 13724551"/>
                <a:gd name="connsiteX55" fmla="*/ 14259509 w 16682562"/>
                <a:gd name="connsiteY55" fmla="*/ 976461 h 13724551"/>
                <a:gd name="connsiteX56" fmla="*/ 9761321 w 16682562"/>
                <a:gd name="connsiteY56" fmla="*/ 4249039 h 13724551"/>
                <a:gd name="connsiteX57" fmla="*/ 10152517 w 16682562"/>
                <a:gd name="connsiteY57" fmla="*/ 5047309 h 13724551"/>
                <a:gd name="connsiteX58" fmla="*/ 11109603 w 16682562"/>
                <a:gd name="connsiteY58" fmla="*/ 5418783 h 13724551"/>
                <a:gd name="connsiteX59" fmla="*/ 11919572 w 16682562"/>
                <a:gd name="connsiteY59" fmla="*/ 5692305 h 13724551"/>
                <a:gd name="connsiteX60" fmla="*/ 12868275 w 16682562"/>
                <a:gd name="connsiteY60" fmla="*/ 5447094 h 13724551"/>
                <a:gd name="connsiteX61" fmla="*/ 13844296 w 16682562"/>
                <a:gd name="connsiteY61" fmla="*/ 4845259 h 13724551"/>
                <a:gd name="connsiteX62" fmla="*/ 13886291 w 16682562"/>
                <a:gd name="connsiteY62" fmla="*/ 4010891 h 13724551"/>
                <a:gd name="connsiteX63" fmla="*/ 14370431 w 16682562"/>
                <a:gd name="connsiteY63" fmla="*/ 4519243 h 13724551"/>
                <a:gd name="connsiteX64" fmla="*/ 15323320 w 16682562"/>
                <a:gd name="connsiteY64" fmla="*/ 4617516 h 13724551"/>
                <a:gd name="connsiteX65" fmla="*/ 16350939 w 16682562"/>
                <a:gd name="connsiteY65" fmla="*/ 4742375 h 13724551"/>
                <a:gd name="connsiteX66" fmla="*/ 16362364 w 16682562"/>
                <a:gd name="connsiteY66" fmla="*/ 5049655 h 13724551"/>
                <a:gd name="connsiteX67" fmla="*/ 16682563 w 16682562"/>
                <a:gd name="connsiteY67"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13671776 w 16682562"/>
                <a:gd name="connsiteY53" fmla="*/ 1844415 h 13724551"/>
                <a:gd name="connsiteX54" fmla="*/ 14123886 w 16682562"/>
                <a:gd name="connsiteY54" fmla="*/ 1546062 h 13724551"/>
                <a:gd name="connsiteX55" fmla="*/ 9761321 w 16682562"/>
                <a:gd name="connsiteY55" fmla="*/ 4249039 h 13724551"/>
                <a:gd name="connsiteX56" fmla="*/ 10152517 w 16682562"/>
                <a:gd name="connsiteY56" fmla="*/ 5047309 h 13724551"/>
                <a:gd name="connsiteX57" fmla="*/ 11109603 w 16682562"/>
                <a:gd name="connsiteY57" fmla="*/ 5418783 h 13724551"/>
                <a:gd name="connsiteX58" fmla="*/ 11919572 w 16682562"/>
                <a:gd name="connsiteY58" fmla="*/ 5692305 h 13724551"/>
                <a:gd name="connsiteX59" fmla="*/ 12868275 w 16682562"/>
                <a:gd name="connsiteY59" fmla="*/ 5447094 h 13724551"/>
                <a:gd name="connsiteX60" fmla="*/ 13844296 w 16682562"/>
                <a:gd name="connsiteY60" fmla="*/ 4845259 h 13724551"/>
                <a:gd name="connsiteX61" fmla="*/ 13886291 w 16682562"/>
                <a:gd name="connsiteY61" fmla="*/ 4010891 h 13724551"/>
                <a:gd name="connsiteX62" fmla="*/ 14370431 w 16682562"/>
                <a:gd name="connsiteY62" fmla="*/ 4519243 h 13724551"/>
                <a:gd name="connsiteX63" fmla="*/ 15323320 w 16682562"/>
                <a:gd name="connsiteY63" fmla="*/ 4617516 h 13724551"/>
                <a:gd name="connsiteX64" fmla="*/ 16350939 w 16682562"/>
                <a:gd name="connsiteY64" fmla="*/ 4742375 h 13724551"/>
                <a:gd name="connsiteX65" fmla="*/ 16362364 w 16682562"/>
                <a:gd name="connsiteY65" fmla="*/ 5049655 h 13724551"/>
                <a:gd name="connsiteX66" fmla="*/ 16682563 w 16682562"/>
                <a:gd name="connsiteY66"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13671776 w 16682562"/>
                <a:gd name="connsiteY53" fmla="*/ 1844415 h 13724551"/>
                <a:gd name="connsiteX54" fmla="*/ 9761321 w 16682562"/>
                <a:gd name="connsiteY54" fmla="*/ 4249039 h 13724551"/>
                <a:gd name="connsiteX55" fmla="*/ 10152517 w 16682562"/>
                <a:gd name="connsiteY55" fmla="*/ 5047309 h 13724551"/>
                <a:gd name="connsiteX56" fmla="*/ 11109603 w 16682562"/>
                <a:gd name="connsiteY56" fmla="*/ 5418783 h 13724551"/>
                <a:gd name="connsiteX57" fmla="*/ 11919572 w 16682562"/>
                <a:gd name="connsiteY57" fmla="*/ 5692305 h 13724551"/>
                <a:gd name="connsiteX58" fmla="*/ 12868275 w 16682562"/>
                <a:gd name="connsiteY58" fmla="*/ 5447094 h 13724551"/>
                <a:gd name="connsiteX59" fmla="*/ 13844296 w 16682562"/>
                <a:gd name="connsiteY59" fmla="*/ 4845259 h 13724551"/>
                <a:gd name="connsiteX60" fmla="*/ 13886291 w 16682562"/>
                <a:gd name="connsiteY60" fmla="*/ 4010891 h 13724551"/>
                <a:gd name="connsiteX61" fmla="*/ 14370431 w 16682562"/>
                <a:gd name="connsiteY61" fmla="*/ 4519243 h 13724551"/>
                <a:gd name="connsiteX62" fmla="*/ 15323320 w 16682562"/>
                <a:gd name="connsiteY62" fmla="*/ 4617516 h 13724551"/>
                <a:gd name="connsiteX63" fmla="*/ 16350939 w 16682562"/>
                <a:gd name="connsiteY63" fmla="*/ 4742375 h 13724551"/>
                <a:gd name="connsiteX64" fmla="*/ 16362364 w 16682562"/>
                <a:gd name="connsiteY64" fmla="*/ 5049655 h 13724551"/>
                <a:gd name="connsiteX65" fmla="*/ 16682563 w 16682562"/>
                <a:gd name="connsiteY65"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9761321 w 16682562"/>
                <a:gd name="connsiteY53" fmla="*/ 4249039 h 13724551"/>
                <a:gd name="connsiteX54" fmla="*/ 10152517 w 16682562"/>
                <a:gd name="connsiteY54" fmla="*/ 5047309 h 13724551"/>
                <a:gd name="connsiteX55" fmla="*/ 11109603 w 16682562"/>
                <a:gd name="connsiteY55" fmla="*/ 5418783 h 13724551"/>
                <a:gd name="connsiteX56" fmla="*/ 11919572 w 16682562"/>
                <a:gd name="connsiteY56" fmla="*/ 5692305 h 13724551"/>
                <a:gd name="connsiteX57" fmla="*/ 12868275 w 16682562"/>
                <a:gd name="connsiteY57" fmla="*/ 5447094 h 13724551"/>
                <a:gd name="connsiteX58" fmla="*/ 13844296 w 16682562"/>
                <a:gd name="connsiteY58" fmla="*/ 4845259 h 13724551"/>
                <a:gd name="connsiteX59" fmla="*/ 13886291 w 16682562"/>
                <a:gd name="connsiteY59" fmla="*/ 4010891 h 13724551"/>
                <a:gd name="connsiteX60" fmla="*/ 14370431 w 16682562"/>
                <a:gd name="connsiteY60" fmla="*/ 4519243 h 13724551"/>
                <a:gd name="connsiteX61" fmla="*/ 15323320 w 16682562"/>
                <a:gd name="connsiteY61" fmla="*/ 4617516 h 13724551"/>
                <a:gd name="connsiteX62" fmla="*/ 16350939 w 16682562"/>
                <a:gd name="connsiteY62" fmla="*/ 4742375 h 13724551"/>
                <a:gd name="connsiteX63" fmla="*/ 16362364 w 16682562"/>
                <a:gd name="connsiteY63" fmla="*/ 5049655 h 13724551"/>
                <a:gd name="connsiteX64" fmla="*/ 16682563 w 16682562"/>
                <a:gd name="connsiteY64"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8216041 w 16682562"/>
                <a:gd name="connsiteY51" fmla="*/ 3870010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8524896 w 16682562"/>
                <a:gd name="connsiteY51" fmla="*/ 4654291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8348814 w 16682562"/>
                <a:gd name="connsiteY50" fmla="*/ 3770198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9078849 w 16682562"/>
                <a:gd name="connsiteY50" fmla="*/ 3798207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8463027 w 16682562"/>
                <a:gd name="connsiteY49" fmla="*/ 3408723 h 13724551"/>
                <a:gd name="connsiteX50" fmla="*/ 9078849 w 16682562"/>
                <a:gd name="connsiteY50" fmla="*/ 3798207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8856118 w 16682562"/>
                <a:gd name="connsiteY49" fmla="*/ 3184643 h 13724551"/>
                <a:gd name="connsiteX50" fmla="*/ 9078849 w 16682562"/>
                <a:gd name="connsiteY50" fmla="*/ 3798207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8856118 w 16682562"/>
                <a:gd name="connsiteY48" fmla="*/ 3184643 h 13724551"/>
                <a:gd name="connsiteX49" fmla="*/ 9078849 w 16682562"/>
                <a:gd name="connsiteY49" fmla="*/ 3798207 h 13724551"/>
                <a:gd name="connsiteX50" fmla="*/ 9086459 w 16682562"/>
                <a:gd name="connsiteY50" fmla="*/ 4346185 h 13724551"/>
                <a:gd name="connsiteX51" fmla="*/ 9761321 w 16682562"/>
                <a:gd name="connsiteY51" fmla="*/ 4249039 h 13724551"/>
                <a:gd name="connsiteX52" fmla="*/ 10152517 w 16682562"/>
                <a:gd name="connsiteY52" fmla="*/ 5047309 h 13724551"/>
                <a:gd name="connsiteX53" fmla="*/ 11109603 w 16682562"/>
                <a:gd name="connsiteY53" fmla="*/ 5418783 h 13724551"/>
                <a:gd name="connsiteX54" fmla="*/ 11919572 w 16682562"/>
                <a:gd name="connsiteY54" fmla="*/ 5692305 h 13724551"/>
                <a:gd name="connsiteX55" fmla="*/ 12868275 w 16682562"/>
                <a:gd name="connsiteY55" fmla="*/ 5447094 h 13724551"/>
                <a:gd name="connsiteX56" fmla="*/ 13844296 w 16682562"/>
                <a:gd name="connsiteY56" fmla="*/ 4845259 h 13724551"/>
                <a:gd name="connsiteX57" fmla="*/ 13886291 w 16682562"/>
                <a:gd name="connsiteY57" fmla="*/ 4010891 h 13724551"/>
                <a:gd name="connsiteX58" fmla="*/ 14370431 w 16682562"/>
                <a:gd name="connsiteY58" fmla="*/ 4519243 h 13724551"/>
                <a:gd name="connsiteX59" fmla="*/ 15323320 w 16682562"/>
                <a:gd name="connsiteY59" fmla="*/ 4617516 h 13724551"/>
                <a:gd name="connsiteX60" fmla="*/ 16350939 w 16682562"/>
                <a:gd name="connsiteY60" fmla="*/ 4742375 h 13724551"/>
                <a:gd name="connsiteX61" fmla="*/ 16362364 w 16682562"/>
                <a:gd name="connsiteY61" fmla="*/ 5049655 h 13724551"/>
                <a:gd name="connsiteX62" fmla="*/ 16682563 w 16682562"/>
                <a:gd name="connsiteY62" fmla="*/ 5487558 h 13724551"/>
                <a:gd name="connsiteX0" fmla="*/ 16682563 w 16682562"/>
                <a:gd name="connsiteY0" fmla="*/ 5415225 h 13652218"/>
                <a:gd name="connsiteX1" fmla="*/ 16432262 w 16682562"/>
                <a:gd name="connsiteY1" fmla="*/ 6442611 h 13652218"/>
                <a:gd name="connsiteX2" fmla="*/ 16106317 w 16682562"/>
                <a:gd name="connsiteY2" fmla="*/ 6983915 h 13652218"/>
                <a:gd name="connsiteX3" fmla="*/ 16305649 w 16682562"/>
                <a:gd name="connsiteY3" fmla="*/ 7371244 h 13652218"/>
                <a:gd name="connsiteX4" fmla="*/ 16287189 w 16682562"/>
                <a:gd name="connsiteY4" fmla="*/ 7767851 h 13652218"/>
                <a:gd name="connsiteX5" fmla="*/ 16372801 w 16682562"/>
                <a:gd name="connsiteY5" fmla="*/ 8334116 h 13652218"/>
                <a:gd name="connsiteX6" fmla="*/ 16070155 w 16682562"/>
                <a:gd name="connsiteY6" fmla="*/ 8554502 h 13652218"/>
                <a:gd name="connsiteX7" fmla="*/ 15805690 w 16682562"/>
                <a:gd name="connsiteY7" fmla="*/ 9048693 h 13652218"/>
                <a:gd name="connsiteX8" fmla="*/ 15195097 w 16682562"/>
                <a:gd name="connsiteY8" fmla="*/ 8710436 h 13652218"/>
                <a:gd name="connsiteX9" fmla="*/ 15011380 w 16682562"/>
                <a:gd name="connsiteY9" fmla="*/ 9665286 h 13652218"/>
                <a:gd name="connsiteX10" fmla="*/ 14908430 w 16682562"/>
                <a:gd name="connsiteY10" fmla="*/ 10554181 h 13652218"/>
                <a:gd name="connsiteX11" fmla="*/ 14904684 w 16682562"/>
                <a:gd name="connsiteY11" fmla="*/ 11377620 h 13652218"/>
                <a:gd name="connsiteX12" fmla="*/ 14929927 w 16682562"/>
                <a:gd name="connsiteY12" fmla="*/ 13008540 h 13652218"/>
                <a:gd name="connsiteX13" fmla="*/ 12952786 w 16682562"/>
                <a:gd name="connsiteY13" fmla="*/ 13459293 h 13652218"/>
                <a:gd name="connsiteX14" fmla="*/ 11934663 w 16682562"/>
                <a:gd name="connsiteY14" fmla="*/ 13507543 h 13652218"/>
                <a:gd name="connsiteX15" fmla="*/ 8506848 w 16682562"/>
                <a:gd name="connsiteY15" fmla="*/ 13652218 h 13652218"/>
                <a:gd name="connsiteX16" fmla="*/ 7985095 w 16682562"/>
                <a:gd name="connsiteY16" fmla="*/ 13007136 h 13652218"/>
                <a:gd name="connsiteX17" fmla="*/ 7400308 w 16682562"/>
                <a:gd name="connsiteY17" fmla="*/ 12976991 h 13652218"/>
                <a:gd name="connsiteX18" fmla="*/ 6972273 w 16682562"/>
                <a:gd name="connsiteY18" fmla="*/ 13248288 h 13652218"/>
                <a:gd name="connsiteX19" fmla="*/ 5181729 w 16682562"/>
                <a:gd name="connsiteY19" fmla="*/ 13163889 h 13652218"/>
                <a:gd name="connsiteX20" fmla="*/ 4397998 w 16682562"/>
                <a:gd name="connsiteY20" fmla="*/ 12530872 h 13652218"/>
                <a:gd name="connsiteX21" fmla="*/ 2908896 w 16682562"/>
                <a:gd name="connsiteY21" fmla="*/ 11723018 h 13652218"/>
                <a:gd name="connsiteX22" fmla="*/ 1263043 w 16682562"/>
                <a:gd name="connsiteY22" fmla="*/ 11011625 h 13652218"/>
                <a:gd name="connsiteX23" fmla="*/ 485320 w 16682562"/>
                <a:gd name="connsiteY23" fmla="*/ 10559468 h 13652218"/>
                <a:gd name="connsiteX24" fmla="*/ 0 w 16682562"/>
                <a:gd name="connsiteY24" fmla="*/ 10266356 h 13652218"/>
                <a:gd name="connsiteX25" fmla="*/ 1003686 w 16682562"/>
                <a:gd name="connsiteY25" fmla="*/ 9520391 h 13652218"/>
                <a:gd name="connsiteX26" fmla="*/ 2902551 w 16682562"/>
                <a:gd name="connsiteY26" fmla="*/ 8335992 h 13652218"/>
                <a:gd name="connsiteX27" fmla="*/ 2558940 w 16682562"/>
                <a:gd name="connsiteY27" fmla="*/ 7802561 h 13652218"/>
                <a:gd name="connsiteX28" fmla="*/ 2402508 w 16682562"/>
                <a:gd name="connsiteY28" fmla="*/ 7115478 h 13652218"/>
                <a:gd name="connsiteX29" fmla="*/ 2730740 w 16682562"/>
                <a:gd name="connsiteY29" fmla="*/ 7088307 h 13652218"/>
                <a:gd name="connsiteX30" fmla="*/ 2947754 w 16682562"/>
                <a:gd name="connsiteY30" fmla="*/ 6618162 h 13652218"/>
                <a:gd name="connsiteX31" fmla="*/ 3499325 w 16682562"/>
                <a:gd name="connsiteY31" fmla="*/ 6175145 h 13652218"/>
                <a:gd name="connsiteX32" fmla="*/ 3680166 w 16682562"/>
                <a:gd name="connsiteY32" fmla="*/ 5298147 h 13652218"/>
                <a:gd name="connsiteX33" fmla="*/ 4186528 w 16682562"/>
                <a:gd name="connsiteY33" fmla="*/ 5307183 h 13652218"/>
                <a:gd name="connsiteX34" fmla="*/ 4837569 w 16682562"/>
                <a:gd name="connsiteY34" fmla="*/ 5777333 h 13652218"/>
                <a:gd name="connsiteX35" fmla="*/ 5352976 w 16682562"/>
                <a:gd name="connsiteY35" fmla="*/ 5695966 h 13652218"/>
                <a:gd name="connsiteX36" fmla="*/ 5741786 w 16682562"/>
                <a:gd name="connsiteY36" fmla="*/ 5325271 h 13652218"/>
                <a:gd name="connsiteX37" fmla="*/ 6157723 w 16682562"/>
                <a:gd name="connsiteY37" fmla="*/ 5162530 h 13652218"/>
                <a:gd name="connsiteX38" fmla="*/ 6745471 w 16682562"/>
                <a:gd name="connsiteY38" fmla="*/ 4592937 h 13652218"/>
                <a:gd name="connsiteX39" fmla="*/ 6890140 w 16682562"/>
                <a:gd name="connsiteY39" fmla="*/ 3743061 h 13652218"/>
                <a:gd name="connsiteX40" fmla="*/ 7568305 w 16682562"/>
                <a:gd name="connsiteY40" fmla="*/ 3173467 h 13652218"/>
                <a:gd name="connsiteX41" fmla="*/ 8137967 w 16682562"/>
                <a:gd name="connsiteY41" fmla="*/ 2730446 h 13652218"/>
                <a:gd name="connsiteX42" fmla="*/ 8463480 w 16682562"/>
                <a:gd name="connsiteY42" fmla="*/ 1925779 h 13652218"/>
                <a:gd name="connsiteX43" fmla="*/ 9024093 w 16682562"/>
                <a:gd name="connsiteY43" fmla="*/ 1573172 h 13652218"/>
                <a:gd name="connsiteX44" fmla="*/ 9675138 w 16682562"/>
                <a:gd name="connsiteY44" fmla="*/ 1220570 h 13652218"/>
                <a:gd name="connsiteX45" fmla="*/ 9558580 w 16682562"/>
                <a:gd name="connsiteY45" fmla="*/ 672286 h 13652218"/>
                <a:gd name="connsiteX46" fmla="*/ 10353296 w 16682562"/>
                <a:gd name="connsiteY46" fmla="*/ 2 h 13652218"/>
                <a:gd name="connsiteX47" fmla="*/ 8856118 w 16682562"/>
                <a:gd name="connsiteY47" fmla="*/ 3112310 h 13652218"/>
                <a:gd name="connsiteX48" fmla="*/ 9078849 w 16682562"/>
                <a:gd name="connsiteY48" fmla="*/ 3725874 h 13652218"/>
                <a:gd name="connsiteX49" fmla="*/ 9086459 w 16682562"/>
                <a:gd name="connsiteY49" fmla="*/ 4273852 h 13652218"/>
                <a:gd name="connsiteX50" fmla="*/ 9761321 w 16682562"/>
                <a:gd name="connsiteY50" fmla="*/ 4176706 h 13652218"/>
                <a:gd name="connsiteX51" fmla="*/ 10152517 w 16682562"/>
                <a:gd name="connsiteY51" fmla="*/ 4974976 h 13652218"/>
                <a:gd name="connsiteX52" fmla="*/ 11109603 w 16682562"/>
                <a:gd name="connsiteY52" fmla="*/ 5346450 h 13652218"/>
                <a:gd name="connsiteX53" fmla="*/ 11919572 w 16682562"/>
                <a:gd name="connsiteY53" fmla="*/ 5619972 h 13652218"/>
                <a:gd name="connsiteX54" fmla="*/ 12868275 w 16682562"/>
                <a:gd name="connsiteY54" fmla="*/ 5374761 h 13652218"/>
                <a:gd name="connsiteX55" fmla="*/ 13844296 w 16682562"/>
                <a:gd name="connsiteY55" fmla="*/ 4772926 h 13652218"/>
                <a:gd name="connsiteX56" fmla="*/ 13886291 w 16682562"/>
                <a:gd name="connsiteY56" fmla="*/ 3938558 h 13652218"/>
                <a:gd name="connsiteX57" fmla="*/ 14370431 w 16682562"/>
                <a:gd name="connsiteY57" fmla="*/ 4446910 h 13652218"/>
                <a:gd name="connsiteX58" fmla="*/ 15323320 w 16682562"/>
                <a:gd name="connsiteY58" fmla="*/ 4545183 h 13652218"/>
                <a:gd name="connsiteX59" fmla="*/ 16350939 w 16682562"/>
                <a:gd name="connsiteY59" fmla="*/ 4670042 h 13652218"/>
                <a:gd name="connsiteX60" fmla="*/ 16362364 w 16682562"/>
                <a:gd name="connsiteY60" fmla="*/ 4977322 h 13652218"/>
                <a:gd name="connsiteX61" fmla="*/ 16682563 w 16682562"/>
                <a:gd name="connsiteY61" fmla="*/ 5415225 h 13652218"/>
                <a:gd name="connsiteX0" fmla="*/ 16682563 w 16682562"/>
                <a:gd name="connsiteY0" fmla="*/ 4742941 h 12979934"/>
                <a:gd name="connsiteX1" fmla="*/ 16432262 w 16682562"/>
                <a:gd name="connsiteY1" fmla="*/ 5770327 h 12979934"/>
                <a:gd name="connsiteX2" fmla="*/ 16106317 w 16682562"/>
                <a:gd name="connsiteY2" fmla="*/ 6311631 h 12979934"/>
                <a:gd name="connsiteX3" fmla="*/ 16305649 w 16682562"/>
                <a:gd name="connsiteY3" fmla="*/ 6698960 h 12979934"/>
                <a:gd name="connsiteX4" fmla="*/ 16287189 w 16682562"/>
                <a:gd name="connsiteY4" fmla="*/ 7095567 h 12979934"/>
                <a:gd name="connsiteX5" fmla="*/ 16372801 w 16682562"/>
                <a:gd name="connsiteY5" fmla="*/ 7661832 h 12979934"/>
                <a:gd name="connsiteX6" fmla="*/ 16070155 w 16682562"/>
                <a:gd name="connsiteY6" fmla="*/ 7882218 h 12979934"/>
                <a:gd name="connsiteX7" fmla="*/ 15805690 w 16682562"/>
                <a:gd name="connsiteY7" fmla="*/ 8376409 h 12979934"/>
                <a:gd name="connsiteX8" fmla="*/ 15195097 w 16682562"/>
                <a:gd name="connsiteY8" fmla="*/ 8038152 h 12979934"/>
                <a:gd name="connsiteX9" fmla="*/ 15011380 w 16682562"/>
                <a:gd name="connsiteY9" fmla="*/ 8993002 h 12979934"/>
                <a:gd name="connsiteX10" fmla="*/ 14908430 w 16682562"/>
                <a:gd name="connsiteY10" fmla="*/ 9881897 h 12979934"/>
                <a:gd name="connsiteX11" fmla="*/ 14904684 w 16682562"/>
                <a:gd name="connsiteY11" fmla="*/ 10705336 h 12979934"/>
                <a:gd name="connsiteX12" fmla="*/ 14929927 w 16682562"/>
                <a:gd name="connsiteY12" fmla="*/ 12336256 h 12979934"/>
                <a:gd name="connsiteX13" fmla="*/ 12952786 w 16682562"/>
                <a:gd name="connsiteY13" fmla="*/ 12787009 h 12979934"/>
                <a:gd name="connsiteX14" fmla="*/ 11934663 w 16682562"/>
                <a:gd name="connsiteY14" fmla="*/ 12835259 h 12979934"/>
                <a:gd name="connsiteX15" fmla="*/ 8506848 w 16682562"/>
                <a:gd name="connsiteY15" fmla="*/ 12979934 h 12979934"/>
                <a:gd name="connsiteX16" fmla="*/ 7985095 w 16682562"/>
                <a:gd name="connsiteY16" fmla="*/ 12334852 h 12979934"/>
                <a:gd name="connsiteX17" fmla="*/ 7400308 w 16682562"/>
                <a:gd name="connsiteY17" fmla="*/ 12304707 h 12979934"/>
                <a:gd name="connsiteX18" fmla="*/ 6972273 w 16682562"/>
                <a:gd name="connsiteY18" fmla="*/ 12576004 h 12979934"/>
                <a:gd name="connsiteX19" fmla="*/ 5181729 w 16682562"/>
                <a:gd name="connsiteY19" fmla="*/ 12491605 h 12979934"/>
                <a:gd name="connsiteX20" fmla="*/ 4397998 w 16682562"/>
                <a:gd name="connsiteY20" fmla="*/ 11858588 h 12979934"/>
                <a:gd name="connsiteX21" fmla="*/ 2908896 w 16682562"/>
                <a:gd name="connsiteY21" fmla="*/ 11050734 h 12979934"/>
                <a:gd name="connsiteX22" fmla="*/ 1263043 w 16682562"/>
                <a:gd name="connsiteY22" fmla="*/ 10339341 h 12979934"/>
                <a:gd name="connsiteX23" fmla="*/ 485320 w 16682562"/>
                <a:gd name="connsiteY23" fmla="*/ 9887184 h 12979934"/>
                <a:gd name="connsiteX24" fmla="*/ 0 w 16682562"/>
                <a:gd name="connsiteY24" fmla="*/ 9594072 h 12979934"/>
                <a:gd name="connsiteX25" fmla="*/ 1003686 w 16682562"/>
                <a:gd name="connsiteY25" fmla="*/ 8848107 h 12979934"/>
                <a:gd name="connsiteX26" fmla="*/ 2902551 w 16682562"/>
                <a:gd name="connsiteY26" fmla="*/ 7663708 h 12979934"/>
                <a:gd name="connsiteX27" fmla="*/ 2558940 w 16682562"/>
                <a:gd name="connsiteY27" fmla="*/ 7130277 h 12979934"/>
                <a:gd name="connsiteX28" fmla="*/ 2402508 w 16682562"/>
                <a:gd name="connsiteY28" fmla="*/ 6443194 h 12979934"/>
                <a:gd name="connsiteX29" fmla="*/ 2730740 w 16682562"/>
                <a:gd name="connsiteY29" fmla="*/ 6416023 h 12979934"/>
                <a:gd name="connsiteX30" fmla="*/ 2947754 w 16682562"/>
                <a:gd name="connsiteY30" fmla="*/ 5945878 h 12979934"/>
                <a:gd name="connsiteX31" fmla="*/ 3499325 w 16682562"/>
                <a:gd name="connsiteY31" fmla="*/ 5502861 h 12979934"/>
                <a:gd name="connsiteX32" fmla="*/ 3680166 w 16682562"/>
                <a:gd name="connsiteY32" fmla="*/ 4625863 h 12979934"/>
                <a:gd name="connsiteX33" fmla="*/ 4186528 w 16682562"/>
                <a:gd name="connsiteY33" fmla="*/ 4634899 h 12979934"/>
                <a:gd name="connsiteX34" fmla="*/ 4837569 w 16682562"/>
                <a:gd name="connsiteY34" fmla="*/ 5105049 h 12979934"/>
                <a:gd name="connsiteX35" fmla="*/ 5352976 w 16682562"/>
                <a:gd name="connsiteY35" fmla="*/ 5023682 h 12979934"/>
                <a:gd name="connsiteX36" fmla="*/ 5741786 w 16682562"/>
                <a:gd name="connsiteY36" fmla="*/ 4652987 h 12979934"/>
                <a:gd name="connsiteX37" fmla="*/ 6157723 w 16682562"/>
                <a:gd name="connsiteY37" fmla="*/ 4490246 h 12979934"/>
                <a:gd name="connsiteX38" fmla="*/ 6745471 w 16682562"/>
                <a:gd name="connsiteY38" fmla="*/ 3920653 h 12979934"/>
                <a:gd name="connsiteX39" fmla="*/ 6890140 w 16682562"/>
                <a:gd name="connsiteY39" fmla="*/ 3070777 h 12979934"/>
                <a:gd name="connsiteX40" fmla="*/ 7568305 w 16682562"/>
                <a:gd name="connsiteY40" fmla="*/ 2501183 h 12979934"/>
                <a:gd name="connsiteX41" fmla="*/ 8137967 w 16682562"/>
                <a:gd name="connsiteY41" fmla="*/ 2058162 h 12979934"/>
                <a:gd name="connsiteX42" fmla="*/ 8463480 w 16682562"/>
                <a:gd name="connsiteY42" fmla="*/ 1253495 h 12979934"/>
                <a:gd name="connsiteX43" fmla="*/ 9024093 w 16682562"/>
                <a:gd name="connsiteY43" fmla="*/ 900888 h 12979934"/>
                <a:gd name="connsiteX44" fmla="*/ 9675138 w 16682562"/>
                <a:gd name="connsiteY44" fmla="*/ 548286 h 12979934"/>
                <a:gd name="connsiteX45" fmla="*/ 9558580 w 16682562"/>
                <a:gd name="connsiteY45" fmla="*/ 2 h 12979934"/>
                <a:gd name="connsiteX46" fmla="*/ 8856118 w 16682562"/>
                <a:gd name="connsiteY46" fmla="*/ 2440026 h 12979934"/>
                <a:gd name="connsiteX47" fmla="*/ 9078849 w 16682562"/>
                <a:gd name="connsiteY47" fmla="*/ 3053590 h 12979934"/>
                <a:gd name="connsiteX48" fmla="*/ 9086459 w 16682562"/>
                <a:gd name="connsiteY48" fmla="*/ 3601568 h 12979934"/>
                <a:gd name="connsiteX49" fmla="*/ 9761321 w 16682562"/>
                <a:gd name="connsiteY49" fmla="*/ 3504422 h 12979934"/>
                <a:gd name="connsiteX50" fmla="*/ 10152517 w 16682562"/>
                <a:gd name="connsiteY50" fmla="*/ 4302692 h 12979934"/>
                <a:gd name="connsiteX51" fmla="*/ 11109603 w 16682562"/>
                <a:gd name="connsiteY51" fmla="*/ 4674166 h 12979934"/>
                <a:gd name="connsiteX52" fmla="*/ 11919572 w 16682562"/>
                <a:gd name="connsiteY52" fmla="*/ 4947688 h 12979934"/>
                <a:gd name="connsiteX53" fmla="*/ 12868275 w 16682562"/>
                <a:gd name="connsiteY53" fmla="*/ 4702477 h 12979934"/>
                <a:gd name="connsiteX54" fmla="*/ 13844296 w 16682562"/>
                <a:gd name="connsiteY54" fmla="*/ 4100642 h 12979934"/>
                <a:gd name="connsiteX55" fmla="*/ 13886291 w 16682562"/>
                <a:gd name="connsiteY55" fmla="*/ 3266274 h 12979934"/>
                <a:gd name="connsiteX56" fmla="*/ 14370431 w 16682562"/>
                <a:gd name="connsiteY56" fmla="*/ 3774626 h 12979934"/>
                <a:gd name="connsiteX57" fmla="*/ 15323320 w 16682562"/>
                <a:gd name="connsiteY57" fmla="*/ 3872899 h 12979934"/>
                <a:gd name="connsiteX58" fmla="*/ 16350939 w 16682562"/>
                <a:gd name="connsiteY58" fmla="*/ 3997758 h 12979934"/>
                <a:gd name="connsiteX59" fmla="*/ 16362364 w 16682562"/>
                <a:gd name="connsiteY59" fmla="*/ 4305038 h 12979934"/>
                <a:gd name="connsiteX60" fmla="*/ 16682563 w 16682562"/>
                <a:gd name="connsiteY60" fmla="*/ 4742941 h 12979934"/>
                <a:gd name="connsiteX0" fmla="*/ 16682563 w 16682562"/>
                <a:gd name="connsiteY0" fmla="*/ 4194654 h 12431647"/>
                <a:gd name="connsiteX1" fmla="*/ 16432262 w 16682562"/>
                <a:gd name="connsiteY1" fmla="*/ 5222040 h 12431647"/>
                <a:gd name="connsiteX2" fmla="*/ 16106317 w 16682562"/>
                <a:gd name="connsiteY2" fmla="*/ 5763344 h 12431647"/>
                <a:gd name="connsiteX3" fmla="*/ 16305649 w 16682562"/>
                <a:gd name="connsiteY3" fmla="*/ 6150673 h 12431647"/>
                <a:gd name="connsiteX4" fmla="*/ 16287189 w 16682562"/>
                <a:gd name="connsiteY4" fmla="*/ 6547280 h 12431647"/>
                <a:gd name="connsiteX5" fmla="*/ 16372801 w 16682562"/>
                <a:gd name="connsiteY5" fmla="*/ 7113545 h 12431647"/>
                <a:gd name="connsiteX6" fmla="*/ 16070155 w 16682562"/>
                <a:gd name="connsiteY6" fmla="*/ 7333931 h 12431647"/>
                <a:gd name="connsiteX7" fmla="*/ 15805690 w 16682562"/>
                <a:gd name="connsiteY7" fmla="*/ 7828122 h 12431647"/>
                <a:gd name="connsiteX8" fmla="*/ 15195097 w 16682562"/>
                <a:gd name="connsiteY8" fmla="*/ 7489865 h 12431647"/>
                <a:gd name="connsiteX9" fmla="*/ 15011380 w 16682562"/>
                <a:gd name="connsiteY9" fmla="*/ 8444715 h 12431647"/>
                <a:gd name="connsiteX10" fmla="*/ 14908430 w 16682562"/>
                <a:gd name="connsiteY10" fmla="*/ 9333610 h 12431647"/>
                <a:gd name="connsiteX11" fmla="*/ 14904684 w 16682562"/>
                <a:gd name="connsiteY11" fmla="*/ 10157049 h 12431647"/>
                <a:gd name="connsiteX12" fmla="*/ 14929927 w 16682562"/>
                <a:gd name="connsiteY12" fmla="*/ 11787969 h 12431647"/>
                <a:gd name="connsiteX13" fmla="*/ 12952786 w 16682562"/>
                <a:gd name="connsiteY13" fmla="*/ 12238722 h 12431647"/>
                <a:gd name="connsiteX14" fmla="*/ 11934663 w 16682562"/>
                <a:gd name="connsiteY14" fmla="*/ 12286972 h 12431647"/>
                <a:gd name="connsiteX15" fmla="*/ 8506848 w 16682562"/>
                <a:gd name="connsiteY15" fmla="*/ 12431647 h 12431647"/>
                <a:gd name="connsiteX16" fmla="*/ 7985095 w 16682562"/>
                <a:gd name="connsiteY16" fmla="*/ 11786565 h 12431647"/>
                <a:gd name="connsiteX17" fmla="*/ 7400308 w 16682562"/>
                <a:gd name="connsiteY17" fmla="*/ 11756420 h 12431647"/>
                <a:gd name="connsiteX18" fmla="*/ 6972273 w 16682562"/>
                <a:gd name="connsiteY18" fmla="*/ 12027717 h 12431647"/>
                <a:gd name="connsiteX19" fmla="*/ 5181729 w 16682562"/>
                <a:gd name="connsiteY19" fmla="*/ 11943318 h 12431647"/>
                <a:gd name="connsiteX20" fmla="*/ 4397998 w 16682562"/>
                <a:gd name="connsiteY20" fmla="*/ 11310301 h 12431647"/>
                <a:gd name="connsiteX21" fmla="*/ 2908896 w 16682562"/>
                <a:gd name="connsiteY21" fmla="*/ 10502447 h 12431647"/>
                <a:gd name="connsiteX22" fmla="*/ 1263043 w 16682562"/>
                <a:gd name="connsiteY22" fmla="*/ 9791054 h 12431647"/>
                <a:gd name="connsiteX23" fmla="*/ 485320 w 16682562"/>
                <a:gd name="connsiteY23" fmla="*/ 9338897 h 12431647"/>
                <a:gd name="connsiteX24" fmla="*/ 0 w 16682562"/>
                <a:gd name="connsiteY24" fmla="*/ 9045785 h 12431647"/>
                <a:gd name="connsiteX25" fmla="*/ 1003686 w 16682562"/>
                <a:gd name="connsiteY25" fmla="*/ 8299820 h 12431647"/>
                <a:gd name="connsiteX26" fmla="*/ 2902551 w 16682562"/>
                <a:gd name="connsiteY26" fmla="*/ 7115421 h 12431647"/>
                <a:gd name="connsiteX27" fmla="*/ 2558940 w 16682562"/>
                <a:gd name="connsiteY27" fmla="*/ 6581990 h 12431647"/>
                <a:gd name="connsiteX28" fmla="*/ 2402508 w 16682562"/>
                <a:gd name="connsiteY28" fmla="*/ 5894907 h 12431647"/>
                <a:gd name="connsiteX29" fmla="*/ 2730740 w 16682562"/>
                <a:gd name="connsiteY29" fmla="*/ 5867736 h 12431647"/>
                <a:gd name="connsiteX30" fmla="*/ 2947754 w 16682562"/>
                <a:gd name="connsiteY30" fmla="*/ 5397591 h 12431647"/>
                <a:gd name="connsiteX31" fmla="*/ 3499325 w 16682562"/>
                <a:gd name="connsiteY31" fmla="*/ 4954574 h 12431647"/>
                <a:gd name="connsiteX32" fmla="*/ 3680166 w 16682562"/>
                <a:gd name="connsiteY32" fmla="*/ 4077576 h 12431647"/>
                <a:gd name="connsiteX33" fmla="*/ 4186528 w 16682562"/>
                <a:gd name="connsiteY33" fmla="*/ 4086612 h 12431647"/>
                <a:gd name="connsiteX34" fmla="*/ 4837569 w 16682562"/>
                <a:gd name="connsiteY34" fmla="*/ 4556762 h 12431647"/>
                <a:gd name="connsiteX35" fmla="*/ 5352976 w 16682562"/>
                <a:gd name="connsiteY35" fmla="*/ 4475395 h 12431647"/>
                <a:gd name="connsiteX36" fmla="*/ 5741786 w 16682562"/>
                <a:gd name="connsiteY36" fmla="*/ 4104700 h 12431647"/>
                <a:gd name="connsiteX37" fmla="*/ 6157723 w 16682562"/>
                <a:gd name="connsiteY37" fmla="*/ 3941959 h 12431647"/>
                <a:gd name="connsiteX38" fmla="*/ 6745471 w 16682562"/>
                <a:gd name="connsiteY38" fmla="*/ 3372366 h 12431647"/>
                <a:gd name="connsiteX39" fmla="*/ 6890140 w 16682562"/>
                <a:gd name="connsiteY39" fmla="*/ 2522490 h 12431647"/>
                <a:gd name="connsiteX40" fmla="*/ 7568305 w 16682562"/>
                <a:gd name="connsiteY40" fmla="*/ 1952896 h 12431647"/>
                <a:gd name="connsiteX41" fmla="*/ 8137967 w 16682562"/>
                <a:gd name="connsiteY41" fmla="*/ 1509875 h 12431647"/>
                <a:gd name="connsiteX42" fmla="*/ 8463480 w 16682562"/>
                <a:gd name="connsiteY42" fmla="*/ 705208 h 12431647"/>
                <a:gd name="connsiteX43" fmla="*/ 9024093 w 16682562"/>
                <a:gd name="connsiteY43" fmla="*/ 352601 h 12431647"/>
                <a:gd name="connsiteX44" fmla="*/ 9675138 w 16682562"/>
                <a:gd name="connsiteY44" fmla="*/ -1 h 12431647"/>
                <a:gd name="connsiteX45" fmla="*/ 8856118 w 16682562"/>
                <a:gd name="connsiteY45" fmla="*/ 1891739 h 12431647"/>
                <a:gd name="connsiteX46" fmla="*/ 9078849 w 16682562"/>
                <a:gd name="connsiteY46" fmla="*/ 2505303 h 12431647"/>
                <a:gd name="connsiteX47" fmla="*/ 9086459 w 16682562"/>
                <a:gd name="connsiteY47" fmla="*/ 3053281 h 12431647"/>
                <a:gd name="connsiteX48" fmla="*/ 9761321 w 16682562"/>
                <a:gd name="connsiteY48" fmla="*/ 2956135 h 12431647"/>
                <a:gd name="connsiteX49" fmla="*/ 10152517 w 16682562"/>
                <a:gd name="connsiteY49" fmla="*/ 3754405 h 12431647"/>
                <a:gd name="connsiteX50" fmla="*/ 11109603 w 16682562"/>
                <a:gd name="connsiteY50" fmla="*/ 4125879 h 12431647"/>
                <a:gd name="connsiteX51" fmla="*/ 11919572 w 16682562"/>
                <a:gd name="connsiteY51" fmla="*/ 4399401 h 12431647"/>
                <a:gd name="connsiteX52" fmla="*/ 12868275 w 16682562"/>
                <a:gd name="connsiteY52" fmla="*/ 4154190 h 12431647"/>
                <a:gd name="connsiteX53" fmla="*/ 13844296 w 16682562"/>
                <a:gd name="connsiteY53" fmla="*/ 3552355 h 12431647"/>
                <a:gd name="connsiteX54" fmla="*/ 13886291 w 16682562"/>
                <a:gd name="connsiteY54" fmla="*/ 2717987 h 12431647"/>
                <a:gd name="connsiteX55" fmla="*/ 14370431 w 16682562"/>
                <a:gd name="connsiteY55" fmla="*/ 3226339 h 12431647"/>
                <a:gd name="connsiteX56" fmla="*/ 15323320 w 16682562"/>
                <a:gd name="connsiteY56" fmla="*/ 3324612 h 12431647"/>
                <a:gd name="connsiteX57" fmla="*/ 16350939 w 16682562"/>
                <a:gd name="connsiteY57" fmla="*/ 3449471 h 12431647"/>
                <a:gd name="connsiteX58" fmla="*/ 16362364 w 16682562"/>
                <a:gd name="connsiteY58" fmla="*/ 3756751 h 12431647"/>
                <a:gd name="connsiteX59" fmla="*/ 16682563 w 16682562"/>
                <a:gd name="connsiteY59" fmla="*/ 4194654 h 12431647"/>
                <a:gd name="connsiteX0" fmla="*/ 16682563 w 16682562"/>
                <a:gd name="connsiteY0" fmla="*/ 3842051 h 12079044"/>
                <a:gd name="connsiteX1" fmla="*/ 16432262 w 16682562"/>
                <a:gd name="connsiteY1" fmla="*/ 4869437 h 12079044"/>
                <a:gd name="connsiteX2" fmla="*/ 16106317 w 16682562"/>
                <a:gd name="connsiteY2" fmla="*/ 5410741 h 12079044"/>
                <a:gd name="connsiteX3" fmla="*/ 16305649 w 16682562"/>
                <a:gd name="connsiteY3" fmla="*/ 5798070 h 12079044"/>
                <a:gd name="connsiteX4" fmla="*/ 16287189 w 16682562"/>
                <a:gd name="connsiteY4" fmla="*/ 6194677 h 12079044"/>
                <a:gd name="connsiteX5" fmla="*/ 16372801 w 16682562"/>
                <a:gd name="connsiteY5" fmla="*/ 6760942 h 12079044"/>
                <a:gd name="connsiteX6" fmla="*/ 16070155 w 16682562"/>
                <a:gd name="connsiteY6" fmla="*/ 6981328 h 12079044"/>
                <a:gd name="connsiteX7" fmla="*/ 15805690 w 16682562"/>
                <a:gd name="connsiteY7" fmla="*/ 7475519 h 12079044"/>
                <a:gd name="connsiteX8" fmla="*/ 15195097 w 16682562"/>
                <a:gd name="connsiteY8" fmla="*/ 7137262 h 12079044"/>
                <a:gd name="connsiteX9" fmla="*/ 15011380 w 16682562"/>
                <a:gd name="connsiteY9" fmla="*/ 8092112 h 12079044"/>
                <a:gd name="connsiteX10" fmla="*/ 14908430 w 16682562"/>
                <a:gd name="connsiteY10" fmla="*/ 8981007 h 12079044"/>
                <a:gd name="connsiteX11" fmla="*/ 14904684 w 16682562"/>
                <a:gd name="connsiteY11" fmla="*/ 9804446 h 12079044"/>
                <a:gd name="connsiteX12" fmla="*/ 14929927 w 16682562"/>
                <a:gd name="connsiteY12" fmla="*/ 11435366 h 12079044"/>
                <a:gd name="connsiteX13" fmla="*/ 12952786 w 16682562"/>
                <a:gd name="connsiteY13" fmla="*/ 11886119 h 12079044"/>
                <a:gd name="connsiteX14" fmla="*/ 11934663 w 16682562"/>
                <a:gd name="connsiteY14" fmla="*/ 11934369 h 12079044"/>
                <a:gd name="connsiteX15" fmla="*/ 8506848 w 16682562"/>
                <a:gd name="connsiteY15" fmla="*/ 12079044 h 12079044"/>
                <a:gd name="connsiteX16" fmla="*/ 7985095 w 16682562"/>
                <a:gd name="connsiteY16" fmla="*/ 11433962 h 12079044"/>
                <a:gd name="connsiteX17" fmla="*/ 7400308 w 16682562"/>
                <a:gd name="connsiteY17" fmla="*/ 11403817 h 12079044"/>
                <a:gd name="connsiteX18" fmla="*/ 6972273 w 16682562"/>
                <a:gd name="connsiteY18" fmla="*/ 11675114 h 12079044"/>
                <a:gd name="connsiteX19" fmla="*/ 5181729 w 16682562"/>
                <a:gd name="connsiteY19" fmla="*/ 11590715 h 12079044"/>
                <a:gd name="connsiteX20" fmla="*/ 4397998 w 16682562"/>
                <a:gd name="connsiteY20" fmla="*/ 10957698 h 12079044"/>
                <a:gd name="connsiteX21" fmla="*/ 2908896 w 16682562"/>
                <a:gd name="connsiteY21" fmla="*/ 10149844 h 12079044"/>
                <a:gd name="connsiteX22" fmla="*/ 1263043 w 16682562"/>
                <a:gd name="connsiteY22" fmla="*/ 9438451 h 12079044"/>
                <a:gd name="connsiteX23" fmla="*/ 485320 w 16682562"/>
                <a:gd name="connsiteY23" fmla="*/ 8986294 h 12079044"/>
                <a:gd name="connsiteX24" fmla="*/ 0 w 16682562"/>
                <a:gd name="connsiteY24" fmla="*/ 8693182 h 12079044"/>
                <a:gd name="connsiteX25" fmla="*/ 1003686 w 16682562"/>
                <a:gd name="connsiteY25" fmla="*/ 7947217 h 12079044"/>
                <a:gd name="connsiteX26" fmla="*/ 2902551 w 16682562"/>
                <a:gd name="connsiteY26" fmla="*/ 6762818 h 12079044"/>
                <a:gd name="connsiteX27" fmla="*/ 2558940 w 16682562"/>
                <a:gd name="connsiteY27" fmla="*/ 6229387 h 12079044"/>
                <a:gd name="connsiteX28" fmla="*/ 2402508 w 16682562"/>
                <a:gd name="connsiteY28" fmla="*/ 5542304 h 12079044"/>
                <a:gd name="connsiteX29" fmla="*/ 2730740 w 16682562"/>
                <a:gd name="connsiteY29" fmla="*/ 5515133 h 12079044"/>
                <a:gd name="connsiteX30" fmla="*/ 2947754 w 16682562"/>
                <a:gd name="connsiteY30" fmla="*/ 5044988 h 12079044"/>
                <a:gd name="connsiteX31" fmla="*/ 3499325 w 16682562"/>
                <a:gd name="connsiteY31" fmla="*/ 4601971 h 12079044"/>
                <a:gd name="connsiteX32" fmla="*/ 3680166 w 16682562"/>
                <a:gd name="connsiteY32" fmla="*/ 3724973 h 12079044"/>
                <a:gd name="connsiteX33" fmla="*/ 4186528 w 16682562"/>
                <a:gd name="connsiteY33" fmla="*/ 3734009 h 12079044"/>
                <a:gd name="connsiteX34" fmla="*/ 4837569 w 16682562"/>
                <a:gd name="connsiteY34" fmla="*/ 4204159 h 12079044"/>
                <a:gd name="connsiteX35" fmla="*/ 5352976 w 16682562"/>
                <a:gd name="connsiteY35" fmla="*/ 4122792 h 12079044"/>
                <a:gd name="connsiteX36" fmla="*/ 5741786 w 16682562"/>
                <a:gd name="connsiteY36" fmla="*/ 3752097 h 12079044"/>
                <a:gd name="connsiteX37" fmla="*/ 6157723 w 16682562"/>
                <a:gd name="connsiteY37" fmla="*/ 3589356 h 12079044"/>
                <a:gd name="connsiteX38" fmla="*/ 6745471 w 16682562"/>
                <a:gd name="connsiteY38" fmla="*/ 3019763 h 12079044"/>
                <a:gd name="connsiteX39" fmla="*/ 6890140 w 16682562"/>
                <a:gd name="connsiteY39" fmla="*/ 2169887 h 12079044"/>
                <a:gd name="connsiteX40" fmla="*/ 7568305 w 16682562"/>
                <a:gd name="connsiteY40" fmla="*/ 1600293 h 12079044"/>
                <a:gd name="connsiteX41" fmla="*/ 8137967 w 16682562"/>
                <a:gd name="connsiteY41" fmla="*/ 1157272 h 12079044"/>
                <a:gd name="connsiteX42" fmla="*/ 8463480 w 16682562"/>
                <a:gd name="connsiteY42" fmla="*/ 352605 h 12079044"/>
                <a:gd name="connsiteX43" fmla="*/ 9024093 w 16682562"/>
                <a:gd name="connsiteY43" fmla="*/ -2 h 12079044"/>
                <a:gd name="connsiteX44" fmla="*/ 8856118 w 16682562"/>
                <a:gd name="connsiteY44" fmla="*/ 1539136 h 12079044"/>
                <a:gd name="connsiteX45" fmla="*/ 9078849 w 16682562"/>
                <a:gd name="connsiteY45" fmla="*/ 2152700 h 12079044"/>
                <a:gd name="connsiteX46" fmla="*/ 9086459 w 16682562"/>
                <a:gd name="connsiteY46" fmla="*/ 2700678 h 12079044"/>
                <a:gd name="connsiteX47" fmla="*/ 9761321 w 16682562"/>
                <a:gd name="connsiteY47" fmla="*/ 2603532 h 12079044"/>
                <a:gd name="connsiteX48" fmla="*/ 10152517 w 16682562"/>
                <a:gd name="connsiteY48" fmla="*/ 3401802 h 12079044"/>
                <a:gd name="connsiteX49" fmla="*/ 11109603 w 16682562"/>
                <a:gd name="connsiteY49" fmla="*/ 3773276 h 12079044"/>
                <a:gd name="connsiteX50" fmla="*/ 11919572 w 16682562"/>
                <a:gd name="connsiteY50" fmla="*/ 4046798 h 12079044"/>
                <a:gd name="connsiteX51" fmla="*/ 12868275 w 16682562"/>
                <a:gd name="connsiteY51" fmla="*/ 3801587 h 12079044"/>
                <a:gd name="connsiteX52" fmla="*/ 13844296 w 16682562"/>
                <a:gd name="connsiteY52" fmla="*/ 3199752 h 12079044"/>
                <a:gd name="connsiteX53" fmla="*/ 13886291 w 16682562"/>
                <a:gd name="connsiteY53" fmla="*/ 2365384 h 12079044"/>
                <a:gd name="connsiteX54" fmla="*/ 14370431 w 16682562"/>
                <a:gd name="connsiteY54" fmla="*/ 2873736 h 12079044"/>
                <a:gd name="connsiteX55" fmla="*/ 15323320 w 16682562"/>
                <a:gd name="connsiteY55" fmla="*/ 2972009 h 12079044"/>
                <a:gd name="connsiteX56" fmla="*/ 16350939 w 16682562"/>
                <a:gd name="connsiteY56" fmla="*/ 3096868 h 12079044"/>
                <a:gd name="connsiteX57" fmla="*/ 16362364 w 16682562"/>
                <a:gd name="connsiteY57" fmla="*/ 3404148 h 12079044"/>
                <a:gd name="connsiteX58" fmla="*/ 16682563 w 16682562"/>
                <a:gd name="connsiteY58" fmla="*/ 3842051 h 12079044"/>
                <a:gd name="connsiteX0" fmla="*/ 16682563 w 16682562"/>
                <a:gd name="connsiteY0" fmla="*/ 3489448 h 11726441"/>
                <a:gd name="connsiteX1" fmla="*/ 16432262 w 16682562"/>
                <a:gd name="connsiteY1" fmla="*/ 4516834 h 11726441"/>
                <a:gd name="connsiteX2" fmla="*/ 16106317 w 16682562"/>
                <a:gd name="connsiteY2" fmla="*/ 5058138 h 11726441"/>
                <a:gd name="connsiteX3" fmla="*/ 16305649 w 16682562"/>
                <a:gd name="connsiteY3" fmla="*/ 5445467 h 11726441"/>
                <a:gd name="connsiteX4" fmla="*/ 16287189 w 16682562"/>
                <a:gd name="connsiteY4" fmla="*/ 5842074 h 11726441"/>
                <a:gd name="connsiteX5" fmla="*/ 16372801 w 16682562"/>
                <a:gd name="connsiteY5" fmla="*/ 6408339 h 11726441"/>
                <a:gd name="connsiteX6" fmla="*/ 16070155 w 16682562"/>
                <a:gd name="connsiteY6" fmla="*/ 6628725 h 11726441"/>
                <a:gd name="connsiteX7" fmla="*/ 15805690 w 16682562"/>
                <a:gd name="connsiteY7" fmla="*/ 7122916 h 11726441"/>
                <a:gd name="connsiteX8" fmla="*/ 15195097 w 16682562"/>
                <a:gd name="connsiteY8" fmla="*/ 6784659 h 11726441"/>
                <a:gd name="connsiteX9" fmla="*/ 15011380 w 16682562"/>
                <a:gd name="connsiteY9" fmla="*/ 7739509 h 11726441"/>
                <a:gd name="connsiteX10" fmla="*/ 14908430 w 16682562"/>
                <a:gd name="connsiteY10" fmla="*/ 8628404 h 11726441"/>
                <a:gd name="connsiteX11" fmla="*/ 14904684 w 16682562"/>
                <a:gd name="connsiteY11" fmla="*/ 9451843 h 11726441"/>
                <a:gd name="connsiteX12" fmla="*/ 14929927 w 16682562"/>
                <a:gd name="connsiteY12" fmla="*/ 11082763 h 11726441"/>
                <a:gd name="connsiteX13" fmla="*/ 12952786 w 16682562"/>
                <a:gd name="connsiteY13" fmla="*/ 11533516 h 11726441"/>
                <a:gd name="connsiteX14" fmla="*/ 11934663 w 16682562"/>
                <a:gd name="connsiteY14" fmla="*/ 11581766 h 11726441"/>
                <a:gd name="connsiteX15" fmla="*/ 8506848 w 16682562"/>
                <a:gd name="connsiteY15" fmla="*/ 11726441 h 11726441"/>
                <a:gd name="connsiteX16" fmla="*/ 7985095 w 16682562"/>
                <a:gd name="connsiteY16" fmla="*/ 11081359 h 11726441"/>
                <a:gd name="connsiteX17" fmla="*/ 7400308 w 16682562"/>
                <a:gd name="connsiteY17" fmla="*/ 11051214 h 11726441"/>
                <a:gd name="connsiteX18" fmla="*/ 6972273 w 16682562"/>
                <a:gd name="connsiteY18" fmla="*/ 11322511 h 11726441"/>
                <a:gd name="connsiteX19" fmla="*/ 5181729 w 16682562"/>
                <a:gd name="connsiteY19" fmla="*/ 11238112 h 11726441"/>
                <a:gd name="connsiteX20" fmla="*/ 4397998 w 16682562"/>
                <a:gd name="connsiteY20" fmla="*/ 10605095 h 11726441"/>
                <a:gd name="connsiteX21" fmla="*/ 2908896 w 16682562"/>
                <a:gd name="connsiteY21" fmla="*/ 9797241 h 11726441"/>
                <a:gd name="connsiteX22" fmla="*/ 1263043 w 16682562"/>
                <a:gd name="connsiteY22" fmla="*/ 9085848 h 11726441"/>
                <a:gd name="connsiteX23" fmla="*/ 485320 w 16682562"/>
                <a:gd name="connsiteY23" fmla="*/ 8633691 h 11726441"/>
                <a:gd name="connsiteX24" fmla="*/ 0 w 16682562"/>
                <a:gd name="connsiteY24" fmla="*/ 8340579 h 11726441"/>
                <a:gd name="connsiteX25" fmla="*/ 1003686 w 16682562"/>
                <a:gd name="connsiteY25" fmla="*/ 7594614 h 11726441"/>
                <a:gd name="connsiteX26" fmla="*/ 2902551 w 16682562"/>
                <a:gd name="connsiteY26" fmla="*/ 6410215 h 11726441"/>
                <a:gd name="connsiteX27" fmla="*/ 2558940 w 16682562"/>
                <a:gd name="connsiteY27" fmla="*/ 5876784 h 11726441"/>
                <a:gd name="connsiteX28" fmla="*/ 2402508 w 16682562"/>
                <a:gd name="connsiteY28" fmla="*/ 5189701 h 11726441"/>
                <a:gd name="connsiteX29" fmla="*/ 2730740 w 16682562"/>
                <a:gd name="connsiteY29" fmla="*/ 5162530 h 11726441"/>
                <a:gd name="connsiteX30" fmla="*/ 2947754 w 16682562"/>
                <a:gd name="connsiteY30" fmla="*/ 4692385 h 11726441"/>
                <a:gd name="connsiteX31" fmla="*/ 3499325 w 16682562"/>
                <a:gd name="connsiteY31" fmla="*/ 4249368 h 11726441"/>
                <a:gd name="connsiteX32" fmla="*/ 3680166 w 16682562"/>
                <a:gd name="connsiteY32" fmla="*/ 3372370 h 11726441"/>
                <a:gd name="connsiteX33" fmla="*/ 4186528 w 16682562"/>
                <a:gd name="connsiteY33" fmla="*/ 3381406 h 11726441"/>
                <a:gd name="connsiteX34" fmla="*/ 4837569 w 16682562"/>
                <a:gd name="connsiteY34" fmla="*/ 3851556 h 11726441"/>
                <a:gd name="connsiteX35" fmla="*/ 5352976 w 16682562"/>
                <a:gd name="connsiteY35" fmla="*/ 3770189 h 11726441"/>
                <a:gd name="connsiteX36" fmla="*/ 5741786 w 16682562"/>
                <a:gd name="connsiteY36" fmla="*/ 3399494 h 11726441"/>
                <a:gd name="connsiteX37" fmla="*/ 6157723 w 16682562"/>
                <a:gd name="connsiteY37" fmla="*/ 3236753 h 11726441"/>
                <a:gd name="connsiteX38" fmla="*/ 6745471 w 16682562"/>
                <a:gd name="connsiteY38" fmla="*/ 2667160 h 11726441"/>
                <a:gd name="connsiteX39" fmla="*/ 6890140 w 16682562"/>
                <a:gd name="connsiteY39" fmla="*/ 1817284 h 11726441"/>
                <a:gd name="connsiteX40" fmla="*/ 7568305 w 16682562"/>
                <a:gd name="connsiteY40" fmla="*/ 1247690 h 11726441"/>
                <a:gd name="connsiteX41" fmla="*/ 8137967 w 16682562"/>
                <a:gd name="connsiteY41" fmla="*/ 804669 h 11726441"/>
                <a:gd name="connsiteX42" fmla="*/ 8463480 w 16682562"/>
                <a:gd name="connsiteY42" fmla="*/ 2 h 11726441"/>
                <a:gd name="connsiteX43" fmla="*/ 8856118 w 16682562"/>
                <a:gd name="connsiteY43" fmla="*/ 1186533 h 11726441"/>
                <a:gd name="connsiteX44" fmla="*/ 9078849 w 16682562"/>
                <a:gd name="connsiteY44" fmla="*/ 1800097 h 11726441"/>
                <a:gd name="connsiteX45" fmla="*/ 9086459 w 16682562"/>
                <a:gd name="connsiteY45" fmla="*/ 2348075 h 11726441"/>
                <a:gd name="connsiteX46" fmla="*/ 9761321 w 16682562"/>
                <a:gd name="connsiteY46" fmla="*/ 2250929 h 11726441"/>
                <a:gd name="connsiteX47" fmla="*/ 10152517 w 16682562"/>
                <a:gd name="connsiteY47" fmla="*/ 3049199 h 11726441"/>
                <a:gd name="connsiteX48" fmla="*/ 11109603 w 16682562"/>
                <a:gd name="connsiteY48" fmla="*/ 3420673 h 11726441"/>
                <a:gd name="connsiteX49" fmla="*/ 11919572 w 16682562"/>
                <a:gd name="connsiteY49" fmla="*/ 3694195 h 11726441"/>
                <a:gd name="connsiteX50" fmla="*/ 12868275 w 16682562"/>
                <a:gd name="connsiteY50" fmla="*/ 3448984 h 11726441"/>
                <a:gd name="connsiteX51" fmla="*/ 13844296 w 16682562"/>
                <a:gd name="connsiteY51" fmla="*/ 2847149 h 11726441"/>
                <a:gd name="connsiteX52" fmla="*/ 13886291 w 16682562"/>
                <a:gd name="connsiteY52" fmla="*/ 2012781 h 11726441"/>
                <a:gd name="connsiteX53" fmla="*/ 14370431 w 16682562"/>
                <a:gd name="connsiteY53" fmla="*/ 2521133 h 11726441"/>
                <a:gd name="connsiteX54" fmla="*/ 15323320 w 16682562"/>
                <a:gd name="connsiteY54" fmla="*/ 2619406 h 11726441"/>
                <a:gd name="connsiteX55" fmla="*/ 16350939 w 16682562"/>
                <a:gd name="connsiteY55" fmla="*/ 2744265 h 11726441"/>
                <a:gd name="connsiteX56" fmla="*/ 16362364 w 16682562"/>
                <a:gd name="connsiteY56" fmla="*/ 3051545 h 11726441"/>
                <a:gd name="connsiteX57" fmla="*/ 16682563 w 16682562"/>
                <a:gd name="connsiteY57" fmla="*/ 3489448 h 11726441"/>
                <a:gd name="connsiteX0" fmla="*/ 16682563 w 16682562"/>
                <a:gd name="connsiteY0" fmla="*/ 2684781 h 10921774"/>
                <a:gd name="connsiteX1" fmla="*/ 16432262 w 16682562"/>
                <a:gd name="connsiteY1" fmla="*/ 3712167 h 10921774"/>
                <a:gd name="connsiteX2" fmla="*/ 16106317 w 16682562"/>
                <a:gd name="connsiteY2" fmla="*/ 4253471 h 10921774"/>
                <a:gd name="connsiteX3" fmla="*/ 16305649 w 16682562"/>
                <a:gd name="connsiteY3" fmla="*/ 4640800 h 10921774"/>
                <a:gd name="connsiteX4" fmla="*/ 16287189 w 16682562"/>
                <a:gd name="connsiteY4" fmla="*/ 5037407 h 10921774"/>
                <a:gd name="connsiteX5" fmla="*/ 16372801 w 16682562"/>
                <a:gd name="connsiteY5" fmla="*/ 5603672 h 10921774"/>
                <a:gd name="connsiteX6" fmla="*/ 16070155 w 16682562"/>
                <a:gd name="connsiteY6" fmla="*/ 5824058 h 10921774"/>
                <a:gd name="connsiteX7" fmla="*/ 15805690 w 16682562"/>
                <a:gd name="connsiteY7" fmla="*/ 6318249 h 10921774"/>
                <a:gd name="connsiteX8" fmla="*/ 15195097 w 16682562"/>
                <a:gd name="connsiteY8" fmla="*/ 5979992 h 10921774"/>
                <a:gd name="connsiteX9" fmla="*/ 15011380 w 16682562"/>
                <a:gd name="connsiteY9" fmla="*/ 6934842 h 10921774"/>
                <a:gd name="connsiteX10" fmla="*/ 14908430 w 16682562"/>
                <a:gd name="connsiteY10" fmla="*/ 7823737 h 10921774"/>
                <a:gd name="connsiteX11" fmla="*/ 14904684 w 16682562"/>
                <a:gd name="connsiteY11" fmla="*/ 8647176 h 10921774"/>
                <a:gd name="connsiteX12" fmla="*/ 14929927 w 16682562"/>
                <a:gd name="connsiteY12" fmla="*/ 10278096 h 10921774"/>
                <a:gd name="connsiteX13" fmla="*/ 12952786 w 16682562"/>
                <a:gd name="connsiteY13" fmla="*/ 10728849 h 10921774"/>
                <a:gd name="connsiteX14" fmla="*/ 11934663 w 16682562"/>
                <a:gd name="connsiteY14" fmla="*/ 10777099 h 10921774"/>
                <a:gd name="connsiteX15" fmla="*/ 8506848 w 16682562"/>
                <a:gd name="connsiteY15" fmla="*/ 10921774 h 10921774"/>
                <a:gd name="connsiteX16" fmla="*/ 7985095 w 16682562"/>
                <a:gd name="connsiteY16" fmla="*/ 10276692 h 10921774"/>
                <a:gd name="connsiteX17" fmla="*/ 7400308 w 16682562"/>
                <a:gd name="connsiteY17" fmla="*/ 10246547 h 10921774"/>
                <a:gd name="connsiteX18" fmla="*/ 6972273 w 16682562"/>
                <a:gd name="connsiteY18" fmla="*/ 10517844 h 10921774"/>
                <a:gd name="connsiteX19" fmla="*/ 5181729 w 16682562"/>
                <a:gd name="connsiteY19" fmla="*/ 10433445 h 10921774"/>
                <a:gd name="connsiteX20" fmla="*/ 4397998 w 16682562"/>
                <a:gd name="connsiteY20" fmla="*/ 9800428 h 10921774"/>
                <a:gd name="connsiteX21" fmla="*/ 2908896 w 16682562"/>
                <a:gd name="connsiteY21" fmla="*/ 8992574 h 10921774"/>
                <a:gd name="connsiteX22" fmla="*/ 1263043 w 16682562"/>
                <a:gd name="connsiteY22" fmla="*/ 8281181 h 10921774"/>
                <a:gd name="connsiteX23" fmla="*/ 485320 w 16682562"/>
                <a:gd name="connsiteY23" fmla="*/ 7829024 h 10921774"/>
                <a:gd name="connsiteX24" fmla="*/ 0 w 16682562"/>
                <a:gd name="connsiteY24" fmla="*/ 7535912 h 10921774"/>
                <a:gd name="connsiteX25" fmla="*/ 1003686 w 16682562"/>
                <a:gd name="connsiteY25" fmla="*/ 6789947 h 10921774"/>
                <a:gd name="connsiteX26" fmla="*/ 2902551 w 16682562"/>
                <a:gd name="connsiteY26" fmla="*/ 5605548 h 10921774"/>
                <a:gd name="connsiteX27" fmla="*/ 2558940 w 16682562"/>
                <a:gd name="connsiteY27" fmla="*/ 5072117 h 10921774"/>
                <a:gd name="connsiteX28" fmla="*/ 2402508 w 16682562"/>
                <a:gd name="connsiteY28" fmla="*/ 4385034 h 10921774"/>
                <a:gd name="connsiteX29" fmla="*/ 2730740 w 16682562"/>
                <a:gd name="connsiteY29" fmla="*/ 4357863 h 10921774"/>
                <a:gd name="connsiteX30" fmla="*/ 2947754 w 16682562"/>
                <a:gd name="connsiteY30" fmla="*/ 3887718 h 10921774"/>
                <a:gd name="connsiteX31" fmla="*/ 3499325 w 16682562"/>
                <a:gd name="connsiteY31" fmla="*/ 3444701 h 10921774"/>
                <a:gd name="connsiteX32" fmla="*/ 3680166 w 16682562"/>
                <a:gd name="connsiteY32" fmla="*/ 2567703 h 10921774"/>
                <a:gd name="connsiteX33" fmla="*/ 4186528 w 16682562"/>
                <a:gd name="connsiteY33" fmla="*/ 2576739 h 10921774"/>
                <a:gd name="connsiteX34" fmla="*/ 4837569 w 16682562"/>
                <a:gd name="connsiteY34" fmla="*/ 3046889 h 10921774"/>
                <a:gd name="connsiteX35" fmla="*/ 5352976 w 16682562"/>
                <a:gd name="connsiteY35" fmla="*/ 2965522 h 10921774"/>
                <a:gd name="connsiteX36" fmla="*/ 5741786 w 16682562"/>
                <a:gd name="connsiteY36" fmla="*/ 2594827 h 10921774"/>
                <a:gd name="connsiteX37" fmla="*/ 6157723 w 16682562"/>
                <a:gd name="connsiteY37" fmla="*/ 2432086 h 10921774"/>
                <a:gd name="connsiteX38" fmla="*/ 6745471 w 16682562"/>
                <a:gd name="connsiteY38" fmla="*/ 1862493 h 10921774"/>
                <a:gd name="connsiteX39" fmla="*/ 6890140 w 16682562"/>
                <a:gd name="connsiteY39" fmla="*/ 1012617 h 10921774"/>
                <a:gd name="connsiteX40" fmla="*/ 7568305 w 16682562"/>
                <a:gd name="connsiteY40" fmla="*/ 443023 h 10921774"/>
                <a:gd name="connsiteX41" fmla="*/ 8137967 w 16682562"/>
                <a:gd name="connsiteY41" fmla="*/ 2 h 10921774"/>
                <a:gd name="connsiteX42" fmla="*/ 8856118 w 16682562"/>
                <a:gd name="connsiteY42" fmla="*/ 381866 h 10921774"/>
                <a:gd name="connsiteX43" fmla="*/ 9078849 w 16682562"/>
                <a:gd name="connsiteY43" fmla="*/ 995430 h 10921774"/>
                <a:gd name="connsiteX44" fmla="*/ 9086459 w 16682562"/>
                <a:gd name="connsiteY44" fmla="*/ 1543408 h 10921774"/>
                <a:gd name="connsiteX45" fmla="*/ 9761321 w 16682562"/>
                <a:gd name="connsiteY45" fmla="*/ 1446262 h 10921774"/>
                <a:gd name="connsiteX46" fmla="*/ 10152517 w 16682562"/>
                <a:gd name="connsiteY46" fmla="*/ 2244532 h 10921774"/>
                <a:gd name="connsiteX47" fmla="*/ 11109603 w 16682562"/>
                <a:gd name="connsiteY47" fmla="*/ 2616006 h 10921774"/>
                <a:gd name="connsiteX48" fmla="*/ 11919572 w 16682562"/>
                <a:gd name="connsiteY48" fmla="*/ 2889528 h 10921774"/>
                <a:gd name="connsiteX49" fmla="*/ 12868275 w 16682562"/>
                <a:gd name="connsiteY49" fmla="*/ 2644317 h 10921774"/>
                <a:gd name="connsiteX50" fmla="*/ 13844296 w 16682562"/>
                <a:gd name="connsiteY50" fmla="*/ 2042482 h 10921774"/>
                <a:gd name="connsiteX51" fmla="*/ 13886291 w 16682562"/>
                <a:gd name="connsiteY51" fmla="*/ 1208114 h 10921774"/>
                <a:gd name="connsiteX52" fmla="*/ 14370431 w 16682562"/>
                <a:gd name="connsiteY52" fmla="*/ 1716466 h 10921774"/>
                <a:gd name="connsiteX53" fmla="*/ 15323320 w 16682562"/>
                <a:gd name="connsiteY53" fmla="*/ 1814739 h 10921774"/>
                <a:gd name="connsiteX54" fmla="*/ 16350939 w 16682562"/>
                <a:gd name="connsiteY54" fmla="*/ 1939598 h 10921774"/>
                <a:gd name="connsiteX55" fmla="*/ 16362364 w 16682562"/>
                <a:gd name="connsiteY55" fmla="*/ 2246878 h 10921774"/>
                <a:gd name="connsiteX56" fmla="*/ 16682563 w 16682562"/>
                <a:gd name="connsiteY56" fmla="*/ 2684781 h 10921774"/>
                <a:gd name="connsiteX0" fmla="*/ 16682563 w 16682562"/>
                <a:gd name="connsiteY0" fmla="*/ 2908861 h 11145854"/>
                <a:gd name="connsiteX1" fmla="*/ 16432262 w 16682562"/>
                <a:gd name="connsiteY1" fmla="*/ 3936247 h 11145854"/>
                <a:gd name="connsiteX2" fmla="*/ 16106317 w 16682562"/>
                <a:gd name="connsiteY2" fmla="*/ 4477551 h 11145854"/>
                <a:gd name="connsiteX3" fmla="*/ 16305649 w 16682562"/>
                <a:gd name="connsiteY3" fmla="*/ 4864880 h 11145854"/>
                <a:gd name="connsiteX4" fmla="*/ 16287189 w 16682562"/>
                <a:gd name="connsiteY4" fmla="*/ 5261487 h 11145854"/>
                <a:gd name="connsiteX5" fmla="*/ 16372801 w 16682562"/>
                <a:gd name="connsiteY5" fmla="*/ 5827752 h 11145854"/>
                <a:gd name="connsiteX6" fmla="*/ 16070155 w 16682562"/>
                <a:gd name="connsiteY6" fmla="*/ 6048138 h 11145854"/>
                <a:gd name="connsiteX7" fmla="*/ 15805690 w 16682562"/>
                <a:gd name="connsiteY7" fmla="*/ 6542329 h 11145854"/>
                <a:gd name="connsiteX8" fmla="*/ 15195097 w 16682562"/>
                <a:gd name="connsiteY8" fmla="*/ 6204072 h 11145854"/>
                <a:gd name="connsiteX9" fmla="*/ 15011380 w 16682562"/>
                <a:gd name="connsiteY9" fmla="*/ 7158922 h 11145854"/>
                <a:gd name="connsiteX10" fmla="*/ 14908430 w 16682562"/>
                <a:gd name="connsiteY10" fmla="*/ 8047817 h 11145854"/>
                <a:gd name="connsiteX11" fmla="*/ 14904684 w 16682562"/>
                <a:gd name="connsiteY11" fmla="*/ 8871256 h 11145854"/>
                <a:gd name="connsiteX12" fmla="*/ 14929927 w 16682562"/>
                <a:gd name="connsiteY12" fmla="*/ 10502176 h 11145854"/>
                <a:gd name="connsiteX13" fmla="*/ 12952786 w 16682562"/>
                <a:gd name="connsiteY13" fmla="*/ 10952929 h 11145854"/>
                <a:gd name="connsiteX14" fmla="*/ 11934663 w 16682562"/>
                <a:gd name="connsiteY14" fmla="*/ 11001179 h 11145854"/>
                <a:gd name="connsiteX15" fmla="*/ 8506848 w 16682562"/>
                <a:gd name="connsiteY15" fmla="*/ 11145854 h 11145854"/>
                <a:gd name="connsiteX16" fmla="*/ 7985095 w 16682562"/>
                <a:gd name="connsiteY16" fmla="*/ 10500772 h 11145854"/>
                <a:gd name="connsiteX17" fmla="*/ 7400308 w 16682562"/>
                <a:gd name="connsiteY17" fmla="*/ 10470627 h 11145854"/>
                <a:gd name="connsiteX18" fmla="*/ 6972273 w 16682562"/>
                <a:gd name="connsiteY18" fmla="*/ 10741924 h 11145854"/>
                <a:gd name="connsiteX19" fmla="*/ 5181729 w 16682562"/>
                <a:gd name="connsiteY19" fmla="*/ 10657525 h 11145854"/>
                <a:gd name="connsiteX20" fmla="*/ 4397998 w 16682562"/>
                <a:gd name="connsiteY20" fmla="*/ 10024508 h 11145854"/>
                <a:gd name="connsiteX21" fmla="*/ 2908896 w 16682562"/>
                <a:gd name="connsiteY21" fmla="*/ 9216654 h 11145854"/>
                <a:gd name="connsiteX22" fmla="*/ 1263043 w 16682562"/>
                <a:gd name="connsiteY22" fmla="*/ 8505261 h 11145854"/>
                <a:gd name="connsiteX23" fmla="*/ 485320 w 16682562"/>
                <a:gd name="connsiteY23" fmla="*/ 8053104 h 11145854"/>
                <a:gd name="connsiteX24" fmla="*/ 0 w 16682562"/>
                <a:gd name="connsiteY24" fmla="*/ 7759992 h 11145854"/>
                <a:gd name="connsiteX25" fmla="*/ 1003686 w 16682562"/>
                <a:gd name="connsiteY25" fmla="*/ 7014027 h 11145854"/>
                <a:gd name="connsiteX26" fmla="*/ 2902551 w 16682562"/>
                <a:gd name="connsiteY26" fmla="*/ 5829628 h 11145854"/>
                <a:gd name="connsiteX27" fmla="*/ 2558940 w 16682562"/>
                <a:gd name="connsiteY27" fmla="*/ 5296197 h 11145854"/>
                <a:gd name="connsiteX28" fmla="*/ 2402508 w 16682562"/>
                <a:gd name="connsiteY28" fmla="*/ 4609114 h 11145854"/>
                <a:gd name="connsiteX29" fmla="*/ 2730740 w 16682562"/>
                <a:gd name="connsiteY29" fmla="*/ 4581943 h 11145854"/>
                <a:gd name="connsiteX30" fmla="*/ 2947754 w 16682562"/>
                <a:gd name="connsiteY30" fmla="*/ 4111798 h 11145854"/>
                <a:gd name="connsiteX31" fmla="*/ 3499325 w 16682562"/>
                <a:gd name="connsiteY31" fmla="*/ 3668781 h 11145854"/>
                <a:gd name="connsiteX32" fmla="*/ 3680166 w 16682562"/>
                <a:gd name="connsiteY32" fmla="*/ 2791783 h 11145854"/>
                <a:gd name="connsiteX33" fmla="*/ 4186528 w 16682562"/>
                <a:gd name="connsiteY33" fmla="*/ 2800819 h 11145854"/>
                <a:gd name="connsiteX34" fmla="*/ 4837569 w 16682562"/>
                <a:gd name="connsiteY34" fmla="*/ 3270969 h 11145854"/>
                <a:gd name="connsiteX35" fmla="*/ 5352976 w 16682562"/>
                <a:gd name="connsiteY35" fmla="*/ 3189602 h 11145854"/>
                <a:gd name="connsiteX36" fmla="*/ 5741786 w 16682562"/>
                <a:gd name="connsiteY36" fmla="*/ 2818907 h 11145854"/>
                <a:gd name="connsiteX37" fmla="*/ 6157723 w 16682562"/>
                <a:gd name="connsiteY37" fmla="*/ 2656166 h 11145854"/>
                <a:gd name="connsiteX38" fmla="*/ 6745471 w 16682562"/>
                <a:gd name="connsiteY38" fmla="*/ 2086573 h 11145854"/>
                <a:gd name="connsiteX39" fmla="*/ 6890140 w 16682562"/>
                <a:gd name="connsiteY39" fmla="*/ 1236697 h 11145854"/>
                <a:gd name="connsiteX40" fmla="*/ 7568305 w 16682562"/>
                <a:gd name="connsiteY40" fmla="*/ 667103 h 11145854"/>
                <a:gd name="connsiteX41" fmla="*/ 8502979 w 16682562"/>
                <a:gd name="connsiteY41" fmla="*/ 0 h 11145854"/>
                <a:gd name="connsiteX42" fmla="*/ 8856118 w 16682562"/>
                <a:gd name="connsiteY42" fmla="*/ 605946 h 11145854"/>
                <a:gd name="connsiteX43" fmla="*/ 9078849 w 16682562"/>
                <a:gd name="connsiteY43" fmla="*/ 1219510 h 11145854"/>
                <a:gd name="connsiteX44" fmla="*/ 9086459 w 16682562"/>
                <a:gd name="connsiteY44" fmla="*/ 1767488 h 11145854"/>
                <a:gd name="connsiteX45" fmla="*/ 9761321 w 16682562"/>
                <a:gd name="connsiteY45" fmla="*/ 1670342 h 11145854"/>
                <a:gd name="connsiteX46" fmla="*/ 10152517 w 16682562"/>
                <a:gd name="connsiteY46" fmla="*/ 2468612 h 11145854"/>
                <a:gd name="connsiteX47" fmla="*/ 11109603 w 16682562"/>
                <a:gd name="connsiteY47" fmla="*/ 2840086 h 11145854"/>
                <a:gd name="connsiteX48" fmla="*/ 11919572 w 16682562"/>
                <a:gd name="connsiteY48" fmla="*/ 3113608 h 11145854"/>
                <a:gd name="connsiteX49" fmla="*/ 12868275 w 16682562"/>
                <a:gd name="connsiteY49" fmla="*/ 2868397 h 11145854"/>
                <a:gd name="connsiteX50" fmla="*/ 13844296 w 16682562"/>
                <a:gd name="connsiteY50" fmla="*/ 2266562 h 11145854"/>
                <a:gd name="connsiteX51" fmla="*/ 13886291 w 16682562"/>
                <a:gd name="connsiteY51" fmla="*/ 1432194 h 11145854"/>
                <a:gd name="connsiteX52" fmla="*/ 14370431 w 16682562"/>
                <a:gd name="connsiteY52" fmla="*/ 1940546 h 11145854"/>
                <a:gd name="connsiteX53" fmla="*/ 15323320 w 16682562"/>
                <a:gd name="connsiteY53" fmla="*/ 2038819 h 11145854"/>
                <a:gd name="connsiteX54" fmla="*/ 16350939 w 16682562"/>
                <a:gd name="connsiteY54" fmla="*/ 2163678 h 11145854"/>
                <a:gd name="connsiteX55" fmla="*/ 16362364 w 16682562"/>
                <a:gd name="connsiteY55" fmla="*/ 2470958 h 11145854"/>
                <a:gd name="connsiteX56" fmla="*/ 16682563 w 16682562"/>
                <a:gd name="connsiteY56" fmla="*/ 2908861 h 11145854"/>
                <a:gd name="connsiteX0" fmla="*/ 16682563 w 16682562"/>
                <a:gd name="connsiteY0" fmla="*/ 2908861 h 11145854"/>
                <a:gd name="connsiteX1" fmla="*/ 16432262 w 16682562"/>
                <a:gd name="connsiteY1" fmla="*/ 3936247 h 11145854"/>
                <a:gd name="connsiteX2" fmla="*/ 16106317 w 16682562"/>
                <a:gd name="connsiteY2" fmla="*/ 4477551 h 11145854"/>
                <a:gd name="connsiteX3" fmla="*/ 16305649 w 16682562"/>
                <a:gd name="connsiteY3" fmla="*/ 4864880 h 11145854"/>
                <a:gd name="connsiteX4" fmla="*/ 16287189 w 16682562"/>
                <a:gd name="connsiteY4" fmla="*/ 5261487 h 11145854"/>
                <a:gd name="connsiteX5" fmla="*/ 16372801 w 16682562"/>
                <a:gd name="connsiteY5" fmla="*/ 5827752 h 11145854"/>
                <a:gd name="connsiteX6" fmla="*/ 16070155 w 16682562"/>
                <a:gd name="connsiteY6" fmla="*/ 6048138 h 11145854"/>
                <a:gd name="connsiteX7" fmla="*/ 15805690 w 16682562"/>
                <a:gd name="connsiteY7" fmla="*/ 6542329 h 11145854"/>
                <a:gd name="connsiteX8" fmla="*/ 15195097 w 16682562"/>
                <a:gd name="connsiteY8" fmla="*/ 6204072 h 11145854"/>
                <a:gd name="connsiteX9" fmla="*/ 15011380 w 16682562"/>
                <a:gd name="connsiteY9" fmla="*/ 7158922 h 11145854"/>
                <a:gd name="connsiteX10" fmla="*/ 14908430 w 16682562"/>
                <a:gd name="connsiteY10" fmla="*/ 8047817 h 11145854"/>
                <a:gd name="connsiteX11" fmla="*/ 14904684 w 16682562"/>
                <a:gd name="connsiteY11" fmla="*/ 8871256 h 11145854"/>
                <a:gd name="connsiteX12" fmla="*/ 14962237 w 16682562"/>
                <a:gd name="connsiteY12" fmla="*/ 10899713 h 11145854"/>
                <a:gd name="connsiteX13" fmla="*/ 12952786 w 16682562"/>
                <a:gd name="connsiteY13" fmla="*/ 10952929 h 11145854"/>
                <a:gd name="connsiteX14" fmla="*/ 11934663 w 16682562"/>
                <a:gd name="connsiteY14" fmla="*/ 11001179 h 11145854"/>
                <a:gd name="connsiteX15" fmla="*/ 8506848 w 16682562"/>
                <a:gd name="connsiteY15" fmla="*/ 11145854 h 11145854"/>
                <a:gd name="connsiteX16" fmla="*/ 7985095 w 16682562"/>
                <a:gd name="connsiteY16" fmla="*/ 10500772 h 11145854"/>
                <a:gd name="connsiteX17" fmla="*/ 7400308 w 16682562"/>
                <a:gd name="connsiteY17" fmla="*/ 10470627 h 11145854"/>
                <a:gd name="connsiteX18" fmla="*/ 6972273 w 16682562"/>
                <a:gd name="connsiteY18" fmla="*/ 10741924 h 11145854"/>
                <a:gd name="connsiteX19" fmla="*/ 5181729 w 16682562"/>
                <a:gd name="connsiteY19" fmla="*/ 10657525 h 11145854"/>
                <a:gd name="connsiteX20" fmla="*/ 4397998 w 16682562"/>
                <a:gd name="connsiteY20" fmla="*/ 10024508 h 11145854"/>
                <a:gd name="connsiteX21" fmla="*/ 2908896 w 16682562"/>
                <a:gd name="connsiteY21" fmla="*/ 9216654 h 11145854"/>
                <a:gd name="connsiteX22" fmla="*/ 1263043 w 16682562"/>
                <a:gd name="connsiteY22" fmla="*/ 8505261 h 11145854"/>
                <a:gd name="connsiteX23" fmla="*/ 485320 w 16682562"/>
                <a:gd name="connsiteY23" fmla="*/ 8053104 h 11145854"/>
                <a:gd name="connsiteX24" fmla="*/ 0 w 16682562"/>
                <a:gd name="connsiteY24" fmla="*/ 7759992 h 11145854"/>
                <a:gd name="connsiteX25" fmla="*/ 1003686 w 16682562"/>
                <a:gd name="connsiteY25" fmla="*/ 7014027 h 11145854"/>
                <a:gd name="connsiteX26" fmla="*/ 2902551 w 16682562"/>
                <a:gd name="connsiteY26" fmla="*/ 5829628 h 11145854"/>
                <a:gd name="connsiteX27" fmla="*/ 2558940 w 16682562"/>
                <a:gd name="connsiteY27" fmla="*/ 5296197 h 11145854"/>
                <a:gd name="connsiteX28" fmla="*/ 2402508 w 16682562"/>
                <a:gd name="connsiteY28" fmla="*/ 4609114 h 11145854"/>
                <a:gd name="connsiteX29" fmla="*/ 2730740 w 16682562"/>
                <a:gd name="connsiteY29" fmla="*/ 4581943 h 11145854"/>
                <a:gd name="connsiteX30" fmla="*/ 2947754 w 16682562"/>
                <a:gd name="connsiteY30" fmla="*/ 4111798 h 11145854"/>
                <a:gd name="connsiteX31" fmla="*/ 3499325 w 16682562"/>
                <a:gd name="connsiteY31" fmla="*/ 3668781 h 11145854"/>
                <a:gd name="connsiteX32" fmla="*/ 3680166 w 16682562"/>
                <a:gd name="connsiteY32" fmla="*/ 2791783 h 11145854"/>
                <a:gd name="connsiteX33" fmla="*/ 4186528 w 16682562"/>
                <a:gd name="connsiteY33" fmla="*/ 2800819 h 11145854"/>
                <a:gd name="connsiteX34" fmla="*/ 4837569 w 16682562"/>
                <a:gd name="connsiteY34" fmla="*/ 3270969 h 11145854"/>
                <a:gd name="connsiteX35" fmla="*/ 5352976 w 16682562"/>
                <a:gd name="connsiteY35" fmla="*/ 3189602 h 11145854"/>
                <a:gd name="connsiteX36" fmla="*/ 5741786 w 16682562"/>
                <a:gd name="connsiteY36" fmla="*/ 2818907 h 11145854"/>
                <a:gd name="connsiteX37" fmla="*/ 6157723 w 16682562"/>
                <a:gd name="connsiteY37" fmla="*/ 2656166 h 11145854"/>
                <a:gd name="connsiteX38" fmla="*/ 6745471 w 16682562"/>
                <a:gd name="connsiteY38" fmla="*/ 2086573 h 11145854"/>
                <a:gd name="connsiteX39" fmla="*/ 6890140 w 16682562"/>
                <a:gd name="connsiteY39" fmla="*/ 1236697 h 11145854"/>
                <a:gd name="connsiteX40" fmla="*/ 7568305 w 16682562"/>
                <a:gd name="connsiteY40" fmla="*/ 667103 h 11145854"/>
                <a:gd name="connsiteX41" fmla="*/ 8502979 w 16682562"/>
                <a:gd name="connsiteY41" fmla="*/ 0 h 11145854"/>
                <a:gd name="connsiteX42" fmla="*/ 8856118 w 16682562"/>
                <a:gd name="connsiteY42" fmla="*/ 605946 h 11145854"/>
                <a:gd name="connsiteX43" fmla="*/ 9078849 w 16682562"/>
                <a:gd name="connsiteY43" fmla="*/ 1219510 h 11145854"/>
                <a:gd name="connsiteX44" fmla="*/ 9086459 w 16682562"/>
                <a:gd name="connsiteY44" fmla="*/ 1767488 h 11145854"/>
                <a:gd name="connsiteX45" fmla="*/ 9761321 w 16682562"/>
                <a:gd name="connsiteY45" fmla="*/ 1670342 h 11145854"/>
                <a:gd name="connsiteX46" fmla="*/ 10152517 w 16682562"/>
                <a:gd name="connsiteY46" fmla="*/ 2468612 h 11145854"/>
                <a:gd name="connsiteX47" fmla="*/ 11109603 w 16682562"/>
                <a:gd name="connsiteY47" fmla="*/ 2840086 h 11145854"/>
                <a:gd name="connsiteX48" fmla="*/ 11919572 w 16682562"/>
                <a:gd name="connsiteY48" fmla="*/ 3113608 h 11145854"/>
                <a:gd name="connsiteX49" fmla="*/ 12868275 w 16682562"/>
                <a:gd name="connsiteY49" fmla="*/ 2868397 h 11145854"/>
                <a:gd name="connsiteX50" fmla="*/ 13844296 w 16682562"/>
                <a:gd name="connsiteY50" fmla="*/ 2266562 h 11145854"/>
                <a:gd name="connsiteX51" fmla="*/ 13886291 w 16682562"/>
                <a:gd name="connsiteY51" fmla="*/ 1432194 h 11145854"/>
                <a:gd name="connsiteX52" fmla="*/ 14370431 w 16682562"/>
                <a:gd name="connsiteY52" fmla="*/ 1940546 h 11145854"/>
                <a:gd name="connsiteX53" fmla="*/ 15323320 w 16682562"/>
                <a:gd name="connsiteY53" fmla="*/ 2038819 h 11145854"/>
                <a:gd name="connsiteX54" fmla="*/ 16350939 w 16682562"/>
                <a:gd name="connsiteY54" fmla="*/ 2163678 h 11145854"/>
                <a:gd name="connsiteX55" fmla="*/ 16362364 w 16682562"/>
                <a:gd name="connsiteY55" fmla="*/ 2470958 h 11145854"/>
                <a:gd name="connsiteX56" fmla="*/ 16682563 w 16682562"/>
                <a:gd name="connsiteY56" fmla="*/ 2908861 h 11145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6682562" h="11145854">
                  <a:moveTo>
                    <a:pt x="16682563" y="2908861"/>
                  </a:moveTo>
                  <a:lnTo>
                    <a:pt x="16432262" y="3936247"/>
                  </a:lnTo>
                  <a:lnTo>
                    <a:pt x="16106317" y="4477551"/>
                  </a:lnTo>
                  <a:lnTo>
                    <a:pt x="16305649" y="4864880"/>
                  </a:lnTo>
                  <a:lnTo>
                    <a:pt x="16287189" y="5261487"/>
                  </a:lnTo>
                  <a:lnTo>
                    <a:pt x="16372801" y="5827752"/>
                  </a:lnTo>
                  <a:lnTo>
                    <a:pt x="16070155" y="6048138"/>
                  </a:lnTo>
                  <a:lnTo>
                    <a:pt x="15805690" y="6542329"/>
                  </a:lnTo>
                  <a:lnTo>
                    <a:pt x="15195097" y="6204072"/>
                  </a:lnTo>
                  <a:lnTo>
                    <a:pt x="15011380" y="7158922"/>
                  </a:lnTo>
                  <a:lnTo>
                    <a:pt x="14908430" y="8047817"/>
                  </a:lnTo>
                  <a:cubicBezTo>
                    <a:pt x="14907181" y="8322297"/>
                    <a:pt x="14905933" y="8596776"/>
                    <a:pt x="14904684" y="8871256"/>
                  </a:cubicBezTo>
                  <a:lnTo>
                    <a:pt x="14962237" y="10899713"/>
                  </a:lnTo>
                  <a:lnTo>
                    <a:pt x="12952786" y="10952929"/>
                  </a:lnTo>
                  <a:lnTo>
                    <a:pt x="11934663" y="11001179"/>
                  </a:lnTo>
                  <a:lnTo>
                    <a:pt x="8506848" y="11145854"/>
                  </a:lnTo>
                  <a:lnTo>
                    <a:pt x="7985095" y="10500772"/>
                  </a:lnTo>
                  <a:lnTo>
                    <a:pt x="7400308" y="10470627"/>
                  </a:lnTo>
                  <a:lnTo>
                    <a:pt x="6972273" y="10741924"/>
                  </a:lnTo>
                  <a:lnTo>
                    <a:pt x="5181729" y="10657525"/>
                  </a:lnTo>
                  <a:lnTo>
                    <a:pt x="4397998" y="10024508"/>
                  </a:lnTo>
                  <a:lnTo>
                    <a:pt x="2908896" y="9216654"/>
                  </a:lnTo>
                  <a:lnTo>
                    <a:pt x="1263043" y="8505261"/>
                  </a:lnTo>
                  <a:lnTo>
                    <a:pt x="485320" y="8053104"/>
                  </a:lnTo>
                  <a:lnTo>
                    <a:pt x="0" y="7759992"/>
                  </a:lnTo>
                  <a:lnTo>
                    <a:pt x="1003686" y="7014027"/>
                  </a:lnTo>
                  <a:lnTo>
                    <a:pt x="2902551" y="5829628"/>
                  </a:lnTo>
                  <a:lnTo>
                    <a:pt x="2558940" y="5296197"/>
                  </a:lnTo>
                  <a:lnTo>
                    <a:pt x="2402508" y="4609114"/>
                  </a:lnTo>
                  <a:lnTo>
                    <a:pt x="2730740" y="4581943"/>
                  </a:lnTo>
                  <a:lnTo>
                    <a:pt x="2947754" y="4111798"/>
                  </a:lnTo>
                  <a:lnTo>
                    <a:pt x="3499325" y="3668781"/>
                  </a:lnTo>
                  <a:lnTo>
                    <a:pt x="3680166" y="2791783"/>
                  </a:lnTo>
                  <a:lnTo>
                    <a:pt x="4186528" y="2800819"/>
                  </a:lnTo>
                  <a:lnTo>
                    <a:pt x="4837569" y="3270969"/>
                  </a:lnTo>
                  <a:lnTo>
                    <a:pt x="5352976" y="3189602"/>
                  </a:lnTo>
                  <a:lnTo>
                    <a:pt x="5741786" y="2818907"/>
                  </a:lnTo>
                  <a:lnTo>
                    <a:pt x="6157723" y="2656166"/>
                  </a:lnTo>
                  <a:lnTo>
                    <a:pt x="6745471" y="2086573"/>
                  </a:lnTo>
                  <a:lnTo>
                    <a:pt x="6890140" y="1236697"/>
                  </a:lnTo>
                  <a:lnTo>
                    <a:pt x="7568305" y="667103"/>
                  </a:lnTo>
                  <a:lnTo>
                    <a:pt x="8502979" y="0"/>
                  </a:lnTo>
                  <a:lnTo>
                    <a:pt x="8856118" y="605946"/>
                  </a:lnTo>
                  <a:lnTo>
                    <a:pt x="9078849" y="1219510"/>
                  </a:lnTo>
                  <a:lnTo>
                    <a:pt x="9086459" y="1767488"/>
                  </a:lnTo>
                  <a:lnTo>
                    <a:pt x="9761321" y="1670342"/>
                  </a:lnTo>
                  <a:lnTo>
                    <a:pt x="10152517" y="2468612"/>
                  </a:lnTo>
                  <a:lnTo>
                    <a:pt x="11109603" y="2840086"/>
                  </a:lnTo>
                  <a:lnTo>
                    <a:pt x="11919572" y="3113608"/>
                  </a:lnTo>
                  <a:lnTo>
                    <a:pt x="12868275" y="2868397"/>
                  </a:lnTo>
                  <a:lnTo>
                    <a:pt x="13844296" y="2266562"/>
                  </a:lnTo>
                  <a:lnTo>
                    <a:pt x="13886291" y="1432194"/>
                  </a:lnTo>
                  <a:lnTo>
                    <a:pt x="14370431" y="1940546"/>
                  </a:lnTo>
                  <a:lnTo>
                    <a:pt x="15323320" y="2038819"/>
                  </a:lnTo>
                  <a:lnTo>
                    <a:pt x="16350939" y="2163678"/>
                  </a:lnTo>
                  <a:lnTo>
                    <a:pt x="16362364" y="2470958"/>
                  </a:lnTo>
                  <a:lnTo>
                    <a:pt x="16682563" y="2908861"/>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11" name="任意多边形 100">
              <a:extLst>
                <a:ext uri="{FF2B5EF4-FFF2-40B4-BE49-F238E27FC236}">
                  <a16:creationId xmlns:a16="http://schemas.microsoft.com/office/drawing/2014/main" id="{4EF7616B-87DA-08EA-A0F9-FC2F88128113}"/>
                </a:ext>
              </a:extLst>
            </p:cNvPr>
            <p:cNvSpPr>
              <a:spLocks/>
            </p:cNvSpPr>
            <p:nvPr/>
          </p:nvSpPr>
          <p:spPr bwMode="auto">
            <a:xfrm>
              <a:off x="9033346" y="1396896"/>
              <a:ext cx="1968177" cy="2589199"/>
            </a:xfrm>
            <a:custGeom>
              <a:avLst/>
              <a:gdLst>
                <a:gd name="connsiteX0" fmla="*/ 477776 w 18447968"/>
                <a:gd name="connsiteY0" fmla="*/ 7436569 h 15946069"/>
                <a:gd name="connsiteX1" fmla="*/ 271294 w 18447968"/>
                <a:gd name="connsiteY1" fmla="*/ 8060457 h 15946069"/>
                <a:gd name="connsiteX2" fmla="*/ 379812 w 18447968"/>
                <a:gd name="connsiteY2" fmla="*/ 8675382 h 15946069"/>
                <a:gd name="connsiteX3" fmla="*/ 759624 w 18447968"/>
                <a:gd name="connsiteY3" fmla="*/ 9217969 h 15946069"/>
                <a:gd name="connsiteX4" fmla="*/ 687278 w 18447968"/>
                <a:gd name="connsiteY4" fmla="*/ 9670126 h 15946069"/>
                <a:gd name="connsiteX5" fmla="*/ 144687 w 18447968"/>
                <a:gd name="connsiteY5" fmla="*/ 9941420 h 15946069"/>
                <a:gd name="connsiteX6" fmla="*/ 343643 w 18447968"/>
                <a:gd name="connsiteY6" fmla="*/ 10592536 h 15946069"/>
                <a:gd name="connsiteX7" fmla="*/ 940487 w 18447968"/>
                <a:gd name="connsiteY7" fmla="*/ 10954252 h 15946069"/>
                <a:gd name="connsiteX8" fmla="*/ 596844 w 18447968"/>
                <a:gd name="connsiteY8" fmla="*/ 11786221 h 15946069"/>
                <a:gd name="connsiteX9" fmla="*/ 633017 w 18447968"/>
                <a:gd name="connsiteY9" fmla="*/ 12780969 h 15946069"/>
                <a:gd name="connsiteX10" fmla="*/ 198944 w 18447968"/>
                <a:gd name="connsiteY10" fmla="*/ 13341645 h 15946069"/>
                <a:gd name="connsiteX11" fmla="*/ 723451 w 18447968"/>
                <a:gd name="connsiteY11" fmla="*/ 13757629 h 15946069"/>
                <a:gd name="connsiteX12" fmla="*/ 1640036 w 18447968"/>
                <a:gd name="connsiteY12" fmla="*/ 13197151 h 15946069"/>
                <a:gd name="connsiteX13" fmla="*/ 1880971 w 18447968"/>
                <a:gd name="connsiteY13" fmla="*/ 13395906 h 15946069"/>
                <a:gd name="connsiteX14" fmla="*/ 2930086 w 18447968"/>
                <a:gd name="connsiteY14" fmla="*/ 12952832 h 15946069"/>
                <a:gd name="connsiteX15" fmla="*/ 3828256 w 18447968"/>
                <a:gd name="connsiteY15" fmla="*/ 13245188 h 15946069"/>
                <a:gd name="connsiteX16" fmla="*/ 4768739 w 18447968"/>
                <a:gd name="connsiteY16" fmla="*/ 13040205 h 15946069"/>
                <a:gd name="connsiteX17" fmla="*/ 5190751 w 18447968"/>
                <a:gd name="connsiteY17" fmla="*/ 13649115 h 15946069"/>
                <a:gd name="connsiteX18" fmla="*/ 5932290 w 18447968"/>
                <a:gd name="connsiteY18" fmla="*/ 13444132 h 15946069"/>
                <a:gd name="connsiteX19" fmla="*/ 6498992 w 18447968"/>
                <a:gd name="connsiteY19" fmla="*/ 12991975 h 15946069"/>
                <a:gd name="connsiteX20" fmla="*/ 7373161 w 18447968"/>
                <a:gd name="connsiteY20" fmla="*/ 13582800 h 15946069"/>
                <a:gd name="connsiteX21" fmla="*/ 8512588 w 18447968"/>
                <a:gd name="connsiteY21" fmla="*/ 13570738 h 15946069"/>
                <a:gd name="connsiteX22" fmla="*/ 9416903 w 18447968"/>
                <a:gd name="connsiteY22" fmla="*/ 13281357 h 15946069"/>
                <a:gd name="connsiteX23" fmla="*/ 9742454 w 18447968"/>
                <a:gd name="connsiteY23" fmla="*/ 14004811 h 15946069"/>
                <a:gd name="connsiteX24" fmla="*/ 10080066 w 18447968"/>
                <a:gd name="connsiteY24" fmla="*/ 14716204 h 15946069"/>
                <a:gd name="connsiteX25" fmla="*/ 10616683 w 18447968"/>
                <a:gd name="connsiteY25" fmla="*/ 15358294 h 15946069"/>
                <a:gd name="connsiteX26" fmla="*/ 11117010 w 18447968"/>
                <a:gd name="connsiteY26" fmla="*/ 15946069 h 15946069"/>
                <a:gd name="connsiteX27" fmla="*/ 11593335 w 18447968"/>
                <a:gd name="connsiteY27" fmla="*/ 15822497 h 15946069"/>
                <a:gd name="connsiteX28" fmla="*/ 11780218 w 18447968"/>
                <a:gd name="connsiteY28" fmla="*/ 13579811 h 15946069"/>
                <a:gd name="connsiteX29" fmla="*/ 11954994 w 18447968"/>
                <a:gd name="connsiteY29" fmla="*/ 12135890 h 15946069"/>
                <a:gd name="connsiteX30" fmla="*/ 12196146 w 18447968"/>
                <a:gd name="connsiteY30" fmla="*/ 11388328 h 15946069"/>
                <a:gd name="connsiteX31" fmla="*/ 13166775 w 18447968"/>
                <a:gd name="connsiteY31" fmla="*/ 11707856 h 15946069"/>
                <a:gd name="connsiteX32" fmla="*/ 14004775 w 18447968"/>
                <a:gd name="connsiteY32" fmla="*/ 11611395 h 15946069"/>
                <a:gd name="connsiteX33" fmla="*/ 14939235 w 18447968"/>
                <a:gd name="connsiteY33" fmla="*/ 11322014 h 15946069"/>
                <a:gd name="connsiteX34" fmla="*/ 15409477 w 18447968"/>
                <a:gd name="connsiteY34" fmla="*/ 11882693 h 15946069"/>
                <a:gd name="connsiteX35" fmla="*/ 15861634 w 18447968"/>
                <a:gd name="connsiteY35" fmla="*/ 11273783 h 15946069"/>
                <a:gd name="connsiteX36" fmla="*/ 16413199 w 18447968"/>
                <a:gd name="connsiteY36" fmla="*/ 10920339 h 15946069"/>
                <a:gd name="connsiteX37" fmla="*/ 16765948 w 18447968"/>
                <a:gd name="connsiteY37" fmla="*/ 10200671 h 15946069"/>
                <a:gd name="connsiteX38" fmla="*/ 16428336 w 18447968"/>
                <a:gd name="connsiteY38" fmla="*/ 9374732 h 15946069"/>
                <a:gd name="connsiteX39" fmla="*/ 15946033 w 18447968"/>
                <a:gd name="connsiteY39" fmla="*/ 8440272 h 15946069"/>
                <a:gd name="connsiteX40" fmla="*/ 16024409 w 18447968"/>
                <a:gd name="connsiteY40" fmla="*/ 7433474 h 15946069"/>
                <a:gd name="connsiteX41" fmla="*/ 16958870 w 18447968"/>
                <a:gd name="connsiteY41" fmla="*/ 6776350 h 15946069"/>
                <a:gd name="connsiteX42" fmla="*/ 17911414 w 18447968"/>
                <a:gd name="connsiteY42" fmla="*/ 6083041 h 15946069"/>
                <a:gd name="connsiteX43" fmla="*/ 17694370 w 18447968"/>
                <a:gd name="connsiteY43" fmla="*/ 5570592 h 15946069"/>
                <a:gd name="connsiteX44" fmla="*/ 17385711 w 18447968"/>
                <a:gd name="connsiteY44" fmla="*/ 5219213 h 15946069"/>
                <a:gd name="connsiteX45" fmla="*/ 17637701 w 18447968"/>
                <a:gd name="connsiteY45" fmla="*/ 4819407 h 15946069"/>
                <a:gd name="connsiteX46" fmla="*/ 18171858 w 18447968"/>
                <a:gd name="connsiteY46" fmla="*/ 4701949 h 15946069"/>
                <a:gd name="connsiteX47" fmla="*/ 18447970 w 18447968"/>
                <a:gd name="connsiteY47" fmla="*/ 4316604 h 15946069"/>
                <a:gd name="connsiteX48" fmla="*/ 17814953 w 18447968"/>
                <a:gd name="connsiteY48" fmla="*/ 4117660 h 15946069"/>
                <a:gd name="connsiteX49" fmla="*/ 17067422 w 18447968"/>
                <a:gd name="connsiteY49" fmla="*/ 3472551 h 15946069"/>
                <a:gd name="connsiteX50" fmla="*/ 16852763 w 18447968"/>
                <a:gd name="connsiteY50" fmla="*/ 3282076 h 15946069"/>
                <a:gd name="connsiteX51" fmla="*/ 16161870 w 18447968"/>
                <a:gd name="connsiteY51" fmla="*/ 4063407 h 15946069"/>
                <a:gd name="connsiteX52" fmla="*/ 14429201 w 18447968"/>
                <a:gd name="connsiteY52" fmla="*/ 4027238 h 15946069"/>
                <a:gd name="connsiteX53" fmla="*/ 13383819 w 18447968"/>
                <a:gd name="connsiteY53" fmla="*/ 2963756 h 15946069"/>
                <a:gd name="connsiteX54" fmla="*/ 12493981 w 18447968"/>
                <a:gd name="connsiteY54" fmla="*/ 2927587 h 15946069"/>
                <a:gd name="connsiteX55" fmla="*/ 11976717 w 18447968"/>
                <a:gd name="connsiteY55" fmla="*/ 2139025 h 15946069"/>
                <a:gd name="connsiteX56" fmla="*/ 11484768 w 18447968"/>
                <a:gd name="connsiteY56" fmla="*/ 1495155 h 15946069"/>
                <a:gd name="connsiteX57" fmla="*/ 10830043 w 18447968"/>
                <a:gd name="connsiteY57" fmla="*/ 1256418 h 15946069"/>
                <a:gd name="connsiteX58" fmla="*/ 10323633 w 18447968"/>
                <a:gd name="connsiteY58" fmla="*/ 1220249 h 15946069"/>
                <a:gd name="connsiteX59" fmla="*/ 9802745 w 18447968"/>
                <a:gd name="connsiteY59" fmla="*/ 1603676 h 15946069"/>
                <a:gd name="connsiteX60" fmla="*/ 9223982 w 18447968"/>
                <a:gd name="connsiteY60" fmla="*/ 1621761 h 15946069"/>
                <a:gd name="connsiteX61" fmla="*/ 8782678 w 18447968"/>
                <a:gd name="connsiteY61" fmla="*/ 2171586 h 15946069"/>
                <a:gd name="connsiteX62" fmla="*/ 8272645 w 18447968"/>
                <a:gd name="connsiteY62" fmla="*/ 2102856 h 15946069"/>
                <a:gd name="connsiteX63" fmla="*/ 7853048 w 18447968"/>
                <a:gd name="connsiteY63" fmla="*/ 2526075 h 15946069"/>
                <a:gd name="connsiteX64" fmla="*/ 7323799 w 18447968"/>
                <a:gd name="connsiteY64" fmla="*/ 2632907 h 15946069"/>
                <a:gd name="connsiteX65" fmla="*/ 6977672 w 18447968"/>
                <a:gd name="connsiteY65" fmla="*/ 2178817 h 15946069"/>
                <a:gd name="connsiteX66" fmla="*/ 6594245 w 18447968"/>
                <a:gd name="connsiteY66" fmla="*/ 2055834 h 15946069"/>
                <a:gd name="connsiteX67" fmla="*/ 6431470 w 18447968"/>
                <a:gd name="connsiteY67" fmla="*/ 1314295 h 15946069"/>
                <a:gd name="connsiteX68" fmla="*/ 5642908 w 18447968"/>
                <a:gd name="connsiteY68" fmla="*/ 1343233 h 15946069"/>
                <a:gd name="connsiteX69" fmla="*/ 5150959 w 18447968"/>
                <a:gd name="connsiteY69" fmla="*/ 1610907 h 15946069"/>
                <a:gd name="connsiteX70" fmla="*/ 5480133 w 18447968"/>
                <a:gd name="connsiteY70" fmla="*/ 2167963 h 15946069"/>
                <a:gd name="connsiteX71" fmla="*/ 4742216 w 18447968"/>
                <a:gd name="connsiteY71" fmla="*/ 2862495 h 15946069"/>
                <a:gd name="connsiteX72" fmla="*/ 2658667 w 18447968"/>
                <a:gd name="connsiteY72" fmla="*/ 0 h 15946069"/>
                <a:gd name="connsiteX73" fmla="*/ 2658682 w 18447968"/>
                <a:gd name="connsiteY73" fmla="*/ 1018890 h 15946069"/>
                <a:gd name="connsiteX74" fmla="*/ 1850829 w 18447968"/>
                <a:gd name="connsiteY74" fmla="*/ 1730283 h 15946069"/>
                <a:gd name="connsiteX75" fmla="*/ 1404694 w 18447968"/>
                <a:gd name="connsiteY75" fmla="*/ 2272862 h 15946069"/>
                <a:gd name="connsiteX76" fmla="*/ 2351216 w 18447968"/>
                <a:gd name="connsiteY76" fmla="*/ 3388182 h 15946069"/>
                <a:gd name="connsiteX77" fmla="*/ 2658682 w 18447968"/>
                <a:gd name="connsiteY77" fmla="*/ 4286458 h 15946069"/>
                <a:gd name="connsiteX78" fmla="*/ 1935228 w 18447968"/>
                <a:gd name="connsiteY78" fmla="*/ 5220918 h 15946069"/>
                <a:gd name="connsiteX79" fmla="*/ 875281 w 18447968"/>
                <a:gd name="connsiteY79" fmla="*/ 5166646 h 15946069"/>
                <a:gd name="connsiteX80" fmla="*/ 0 w 18447968"/>
                <a:gd name="connsiteY80" fmla="*/ 5890112 h 15946069"/>
                <a:gd name="connsiteX81" fmla="*/ 72345 w 18447968"/>
                <a:gd name="connsiteY81" fmla="*/ 6921032 h 15946069"/>
                <a:gd name="connsiteX82" fmla="*/ 477776 w 18447968"/>
                <a:gd name="connsiteY82" fmla="*/ 7436569 h 15946069"/>
                <a:gd name="connsiteX0" fmla="*/ 477776 w 18447968"/>
                <a:gd name="connsiteY0" fmla="*/ 7436569 h 15946069"/>
                <a:gd name="connsiteX1" fmla="*/ 271294 w 18447968"/>
                <a:gd name="connsiteY1" fmla="*/ 8060457 h 15946069"/>
                <a:gd name="connsiteX2" fmla="*/ 379812 w 18447968"/>
                <a:gd name="connsiteY2" fmla="*/ 8675382 h 15946069"/>
                <a:gd name="connsiteX3" fmla="*/ 759624 w 18447968"/>
                <a:gd name="connsiteY3" fmla="*/ 9217969 h 15946069"/>
                <a:gd name="connsiteX4" fmla="*/ 687278 w 18447968"/>
                <a:gd name="connsiteY4" fmla="*/ 9670126 h 15946069"/>
                <a:gd name="connsiteX5" fmla="*/ 144687 w 18447968"/>
                <a:gd name="connsiteY5" fmla="*/ 9941420 h 15946069"/>
                <a:gd name="connsiteX6" fmla="*/ 343643 w 18447968"/>
                <a:gd name="connsiteY6" fmla="*/ 10592536 h 15946069"/>
                <a:gd name="connsiteX7" fmla="*/ 940487 w 18447968"/>
                <a:gd name="connsiteY7" fmla="*/ 10954252 h 15946069"/>
                <a:gd name="connsiteX8" fmla="*/ 596844 w 18447968"/>
                <a:gd name="connsiteY8" fmla="*/ 11786221 h 15946069"/>
                <a:gd name="connsiteX9" fmla="*/ 633017 w 18447968"/>
                <a:gd name="connsiteY9" fmla="*/ 12780969 h 15946069"/>
                <a:gd name="connsiteX10" fmla="*/ 198944 w 18447968"/>
                <a:gd name="connsiteY10" fmla="*/ 13341645 h 15946069"/>
                <a:gd name="connsiteX11" fmla="*/ 723451 w 18447968"/>
                <a:gd name="connsiteY11" fmla="*/ 13757629 h 15946069"/>
                <a:gd name="connsiteX12" fmla="*/ 1640036 w 18447968"/>
                <a:gd name="connsiteY12" fmla="*/ 13197151 h 15946069"/>
                <a:gd name="connsiteX13" fmla="*/ 1880971 w 18447968"/>
                <a:gd name="connsiteY13" fmla="*/ 13395906 h 15946069"/>
                <a:gd name="connsiteX14" fmla="*/ 2930086 w 18447968"/>
                <a:gd name="connsiteY14" fmla="*/ 12952832 h 15946069"/>
                <a:gd name="connsiteX15" fmla="*/ 3828256 w 18447968"/>
                <a:gd name="connsiteY15" fmla="*/ 13245188 h 15946069"/>
                <a:gd name="connsiteX16" fmla="*/ 4768739 w 18447968"/>
                <a:gd name="connsiteY16" fmla="*/ 13040205 h 15946069"/>
                <a:gd name="connsiteX17" fmla="*/ 5190751 w 18447968"/>
                <a:gd name="connsiteY17" fmla="*/ 13649115 h 15946069"/>
                <a:gd name="connsiteX18" fmla="*/ 5932290 w 18447968"/>
                <a:gd name="connsiteY18" fmla="*/ 13444132 h 15946069"/>
                <a:gd name="connsiteX19" fmla="*/ 6498992 w 18447968"/>
                <a:gd name="connsiteY19" fmla="*/ 12991975 h 15946069"/>
                <a:gd name="connsiteX20" fmla="*/ 7373161 w 18447968"/>
                <a:gd name="connsiteY20" fmla="*/ 13582800 h 15946069"/>
                <a:gd name="connsiteX21" fmla="*/ 8512588 w 18447968"/>
                <a:gd name="connsiteY21" fmla="*/ 13570738 h 15946069"/>
                <a:gd name="connsiteX22" fmla="*/ 9416903 w 18447968"/>
                <a:gd name="connsiteY22" fmla="*/ 13281357 h 15946069"/>
                <a:gd name="connsiteX23" fmla="*/ 9742454 w 18447968"/>
                <a:gd name="connsiteY23" fmla="*/ 14004811 h 15946069"/>
                <a:gd name="connsiteX24" fmla="*/ 10080066 w 18447968"/>
                <a:gd name="connsiteY24" fmla="*/ 14716204 h 15946069"/>
                <a:gd name="connsiteX25" fmla="*/ 10616683 w 18447968"/>
                <a:gd name="connsiteY25" fmla="*/ 15358294 h 15946069"/>
                <a:gd name="connsiteX26" fmla="*/ 11117010 w 18447968"/>
                <a:gd name="connsiteY26" fmla="*/ 15946069 h 15946069"/>
                <a:gd name="connsiteX27" fmla="*/ 11593335 w 18447968"/>
                <a:gd name="connsiteY27" fmla="*/ 15822497 h 15946069"/>
                <a:gd name="connsiteX28" fmla="*/ 11780218 w 18447968"/>
                <a:gd name="connsiteY28" fmla="*/ 13579811 h 15946069"/>
                <a:gd name="connsiteX29" fmla="*/ 11954994 w 18447968"/>
                <a:gd name="connsiteY29" fmla="*/ 12135890 h 15946069"/>
                <a:gd name="connsiteX30" fmla="*/ 12196146 w 18447968"/>
                <a:gd name="connsiteY30" fmla="*/ 11388328 h 15946069"/>
                <a:gd name="connsiteX31" fmla="*/ 13166775 w 18447968"/>
                <a:gd name="connsiteY31" fmla="*/ 11707856 h 15946069"/>
                <a:gd name="connsiteX32" fmla="*/ 14004775 w 18447968"/>
                <a:gd name="connsiteY32" fmla="*/ 11611395 h 15946069"/>
                <a:gd name="connsiteX33" fmla="*/ 14939235 w 18447968"/>
                <a:gd name="connsiteY33" fmla="*/ 11322014 h 15946069"/>
                <a:gd name="connsiteX34" fmla="*/ 15409477 w 18447968"/>
                <a:gd name="connsiteY34" fmla="*/ 11882693 h 15946069"/>
                <a:gd name="connsiteX35" fmla="*/ 15861634 w 18447968"/>
                <a:gd name="connsiteY35" fmla="*/ 11273783 h 15946069"/>
                <a:gd name="connsiteX36" fmla="*/ 16413199 w 18447968"/>
                <a:gd name="connsiteY36" fmla="*/ 10920339 h 15946069"/>
                <a:gd name="connsiteX37" fmla="*/ 16765948 w 18447968"/>
                <a:gd name="connsiteY37" fmla="*/ 10200671 h 15946069"/>
                <a:gd name="connsiteX38" fmla="*/ 16428336 w 18447968"/>
                <a:gd name="connsiteY38" fmla="*/ 9374732 h 15946069"/>
                <a:gd name="connsiteX39" fmla="*/ 15946033 w 18447968"/>
                <a:gd name="connsiteY39" fmla="*/ 8440272 h 15946069"/>
                <a:gd name="connsiteX40" fmla="*/ 16024409 w 18447968"/>
                <a:gd name="connsiteY40" fmla="*/ 7433474 h 15946069"/>
                <a:gd name="connsiteX41" fmla="*/ 16958870 w 18447968"/>
                <a:gd name="connsiteY41" fmla="*/ 6776350 h 15946069"/>
                <a:gd name="connsiteX42" fmla="*/ 17911414 w 18447968"/>
                <a:gd name="connsiteY42" fmla="*/ 6083041 h 15946069"/>
                <a:gd name="connsiteX43" fmla="*/ 17694370 w 18447968"/>
                <a:gd name="connsiteY43" fmla="*/ 5570592 h 15946069"/>
                <a:gd name="connsiteX44" fmla="*/ 17385711 w 18447968"/>
                <a:gd name="connsiteY44" fmla="*/ 5219213 h 15946069"/>
                <a:gd name="connsiteX45" fmla="*/ 17637701 w 18447968"/>
                <a:gd name="connsiteY45" fmla="*/ 4819407 h 15946069"/>
                <a:gd name="connsiteX46" fmla="*/ 18171858 w 18447968"/>
                <a:gd name="connsiteY46" fmla="*/ 4701949 h 15946069"/>
                <a:gd name="connsiteX47" fmla="*/ 18447970 w 18447968"/>
                <a:gd name="connsiteY47" fmla="*/ 4316604 h 15946069"/>
                <a:gd name="connsiteX48" fmla="*/ 17814953 w 18447968"/>
                <a:gd name="connsiteY48" fmla="*/ 4117660 h 15946069"/>
                <a:gd name="connsiteX49" fmla="*/ 17067422 w 18447968"/>
                <a:gd name="connsiteY49" fmla="*/ 3472551 h 15946069"/>
                <a:gd name="connsiteX50" fmla="*/ 16852763 w 18447968"/>
                <a:gd name="connsiteY50" fmla="*/ 3282076 h 15946069"/>
                <a:gd name="connsiteX51" fmla="*/ 14429201 w 18447968"/>
                <a:gd name="connsiteY51" fmla="*/ 4027238 h 15946069"/>
                <a:gd name="connsiteX52" fmla="*/ 13383819 w 18447968"/>
                <a:gd name="connsiteY52" fmla="*/ 2963756 h 15946069"/>
                <a:gd name="connsiteX53" fmla="*/ 12493981 w 18447968"/>
                <a:gd name="connsiteY53" fmla="*/ 2927587 h 15946069"/>
                <a:gd name="connsiteX54" fmla="*/ 11976717 w 18447968"/>
                <a:gd name="connsiteY54" fmla="*/ 2139025 h 15946069"/>
                <a:gd name="connsiteX55" fmla="*/ 11484768 w 18447968"/>
                <a:gd name="connsiteY55" fmla="*/ 1495155 h 15946069"/>
                <a:gd name="connsiteX56" fmla="*/ 10830043 w 18447968"/>
                <a:gd name="connsiteY56" fmla="*/ 1256418 h 15946069"/>
                <a:gd name="connsiteX57" fmla="*/ 10323633 w 18447968"/>
                <a:gd name="connsiteY57" fmla="*/ 1220249 h 15946069"/>
                <a:gd name="connsiteX58" fmla="*/ 9802745 w 18447968"/>
                <a:gd name="connsiteY58" fmla="*/ 1603676 h 15946069"/>
                <a:gd name="connsiteX59" fmla="*/ 9223982 w 18447968"/>
                <a:gd name="connsiteY59" fmla="*/ 1621761 h 15946069"/>
                <a:gd name="connsiteX60" fmla="*/ 8782678 w 18447968"/>
                <a:gd name="connsiteY60" fmla="*/ 2171586 h 15946069"/>
                <a:gd name="connsiteX61" fmla="*/ 8272645 w 18447968"/>
                <a:gd name="connsiteY61" fmla="*/ 2102856 h 15946069"/>
                <a:gd name="connsiteX62" fmla="*/ 7853048 w 18447968"/>
                <a:gd name="connsiteY62" fmla="*/ 2526075 h 15946069"/>
                <a:gd name="connsiteX63" fmla="*/ 7323799 w 18447968"/>
                <a:gd name="connsiteY63" fmla="*/ 2632907 h 15946069"/>
                <a:gd name="connsiteX64" fmla="*/ 6977672 w 18447968"/>
                <a:gd name="connsiteY64" fmla="*/ 2178817 h 15946069"/>
                <a:gd name="connsiteX65" fmla="*/ 6594245 w 18447968"/>
                <a:gd name="connsiteY65" fmla="*/ 2055834 h 15946069"/>
                <a:gd name="connsiteX66" fmla="*/ 6431470 w 18447968"/>
                <a:gd name="connsiteY66" fmla="*/ 1314295 h 15946069"/>
                <a:gd name="connsiteX67" fmla="*/ 5642908 w 18447968"/>
                <a:gd name="connsiteY67" fmla="*/ 1343233 h 15946069"/>
                <a:gd name="connsiteX68" fmla="*/ 5150959 w 18447968"/>
                <a:gd name="connsiteY68" fmla="*/ 1610907 h 15946069"/>
                <a:gd name="connsiteX69" fmla="*/ 5480133 w 18447968"/>
                <a:gd name="connsiteY69" fmla="*/ 2167963 h 15946069"/>
                <a:gd name="connsiteX70" fmla="*/ 4742216 w 18447968"/>
                <a:gd name="connsiteY70" fmla="*/ 2862495 h 15946069"/>
                <a:gd name="connsiteX71" fmla="*/ 2658667 w 18447968"/>
                <a:gd name="connsiteY71" fmla="*/ 0 h 15946069"/>
                <a:gd name="connsiteX72" fmla="*/ 2658682 w 18447968"/>
                <a:gd name="connsiteY72" fmla="*/ 1018890 h 15946069"/>
                <a:gd name="connsiteX73" fmla="*/ 1850829 w 18447968"/>
                <a:gd name="connsiteY73" fmla="*/ 1730283 h 15946069"/>
                <a:gd name="connsiteX74" fmla="*/ 1404694 w 18447968"/>
                <a:gd name="connsiteY74" fmla="*/ 2272862 h 15946069"/>
                <a:gd name="connsiteX75" fmla="*/ 2351216 w 18447968"/>
                <a:gd name="connsiteY75" fmla="*/ 3388182 h 15946069"/>
                <a:gd name="connsiteX76" fmla="*/ 2658682 w 18447968"/>
                <a:gd name="connsiteY76" fmla="*/ 4286458 h 15946069"/>
                <a:gd name="connsiteX77" fmla="*/ 1935228 w 18447968"/>
                <a:gd name="connsiteY77" fmla="*/ 5220918 h 15946069"/>
                <a:gd name="connsiteX78" fmla="*/ 875281 w 18447968"/>
                <a:gd name="connsiteY78" fmla="*/ 5166646 h 15946069"/>
                <a:gd name="connsiteX79" fmla="*/ 0 w 18447968"/>
                <a:gd name="connsiteY79" fmla="*/ 5890112 h 15946069"/>
                <a:gd name="connsiteX80" fmla="*/ 72345 w 18447968"/>
                <a:gd name="connsiteY80" fmla="*/ 6921032 h 15946069"/>
                <a:gd name="connsiteX81" fmla="*/ 477776 w 18447968"/>
                <a:gd name="connsiteY81" fmla="*/ 7436569 h 15946069"/>
                <a:gd name="connsiteX0" fmla="*/ 477776 w 18447968"/>
                <a:gd name="connsiteY0" fmla="*/ 7436569 h 15946069"/>
                <a:gd name="connsiteX1" fmla="*/ 271294 w 18447968"/>
                <a:gd name="connsiteY1" fmla="*/ 8060457 h 15946069"/>
                <a:gd name="connsiteX2" fmla="*/ 379812 w 18447968"/>
                <a:gd name="connsiteY2" fmla="*/ 8675382 h 15946069"/>
                <a:gd name="connsiteX3" fmla="*/ 759624 w 18447968"/>
                <a:gd name="connsiteY3" fmla="*/ 9217969 h 15946069"/>
                <a:gd name="connsiteX4" fmla="*/ 687278 w 18447968"/>
                <a:gd name="connsiteY4" fmla="*/ 9670126 h 15946069"/>
                <a:gd name="connsiteX5" fmla="*/ 144687 w 18447968"/>
                <a:gd name="connsiteY5" fmla="*/ 9941420 h 15946069"/>
                <a:gd name="connsiteX6" fmla="*/ 343643 w 18447968"/>
                <a:gd name="connsiteY6" fmla="*/ 10592536 h 15946069"/>
                <a:gd name="connsiteX7" fmla="*/ 940487 w 18447968"/>
                <a:gd name="connsiteY7" fmla="*/ 10954252 h 15946069"/>
                <a:gd name="connsiteX8" fmla="*/ 596844 w 18447968"/>
                <a:gd name="connsiteY8" fmla="*/ 11786221 h 15946069"/>
                <a:gd name="connsiteX9" fmla="*/ 633017 w 18447968"/>
                <a:gd name="connsiteY9" fmla="*/ 12780969 h 15946069"/>
                <a:gd name="connsiteX10" fmla="*/ 198944 w 18447968"/>
                <a:gd name="connsiteY10" fmla="*/ 13341645 h 15946069"/>
                <a:gd name="connsiteX11" fmla="*/ 723451 w 18447968"/>
                <a:gd name="connsiteY11" fmla="*/ 13757629 h 15946069"/>
                <a:gd name="connsiteX12" fmla="*/ 1640036 w 18447968"/>
                <a:gd name="connsiteY12" fmla="*/ 13197151 h 15946069"/>
                <a:gd name="connsiteX13" fmla="*/ 1880971 w 18447968"/>
                <a:gd name="connsiteY13" fmla="*/ 13395906 h 15946069"/>
                <a:gd name="connsiteX14" fmla="*/ 2930086 w 18447968"/>
                <a:gd name="connsiteY14" fmla="*/ 12952832 h 15946069"/>
                <a:gd name="connsiteX15" fmla="*/ 3828256 w 18447968"/>
                <a:gd name="connsiteY15" fmla="*/ 13245188 h 15946069"/>
                <a:gd name="connsiteX16" fmla="*/ 4768739 w 18447968"/>
                <a:gd name="connsiteY16" fmla="*/ 13040205 h 15946069"/>
                <a:gd name="connsiteX17" fmla="*/ 5190751 w 18447968"/>
                <a:gd name="connsiteY17" fmla="*/ 13649115 h 15946069"/>
                <a:gd name="connsiteX18" fmla="*/ 5932290 w 18447968"/>
                <a:gd name="connsiteY18" fmla="*/ 13444132 h 15946069"/>
                <a:gd name="connsiteX19" fmla="*/ 6498992 w 18447968"/>
                <a:gd name="connsiteY19" fmla="*/ 12991975 h 15946069"/>
                <a:gd name="connsiteX20" fmla="*/ 7373161 w 18447968"/>
                <a:gd name="connsiteY20" fmla="*/ 13582800 h 15946069"/>
                <a:gd name="connsiteX21" fmla="*/ 8512588 w 18447968"/>
                <a:gd name="connsiteY21" fmla="*/ 13570738 h 15946069"/>
                <a:gd name="connsiteX22" fmla="*/ 9416903 w 18447968"/>
                <a:gd name="connsiteY22" fmla="*/ 13281357 h 15946069"/>
                <a:gd name="connsiteX23" fmla="*/ 9742454 w 18447968"/>
                <a:gd name="connsiteY23" fmla="*/ 14004811 h 15946069"/>
                <a:gd name="connsiteX24" fmla="*/ 10080066 w 18447968"/>
                <a:gd name="connsiteY24" fmla="*/ 14716204 h 15946069"/>
                <a:gd name="connsiteX25" fmla="*/ 10616683 w 18447968"/>
                <a:gd name="connsiteY25" fmla="*/ 15358294 h 15946069"/>
                <a:gd name="connsiteX26" fmla="*/ 11117010 w 18447968"/>
                <a:gd name="connsiteY26" fmla="*/ 15946069 h 15946069"/>
                <a:gd name="connsiteX27" fmla="*/ 11593335 w 18447968"/>
                <a:gd name="connsiteY27" fmla="*/ 15822497 h 15946069"/>
                <a:gd name="connsiteX28" fmla="*/ 11780218 w 18447968"/>
                <a:gd name="connsiteY28" fmla="*/ 13579811 h 15946069"/>
                <a:gd name="connsiteX29" fmla="*/ 11954994 w 18447968"/>
                <a:gd name="connsiteY29" fmla="*/ 12135890 h 15946069"/>
                <a:gd name="connsiteX30" fmla="*/ 12196146 w 18447968"/>
                <a:gd name="connsiteY30" fmla="*/ 11388328 h 15946069"/>
                <a:gd name="connsiteX31" fmla="*/ 13166775 w 18447968"/>
                <a:gd name="connsiteY31" fmla="*/ 11707856 h 15946069"/>
                <a:gd name="connsiteX32" fmla="*/ 14004775 w 18447968"/>
                <a:gd name="connsiteY32" fmla="*/ 11611395 h 15946069"/>
                <a:gd name="connsiteX33" fmla="*/ 14939235 w 18447968"/>
                <a:gd name="connsiteY33" fmla="*/ 11322014 h 15946069"/>
                <a:gd name="connsiteX34" fmla="*/ 15409477 w 18447968"/>
                <a:gd name="connsiteY34" fmla="*/ 11882693 h 15946069"/>
                <a:gd name="connsiteX35" fmla="*/ 15861634 w 18447968"/>
                <a:gd name="connsiteY35" fmla="*/ 11273783 h 15946069"/>
                <a:gd name="connsiteX36" fmla="*/ 16413199 w 18447968"/>
                <a:gd name="connsiteY36" fmla="*/ 10920339 h 15946069"/>
                <a:gd name="connsiteX37" fmla="*/ 16765948 w 18447968"/>
                <a:gd name="connsiteY37" fmla="*/ 10200671 h 15946069"/>
                <a:gd name="connsiteX38" fmla="*/ 16428336 w 18447968"/>
                <a:gd name="connsiteY38" fmla="*/ 9374732 h 15946069"/>
                <a:gd name="connsiteX39" fmla="*/ 15946033 w 18447968"/>
                <a:gd name="connsiteY39" fmla="*/ 8440272 h 15946069"/>
                <a:gd name="connsiteX40" fmla="*/ 16024409 w 18447968"/>
                <a:gd name="connsiteY40" fmla="*/ 7433474 h 15946069"/>
                <a:gd name="connsiteX41" fmla="*/ 16958870 w 18447968"/>
                <a:gd name="connsiteY41" fmla="*/ 6776350 h 15946069"/>
                <a:gd name="connsiteX42" fmla="*/ 17911414 w 18447968"/>
                <a:gd name="connsiteY42" fmla="*/ 6083041 h 15946069"/>
                <a:gd name="connsiteX43" fmla="*/ 17694370 w 18447968"/>
                <a:gd name="connsiteY43" fmla="*/ 5570592 h 15946069"/>
                <a:gd name="connsiteX44" fmla="*/ 17385711 w 18447968"/>
                <a:gd name="connsiteY44" fmla="*/ 5219213 h 15946069"/>
                <a:gd name="connsiteX45" fmla="*/ 17637701 w 18447968"/>
                <a:gd name="connsiteY45" fmla="*/ 4819407 h 15946069"/>
                <a:gd name="connsiteX46" fmla="*/ 18171858 w 18447968"/>
                <a:gd name="connsiteY46" fmla="*/ 4701949 h 15946069"/>
                <a:gd name="connsiteX47" fmla="*/ 18447970 w 18447968"/>
                <a:gd name="connsiteY47" fmla="*/ 4316604 h 15946069"/>
                <a:gd name="connsiteX48" fmla="*/ 17814953 w 18447968"/>
                <a:gd name="connsiteY48" fmla="*/ 4117660 h 15946069"/>
                <a:gd name="connsiteX49" fmla="*/ 16852763 w 18447968"/>
                <a:gd name="connsiteY49" fmla="*/ 3282076 h 15946069"/>
                <a:gd name="connsiteX50" fmla="*/ 14429201 w 18447968"/>
                <a:gd name="connsiteY50" fmla="*/ 4027238 h 15946069"/>
                <a:gd name="connsiteX51" fmla="*/ 13383819 w 18447968"/>
                <a:gd name="connsiteY51" fmla="*/ 2963756 h 15946069"/>
                <a:gd name="connsiteX52" fmla="*/ 12493981 w 18447968"/>
                <a:gd name="connsiteY52" fmla="*/ 2927587 h 15946069"/>
                <a:gd name="connsiteX53" fmla="*/ 11976717 w 18447968"/>
                <a:gd name="connsiteY53" fmla="*/ 2139025 h 15946069"/>
                <a:gd name="connsiteX54" fmla="*/ 11484768 w 18447968"/>
                <a:gd name="connsiteY54" fmla="*/ 1495155 h 15946069"/>
                <a:gd name="connsiteX55" fmla="*/ 10830043 w 18447968"/>
                <a:gd name="connsiteY55" fmla="*/ 1256418 h 15946069"/>
                <a:gd name="connsiteX56" fmla="*/ 10323633 w 18447968"/>
                <a:gd name="connsiteY56" fmla="*/ 1220249 h 15946069"/>
                <a:gd name="connsiteX57" fmla="*/ 9802745 w 18447968"/>
                <a:gd name="connsiteY57" fmla="*/ 1603676 h 15946069"/>
                <a:gd name="connsiteX58" fmla="*/ 9223982 w 18447968"/>
                <a:gd name="connsiteY58" fmla="*/ 1621761 h 15946069"/>
                <a:gd name="connsiteX59" fmla="*/ 8782678 w 18447968"/>
                <a:gd name="connsiteY59" fmla="*/ 2171586 h 15946069"/>
                <a:gd name="connsiteX60" fmla="*/ 8272645 w 18447968"/>
                <a:gd name="connsiteY60" fmla="*/ 2102856 h 15946069"/>
                <a:gd name="connsiteX61" fmla="*/ 7853048 w 18447968"/>
                <a:gd name="connsiteY61" fmla="*/ 2526075 h 15946069"/>
                <a:gd name="connsiteX62" fmla="*/ 7323799 w 18447968"/>
                <a:gd name="connsiteY62" fmla="*/ 2632907 h 15946069"/>
                <a:gd name="connsiteX63" fmla="*/ 6977672 w 18447968"/>
                <a:gd name="connsiteY63" fmla="*/ 2178817 h 15946069"/>
                <a:gd name="connsiteX64" fmla="*/ 6594245 w 18447968"/>
                <a:gd name="connsiteY64" fmla="*/ 2055834 h 15946069"/>
                <a:gd name="connsiteX65" fmla="*/ 6431470 w 18447968"/>
                <a:gd name="connsiteY65" fmla="*/ 1314295 h 15946069"/>
                <a:gd name="connsiteX66" fmla="*/ 5642908 w 18447968"/>
                <a:gd name="connsiteY66" fmla="*/ 1343233 h 15946069"/>
                <a:gd name="connsiteX67" fmla="*/ 5150959 w 18447968"/>
                <a:gd name="connsiteY67" fmla="*/ 1610907 h 15946069"/>
                <a:gd name="connsiteX68" fmla="*/ 5480133 w 18447968"/>
                <a:gd name="connsiteY68" fmla="*/ 2167963 h 15946069"/>
                <a:gd name="connsiteX69" fmla="*/ 4742216 w 18447968"/>
                <a:gd name="connsiteY69" fmla="*/ 2862495 h 15946069"/>
                <a:gd name="connsiteX70" fmla="*/ 2658667 w 18447968"/>
                <a:gd name="connsiteY70" fmla="*/ 0 h 15946069"/>
                <a:gd name="connsiteX71" fmla="*/ 2658682 w 18447968"/>
                <a:gd name="connsiteY71" fmla="*/ 1018890 h 15946069"/>
                <a:gd name="connsiteX72" fmla="*/ 1850829 w 18447968"/>
                <a:gd name="connsiteY72" fmla="*/ 1730283 h 15946069"/>
                <a:gd name="connsiteX73" fmla="*/ 1404694 w 18447968"/>
                <a:gd name="connsiteY73" fmla="*/ 2272862 h 15946069"/>
                <a:gd name="connsiteX74" fmla="*/ 2351216 w 18447968"/>
                <a:gd name="connsiteY74" fmla="*/ 3388182 h 15946069"/>
                <a:gd name="connsiteX75" fmla="*/ 2658682 w 18447968"/>
                <a:gd name="connsiteY75" fmla="*/ 4286458 h 15946069"/>
                <a:gd name="connsiteX76" fmla="*/ 1935228 w 18447968"/>
                <a:gd name="connsiteY76" fmla="*/ 5220918 h 15946069"/>
                <a:gd name="connsiteX77" fmla="*/ 875281 w 18447968"/>
                <a:gd name="connsiteY77" fmla="*/ 5166646 h 15946069"/>
                <a:gd name="connsiteX78" fmla="*/ 0 w 18447968"/>
                <a:gd name="connsiteY78" fmla="*/ 5890112 h 15946069"/>
                <a:gd name="connsiteX79" fmla="*/ 72345 w 18447968"/>
                <a:gd name="connsiteY79" fmla="*/ 6921032 h 15946069"/>
                <a:gd name="connsiteX80" fmla="*/ 477776 w 18447968"/>
                <a:gd name="connsiteY8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5946033 w 18171859"/>
                <a:gd name="connsiteY39" fmla="*/ 8440272 h 15946069"/>
                <a:gd name="connsiteX40" fmla="*/ 16024409 w 18171859"/>
                <a:gd name="connsiteY40" fmla="*/ 7433474 h 15946069"/>
                <a:gd name="connsiteX41" fmla="*/ 16958870 w 18171859"/>
                <a:gd name="connsiteY41" fmla="*/ 6776350 h 15946069"/>
                <a:gd name="connsiteX42" fmla="*/ 17911414 w 18171859"/>
                <a:gd name="connsiteY42" fmla="*/ 6083041 h 15946069"/>
                <a:gd name="connsiteX43" fmla="*/ 17694370 w 18171859"/>
                <a:gd name="connsiteY43" fmla="*/ 5570592 h 15946069"/>
                <a:gd name="connsiteX44" fmla="*/ 17385711 w 18171859"/>
                <a:gd name="connsiteY44" fmla="*/ 5219213 h 15946069"/>
                <a:gd name="connsiteX45" fmla="*/ 17637701 w 18171859"/>
                <a:gd name="connsiteY45" fmla="*/ 4819407 h 15946069"/>
                <a:gd name="connsiteX46" fmla="*/ 18171858 w 18171859"/>
                <a:gd name="connsiteY46" fmla="*/ 4701949 h 15946069"/>
                <a:gd name="connsiteX47" fmla="*/ 17814953 w 18171859"/>
                <a:gd name="connsiteY47" fmla="*/ 4117660 h 15946069"/>
                <a:gd name="connsiteX48" fmla="*/ 16852763 w 18171859"/>
                <a:gd name="connsiteY48" fmla="*/ 3282076 h 15946069"/>
                <a:gd name="connsiteX49" fmla="*/ 14429201 w 18171859"/>
                <a:gd name="connsiteY49" fmla="*/ 4027238 h 15946069"/>
                <a:gd name="connsiteX50" fmla="*/ 13383819 w 18171859"/>
                <a:gd name="connsiteY50" fmla="*/ 2963756 h 15946069"/>
                <a:gd name="connsiteX51" fmla="*/ 12493981 w 18171859"/>
                <a:gd name="connsiteY51" fmla="*/ 2927587 h 15946069"/>
                <a:gd name="connsiteX52" fmla="*/ 11976717 w 18171859"/>
                <a:gd name="connsiteY52" fmla="*/ 2139025 h 15946069"/>
                <a:gd name="connsiteX53" fmla="*/ 11484768 w 18171859"/>
                <a:gd name="connsiteY53" fmla="*/ 1495155 h 15946069"/>
                <a:gd name="connsiteX54" fmla="*/ 10830043 w 18171859"/>
                <a:gd name="connsiteY54" fmla="*/ 1256418 h 15946069"/>
                <a:gd name="connsiteX55" fmla="*/ 10323633 w 18171859"/>
                <a:gd name="connsiteY55" fmla="*/ 1220249 h 15946069"/>
                <a:gd name="connsiteX56" fmla="*/ 9802745 w 18171859"/>
                <a:gd name="connsiteY56" fmla="*/ 1603676 h 15946069"/>
                <a:gd name="connsiteX57" fmla="*/ 9223982 w 18171859"/>
                <a:gd name="connsiteY57" fmla="*/ 1621761 h 15946069"/>
                <a:gd name="connsiteX58" fmla="*/ 8782678 w 18171859"/>
                <a:gd name="connsiteY58" fmla="*/ 2171586 h 15946069"/>
                <a:gd name="connsiteX59" fmla="*/ 8272645 w 18171859"/>
                <a:gd name="connsiteY59" fmla="*/ 2102856 h 15946069"/>
                <a:gd name="connsiteX60" fmla="*/ 7853048 w 18171859"/>
                <a:gd name="connsiteY60" fmla="*/ 2526075 h 15946069"/>
                <a:gd name="connsiteX61" fmla="*/ 7323799 w 18171859"/>
                <a:gd name="connsiteY61" fmla="*/ 2632907 h 15946069"/>
                <a:gd name="connsiteX62" fmla="*/ 6977672 w 18171859"/>
                <a:gd name="connsiteY62" fmla="*/ 2178817 h 15946069"/>
                <a:gd name="connsiteX63" fmla="*/ 6594245 w 18171859"/>
                <a:gd name="connsiteY63" fmla="*/ 2055834 h 15946069"/>
                <a:gd name="connsiteX64" fmla="*/ 6431470 w 18171859"/>
                <a:gd name="connsiteY64" fmla="*/ 1314295 h 15946069"/>
                <a:gd name="connsiteX65" fmla="*/ 5642908 w 18171859"/>
                <a:gd name="connsiteY65" fmla="*/ 1343233 h 15946069"/>
                <a:gd name="connsiteX66" fmla="*/ 5150959 w 18171859"/>
                <a:gd name="connsiteY66" fmla="*/ 1610907 h 15946069"/>
                <a:gd name="connsiteX67" fmla="*/ 5480133 w 18171859"/>
                <a:gd name="connsiteY67" fmla="*/ 2167963 h 15946069"/>
                <a:gd name="connsiteX68" fmla="*/ 4742216 w 18171859"/>
                <a:gd name="connsiteY68" fmla="*/ 2862495 h 15946069"/>
                <a:gd name="connsiteX69" fmla="*/ 2658667 w 18171859"/>
                <a:gd name="connsiteY69" fmla="*/ 0 h 15946069"/>
                <a:gd name="connsiteX70" fmla="*/ 2658682 w 18171859"/>
                <a:gd name="connsiteY70" fmla="*/ 1018890 h 15946069"/>
                <a:gd name="connsiteX71" fmla="*/ 1850829 w 18171859"/>
                <a:gd name="connsiteY71" fmla="*/ 1730283 h 15946069"/>
                <a:gd name="connsiteX72" fmla="*/ 1404694 w 18171859"/>
                <a:gd name="connsiteY72" fmla="*/ 2272862 h 15946069"/>
                <a:gd name="connsiteX73" fmla="*/ 2351216 w 18171859"/>
                <a:gd name="connsiteY73" fmla="*/ 3388182 h 15946069"/>
                <a:gd name="connsiteX74" fmla="*/ 2658682 w 18171859"/>
                <a:gd name="connsiteY74" fmla="*/ 4286458 h 15946069"/>
                <a:gd name="connsiteX75" fmla="*/ 1935228 w 18171859"/>
                <a:gd name="connsiteY75" fmla="*/ 5220918 h 15946069"/>
                <a:gd name="connsiteX76" fmla="*/ 875281 w 18171859"/>
                <a:gd name="connsiteY76" fmla="*/ 5166646 h 15946069"/>
                <a:gd name="connsiteX77" fmla="*/ 0 w 18171859"/>
                <a:gd name="connsiteY77" fmla="*/ 5890112 h 15946069"/>
                <a:gd name="connsiteX78" fmla="*/ 72345 w 18171859"/>
                <a:gd name="connsiteY78" fmla="*/ 6921032 h 15946069"/>
                <a:gd name="connsiteX79" fmla="*/ 477776 w 18171859"/>
                <a:gd name="connsiteY79"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5946033 w 18171859"/>
                <a:gd name="connsiteY39" fmla="*/ 8440272 h 15946069"/>
                <a:gd name="connsiteX40" fmla="*/ 16024409 w 18171859"/>
                <a:gd name="connsiteY40" fmla="*/ 7433474 h 15946069"/>
                <a:gd name="connsiteX41" fmla="*/ 16958870 w 18171859"/>
                <a:gd name="connsiteY41" fmla="*/ 6776350 h 15946069"/>
                <a:gd name="connsiteX42" fmla="*/ 17911414 w 18171859"/>
                <a:gd name="connsiteY42" fmla="*/ 6083041 h 15946069"/>
                <a:gd name="connsiteX43" fmla="*/ 17694370 w 18171859"/>
                <a:gd name="connsiteY43" fmla="*/ 5570592 h 15946069"/>
                <a:gd name="connsiteX44" fmla="*/ 17385711 w 18171859"/>
                <a:gd name="connsiteY44" fmla="*/ 5219213 h 15946069"/>
                <a:gd name="connsiteX45" fmla="*/ 18171858 w 18171859"/>
                <a:gd name="connsiteY45" fmla="*/ 4701949 h 15946069"/>
                <a:gd name="connsiteX46" fmla="*/ 17814953 w 18171859"/>
                <a:gd name="connsiteY46" fmla="*/ 4117660 h 15946069"/>
                <a:gd name="connsiteX47" fmla="*/ 16852763 w 18171859"/>
                <a:gd name="connsiteY47" fmla="*/ 3282076 h 15946069"/>
                <a:gd name="connsiteX48" fmla="*/ 14429201 w 18171859"/>
                <a:gd name="connsiteY48" fmla="*/ 4027238 h 15946069"/>
                <a:gd name="connsiteX49" fmla="*/ 13383819 w 18171859"/>
                <a:gd name="connsiteY49" fmla="*/ 2963756 h 15946069"/>
                <a:gd name="connsiteX50" fmla="*/ 12493981 w 18171859"/>
                <a:gd name="connsiteY50" fmla="*/ 2927587 h 15946069"/>
                <a:gd name="connsiteX51" fmla="*/ 11976717 w 18171859"/>
                <a:gd name="connsiteY51" fmla="*/ 2139025 h 15946069"/>
                <a:gd name="connsiteX52" fmla="*/ 11484768 w 18171859"/>
                <a:gd name="connsiteY52" fmla="*/ 1495155 h 15946069"/>
                <a:gd name="connsiteX53" fmla="*/ 10830043 w 18171859"/>
                <a:gd name="connsiteY53" fmla="*/ 1256418 h 15946069"/>
                <a:gd name="connsiteX54" fmla="*/ 10323633 w 18171859"/>
                <a:gd name="connsiteY54" fmla="*/ 1220249 h 15946069"/>
                <a:gd name="connsiteX55" fmla="*/ 9802745 w 18171859"/>
                <a:gd name="connsiteY55" fmla="*/ 1603676 h 15946069"/>
                <a:gd name="connsiteX56" fmla="*/ 9223982 w 18171859"/>
                <a:gd name="connsiteY56" fmla="*/ 1621761 h 15946069"/>
                <a:gd name="connsiteX57" fmla="*/ 8782678 w 18171859"/>
                <a:gd name="connsiteY57" fmla="*/ 2171586 h 15946069"/>
                <a:gd name="connsiteX58" fmla="*/ 8272645 w 18171859"/>
                <a:gd name="connsiteY58" fmla="*/ 2102856 h 15946069"/>
                <a:gd name="connsiteX59" fmla="*/ 7853048 w 18171859"/>
                <a:gd name="connsiteY59" fmla="*/ 2526075 h 15946069"/>
                <a:gd name="connsiteX60" fmla="*/ 7323799 w 18171859"/>
                <a:gd name="connsiteY60" fmla="*/ 2632907 h 15946069"/>
                <a:gd name="connsiteX61" fmla="*/ 6977672 w 18171859"/>
                <a:gd name="connsiteY61" fmla="*/ 2178817 h 15946069"/>
                <a:gd name="connsiteX62" fmla="*/ 6594245 w 18171859"/>
                <a:gd name="connsiteY62" fmla="*/ 2055834 h 15946069"/>
                <a:gd name="connsiteX63" fmla="*/ 6431470 w 18171859"/>
                <a:gd name="connsiteY63" fmla="*/ 1314295 h 15946069"/>
                <a:gd name="connsiteX64" fmla="*/ 5642908 w 18171859"/>
                <a:gd name="connsiteY64" fmla="*/ 1343233 h 15946069"/>
                <a:gd name="connsiteX65" fmla="*/ 5150959 w 18171859"/>
                <a:gd name="connsiteY65" fmla="*/ 1610907 h 15946069"/>
                <a:gd name="connsiteX66" fmla="*/ 5480133 w 18171859"/>
                <a:gd name="connsiteY66" fmla="*/ 2167963 h 15946069"/>
                <a:gd name="connsiteX67" fmla="*/ 4742216 w 18171859"/>
                <a:gd name="connsiteY67" fmla="*/ 2862495 h 15946069"/>
                <a:gd name="connsiteX68" fmla="*/ 2658667 w 18171859"/>
                <a:gd name="connsiteY68" fmla="*/ 0 h 15946069"/>
                <a:gd name="connsiteX69" fmla="*/ 2658682 w 18171859"/>
                <a:gd name="connsiteY69" fmla="*/ 1018890 h 15946069"/>
                <a:gd name="connsiteX70" fmla="*/ 1850829 w 18171859"/>
                <a:gd name="connsiteY70" fmla="*/ 1730283 h 15946069"/>
                <a:gd name="connsiteX71" fmla="*/ 1404694 w 18171859"/>
                <a:gd name="connsiteY71" fmla="*/ 2272862 h 15946069"/>
                <a:gd name="connsiteX72" fmla="*/ 2351216 w 18171859"/>
                <a:gd name="connsiteY72" fmla="*/ 3388182 h 15946069"/>
                <a:gd name="connsiteX73" fmla="*/ 2658682 w 18171859"/>
                <a:gd name="connsiteY73" fmla="*/ 4286458 h 15946069"/>
                <a:gd name="connsiteX74" fmla="*/ 1935228 w 18171859"/>
                <a:gd name="connsiteY74" fmla="*/ 5220918 h 15946069"/>
                <a:gd name="connsiteX75" fmla="*/ 875281 w 18171859"/>
                <a:gd name="connsiteY75" fmla="*/ 5166646 h 15946069"/>
                <a:gd name="connsiteX76" fmla="*/ 0 w 18171859"/>
                <a:gd name="connsiteY76" fmla="*/ 5890112 h 15946069"/>
                <a:gd name="connsiteX77" fmla="*/ 72345 w 18171859"/>
                <a:gd name="connsiteY77" fmla="*/ 6921032 h 15946069"/>
                <a:gd name="connsiteX78" fmla="*/ 477776 w 18171859"/>
                <a:gd name="connsiteY78"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5946033 w 18171859"/>
                <a:gd name="connsiteY39" fmla="*/ 8440272 h 15946069"/>
                <a:gd name="connsiteX40" fmla="*/ 16024409 w 18171859"/>
                <a:gd name="connsiteY40" fmla="*/ 7433474 h 15946069"/>
                <a:gd name="connsiteX41" fmla="*/ 16958870 w 18171859"/>
                <a:gd name="connsiteY41" fmla="*/ 6776350 h 15946069"/>
                <a:gd name="connsiteX42" fmla="*/ 17911414 w 18171859"/>
                <a:gd name="connsiteY42" fmla="*/ 6083041 h 15946069"/>
                <a:gd name="connsiteX43" fmla="*/ 17385711 w 18171859"/>
                <a:gd name="connsiteY43" fmla="*/ 5219213 h 15946069"/>
                <a:gd name="connsiteX44" fmla="*/ 18171858 w 18171859"/>
                <a:gd name="connsiteY44" fmla="*/ 4701949 h 15946069"/>
                <a:gd name="connsiteX45" fmla="*/ 17814953 w 18171859"/>
                <a:gd name="connsiteY45" fmla="*/ 4117660 h 15946069"/>
                <a:gd name="connsiteX46" fmla="*/ 16852763 w 18171859"/>
                <a:gd name="connsiteY46" fmla="*/ 3282076 h 15946069"/>
                <a:gd name="connsiteX47" fmla="*/ 14429201 w 18171859"/>
                <a:gd name="connsiteY47" fmla="*/ 4027238 h 15946069"/>
                <a:gd name="connsiteX48" fmla="*/ 13383819 w 18171859"/>
                <a:gd name="connsiteY48" fmla="*/ 2963756 h 15946069"/>
                <a:gd name="connsiteX49" fmla="*/ 12493981 w 18171859"/>
                <a:gd name="connsiteY49" fmla="*/ 2927587 h 15946069"/>
                <a:gd name="connsiteX50" fmla="*/ 11976717 w 18171859"/>
                <a:gd name="connsiteY50" fmla="*/ 2139025 h 15946069"/>
                <a:gd name="connsiteX51" fmla="*/ 11484768 w 18171859"/>
                <a:gd name="connsiteY51" fmla="*/ 1495155 h 15946069"/>
                <a:gd name="connsiteX52" fmla="*/ 10830043 w 18171859"/>
                <a:gd name="connsiteY52" fmla="*/ 1256418 h 15946069"/>
                <a:gd name="connsiteX53" fmla="*/ 10323633 w 18171859"/>
                <a:gd name="connsiteY53" fmla="*/ 1220249 h 15946069"/>
                <a:gd name="connsiteX54" fmla="*/ 9802745 w 18171859"/>
                <a:gd name="connsiteY54" fmla="*/ 1603676 h 15946069"/>
                <a:gd name="connsiteX55" fmla="*/ 9223982 w 18171859"/>
                <a:gd name="connsiteY55" fmla="*/ 1621761 h 15946069"/>
                <a:gd name="connsiteX56" fmla="*/ 8782678 w 18171859"/>
                <a:gd name="connsiteY56" fmla="*/ 2171586 h 15946069"/>
                <a:gd name="connsiteX57" fmla="*/ 8272645 w 18171859"/>
                <a:gd name="connsiteY57" fmla="*/ 2102856 h 15946069"/>
                <a:gd name="connsiteX58" fmla="*/ 7853048 w 18171859"/>
                <a:gd name="connsiteY58" fmla="*/ 2526075 h 15946069"/>
                <a:gd name="connsiteX59" fmla="*/ 7323799 w 18171859"/>
                <a:gd name="connsiteY59" fmla="*/ 2632907 h 15946069"/>
                <a:gd name="connsiteX60" fmla="*/ 6977672 w 18171859"/>
                <a:gd name="connsiteY60" fmla="*/ 2178817 h 15946069"/>
                <a:gd name="connsiteX61" fmla="*/ 6594245 w 18171859"/>
                <a:gd name="connsiteY61" fmla="*/ 2055834 h 15946069"/>
                <a:gd name="connsiteX62" fmla="*/ 6431470 w 18171859"/>
                <a:gd name="connsiteY62" fmla="*/ 1314295 h 15946069"/>
                <a:gd name="connsiteX63" fmla="*/ 5642908 w 18171859"/>
                <a:gd name="connsiteY63" fmla="*/ 1343233 h 15946069"/>
                <a:gd name="connsiteX64" fmla="*/ 5150959 w 18171859"/>
                <a:gd name="connsiteY64" fmla="*/ 1610907 h 15946069"/>
                <a:gd name="connsiteX65" fmla="*/ 5480133 w 18171859"/>
                <a:gd name="connsiteY65" fmla="*/ 2167963 h 15946069"/>
                <a:gd name="connsiteX66" fmla="*/ 4742216 w 18171859"/>
                <a:gd name="connsiteY66" fmla="*/ 2862495 h 15946069"/>
                <a:gd name="connsiteX67" fmla="*/ 2658667 w 18171859"/>
                <a:gd name="connsiteY67" fmla="*/ 0 h 15946069"/>
                <a:gd name="connsiteX68" fmla="*/ 2658682 w 18171859"/>
                <a:gd name="connsiteY68" fmla="*/ 1018890 h 15946069"/>
                <a:gd name="connsiteX69" fmla="*/ 1850829 w 18171859"/>
                <a:gd name="connsiteY69" fmla="*/ 1730283 h 15946069"/>
                <a:gd name="connsiteX70" fmla="*/ 1404694 w 18171859"/>
                <a:gd name="connsiteY70" fmla="*/ 2272862 h 15946069"/>
                <a:gd name="connsiteX71" fmla="*/ 2351216 w 18171859"/>
                <a:gd name="connsiteY71" fmla="*/ 3388182 h 15946069"/>
                <a:gd name="connsiteX72" fmla="*/ 2658682 w 18171859"/>
                <a:gd name="connsiteY72" fmla="*/ 4286458 h 15946069"/>
                <a:gd name="connsiteX73" fmla="*/ 1935228 w 18171859"/>
                <a:gd name="connsiteY73" fmla="*/ 5220918 h 15946069"/>
                <a:gd name="connsiteX74" fmla="*/ 875281 w 18171859"/>
                <a:gd name="connsiteY74" fmla="*/ 5166646 h 15946069"/>
                <a:gd name="connsiteX75" fmla="*/ 0 w 18171859"/>
                <a:gd name="connsiteY75" fmla="*/ 5890112 h 15946069"/>
                <a:gd name="connsiteX76" fmla="*/ 72345 w 18171859"/>
                <a:gd name="connsiteY76" fmla="*/ 6921032 h 15946069"/>
                <a:gd name="connsiteX77" fmla="*/ 477776 w 18171859"/>
                <a:gd name="connsiteY77"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5946033 w 18171859"/>
                <a:gd name="connsiteY39" fmla="*/ 8440272 h 15946069"/>
                <a:gd name="connsiteX40" fmla="*/ 16024409 w 18171859"/>
                <a:gd name="connsiteY40" fmla="*/ 7433474 h 15946069"/>
                <a:gd name="connsiteX41" fmla="*/ 17911414 w 18171859"/>
                <a:gd name="connsiteY41" fmla="*/ 6083041 h 15946069"/>
                <a:gd name="connsiteX42" fmla="*/ 17385711 w 18171859"/>
                <a:gd name="connsiteY42" fmla="*/ 5219213 h 15946069"/>
                <a:gd name="connsiteX43" fmla="*/ 18171858 w 18171859"/>
                <a:gd name="connsiteY43" fmla="*/ 4701949 h 15946069"/>
                <a:gd name="connsiteX44" fmla="*/ 17814953 w 18171859"/>
                <a:gd name="connsiteY44" fmla="*/ 4117660 h 15946069"/>
                <a:gd name="connsiteX45" fmla="*/ 16852763 w 18171859"/>
                <a:gd name="connsiteY45" fmla="*/ 3282076 h 15946069"/>
                <a:gd name="connsiteX46" fmla="*/ 14429201 w 18171859"/>
                <a:gd name="connsiteY46" fmla="*/ 4027238 h 15946069"/>
                <a:gd name="connsiteX47" fmla="*/ 13383819 w 18171859"/>
                <a:gd name="connsiteY47" fmla="*/ 2963756 h 15946069"/>
                <a:gd name="connsiteX48" fmla="*/ 12493981 w 18171859"/>
                <a:gd name="connsiteY48" fmla="*/ 2927587 h 15946069"/>
                <a:gd name="connsiteX49" fmla="*/ 11976717 w 18171859"/>
                <a:gd name="connsiteY49" fmla="*/ 2139025 h 15946069"/>
                <a:gd name="connsiteX50" fmla="*/ 11484768 w 18171859"/>
                <a:gd name="connsiteY50" fmla="*/ 1495155 h 15946069"/>
                <a:gd name="connsiteX51" fmla="*/ 10830043 w 18171859"/>
                <a:gd name="connsiteY51" fmla="*/ 1256418 h 15946069"/>
                <a:gd name="connsiteX52" fmla="*/ 10323633 w 18171859"/>
                <a:gd name="connsiteY52" fmla="*/ 1220249 h 15946069"/>
                <a:gd name="connsiteX53" fmla="*/ 9802745 w 18171859"/>
                <a:gd name="connsiteY53" fmla="*/ 1603676 h 15946069"/>
                <a:gd name="connsiteX54" fmla="*/ 9223982 w 18171859"/>
                <a:gd name="connsiteY54" fmla="*/ 1621761 h 15946069"/>
                <a:gd name="connsiteX55" fmla="*/ 8782678 w 18171859"/>
                <a:gd name="connsiteY55" fmla="*/ 2171586 h 15946069"/>
                <a:gd name="connsiteX56" fmla="*/ 8272645 w 18171859"/>
                <a:gd name="connsiteY56" fmla="*/ 2102856 h 15946069"/>
                <a:gd name="connsiteX57" fmla="*/ 7853048 w 18171859"/>
                <a:gd name="connsiteY57" fmla="*/ 2526075 h 15946069"/>
                <a:gd name="connsiteX58" fmla="*/ 7323799 w 18171859"/>
                <a:gd name="connsiteY58" fmla="*/ 2632907 h 15946069"/>
                <a:gd name="connsiteX59" fmla="*/ 6977672 w 18171859"/>
                <a:gd name="connsiteY59" fmla="*/ 2178817 h 15946069"/>
                <a:gd name="connsiteX60" fmla="*/ 6594245 w 18171859"/>
                <a:gd name="connsiteY60" fmla="*/ 2055834 h 15946069"/>
                <a:gd name="connsiteX61" fmla="*/ 6431470 w 18171859"/>
                <a:gd name="connsiteY61" fmla="*/ 1314295 h 15946069"/>
                <a:gd name="connsiteX62" fmla="*/ 5642908 w 18171859"/>
                <a:gd name="connsiteY62" fmla="*/ 1343233 h 15946069"/>
                <a:gd name="connsiteX63" fmla="*/ 5150959 w 18171859"/>
                <a:gd name="connsiteY63" fmla="*/ 1610907 h 15946069"/>
                <a:gd name="connsiteX64" fmla="*/ 5480133 w 18171859"/>
                <a:gd name="connsiteY64" fmla="*/ 2167963 h 15946069"/>
                <a:gd name="connsiteX65" fmla="*/ 4742216 w 18171859"/>
                <a:gd name="connsiteY65" fmla="*/ 2862495 h 15946069"/>
                <a:gd name="connsiteX66" fmla="*/ 2658667 w 18171859"/>
                <a:gd name="connsiteY66" fmla="*/ 0 h 15946069"/>
                <a:gd name="connsiteX67" fmla="*/ 2658682 w 18171859"/>
                <a:gd name="connsiteY67" fmla="*/ 1018890 h 15946069"/>
                <a:gd name="connsiteX68" fmla="*/ 1850829 w 18171859"/>
                <a:gd name="connsiteY68" fmla="*/ 1730283 h 15946069"/>
                <a:gd name="connsiteX69" fmla="*/ 1404694 w 18171859"/>
                <a:gd name="connsiteY69" fmla="*/ 2272862 h 15946069"/>
                <a:gd name="connsiteX70" fmla="*/ 2351216 w 18171859"/>
                <a:gd name="connsiteY70" fmla="*/ 3388182 h 15946069"/>
                <a:gd name="connsiteX71" fmla="*/ 2658682 w 18171859"/>
                <a:gd name="connsiteY71" fmla="*/ 4286458 h 15946069"/>
                <a:gd name="connsiteX72" fmla="*/ 1935228 w 18171859"/>
                <a:gd name="connsiteY72" fmla="*/ 5220918 h 15946069"/>
                <a:gd name="connsiteX73" fmla="*/ 875281 w 18171859"/>
                <a:gd name="connsiteY73" fmla="*/ 5166646 h 15946069"/>
                <a:gd name="connsiteX74" fmla="*/ 0 w 18171859"/>
                <a:gd name="connsiteY74" fmla="*/ 5890112 h 15946069"/>
                <a:gd name="connsiteX75" fmla="*/ 72345 w 18171859"/>
                <a:gd name="connsiteY75" fmla="*/ 6921032 h 15946069"/>
                <a:gd name="connsiteX76" fmla="*/ 477776 w 18171859"/>
                <a:gd name="connsiteY76"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6024409 w 18171859"/>
                <a:gd name="connsiteY39" fmla="*/ 7433474 h 15946069"/>
                <a:gd name="connsiteX40" fmla="*/ 17911414 w 18171859"/>
                <a:gd name="connsiteY40" fmla="*/ 6083041 h 15946069"/>
                <a:gd name="connsiteX41" fmla="*/ 17385711 w 18171859"/>
                <a:gd name="connsiteY41" fmla="*/ 5219213 h 15946069"/>
                <a:gd name="connsiteX42" fmla="*/ 18171858 w 18171859"/>
                <a:gd name="connsiteY42" fmla="*/ 4701949 h 15946069"/>
                <a:gd name="connsiteX43" fmla="*/ 17814953 w 18171859"/>
                <a:gd name="connsiteY43" fmla="*/ 4117660 h 15946069"/>
                <a:gd name="connsiteX44" fmla="*/ 16852763 w 18171859"/>
                <a:gd name="connsiteY44" fmla="*/ 3282076 h 15946069"/>
                <a:gd name="connsiteX45" fmla="*/ 14429201 w 18171859"/>
                <a:gd name="connsiteY45" fmla="*/ 4027238 h 15946069"/>
                <a:gd name="connsiteX46" fmla="*/ 13383819 w 18171859"/>
                <a:gd name="connsiteY46" fmla="*/ 2963756 h 15946069"/>
                <a:gd name="connsiteX47" fmla="*/ 12493981 w 18171859"/>
                <a:gd name="connsiteY47" fmla="*/ 2927587 h 15946069"/>
                <a:gd name="connsiteX48" fmla="*/ 11976717 w 18171859"/>
                <a:gd name="connsiteY48" fmla="*/ 2139025 h 15946069"/>
                <a:gd name="connsiteX49" fmla="*/ 11484768 w 18171859"/>
                <a:gd name="connsiteY49" fmla="*/ 1495155 h 15946069"/>
                <a:gd name="connsiteX50" fmla="*/ 10830043 w 18171859"/>
                <a:gd name="connsiteY50" fmla="*/ 1256418 h 15946069"/>
                <a:gd name="connsiteX51" fmla="*/ 10323633 w 18171859"/>
                <a:gd name="connsiteY51" fmla="*/ 1220249 h 15946069"/>
                <a:gd name="connsiteX52" fmla="*/ 9802745 w 18171859"/>
                <a:gd name="connsiteY52" fmla="*/ 1603676 h 15946069"/>
                <a:gd name="connsiteX53" fmla="*/ 9223982 w 18171859"/>
                <a:gd name="connsiteY53" fmla="*/ 1621761 h 15946069"/>
                <a:gd name="connsiteX54" fmla="*/ 8782678 w 18171859"/>
                <a:gd name="connsiteY54" fmla="*/ 2171586 h 15946069"/>
                <a:gd name="connsiteX55" fmla="*/ 8272645 w 18171859"/>
                <a:gd name="connsiteY55" fmla="*/ 2102856 h 15946069"/>
                <a:gd name="connsiteX56" fmla="*/ 7853048 w 18171859"/>
                <a:gd name="connsiteY56" fmla="*/ 2526075 h 15946069"/>
                <a:gd name="connsiteX57" fmla="*/ 7323799 w 18171859"/>
                <a:gd name="connsiteY57" fmla="*/ 2632907 h 15946069"/>
                <a:gd name="connsiteX58" fmla="*/ 6977672 w 18171859"/>
                <a:gd name="connsiteY58" fmla="*/ 2178817 h 15946069"/>
                <a:gd name="connsiteX59" fmla="*/ 6594245 w 18171859"/>
                <a:gd name="connsiteY59" fmla="*/ 2055834 h 15946069"/>
                <a:gd name="connsiteX60" fmla="*/ 6431470 w 18171859"/>
                <a:gd name="connsiteY60" fmla="*/ 1314295 h 15946069"/>
                <a:gd name="connsiteX61" fmla="*/ 5642908 w 18171859"/>
                <a:gd name="connsiteY61" fmla="*/ 1343233 h 15946069"/>
                <a:gd name="connsiteX62" fmla="*/ 5150959 w 18171859"/>
                <a:gd name="connsiteY62" fmla="*/ 1610907 h 15946069"/>
                <a:gd name="connsiteX63" fmla="*/ 5480133 w 18171859"/>
                <a:gd name="connsiteY63" fmla="*/ 2167963 h 15946069"/>
                <a:gd name="connsiteX64" fmla="*/ 4742216 w 18171859"/>
                <a:gd name="connsiteY64" fmla="*/ 2862495 h 15946069"/>
                <a:gd name="connsiteX65" fmla="*/ 2658667 w 18171859"/>
                <a:gd name="connsiteY65" fmla="*/ 0 h 15946069"/>
                <a:gd name="connsiteX66" fmla="*/ 2658682 w 18171859"/>
                <a:gd name="connsiteY66" fmla="*/ 1018890 h 15946069"/>
                <a:gd name="connsiteX67" fmla="*/ 1850829 w 18171859"/>
                <a:gd name="connsiteY67" fmla="*/ 1730283 h 15946069"/>
                <a:gd name="connsiteX68" fmla="*/ 1404694 w 18171859"/>
                <a:gd name="connsiteY68" fmla="*/ 2272862 h 15946069"/>
                <a:gd name="connsiteX69" fmla="*/ 2351216 w 18171859"/>
                <a:gd name="connsiteY69" fmla="*/ 3388182 h 15946069"/>
                <a:gd name="connsiteX70" fmla="*/ 2658682 w 18171859"/>
                <a:gd name="connsiteY70" fmla="*/ 4286458 h 15946069"/>
                <a:gd name="connsiteX71" fmla="*/ 1935228 w 18171859"/>
                <a:gd name="connsiteY71" fmla="*/ 5220918 h 15946069"/>
                <a:gd name="connsiteX72" fmla="*/ 875281 w 18171859"/>
                <a:gd name="connsiteY72" fmla="*/ 5166646 h 15946069"/>
                <a:gd name="connsiteX73" fmla="*/ 0 w 18171859"/>
                <a:gd name="connsiteY73" fmla="*/ 5890112 h 15946069"/>
                <a:gd name="connsiteX74" fmla="*/ 72345 w 18171859"/>
                <a:gd name="connsiteY74" fmla="*/ 6921032 h 15946069"/>
                <a:gd name="connsiteX75" fmla="*/ 477776 w 18171859"/>
                <a:gd name="connsiteY75"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428336 w 18171859"/>
                <a:gd name="connsiteY37" fmla="*/ 9374732 h 15946069"/>
                <a:gd name="connsiteX38" fmla="*/ 16024409 w 18171859"/>
                <a:gd name="connsiteY38" fmla="*/ 7433474 h 15946069"/>
                <a:gd name="connsiteX39" fmla="*/ 17911414 w 18171859"/>
                <a:gd name="connsiteY39" fmla="*/ 6083041 h 15946069"/>
                <a:gd name="connsiteX40" fmla="*/ 17385711 w 18171859"/>
                <a:gd name="connsiteY40" fmla="*/ 5219213 h 15946069"/>
                <a:gd name="connsiteX41" fmla="*/ 18171858 w 18171859"/>
                <a:gd name="connsiteY41" fmla="*/ 4701949 h 15946069"/>
                <a:gd name="connsiteX42" fmla="*/ 17814953 w 18171859"/>
                <a:gd name="connsiteY42" fmla="*/ 4117660 h 15946069"/>
                <a:gd name="connsiteX43" fmla="*/ 16852763 w 18171859"/>
                <a:gd name="connsiteY43" fmla="*/ 3282076 h 15946069"/>
                <a:gd name="connsiteX44" fmla="*/ 14429201 w 18171859"/>
                <a:gd name="connsiteY44" fmla="*/ 4027238 h 15946069"/>
                <a:gd name="connsiteX45" fmla="*/ 13383819 w 18171859"/>
                <a:gd name="connsiteY45" fmla="*/ 2963756 h 15946069"/>
                <a:gd name="connsiteX46" fmla="*/ 12493981 w 18171859"/>
                <a:gd name="connsiteY46" fmla="*/ 2927587 h 15946069"/>
                <a:gd name="connsiteX47" fmla="*/ 11976717 w 18171859"/>
                <a:gd name="connsiteY47" fmla="*/ 2139025 h 15946069"/>
                <a:gd name="connsiteX48" fmla="*/ 11484768 w 18171859"/>
                <a:gd name="connsiteY48" fmla="*/ 1495155 h 15946069"/>
                <a:gd name="connsiteX49" fmla="*/ 10830043 w 18171859"/>
                <a:gd name="connsiteY49" fmla="*/ 1256418 h 15946069"/>
                <a:gd name="connsiteX50" fmla="*/ 10323633 w 18171859"/>
                <a:gd name="connsiteY50" fmla="*/ 1220249 h 15946069"/>
                <a:gd name="connsiteX51" fmla="*/ 9802745 w 18171859"/>
                <a:gd name="connsiteY51" fmla="*/ 1603676 h 15946069"/>
                <a:gd name="connsiteX52" fmla="*/ 9223982 w 18171859"/>
                <a:gd name="connsiteY52" fmla="*/ 1621761 h 15946069"/>
                <a:gd name="connsiteX53" fmla="*/ 8782678 w 18171859"/>
                <a:gd name="connsiteY53" fmla="*/ 2171586 h 15946069"/>
                <a:gd name="connsiteX54" fmla="*/ 8272645 w 18171859"/>
                <a:gd name="connsiteY54" fmla="*/ 2102856 h 15946069"/>
                <a:gd name="connsiteX55" fmla="*/ 7853048 w 18171859"/>
                <a:gd name="connsiteY55" fmla="*/ 2526075 h 15946069"/>
                <a:gd name="connsiteX56" fmla="*/ 7323799 w 18171859"/>
                <a:gd name="connsiteY56" fmla="*/ 2632907 h 15946069"/>
                <a:gd name="connsiteX57" fmla="*/ 6977672 w 18171859"/>
                <a:gd name="connsiteY57" fmla="*/ 2178817 h 15946069"/>
                <a:gd name="connsiteX58" fmla="*/ 6594245 w 18171859"/>
                <a:gd name="connsiteY58" fmla="*/ 2055834 h 15946069"/>
                <a:gd name="connsiteX59" fmla="*/ 6431470 w 18171859"/>
                <a:gd name="connsiteY59" fmla="*/ 1314295 h 15946069"/>
                <a:gd name="connsiteX60" fmla="*/ 5642908 w 18171859"/>
                <a:gd name="connsiteY60" fmla="*/ 1343233 h 15946069"/>
                <a:gd name="connsiteX61" fmla="*/ 5150959 w 18171859"/>
                <a:gd name="connsiteY61" fmla="*/ 1610907 h 15946069"/>
                <a:gd name="connsiteX62" fmla="*/ 5480133 w 18171859"/>
                <a:gd name="connsiteY62" fmla="*/ 2167963 h 15946069"/>
                <a:gd name="connsiteX63" fmla="*/ 4742216 w 18171859"/>
                <a:gd name="connsiteY63" fmla="*/ 2862495 h 15946069"/>
                <a:gd name="connsiteX64" fmla="*/ 2658667 w 18171859"/>
                <a:gd name="connsiteY64" fmla="*/ 0 h 15946069"/>
                <a:gd name="connsiteX65" fmla="*/ 2658682 w 18171859"/>
                <a:gd name="connsiteY65" fmla="*/ 1018890 h 15946069"/>
                <a:gd name="connsiteX66" fmla="*/ 1850829 w 18171859"/>
                <a:gd name="connsiteY66" fmla="*/ 1730283 h 15946069"/>
                <a:gd name="connsiteX67" fmla="*/ 1404694 w 18171859"/>
                <a:gd name="connsiteY67" fmla="*/ 2272862 h 15946069"/>
                <a:gd name="connsiteX68" fmla="*/ 2351216 w 18171859"/>
                <a:gd name="connsiteY68" fmla="*/ 3388182 h 15946069"/>
                <a:gd name="connsiteX69" fmla="*/ 2658682 w 18171859"/>
                <a:gd name="connsiteY69" fmla="*/ 4286458 h 15946069"/>
                <a:gd name="connsiteX70" fmla="*/ 1935228 w 18171859"/>
                <a:gd name="connsiteY70" fmla="*/ 5220918 h 15946069"/>
                <a:gd name="connsiteX71" fmla="*/ 875281 w 18171859"/>
                <a:gd name="connsiteY71" fmla="*/ 5166646 h 15946069"/>
                <a:gd name="connsiteX72" fmla="*/ 0 w 18171859"/>
                <a:gd name="connsiteY72" fmla="*/ 5890112 h 15946069"/>
                <a:gd name="connsiteX73" fmla="*/ 72345 w 18171859"/>
                <a:gd name="connsiteY73" fmla="*/ 6921032 h 15946069"/>
                <a:gd name="connsiteX74" fmla="*/ 477776 w 18171859"/>
                <a:gd name="connsiteY74"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6413199 w 18171859"/>
                <a:gd name="connsiteY35" fmla="*/ 10920339 h 15946069"/>
                <a:gd name="connsiteX36" fmla="*/ 16428336 w 18171859"/>
                <a:gd name="connsiteY36" fmla="*/ 9374732 h 15946069"/>
                <a:gd name="connsiteX37" fmla="*/ 16024409 w 18171859"/>
                <a:gd name="connsiteY37" fmla="*/ 7433474 h 15946069"/>
                <a:gd name="connsiteX38" fmla="*/ 17911414 w 18171859"/>
                <a:gd name="connsiteY38" fmla="*/ 6083041 h 15946069"/>
                <a:gd name="connsiteX39" fmla="*/ 17385711 w 18171859"/>
                <a:gd name="connsiteY39" fmla="*/ 5219213 h 15946069"/>
                <a:gd name="connsiteX40" fmla="*/ 18171858 w 18171859"/>
                <a:gd name="connsiteY40" fmla="*/ 4701949 h 15946069"/>
                <a:gd name="connsiteX41" fmla="*/ 17814953 w 18171859"/>
                <a:gd name="connsiteY41" fmla="*/ 4117660 h 15946069"/>
                <a:gd name="connsiteX42" fmla="*/ 16852763 w 18171859"/>
                <a:gd name="connsiteY42" fmla="*/ 3282076 h 15946069"/>
                <a:gd name="connsiteX43" fmla="*/ 14429201 w 18171859"/>
                <a:gd name="connsiteY43" fmla="*/ 4027238 h 15946069"/>
                <a:gd name="connsiteX44" fmla="*/ 13383819 w 18171859"/>
                <a:gd name="connsiteY44" fmla="*/ 2963756 h 15946069"/>
                <a:gd name="connsiteX45" fmla="*/ 12493981 w 18171859"/>
                <a:gd name="connsiteY45" fmla="*/ 2927587 h 15946069"/>
                <a:gd name="connsiteX46" fmla="*/ 11976717 w 18171859"/>
                <a:gd name="connsiteY46" fmla="*/ 2139025 h 15946069"/>
                <a:gd name="connsiteX47" fmla="*/ 11484768 w 18171859"/>
                <a:gd name="connsiteY47" fmla="*/ 1495155 h 15946069"/>
                <a:gd name="connsiteX48" fmla="*/ 10830043 w 18171859"/>
                <a:gd name="connsiteY48" fmla="*/ 1256418 h 15946069"/>
                <a:gd name="connsiteX49" fmla="*/ 10323633 w 18171859"/>
                <a:gd name="connsiteY49" fmla="*/ 1220249 h 15946069"/>
                <a:gd name="connsiteX50" fmla="*/ 9802745 w 18171859"/>
                <a:gd name="connsiteY50" fmla="*/ 1603676 h 15946069"/>
                <a:gd name="connsiteX51" fmla="*/ 9223982 w 18171859"/>
                <a:gd name="connsiteY51" fmla="*/ 1621761 h 15946069"/>
                <a:gd name="connsiteX52" fmla="*/ 8782678 w 18171859"/>
                <a:gd name="connsiteY52" fmla="*/ 2171586 h 15946069"/>
                <a:gd name="connsiteX53" fmla="*/ 8272645 w 18171859"/>
                <a:gd name="connsiteY53" fmla="*/ 2102856 h 15946069"/>
                <a:gd name="connsiteX54" fmla="*/ 7853048 w 18171859"/>
                <a:gd name="connsiteY54" fmla="*/ 2526075 h 15946069"/>
                <a:gd name="connsiteX55" fmla="*/ 7323799 w 18171859"/>
                <a:gd name="connsiteY55" fmla="*/ 2632907 h 15946069"/>
                <a:gd name="connsiteX56" fmla="*/ 6977672 w 18171859"/>
                <a:gd name="connsiteY56" fmla="*/ 2178817 h 15946069"/>
                <a:gd name="connsiteX57" fmla="*/ 6594245 w 18171859"/>
                <a:gd name="connsiteY57" fmla="*/ 2055834 h 15946069"/>
                <a:gd name="connsiteX58" fmla="*/ 6431470 w 18171859"/>
                <a:gd name="connsiteY58" fmla="*/ 1314295 h 15946069"/>
                <a:gd name="connsiteX59" fmla="*/ 5642908 w 18171859"/>
                <a:gd name="connsiteY59" fmla="*/ 1343233 h 15946069"/>
                <a:gd name="connsiteX60" fmla="*/ 5150959 w 18171859"/>
                <a:gd name="connsiteY60" fmla="*/ 1610907 h 15946069"/>
                <a:gd name="connsiteX61" fmla="*/ 5480133 w 18171859"/>
                <a:gd name="connsiteY61" fmla="*/ 2167963 h 15946069"/>
                <a:gd name="connsiteX62" fmla="*/ 4742216 w 18171859"/>
                <a:gd name="connsiteY62" fmla="*/ 2862495 h 15946069"/>
                <a:gd name="connsiteX63" fmla="*/ 2658667 w 18171859"/>
                <a:gd name="connsiteY63" fmla="*/ 0 h 15946069"/>
                <a:gd name="connsiteX64" fmla="*/ 2658682 w 18171859"/>
                <a:gd name="connsiteY64" fmla="*/ 1018890 h 15946069"/>
                <a:gd name="connsiteX65" fmla="*/ 1850829 w 18171859"/>
                <a:gd name="connsiteY65" fmla="*/ 1730283 h 15946069"/>
                <a:gd name="connsiteX66" fmla="*/ 1404694 w 18171859"/>
                <a:gd name="connsiteY66" fmla="*/ 2272862 h 15946069"/>
                <a:gd name="connsiteX67" fmla="*/ 2351216 w 18171859"/>
                <a:gd name="connsiteY67" fmla="*/ 3388182 h 15946069"/>
                <a:gd name="connsiteX68" fmla="*/ 2658682 w 18171859"/>
                <a:gd name="connsiteY68" fmla="*/ 4286458 h 15946069"/>
                <a:gd name="connsiteX69" fmla="*/ 1935228 w 18171859"/>
                <a:gd name="connsiteY69" fmla="*/ 5220918 h 15946069"/>
                <a:gd name="connsiteX70" fmla="*/ 875281 w 18171859"/>
                <a:gd name="connsiteY70" fmla="*/ 5166646 h 15946069"/>
                <a:gd name="connsiteX71" fmla="*/ 0 w 18171859"/>
                <a:gd name="connsiteY71" fmla="*/ 5890112 h 15946069"/>
                <a:gd name="connsiteX72" fmla="*/ 72345 w 18171859"/>
                <a:gd name="connsiteY72" fmla="*/ 6921032 h 15946069"/>
                <a:gd name="connsiteX73" fmla="*/ 477776 w 18171859"/>
                <a:gd name="connsiteY73"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5409477 w 18171859"/>
                <a:gd name="connsiteY33" fmla="*/ 11882693 h 15946069"/>
                <a:gd name="connsiteX34" fmla="*/ 16413199 w 18171859"/>
                <a:gd name="connsiteY34" fmla="*/ 10920339 h 15946069"/>
                <a:gd name="connsiteX35" fmla="*/ 16428336 w 18171859"/>
                <a:gd name="connsiteY35" fmla="*/ 9374732 h 15946069"/>
                <a:gd name="connsiteX36" fmla="*/ 16024409 w 18171859"/>
                <a:gd name="connsiteY36" fmla="*/ 7433474 h 15946069"/>
                <a:gd name="connsiteX37" fmla="*/ 17911414 w 18171859"/>
                <a:gd name="connsiteY37" fmla="*/ 6083041 h 15946069"/>
                <a:gd name="connsiteX38" fmla="*/ 17385711 w 18171859"/>
                <a:gd name="connsiteY38" fmla="*/ 5219213 h 15946069"/>
                <a:gd name="connsiteX39" fmla="*/ 18171858 w 18171859"/>
                <a:gd name="connsiteY39" fmla="*/ 4701949 h 15946069"/>
                <a:gd name="connsiteX40" fmla="*/ 17814953 w 18171859"/>
                <a:gd name="connsiteY40" fmla="*/ 4117660 h 15946069"/>
                <a:gd name="connsiteX41" fmla="*/ 16852763 w 18171859"/>
                <a:gd name="connsiteY41" fmla="*/ 3282076 h 15946069"/>
                <a:gd name="connsiteX42" fmla="*/ 14429201 w 18171859"/>
                <a:gd name="connsiteY42" fmla="*/ 4027238 h 15946069"/>
                <a:gd name="connsiteX43" fmla="*/ 13383819 w 18171859"/>
                <a:gd name="connsiteY43" fmla="*/ 2963756 h 15946069"/>
                <a:gd name="connsiteX44" fmla="*/ 12493981 w 18171859"/>
                <a:gd name="connsiteY44" fmla="*/ 2927587 h 15946069"/>
                <a:gd name="connsiteX45" fmla="*/ 11976717 w 18171859"/>
                <a:gd name="connsiteY45" fmla="*/ 2139025 h 15946069"/>
                <a:gd name="connsiteX46" fmla="*/ 11484768 w 18171859"/>
                <a:gd name="connsiteY46" fmla="*/ 1495155 h 15946069"/>
                <a:gd name="connsiteX47" fmla="*/ 10830043 w 18171859"/>
                <a:gd name="connsiteY47" fmla="*/ 1256418 h 15946069"/>
                <a:gd name="connsiteX48" fmla="*/ 10323633 w 18171859"/>
                <a:gd name="connsiteY48" fmla="*/ 1220249 h 15946069"/>
                <a:gd name="connsiteX49" fmla="*/ 9802745 w 18171859"/>
                <a:gd name="connsiteY49" fmla="*/ 1603676 h 15946069"/>
                <a:gd name="connsiteX50" fmla="*/ 9223982 w 18171859"/>
                <a:gd name="connsiteY50" fmla="*/ 1621761 h 15946069"/>
                <a:gd name="connsiteX51" fmla="*/ 8782678 w 18171859"/>
                <a:gd name="connsiteY51" fmla="*/ 2171586 h 15946069"/>
                <a:gd name="connsiteX52" fmla="*/ 8272645 w 18171859"/>
                <a:gd name="connsiteY52" fmla="*/ 2102856 h 15946069"/>
                <a:gd name="connsiteX53" fmla="*/ 7853048 w 18171859"/>
                <a:gd name="connsiteY53" fmla="*/ 2526075 h 15946069"/>
                <a:gd name="connsiteX54" fmla="*/ 7323799 w 18171859"/>
                <a:gd name="connsiteY54" fmla="*/ 2632907 h 15946069"/>
                <a:gd name="connsiteX55" fmla="*/ 6977672 w 18171859"/>
                <a:gd name="connsiteY55" fmla="*/ 2178817 h 15946069"/>
                <a:gd name="connsiteX56" fmla="*/ 6594245 w 18171859"/>
                <a:gd name="connsiteY56" fmla="*/ 2055834 h 15946069"/>
                <a:gd name="connsiteX57" fmla="*/ 6431470 w 18171859"/>
                <a:gd name="connsiteY57" fmla="*/ 1314295 h 15946069"/>
                <a:gd name="connsiteX58" fmla="*/ 5642908 w 18171859"/>
                <a:gd name="connsiteY58" fmla="*/ 1343233 h 15946069"/>
                <a:gd name="connsiteX59" fmla="*/ 5150959 w 18171859"/>
                <a:gd name="connsiteY59" fmla="*/ 1610907 h 15946069"/>
                <a:gd name="connsiteX60" fmla="*/ 5480133 w 18171859"/>
                <a:gd name="connsiteY60" fmla="*/ 2167963 h 15946069"/>
                <a:gd name="connsiteX61" fmla="*/ 4742216 w 18171859"/>
                <a:gd name="connsiteY61" fmla="*/ 2862495 h 15946069"/>
                <a:gd name="connsiteX62" fmla="*/ 2658667 w 18171859"/>
                <a:gd name="connsiteY62" fmla="*/ 0 h 15946069"/>
                <a:gd name="connsiteX63" fmla="*/ 2658682 w 18171859"/>
                <a:gd name="connsiteY63" fmla="*/ 1018890 h 15946069"/>
                <a:gd name="connsiteX64" fmla="*/ 1850829 w 18171859"/>
                <a:gd name="connsiteY64" fmla="*/ 1730283 h 15946069"/>
                <a:gd name="connsiteX65" fmla="*/ 1404694 w 18171859"/>
                <a:gd name="connsiteY65" fmla="*/ 2272862 h 15946069"/>
                <a:gd name="connsiteX66" fmla="*/ 2351216 w 18171859"/>
                <a:gd name="connsiteY66" fmla="*/ 3388182 h 15946069"/>
                <a:gd name="connsiteX67" fmla="*/ 2658682 w 18171859"/>
                <a:gd name="connsiteY67" fmla="*/ 4286458 h 15946069"/>
                <a:gd name="connsiteX68" fmla="*/ 1935228 w 18171859"/>
                <a:gd name="connsiteY68" fmla="*/ 5220918 h 15946069"/>
                <a:gd name="connsiteX69" fmla="*/ 875281 w 18171859"/>
                <a:gd name="connsiteY69" fmla="*/ 5166646 h 15946069"/>
                <a:gd name="connsiteX70" fmla="*/ 0 w 18171859"/>
                <a:gd name="connsiteY70" fmla="*/ 5890112 h 15946069"/>
                <a:gd name="connsiteX71" fmla="*/ 72345 w 18171859"/>
                <a:gd name="connsiteY71" fmla="*/ 6921032 h 15946069"/>
                <a:gd name="connsiteX72" fmla="*/ 477776 w 18171859"/>
                <a:gd name="connsiteY72"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4004775 w 18171859"/>
                <a:gd name="connsiteY31" fmla="*/ 11611395 h 15946069"/>
                <a:gd name="connsiteX32" fmla="*/ 15409477 w 18171859"/>
                <a:gd name="connsiteY32" fmla="*/ 11882693 h 15946069"/>
                <a:gd name="connsiteX33" fmla="*/ 16413199 w 18171859"/>
                <a:gd name="connsiteY33" fmla="*/ 10920339 h 15946069"/>
                <a:gd name="connsiteX34" fmla="*/ 16428336 w 18171859"/>
                <a:gd name="connsiteY34" fmla="*/ 9374732 h 15946069"/>
                <a:gd name="connsiteX35" fmla="*/ 16024409 w 18171859"/>
                <a:gd name="connsiteY35" fmla="*/ 7433474 h 15946069"/>
                <a:gd name="connsiteX36" fmla="*/ 17911414 w 18171859"/>
                <a:gd name="connsiteY36" fmla="*/ 6083041 h 15946069"/>
                <a:gd name="connsiteX37" fmla="*/ 17385711 w 18171859"/>
                <a:gd name="connsiteY37" fmla="*/ 5219213 h 15946069"/>
                <a:gd name="connsiteX38" fmla="*/ 18171858 w 18171859"/>
                <a:gd name="connsiteY38" fmla="*/ 4701949 h 15946069"/>
                <a:gd name="connsiteX39" fmla="*/ 17814953 w 18171859"/>
                <a:gd name="connsiteY39" fmla="*/ 4117660 h 15946069"/>
                <a:gd name="connsiteX40" fmla="*/ 16852763 w 18171859"/>
                <a:gd name="connsiteY40" fmla="*/ 3282076 h 15946069"/>
                <a:gd name="connsiteX41" fmla="*/ 14429201 w 18171859"/>
                <a:gd name="connsiteY41" fmla="*/ 4027238 h 15946069"/>
                <a:gd name="connsiteX42" fmla="*/ 13383819 w 18171859"/>
                <a:gd name="connsiteY42" fmla="*/ 2963756 h 15946069"/>
                <a:gd name="connsiteX43" fmla="*/ 12493981 w 18171859"/>
                <a:gd name="connsiteY43" fmla="*/ 2927587 h 15946069"/>
                <a:gd name="connsiteX44" fmla="*/ 11976717 w 18171859"/>
                <a:gd name="connsiteY44" fmla="*/ 2139025 h 15946069"/>
                <a:gd name="connsiteX45" fmla="*/ 11484768 w 18171859"/>
                <a:gd name="connsiteY45" fmla="*/ 1495155 h 15946069"/>
                <a:gd name="connsiteX46" fmla="*/ 10830043 w 18171859"/>
                <a:gd name="connsiteY46" fmla="*/ 1256418 h 15946069"/>
                <a:gd name="connsiteX47" fmla="*/ 10323633 w 18171859"/>
                <a:gd name="connsiteY47" fmla="*/ 1220249 h 15946069"/>
                <a:gd name="connsiteX48" fmla="*/ 9802745 w 18171859"/>
                <a:gd name="connsiteY48" fmla="*/ 1603676 h 15946069"/>
                <a:gd name="connsiteX49" fmla="*/ 9223982 w 18171859"/>
                <a:gd name="connsiteY49" fmla="*/ 1621761 h 15946069"/>
                <a:gd name="connsiteX50" fmla="*/ 8782678 w 18171859"/>
                <a:gd name="connsiteY50" fmla="*/ 2171586 h 15946069"/>
                <a:gd name="connsiteX51" fmla="*/ 8272645 w 18171859"/>
                <a:gd name="connsiteY51" fmla="*/ 2102856 h 15946069"/>
                <a:gd name="connsiteX52" fmla="*/ 7853048 w 18171859"/>
                <a:gd name="connsiteY52" fmla="*/ 2526075 h 15946069"/>
                <a:gd name="connsiteX53" fmla="*/ 7323799 w 18171859"/>
                <a:gd name="connsiteY53" fmla="*/ 2632907 h 15946069"/>
                <a:gd name="connsiteX54" fmla="*/ 6977672 w 18171859"/>
                <a:gd name="connsiteY54" fmla="*/ 2178817 h 15946069"/>
                <a:gd name="connsiteX55" fmla="*/ 6594245 w 18171859"/>
                <a:gd name="connsiteY55" fmla="*/ 2055834 h 15946069"/>
                <a:gd name="connsiteX56" fmla="*/ 6431470 w 18171859"/>
                <a:gd name="connsiteY56" fmla="*/ 1314295 h 15946069"/>
                <a:gd name="connsiteX57" fmla="*/ 5642908 w 18171859"/>
                <a:gd name="connsiteY57" fmla="*/ 1343233 h 15946069"/>
                <a:gd name="connsiteX58" fmla="*/ 5150959 w 18171859"/>
                <a:gd name="connsiteY58" fmla="*/ 1610907 h 15946069"/>
                <a:gd name="connsiteX59" fmla="*/ 5480133 w 18171859"/>
                <a:gd name="connsiteY59" fmla="*/ 2167963 h 15946069"/>
                <a:gd name="connsiteX60" fmla="*/ 4742216 w 18171859"/>
                <a:gd name="connsiteY60" fmla="*/ 2862495 h 15946069"/>
                <a:gd name="connsiteX61" fmla="*/ 2658667 w 18171859"/>
                <a:gd name="connsiteY61" fmla="*/ 0 h 15946069"/>
                <a:gd name="connsiteX62" fmla="*/ 2658682 w 18171859"/>
                <a:gd name="connsiteY62" fmla="*/ 1018890 h 15946069"/>
                <a:gd name="connsiteX63" fmla="*/ 1850829 w 18171859"/>
                <a:gd name="connsiteY63" fmla="*/ 1730283 h 15946069"/>
                <a:gd name="connsiteX64" fmla="*/ 1404694 w 18171859"/>
                <a:gd name="connsiteY64" fmla="*/ 2272862 h 15946069"/>
                <a:gd name="connsiteX65" fmla="*/ 2351216 w 18171859"/>
                <a:gd name="connsiteY65" fmla="*/ 3388182 h 15946069"/>
                <a:gd name="connsiteX66" fmla="*/ 2658682 w 18171859"/>
                <a:gd name="connsiteY66" fmla="*/ 4286458 h 15946069"/>
                <a:gd name="connsiteX67" fmla="*/ 1935228 w 18171859"/>
                <a:gd name="connsiteY67" fmla="*/ 5220918 h 15946069"/>
                <a:gd name="connsiteX68" fmla="*/ 875281 w 18171859"/>
                <a:gd name="connsiteY68" fmla="*/ 5166646 h 15946069"/>
                <a:gd name="connsiteX69" fmla="*/ 0 w 18171859"/>
                <a:gd name="connsiteY69" fmla="*/ 5890112 h 15946069"/>
                <a:gd name="connsiteX70" fmla="*/ 72345 w 18171859"/>
                <a:gd name="connsiteY70" fmla="*/ 6921032 h 15946069"/>
                <a:gd name="connsiteX71" fmla="*/ 477776 w 18171859"/>
                <a:gd name="connsiteY7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2196146 w 18171859"/>
                <a:gd name="connsiteY29" fmla="*/ 11388328 h 15946069"/>
                <a:gd name="connsiteX30" fmla="*/ 14004775 w 18171859"/>
                <a:gd name="connsiteY30" fmla="*/ 11611395 h 15946069"/>
                <a:gd name="connsiteX31" fmla="*/ 15409477 w 18171859"/>
                <a:gd name="connsiteY31" fmla="*/ 11882693 h 15946069"/>
                <a:gd name="connsiteX32" fmla="*/ 16413199 w 18171859"/>
                <a:gd name="connsiteY32" fmla="*/ 10920339 h 15946069"/>
                <a:gd name="connsiteX33" fmla="*/ 16428336 w 18171859"/>
                <a:gd name="connsiteY33" fmla="*/ 9374732 h 15946069"/>
                <a:gd name="connsiteX34" fmla="*/ 16024409 w 18171859"/>
                <a:gd name="connsiteY34" fmla="*/ 7433474 h 15946069"/>
                <a:gd name="connsiteX35" fmla="*/ 17911414 w 18171859"/>
                <a:gd name="connsiteY35" fmla="*/ 6083041 h 15946069"/>
                <a:gd name="connsiteX36" fmla="*/ 17385711 w 18171859"/>
                <a:gd name="connsiteY36" fmla="*/ 5219213 h 15946069"/>
                <a:gd name="connsiteX37" fmla="*/ 18171858 w 18171859"/>
                <a:gd name="connsiteY37" fmla="*/ 4701949 h 15946069"/>
                <a:gd name="connsiteX38" fmla="*/ 17814953 w 18171859"/>
                <a:gd name="connsiteY38" fmla="*/ 4117660 h 15946069"/>
                <a:gd name="connsiteX39" fmla="*/ 16852763 w 18171859"/>
                <a:gd name="connsiteY39" fmla="*/ 3282076 h 15946069"/>
                <a:gd name="connsiteX40" fmla="*/ 14429201 w 18171859"/>
                <a:gd name="connsiteY40" fmla="*/ 4027238 h 15946069"/>
                <a:gd name="connsiteX41" fmla="*/ 13383819 w 18171859"/>
                <a:gd name="connsiteY41" fmla="*/ 2963756 h 15946069"/>
                <a:gd name="connsiteX42" fmla="*/ 12493981 w 18171859"/>
                <a:gd name="connsiteY42" fmla="*/ 2927587 h 15946069"/>
                <a:gd name="connsiteX43" fmla="*/ 11976717 w 18171859"/>
                <a:gd name="connsiteY43" fmla="*/ 2139025 h 15946069"/>
                <a:gd name="connsiteX44" fmla="*/ 11484768 w 18171859"/>
                <a:gd name="connsiteY44" fmla="*/ 1495155 h 15946069"/>
                <a:gd name="connsiteX45" fmla="*/ 10830043 w 18171859"/>
                <a:gd name="connsiteY45" fmla="*/ 1256418 h 15946069"/>
                <a:gd name="connsiteX46" fmla="*/ 10323633 w 18171859"/>
                <a:gd name="connsiteY46" fmla="*/ 1220249 h 15946069"/>
                <a:gd name="connsiteX47" fmla="*/ 9802745 w 18171859"/>
                <a:gd name="connsiteY47" fmla="*/ 1603676 h 15946069"/>
                <a:gd name="connsiteX48" fmla="*/ 9223982 w 18171859"/>
                <a:gd name="connsiteY48" fmla="*/ 1621761 h 15946069"/>
                <a:gd name="connsiteX49" fmla="*/ 8782678 w 18171859"/>
                <a:gd name="connsiteY49" fmla="*/ 2171586 h 15946069"/>
                <a:gd name="connsiteX50" fmla="*/ 8272645 w 18171859"/>
                <a:gd name="connsiteY50" fmla="*/ 2102856 h 15946069"/>
                <a:gd name="connsiteX51" fmla="*/ 7853048 w 18171859"/>
                <a:gd name="connsiteY51" fmla="*/ 2526075 h 15946069"/>
                <a:gd name="connsiteX52" fmla="*/ 7323799 w 18171859"/>
                <a:gd name="connsiteY52" fmla="*/ 2632907 h 15946069"/>
                <a:gd name="connsiteX53" fmla="*/ 6977672 w 18171859"/>
                <a:gd name="connsiteY53" fmla="*/ 2178817 h 15946069"/>
                <a:gd name="connsiteX54" fmla="*/ 6594245 w 18171859"/>
                <a:gd name="connsiteY54" fmla="*/ 2055834 h 15946069"/>
                <a:gd name="connsiteX55" fmla="*/ 6431470 w 18171859"/>
                <a:gd name="connsiteY55" fmla="*/ 1314295 h 15946069"/>
                <a:gd name="connsiteX56" fmla="*/ 5642908 w 18171859"/>
                <a:gd name="connsiteY56" fmla="*/ 1343233 h 15946069"/>
                <a:gd name="connsiteX57" fmla="*/ 5150959 w 18171859"/>
                <a:gd name="connsiteY57" fmla="*/ 1610907 h 15946069"/>
                <a:gd name="connsiteX58" fmla="*/ 5480133 w 18171859"/>
                <a:gd name="connsiteY58" fmla="*/ 2167963 h 15946069"/>
                <a:gd name="connsiteX59" fmla="*/ 4742216 w 18171859"/>
                <a:gd name="connsiteY59" fmla="*/ 2862495 h 15946069"/>
                <a:gd name="connsiteX60" fmla="*/ 2658667 w 18171859"/>
                <a:gd name="connsiteY60" fmla="*/ 0 h 15946069"/>
                <a:gd name="connsiteX61" fmla="*/ 2658682 w 18171859"/>
                <a:gd name="connsiteY61" fmla="*/ 1018890 h 15946069"/>
                <a:gd name="connsiteX62" fmla="*/ 1850829 w 18171859"/>
                <a:gd name="connsiteY62" fmla="*/ 1730283 h 15946069"/>
                <a:gd name="connsiteX63" fmla="*/ 1404694 w 18171859"/>
                <a:gd name="connsiteY63" fmla="*/ 2272862 h 15946069"/>
                <a:gd name="connsiteX64" fmla="*/ 2351216 w 18171859"/>
                <a:gd name="connsiteY64" fmla="*/ 3388182 h 15946069"/>
                <a:gd name="connsiteX65" fmla="*/ 2658682 w 18171859"/>
                <a:gd name="connsiteY65" fmla="*/ 4286458 h 15946069"/>
                <a:gd name="connsiteX66" fmla="*/ 1935228 w 18171859"/>
                <a:gd name="connsiteY66" fmla="*/ 5220918 h 15946069"/>
                <a:gd name="connsiteX67" fmla="*/ 875281 w 18171859"/>
                <a:gd name="connsiteY67" fmla="*/ 5166646 h 15946069"/>
                <a:gd name="connsiteX68" fmla="*/ 0 w 18171859"/>
                <a:gd name="connsiteY68" fmla="*/ 5890112 h 15946069"/>
                <a:gd name="connsiteX69" fmla="*/ 72345 w 18171859"/>
                <a:gd name="connsiteY69" fmla="*/ 6921032 h 15946069"/>
                <a:gd name="connsiteX70" fmla="*/ 477776 w 18171859"/>
                <a:gd name="connsiteY7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780218 w 18171859"/>
                <a:gd name="connsiteY27" fmla="*/ 13579811 h 15946069"/>
                <a:gd name="connsiteX28" fmla="*/ 12196146 w 18171859"/>
                <a:gd name="connsiteY28" fmla="*/ 11388328 h 15946069"/>
                <a:gd name="connsiteX29" fmla="*/ 14004775 w 18171859"/>
                <a:gd name="connsiteY29" fmla="*/ 11611395 h 15946069"/>
                <a:gd name="connsiteX30" fmla="*/ 15409477 w 18171859"/>
                <a:gd name="connsiteY30" fmla="*/ 11882693 h 15946069"/>
                <a:gd name="connsiteX31" fmla="*/ 16413199 w 18171859"/>
                <a:gd name="connsiteY31" fmla="*/ 10920339 h 15946069"/>
                <a:gd name="connsiteX32" fmla="*/ 16428336 w 18171859"/>
                <a:gd name="connsiteY32" fmla="*/ 9374732 h 15946069"/>
                <a:gd name="connsiteX33" fmla="*/ 16024409 w 18171859"/>
                <a:gd name="connsiteY33" fmla="*/ 7433474 h 15946069"/>
                <a:gd name="connsiteX34" fmla="*/ 17911414 w 18171859"/>
                <a:gd name="connsiteY34" fmla="*/ 6083041 h 15946069"/>
                <a:gd name="connsiteX35" fmla="*/ 17385711 w 18171859"/>
                <a:gd name="connsiteY35" fmla="*/ 5219213 h 15946069"/>
                <a:gd name="connsiteX36" fmla="*/ 18171858 w 18171859"/>
                <a:gd name="connsiteY36" fmla="*/ 4701949 h 15946069"/>
                <a:gd name="connsiteX37" fmla="*/ 17814953 w 18171859"/>
                <a:gd name="connsiteY37" fmla="*/ 4117660 h 15946069"/>
                <a:gd name="connsiteX38" fmla="*/ 16852763 w 18171859"/>
                <a:gd name="connsiteY38" fmla="*/ 3282076 h 15946069"/>
                <a:gd name="connsiteX39" fmla="*/ 14429201 w 18171859"/>
                <a:gd name="connsiteY39" fmla="*/ 4027238 h 15946069"/>
                <a:gd name="connsiteX40" fmla="*/ 13383819 w 18171859"/>
                <a:gd name="connsiteY40" fmla="*/ 2963756 h 15946069"/>
                <a:gd name="connsiteX41" fmla="*/ 12493981 w 18171859"/>
                <a:gd name="connsiteY41" fmla="*/ 2927587 h 15946069"/>
                <a:gd name="connsiteX42" fmla="*/ 11976717 w 18171859"/>
                <a:gd name="connsiteY42" fmla="*/ 2139025 h 15946069"/>
                <a:gd name="connsiteX43" fmla="*/ 11484768 w 18171859"/>
                <a:gd name="connsiteY43" fmla="*/ 1495155 h 15946069"/>
                <a:gd name="connsiteX44" fmla="*/ 10830043 w 18171859"/>
                <a:gd name="connsiteY44" fmla="*/ 1256418 h 15946069"/>
                <a:gd name="connsiteX45" fmla="*/ 10323633 w 18171859"/>
                <a:gd name="connsiteY45" fmla="*/ 1220249 h 15946069"/>
                <a:gd name="connsiteX46" fmla="*/ 9802745 w 18171859"/>
                <a:gd name="connsiteY46" fmla="*/ 1603676 h 15946069"/>
                <a:gd name="connsiteX47" fmla="*/ 9223982 w 18171859"/>
                <a:gd name="connsiteY47" fmla="*/ 1621761 h 15946069"/>
                <a:gd name="connsiteX48" fmla="*/ 8782678 w 18171859"/>
                <a:gd name="connsiteY48" fmla="*/ 2171586 h 15946069"/>
                <a:gd name="connsiteX49" fmla="*/ 8272645 w 18171859"/>
                <a:gd name="connsiteY49" fmla="*/ 2102856 h 15946069"/>
                <a:gd name="connsiteX50" fmla="*/ 7853048 w 18171859"/>
                <a:gd name="connsiteY50" fmla="*/ 2526075 h 15946069"/>
                <a:gd name="connsiteX51" fmla="*/ 7323799 w 18171859"/>
                <a:gd name="connsiteY51" fmla="*/ 2632907 h 15946069"/>
                <a:gd name="connsiteX52" fmla="*/ 6977672 w 18171859"/>
                <a:gd name="connsiteY52" fmla="*/ 2178817 h 15946069"/>
                <a:gd name="connsiteX53" fmla="*/ 6594245 w 18171859"/>
                <a:gd name="connsiteY53" fmla="*/ 2055834 h 15946069"/>
                <a:gd name="connsiteX54" fmla="*/ 6431470 w 18171859"/>
                <a:gd name="connsiteY54" fmla="*/ 1314295 h 15946069"/>
                <a:gd name="connsiteX55" fmla="*/ 5642908 w 18171859"/>
                <a:gd name="connsiteY55" fmla="*/ 1343233 h 15946069"/>
                <a:gd name="connsiteX56" fmla="*/ 5150959 w 18171859"/>
                <a:gd name="connsiteY56" fmla="*/ 1610907 h 15946069"/>
                <a:gd name="connsiteX57" fmla="*/ 5480133 w 18171859"/>
                <a:gd name="connsiteY57" fmla="*/ 2167963 h 15946069"/>
                <a:gd name="connsiteX58" fmla="*/ 4742216 w 18171859"/>
                <a:gd name="connsiteY58" fmla="*/ 2862495 h 15946069"/>
                <a:gd name="connsiteX59" fmla="*/ 2658667 w 18171859"/>
                <a:gd name="connsiteY59" fmla="*/ 0 h 15946069"/>
                <a:gd name="connsiteX60" fmla="*/ 2658682 w 18171859"/>
                <a:gd name="connsiteY60" fmla="*/ 1018890 h 15946069"/>
                <a:gd name="connsiteX61" fmla="*/ 1850829 w 18171859"/>
                <a:gd name="connsiteY61" fmla="*/ 1730283 h 15946069"/>
                <a:gd name="connsiteX62" fmla="*/ 1404694 w 18171859"/>
                <a:gd name="connsiteY62" fmla="*/ 2272862 h 15946069"/>
                <a:gd name="connsiteX63" fmla="*/ 2351216 w 18171859"/>
                <a:gd name="connsiteY63" fmla="*/ 3388182 h 15946069"/>
                <a:gd name="connsiteX64" fmla="*/ 2658682 w 18171859"/>
                <a:gd name="connsiteY64" fmla="*/ 4286458 h 15946069"/>
                <a:gd name="connsiteX65" fmla="*/ 1935228 w 18171859"/>
                <a:gd name="connsiteY65" fmla="*/ 5220918 h 15946069"/>
                <a:gd name="connsiteX66" fmla="*/ 875281 w 18171859"/>
                <a:gd name="connsiteY66" fmla="*/ 5166646 h 15946069"/>
                <a:gd name="connsiteX67" fmla="*/ 0 w 18171859"/>
                <a:gd name="connsiteY67" fmla="*/ 5890112 h 15946069"/>
                <a:gd name="connsiteX68" fmla="*/ 72345 w 18171859"/>
                <a:gd name="connsiteY68" fmla="*/ 6921032 h 15946069"/>
                <a:gd name="connsiteX69" fmla="*/ 477776 w 18171859"/>
                <a:gd name="connsiteY69"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616683 w 18171859"/>
                <a:gd name="connsiteY24" fmla="*/ 15358294 h 15946069"/>
                <a:gd name="connsiteX25" fmla="*/ 11117010 w 18171859"/>
                <a:gd name="connsiteY25" fmla="*/ 15946069 h 15946069"/>
                <a:gd name="connsiteX26" fmla="*/ 11780218 w 18171859"/>
                <a:gd name="connsiteY26" fmla="*/ 13579811 h 15946069"/>
                <a:gd name="connsiteX27" fmla="*/ 12196146 w 18171859"/>
                <a:gd name="connsiteY27" fmla="*/ 11388328 h 15946069"/>
                <a:gd name="connsiteX28" fmla="*/ 14004775 w 18171859"/>
                <a:gd name="connsiteY28" fmla="*/ 11611395 h 15946069"/>
                <a:gd name="connsiteX29" fmla="*/ 15409477 w 18171859"/>
                <a:gd name="connsiteY29" fmla="*/ 11882693 h 15946069"/>
                <a:gd name="connsiteX30" fmla="*/ 16413199 w 18171859"/>
                <a:gd name="connsiteY30" fmla="*/ 10920339 h 15946069"/>
                <a:gd name="connsiteX31" fmla="*/ 16428336 w 18171859"/>
                <a:gd name="connsiteY31" fmla="*/ 9374732 h 15946069"/>
                <a:gd name="connsiteX32" fmla="*/ 16024409 w 18171859"/>
                <a:gd name="connsiteY32" fmla="*/ 7433474 h 15946069"/>
                <a:gd name="connsiteX33" fmla="*/ 17911414 w 18171859"/>
                <a:gd name="connsiteY33" fmla="*/ 6083041 h 15946069"/>
                <a:gd name="connsiteX34" fmla="*/ 17385711 w 18171859"/>
                <a:gd name="connsiteY34" fmla="*/ 5219213 h 15946069"/>
                <a:gd name="connsiteX35" fmla="*/ 18171858 w 18171859"/>
                <a:gd name="connsiteY35" fmla="*/ 4701949 h 15946069"/>
                <a:gd name="connsiteX36" fmla="*/ 17814953 w 18171859"/>
                <a:gd name="connsiteY36" fmla="*/ 4117660 h 15946069"/>
                <a:gd name="connsiteX37" fmla="*/ 16852763 w 18171859"/>
                <a:gd name="connsiteY37" fmla="*/ 3282076 h 15946069"/>
                <a:gd name="connsiteX38" fmla="*/ 14429201 w 18171859"/>
                <a:gd name="connsiteY38" fmla="*/ 4027238 h 15946069"/>
                <a:gd name="connsiteX39" fmla="*/ 13383819 w 18171859"/>
                <a:gd name="connsiteY39" fmla="*/ 2963756 h 15946069"/>
                <a:gd name="connsiteX40" fmla="*/ 12493981 w 18171859"/>
                <a:gd name="connsiteY40" fmla="*/ 2927587 h 15946069"/>
                <a:gd name="connsiteX41" fmla="*/ 11976717 w 18171859"/>
                <a:gd name="connsiteY41" fmla="*/ 2139025 h 15946069"/>
                <a:gd name="connsiteX42" fmla="*/ 11484768 w 18171859"/>
                <a:gd name="connsiteY42" fmla="*/ 1495155 h 15946069"/>
                <a:gd name="connsiteX43" fmla="*/ 10830043 w 18171859"/>
                <a:gd name="connsiteY43" fmla="*/ 1256418 h 15946069"/>
                <a:gd name="connsiteX44" fmla="*/ 10323633 w 18171859"/>
                <a:gd name="connsiteY44" fmla="*/ 1220249 h 15946069"/>
                <a:gd name="connsiteX45" fmla="*/ 9802745 w 18171859"/>
                <a:gd name="connsiteY45" fmla="*/ 1603676 h 15946069"/>
                <a:gd name="connsiteX46" fmla="*/ 9223982 w 18171859"/>
                <a:gd name="connsiteY46" fmla="*/ 1621761 h 15946069"/>
                <a:gd name="connsiteX47" fmla="*/ 8782678 w 18171859"/>
                <a:gd name="connsiteY47" fmla="*/ 2171586 h 15946069"/>
                <a:gd name="connsiteX48" fmla="*/ 8272645 w 18171859"/>
                <a:gd name="connsiteY48" fmla="*/ 2102856 h 15946069"/>
                <a:gd name="connsiteX49" fmla="*/ 7853048 w 18171859"/>
                <a:gd name="connsiteY49" fmla="*/ 2526075 h 15946069"/>
                <a:gd name="connsiteX50" fmla="*/ 7323799 w 18171859"/>
                <a:gd name="connsiteY50" fmla="*/ 2632907 h 15946069"/>
                <a:gd name="connsiteX51" fmla="*/ 6977672 w 18171859"/>
                <a:gd name="connsiteY51" fmla="*/ 2178817 h 15946069"/>
                <a:gd name="connsiteX52" fmla="*/ 6594245 w 18171859"/>
                <a:gd name="connsiteY52" fmla="*/ 2055834 h 15946069"/>
                <a:gd name="connsiteX53" fmla="*/ 6431470 w 18171859"/>
                <a:gd name="connsiteY53" fmla="*/ 1314295 h 15946069"/>
                <a:gd name="connsiteX54" fmla="*/ 5642908 w 18171859"/>
                <a:gd name="connsiteY54" fmla="*/ 1343233 h 15946069"/>
                <a:gd name="connsiteX55" fmla="*/ 5150959 w 18171859"/>
                <a:gd name="connsiteY55" fmla="*/ 1610907 h 15946069"/>
                <a:gd name="connsiteX56" fmla="*/ 5480133 w 18171859"/>
                <a:gd name="connsiteY56" fmla="*/ 2167963 h 15946069"/>
                <a:gd name="connsiteX57" fmla="*/ 4742216 w 18171859"/>
                <a:gd name="connsiteY57" fmla="*/ 2862495 h 15946069"/>
                <a:gd name="connsiteX58" fmla="*/ 2658667 w 18171859"/>
                <a:gd name="connsiteY58" fmla="*/ 0 h 15946069"/>
                <a:gd name="connsiteX59" fmla="*/ 2658682 w 18171859"/>
                <a:gd name="connsiteY59" fmla="*/ 1018890 h 15946069"/>
                <a:gd name="connsiteX60" fmla="*/ 1850829 w 18171859"/>
                <a:gd name="connsiteY60" fmla="*/ 1730283 h 15946069"/>
                <a:gd name="connsiteX61" fmla="*/ 1404694 w 18171859"/>
                <a:gd name="connsiteY61" fmla="*/ 2272862 h 15946069"/>
                <a:gd name="connsiteX62" fmla="*/ 2351216 w 18171859"/>
                <a:gd name="connsiteY62" fmla="*/ 3388182 h 15946069"/>
                <a:gd name="connsiteX63" fmla="*/ 2658682 w 18171859"/>
                <a:gd name="connsiteY63" fmla="*/ 4286458 h 15946069"/>
                <a:gd name="connsiteX64" fmla="*/ 1935228 w 18171859"/>
                <a:gd name="connsiteY64" fmla="*/ 5220918 h 15946069"/>
                <a:gd name="connsiteX65" fmla="*/ 875281 w 18171859"/>
                <a:gd name="connsiteY65" fmla="*/ 5166646 h 15946069"/>
                <a:gd name="connsiteX66" fmla="*/ 0 w 18171859"/>
                <a:gd name="connsiteY66" fmla="*/ 5890112 h 15946069"/>
                <a:gd name="connsiteX67" fmla="*/ 72345 w 18171859"/>
                <a:gd name="connsiteY67" fmla="*/ 6921032 h 15946069"/>
                <a:gd name="connsiteX68" fmla="*/ 477776 w 18171859"/>
                <a:gd name="connsiteY68"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2493981 w 18171859"/>
                <a:gd name="connsiteY39" fmla="*/ 2927587 h 15946069"/>
                <a:gd name="connsiteX40" fmla="*/ 11976717 w 18171859"/>
                <a:gd name="connsiteY40" fmla="*/ 2139025 h 15946069"/>
                <a:gd name="connsiteX41" fmla="*/ 11484768 w 18171859"/>
                <a:gd name="connsiteY41" fmla="*/ 1495155 h 15946069"/>
                <a:gd name="connsiteX42" fmla="*/ 10830043 w 18171859"/>
                <a:gd name="connsiteY42" fmla="*/ 1256418 h 15946069"/>
                <a:gd name="connsiteX43" fmla="*/ 10323633 w 18171859"/>
                <a:gd name="connsiteY43" fmla="*/ 1220249 h 15946069"/>
                <a:gd name="connsiteX44" fmla="*/ 9802745 w 18171859"/>
                <a:gd name="connsiteY44" fmla="*/ 1603676 h 15946069"/>
                <a:gd name="connsiteX45" fmla="*/ 9223982 w 18171859"/>
                <a:gd name="connsiteY45" fmla="*/ 1621761 h 15946069"/>
                <a:gd name="connsiteX46" fmla="*/ 8782678 w 18171859"/>
                <a:gd name="connsiteY46" fmla="*/ 2171586 h 15946069"/>
                <a:gd name="connsiteX47" fmla="*/ 8272645 w 18171859"/>
                <a:gd name="connsiteY47" fmla="*/ 2102856 h 15946069"/>
                <a:gd name="connsiteX48" fmla="*/ 7853048 w 18171859"/>
                <a:gd name="connsiteY48" fmla="*/ 2526075 h 15946069"/>
                <a:gd name="connsiteX49" fmla="*/ 7323799 w 18171859"/>
                <a:gd name="connsiteY49" fmla="*/ 2632907 h 15946069"/>
                <a:gd name="connsiteX50" fmla="*/ 6977672 w 18171859"/>
                <a:gd name="connsiteY50" fmla="*/ 2178817 h 15946069"/>
                <a:gd name="connsiteX51" fmla="*/ 6594245 w 18171859"/>
                <a:gd name="connsiteY51" fmla="*/ 2055834 h 15946069"/>
                <a:gd name="connsiteX52" fmla="*/ 6431470 w 18171859"/>
                <a:gd name="connsiteY52" fmla="*/ 1314295 h 15946069"/>
                <a:gd name="connsiteX53" fmla="*/ 5642908 w 18171859"/>
                <a:gd name="connsiteY53" fmla="*/ 1343233 h 15946069"/>
                <a:gd name="connsiteX54" fmla="*/ 5150959 w 18171859"/>
                <a:gd name="connsiteY54" fmla="*/ 1610907 h 15946069"/>
                <a:gd name="connsiteX55" fmla="*/ 5480133 w 18171859"/>
                <a:gd name="connsiteY55" fmla="*/ 2167963 h 15946069"/>
                <a:gd name="connsiteX56" fmla="*/ 4742216 w 18171859"/>
                <a:gd name="connsiteY56" fmla="*/ 2862495 h 15946069"/>
                <a:gd name="connsiteX57" fmla="*/ 2658667 w 18171859"/>
                <a:gd name="connsiteY57" fmla="*/ 0 h 15946069"/>
                <a:gd name="connsiteX58" fmla="*/ 2658682 w 18171859"/>
                <a:gd name="connsiteY58" fmla="*/ 1018890 h 15946069"/>
                <a:gd name="connsiteX59" fmla="*/ 1850829 w 18171859"/>
                <a:gd name="connsiteY59" fmla="*/ 1730283 h 15946069"/>
                <a:gd name="connsiteX60" fmla="*/ 1404694 w 18171859"/>
                <a:gd name="connsiteY60" fmla="*/ 2272862 h 15946069"/>
                <a:gd name="connsiteX61" fmla="*/ 2351216 w 18171859"/>
                <a:gd name="connsiteY61" fmla="*/ 3388182 h 15946069"/>
                <a:gd name="connsiteX62" fmla="*/ 2658682 w 18171859"/>
                <a:gd name="connsiteY62" fmla="*/ 4286458 h 15946069"/>
                <a:gd name="connsiteX63" fmla="*/ 1935228 w 18171859"/>
                <a:gd name="connsiteY63" fmla="*/ 5220918 h 15946069"/>
                <a:gd name="connsiteX64" fmla="*/ 875281 w 18171859"/>
                <a:gd name="connsiteY64" fmla="*/ 5166646 h 15946069"/>
                <a:gd name="connsiteX65" fmla="*/ 0 w 18171859"/>
                <a:gd name="connsiteY65" fmla="*/ 5890112 h 15946069"/>
                <a:gd name="connsiteX66" fmla="*/ 72345 w 18171859"/>
                <a:gd name="connsiteY66" fmla="*/ 6921032 h 15946069"/>
                <a:gd name="connsiteX67" fmla="*/ 477776 w 18171859"/>
                <a:gd name="connsiteY67"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1484768 w 18171859"/>
                <a:gd name="connsiteY40" fmla="*/ 1495155 h 15946069"/>
                <a:gd name="connsiteX41" fmla="*/ 10830043 w 18171859"/>
                <a:gd name="connsiteY41" fmla="*/ 1256418 h 15946069"/>
                <a:gd name="connsiteX42" fmla="*/ 10323633 w 18171859"/>
                <a:gd name="connsiteY42" fmla="*/ 1220249 h 15946069"/>
                <a:gd name="connsiteX43" fmla="*/ 9802745 w 18171859"/>
                <a:gd name="connsiteY43" fmla="*/ 1603676 h 15946069"/>
                <a:gd name="connsiteX44" fmla="*/ 9223982 w 18171859"/>
                <a:gd name="connsiteY44" fmla="*/ 1621761 h 15946069"/>
                <a:gd name="connsiteX45" fmla="*/ 8782678 w 18171859"/>
                <a:gd name="connsiteY45" fmla="*/ 2171586 h 15946069"/>
                <a:gd name="connsiteX46" fmla="*/ 8272645 w 18171859"/>
                <a:gd name="connsiteY46" fmla="*/ 2102856 h 15946069"/>
                <a:gd name="connsiteX47" fmla="*/ 7853048 w 18171859"/>
                <a:gd name="connsiteY47" fmla="*/ 2526075 h 15946069"/>
                <a:gd name="connsiteX48" fmla="*/ 7323799 w 18171859"/>
                <a:gd name="connsiteY48" fmla="*/ 2632907 h 15946069"/>
                <a:gd name="connsiteX49" fmla="*/ 6977672 w 18171859"/>
                <a:gd name="connsiteY49" fmla="*/ 2178817 h 15946069"/>
                <a:gd name="connsiteX50" fmla="*/ 6594245 w 18171859"/>
                <a:gd name="connsiteY50" fmla="*/ 2055834 h 15946069"/>
                <a:gd name="connsiteX51" fmla="*/ 6431470 w 18171859"/>
                <a:gd name="connsiteY51" fmla="*/ 1314295 h 15946069"/>
                <a:gd name="connsiteX52" fmla="*/ 5642908 w 18171859"/>
                <a:gd name="connsiteY52" fmla="*/ 1343233 h 15946069"/>
                <a:gd name="connsiteX53" fmla="*/ 5150959 w 18171859"/>
                <a:gd name="connsiteY53" fmla="*/ 1610907 h 15946069"/>
                <a:gd name="connsiteX54" fmla="*/ 5480133 w 18171859"/>
                <a:gd name="connsiteY54" fmla="*/ 2167963 h 15946069"/>
                <a:gd name="connsiteX55" fmla="*/ 4742216 w 18171859"/>
                <a:gd name="connsiteY55" fmla="*/ 2862495 h 15946069"/>
                <a:gd name="connsiteX56" fmla="*/ 2658667 w 18171859"/>
                <a:gd name="connsiteY56" fmla="*/ 0 h 15946069"/>
                <a:gd name="connsiteX57" fmla="*/ 2658682 w 18171859"/>
                <a:gd name="connsiteY57" fmla="*/ 1018890 h 15946069"/>
                <a:gd name="connsiteX58" fmla="*/ 1850829 w 18171859"/>
                <a:gd name="connsiteY58" fmla="*/ 1730283 h 15946069"/>
                <a:gd name="connsiteX59" fmla="*/ 1404694 w 18171859"/>
                <a:gd name="connsiteY59" fmla="*/ 2272862 h 15946069"/>
                <a:gd name="connsiteX60" fmla="*/ 2351216 w 18171859"/>
                <a:gd name="connsiteY60" fmla="*/ 3388182 h 15946069"/>
                <a:gd name="connsiteX61" fmla="*/ 2658682 w 18171859"/>
                <a:gd name="connsiteY61" fmla="*/ 4286458 h 15946069"/>
                <a:gd name="connsiteX62" fmla="*/ 1935228 w 18171859"/>
                <a:gd name="connsiteY62" fmla="*/ 5220918 h 15946069"/>
                <a:gd name="connsiteX63" fmla="*/ 875281 w 18171859"/>
                <a:gd name="connsiteY63" fmla="*/ 5166646 h 15946069"/>
                <a:gd name="connsiteX64" fmla="*/ 0 w 18171859"/>
                <a:gd name="connsiteY64" fmla="*/ 5890112 h 15946069"/>
                <a:gd name="connsiteX65" fmla="*/ 72345 w 18171859"/>
                <a:gd name="connsiteY65" fmla="*/ 6921032 h 15946069"/>
                <a:gd name="connsiteX66" fmla="*/ 477776 w 18171859"/>
                <a:gd name="connsiteY66"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10323633 w 18171859"/>
                <a:gd name="connsiteY41" fmla="*/ 1220249 h 15946069"/>
                <a:gd name="connsiteX42" fmla="*/ 9802745 w 18171859"/>
                <a:gd name="connsiteY42" fmla="*/ 1603676 h 15946069"/>
                <a:gd name="connsiteX43" fmla="*/ 9223982 w 18171859"/>
                <a:gd name="connsiteY43" fmla="*/ 1621761 h 15946069"/>
                <a:gd name="connsiteX44" fmla="*/ 8782678 w 18171859"/>
                <a:gd name="connsiteY44" fmla="*/ 2171586 h 15946069"/>
                <a:gd name="connsiteX45" fmla="*/ 8272645 w 18171859"/>
                <a:gd name="connsiteY45" fmla="*/ 2102856 h 15946069"/>
                <a:gd name="connsiteX46" fmla="*/ 7853048 w 18171859"/>
                <a:gd name="connsiteY46" fmla="*/ 2526075 h 15946069"/>
                <a:gd name="connsiteX47" fmla="*/ 7323799 w 18171859"/>
                <a:gd name="connsiteY47" fmla="*/ 2632907 h 15946069"/>
                <a:gd name="connsiteX48" fmla="*/ 6977672 w 18171859"/>
                <a:gd name="connsiteY48" fmla="*/ 2178817 h 15946069"/>
                <a:gd name="connsiteX49" fmla="*/ 6594245 w 18171859"/>
                <a:gd name="connsiteY49" fmla="*/ 2055834 h 15946069"/>
                <a:gd name="connsiteX50" fmla="*/ 6431470 w 18171859"/>
                <a:gd name="connsiteY50" fmla="*/ 1314295 h 15946069"/>
                <a:gd name="connsiteX51" fmla="*/ 5642908 w 18171859"/>
                <a:gd name="connsiteY51" fmla="*/ 1343233 h 15946069"/>
                <a:gd name="connsiteX52" fmla="*/ 5150959 w 18171859"/>
                <a:gd name="connsiteY52" fmla="*/ 1610907 h 15946069"/>
                <a:gd name="connsiteX53" fmla="*/ 5480133 w 18171859"/>
                <a:gd name="connsiteY53" fmla="*/ 2167963 h 15946069"/>
                <a:gd name="connsiteX54" fmla="*/ 4742216 w 18171859"/>
                <a:gd name="connsiteY54" fmla="*/ 2862495 h 15946069"/>
                <a:gd name="connsiteX55" fmla="*/ 2658667 w 18171859"/>
                <a:gd name="connsiteY55" fmla="*/ 0 h 15946069"/>
                <a:gd name="connsiteX56" fmla="*/ 2658682 w 18171859"/>
                <a:gd name="connsiteY56" fmla="*/ 1018890 h 15946069"/>
                <a:gd name="connsiteX57" fmla="*/ 1850829 w 18171859"/>
                <a:gd name="connsiteY57" fmla="*/ 1730283 h 15946069"/>
                <a:gd name="connsiteX58" fmla="*/ 1404694 w 18171859"/>
                <a:gd name="connsiteY58" fmla="*/ 2272862 h 15946069"/>
                <a:gd name="connsiteX59" fmla="*/ 2351216 w 18171859"/>
                <a:gd name="connsiteY59" fmla="*/ 3388182 h 15946069"/>
                <a:gd name="connsiteX60" fmla="*/ 2658682 w 18171859"/>
                <a:gd name="connsiteY60" fmla="*/ 4286458 h 15946069"/>
                <a:gd name="connsiteX61" fmla="*/ 1935228 w 18171859"/>
                <a:gd name="connsiteY61" fmla="*/ 5220918 h 15946069"/>
                <a:gd name="connsiteX62" fmla="*/ 875281 w 18171859"/>
                <a:gd name="connsiteY62" fmla="*/ 5166646 h 15946069"/>
                <a:gd name="connsiteX63" fmla="*/ 0 w 18171859"/>
                <a:gd name="connsiteY63" fmla="*/ 5890112 h 15946069"/>
                <a:gd name="connsiteX64" fmla="*/ 72345 w 18171859"/>
                <a:gd name="connsiteY64" fmla="*/ 6921032 h 15946069"/>
                <a:gd name="connsiteX65" fmla="*/ 477776 w 18171859"/>
                <a:gd name="connsiteY65"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9223982 w 18171859"/>
                <a:gd name="connsiteY42" fmla="*/ 1621761 h 15946069"/>
                <a:gd name="connsiteX43" fmla="*/ 8782678 w 18171859"/>
                <a:gd name="connsiteY43" fmla="*/ 2171586 h 15946069"/>
                <a:gd name="connsiteX44" fmla="*/ 8272645 w 18171859"/>
                <a:gd name="connsiteY44" fmla="*/ 2102856 h 15946069"/>
                <a:gd name="connsiteX45" fmla="*/ 7853048 w 18171859"/>
                <a:gd name="connsiteY45" fmla="*/ 2526075 h 15946069"/>
                <a:gd name="connsiteX46" fmla="*/ 7323799 w 18171859"/>
                <a:gd name="connsiteY46" fmla="*/ 2632907 h 15946069"/>
                <a:gd name="connsiteX47" fmla="*/ 6977672 w 18171859"/>
                <a:gd name="connsiteY47" fmla="*/ 2178817 h 15946069"/>
                <a:gd name="connsiteX48" fmla="*/ 6594245 w 18171859"/>
                <a:gd name="connsiteY48" fmla="*/ 2055834 h 15946069"/>
                <a:gd name="connsiteX49" fmla="*/ 6431470 w 18171859"/>
                <a:gd name="connsiteY49" fmla="*/ 1314295 h 15946069"/>
                <a:gd name="connsiteX50" fmla="*/ 5642908 w 18171859"/>
                <a:gd name="connsiteY50" fmla="*/ 1343233 h 15946069"/>
                <a:gd name="connsiteX51" fmla="*/ 5150959 w 18171859"/>
                <a:gd name="connsiteY51" fmla="*/ 1610907 h 15946069"/>
                <a:gd name="connsiteX52" fmla="*/ 5480133 w 18171859"/>
                <a:gd name="connsiteY52" fmla="*/ 2167963 h 15946069"/>
                <a:gd name="connsiteX53" fmla="*/ 4742216 w 18171859"/>
                <a:gd name="connsiteY53" fmla="*/ 2862495 h 15946069"/>
                <a:gd name="connsiteX54" fmla="*/ 2658667 w 18171859"/>
                <a:gd name="connsiteY54" fmla="*/ 0 h 15946069"/>
                <a:gd name="connsiteX55" fmla="*/ 2658682 w 18171859"/>
                <a:gd name="connsiteY55" fmla="*/ 1018890 h 15946069"/>
                <a:gd name="connsiteX56" fmla="*/ 1850829 w 18171859"/>
                <a:gd name="connsiteY56" fmla="*/ 1730283 h 15946069"/>
                <a:gd name="connsiteX57" fmla="*/ 1404694 w 18171859"/>
                <a:gd name="connsiteY57" fmla="*/ 2272862 h 15946069"/>
                <a:gd name="connsiteX58" fmla="*/ 2351216 w 18171859"/>
                <a:gd name="connsiteY58" fmla="*/ 3388182 h 15946069"/>
                <a:gd name="connsiteX59" fmla="*/ 2658682 w 18171859"/>
                <a:gd name="connsiteY59" fmla="*/ 4286458 h 15946069"/>
                <a:gd name="connsiteX60" fmla="*/ 1935228 w 18171859"/>
                <a:gd name="connsiteY60" fmla="*/ 5220918 h 15946069"/>
                <a:gd name="connsiteX61" fmla="*/ 875281 w 18171859"/>
                <a:gd name="connsiteY61" fmla="*/ 5166646 h 15946069"/>
                <a:gd name="connsiteX62" fmla="*/ 0 w 18171859"/>
                <a:gd name="connsiteY62" fmla="*/ 5890112 h 15946069"/>
                <a:gd name="connsiteX63" fmla="*/ 72345 w 18171859"/>
                <a:gd name="connsiteY63" fmla="*/ 6921032 h 15946069"/>
                <a:gd name="connsiteX64" fmla="*/ 477776 w 18171859"/>
                <a:gd name="connsiteY64"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782678 w 18171859"/>
                <a:gd name="connsiteY42" fmla="*/ 2171586 h 15946069"/>
                <a:gd name="connsiteX43" fmla="*/ 8272645 w 18171859"/>
                <a:gd name="connsiteY43" fmla="*/ 2102856 h 15946069"/>
                <a:gd name="connsiteX44" fmla="*/ 7853048 w 18171859"/>
                <a:gd name="connsiteY44" fmla="*/ 2526075 h 15946069"/>
                <a:gd name="connsiteX45" fmla="*/ 7323799 w 18171859"/>
                <a:gd name="connsiteY45" fmla="*/ 2632907 h 15946069"/>
                <a:gd name="connsiteX46" fmla="*/ 6977672 w 18171859"/>
                <a:gd name="connsiteY46" fmla="*/ 2178817 h 15946069"/>
                <a:gd name="connsiteX47" fmla="*/ 6594245 w 18171859"/>
                <a:gd name="connsiteY47" fmla="*/ 2055834 h 15946069"/>
                <a:gd name="connsiteX48" fmla="*/ 6431470 w 18171859"/>
                <a:gd name="connsiteY48" fmla="*/ 1314295 h 15946069"/>
                <a:gd name="connsiteX49" fmla="*/ 5642908 w 18171859"/>
                <a:gd name="connsiteY49" fmla="*/ 1343233 h 15946069"/>
                <a:gd name="connsiteX50" fmla="*/ 5150959 w 18171859"/>
                <a:gd name="connsiteY50" fmla="*/ 1610907 h 15946069"/>
                <a:gd name="connsiteX51" fmla="*/ 5480133 w 18171859"/>
                <a:gd name="connsiteY51" fmla="*/ 2167963 h 15946069"/>
                <a:gd name="connsiteX52" fmla="*/ 4742216 w 18171859"/>
                <a:gd name="connsiteY52" fmla="*/ 2862495 h 15946069"/>
                <a:gd name="connsiteX53" fmla="*/ 2658667 w 18171859"/>
                <a:gd name="connsiteY53" fmla="*/ 0 h 15946069"/>
                <a:gd name="connsiteX54" fmla="*/ 2658682 w 18171859"/>
                <a:gd name="connsiteY54" fmla="*/ 1018890 h 15946069"/>
                <a:gd name="connsiteX55" fmla="*/ 1850829 w 18171859"/>
                <a:gd name="connsiteY55" fmla="*/ 1730283 h 15946069"/>
                <a:gd name="connsiteX56" fmla="*/ 1404694 w 18171859"/>
                <a:gd name="connsiteY56" fmla="*/ 2272862 h 15946069"/>
                <a:gd name="connsiteX57" fmla="*/ 2351216 w 18171859"/>
                <a:gd name="connsiteY57" fmla="*/ 3388182 h 15946069"/>
                <a:gd name="connsiteX58" fmla="*/ 2658682 w 18171859"/>
                <a:gd name="connsiteY58" fmla="*/ 4286458 h 15946069"/>
                <a:gd name="connsiteX59" fmla="*/ 1935228 w 18171859"/>
                <a:gd name="connsiteY59" fmla="*/ 5220918 h 15946069"/>
                <a:gd name="connsiteX60" fmla="*/ 875281 w 18171859"/>
                <a:gd name="connsiteY60" fmla="*/ 5166646 h 15946069"/>
                <a:gd name="connsiteX61" fmla="*/ 0 w 18171859"/>
                <a:gd name="connsiteY61" fmla="*/ 5890112 h 15946069"/>
                <a:gd name="connsiteX62" fmla="*/ 72345 w 18171859"/>
                <a:gd name="connsiteY62" fmla="*/ 6921032 h 15946069"/>
                <a:gd name="connsiteX63" fmla="*/ 477776 w 18171859"/>
                <a:gd name="connsiteY63"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782678 w 18171859"/>
                <a:gd name="connsiteY42" fmla="*/ 2171586 h 15946069"/>
                <a:gd name="connsiteX43" fmla="*/ 7853048 w 18171859"/>
                <a:gd name="connsiteY43" fmla="*/ 2526075 h 15946069"/>
                <a:gd name="connsiteX44" fmla="*/ 7323799 w 18171859"/>
                <a:gd name="connsiteY44" fmla="*/ 2632907 h 15946069"/>
                <a:gd name="connsiteX45" fmla="*/ 6977672 w 18171859"/>
                <a:gd name="connsiteY45" fmla="*/ 2178817 h 15946069"/>
                <a:gd name="connsiteX46" fmla="*/ 6594245 w 18171859"/>
                <a:gd name="connsiteY46" fmla="*/ 2055834 h 15946069"/>
                <a:gd name="connsiteX47" fmla="*/ 6431470 w 18171859"/>
                <a:gd name="connsiteY47" fmla="*/ 1314295 h 15946069"/>
                <a:gd name="connsiteX48" fmla="*/ 5642908 w 18171859"/>
                <a:gd name="connsiteY48" fmla="*/ 1343233 h 15946069"/>
                <a:gd name="connsiteX49" fmla="*/ 5150959 w 18171859"/>
                <a:gd name="connsiteY49" fmla="*/ 1610907 h 15946069"/>
                <a:gd name="connsiteX50" fmla="*/ 5480133 w 18171859"/>
                <a:gd name="connsiteY50" fmla="*/ 2167963 h 15946069"/>
                <a:gd name="connsiteX51" fmla="*/ 4742216 w 18171859"/>
                <a:gd name="connsiteY51" fmla="*/ 2862495 h 15946069"/>
                <a:gd name="connsiteX52" fmla="*/ 2658667 w 18171859"/>
                <a:gd name="connsiteY52" fmla="*/ 0 h 15946069"/>
                <a:gd name="connsiteX53" fmla="*/ 2658682 w 18171859"/>
                <a:gd name="connsiteY53" fmla="*/ 1018890 h 15946069"/>
                <a:gd name="connsiteX54" fmla="*/ 1850829 w 18171859"/>
                <a:gd name="connsiteY54" fmla="*/ 1730283 h 15946069"/>
                <a:gd name="connsiteX55" fmla="*/ 1404694 w 18171859"/>
                <a:gd name="connsiteY55" fmla="*/ 2272862 h 15946069"/>
                <a:gd name="connsiteX56" fmla="*/ 2351216 w 18171859"/>
                <a:gd name="connsiteY56" fmla="*/ 3388182 h 15946069"/>
                <a:gd name="connsiteX57" fmla="*/ 2658682 w 18171859"/>
                <a:gd name="connsiteY57" fmla="*/ 4286458 h 15946069"/>
                <a:gd name="connsiteX58" fmla="*/ 1935228 w 18171859"/>
                <a:gd name="connsiteY58" fmla="*/ 5220918 h 15946069"/>
                <a:gd name="connsiteX59" fmla="*/ 875281 w 18171859"/>
                <a:gd name="connsiteY59" fmla="*/ 5166646 h 15946069"/>
                <a:gd name="connsiteX60" fmla="*/ 0 w 18171859"/>
                <a:gd name="connsiteY60" fmla="*/ 5890112 h 15946069"/>
                <a:gd name="connsiteX61" fmla="*/ 72345 w 18171859"/>
                <a:gd name="connsiteY61" fmla="*/ 6921032 h 15946069"/>
                <a:gd name="connsiteX62" fmla="*/ 477776 w 18171859"/>
                <a:gd name="connsiteY62"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782678 w 18171859"/>
                <a:gd name="connsiteY42" fmla="*/ 2171586 h 15946069"/>
                <a:gd name="connsiteX43" fmla="*/ 7853048 w 18171859"/>
                <a:gd name="connsiteY43" fmla="*/ 2526075 h 15946069"/>
                <a:gd name="connsiteX44" fmla="*/ 6977672 w 18171859"/>
                <a:gd name="connsiteY44" fmla="*/ 2178817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878357 w 18171859"/>
                <a:gd name="connsiteY42" fmla="*/ 3865809 h 15946069"/>
                <a:gd name="connsiteX43" fmla="*/ 7853048 w 18171859"/>
                <a:gd name="connsiteY43" fmla="*/ 2526075 h 15946069"/>
                <a:gd name="connsiteX44" fmla="*/ 6977672 w 18171859"/>
                <a:gd name="connsiteY44" fmla="*/ 2178817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878357 w 18171859"/>
                <a:gd name="connsiteY42" fmla="*/ 3865809 h 15946069"/>
                <a:gd name="connsiteX43" fmla="*/ 7446446 w 18171859"/>
                <a:gd name="connsiteY43" fmla="*/ 3504429 h 15946069"/>
                <a:gd name="connsiteX44" fmla="*/ 6977672 w 18171859"/>
                <a:gd name="connsiteY44" fmla="*/ 2178817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878357 w 18171859"/>
                <a:gd name="connsiteY42" fmla="*/ 3865809 h 15946069"/>
                <a:gd name="connsiteX43" fmla="*/ 7446446 w 18171859"/>
                <a:gd name="connsiteY43" fmla="*/ 3504429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878357 w 18171859"/>
                <a:gd name="connsiteY42" fmla="*/ 3865809 h 15946069"/>
                <a:gd name="connsiteX43" fmla="*/ 7637793 w 18171859"/>
                <a:gd name="connsiteY43" fmla="*/ 2526072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7706376 w 18171859"/>
                <a:gd name="connsiteY42" fmla="*/ 4987336 h 15946069"/>
                <a:gd name="connsiteX43" fmla="*/ 7637793 w 18171859"/>
                <a:gd name="connsiteY43" fmla="*/ 2526072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112983 w 18171859"/>
                <a:gd name="connsiteY42" fmla="*/ 3770361 h 15946069"/>
                <a:gd name="connsiteX43" fmla="*/ 7637793 w 18171859"/>
                <a:gd name="connsiteY43" fmla="*/ 2526072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10161509 w 18171859"/>
                <a:gd name="connsiteY41" fmla="*/ 5230746 h 15946069"/>
                <a:gd name="connsiteX42" fmla="*/ 8112983 w 18171859"/>
                <a:gd name="connsiteY42" fmla="*/ 3770361 h 15946069"/>
                <a:gd name="connsiteX43" fmla="*/ 7637793 w 18171859"/>
                <a:gd name="connsiteY43" fmla="*/ 2526072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9801570 w 18171859"/>
                <a:gd name="connsiteY40" fmla="*/ 6243641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6859659 w 18171859"/>
                <a:gd name="connsiteY40" fmla="*/ 6315230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6285626 w 18171859"/>
                <a:gd name="connsiteY40" fmla="*/ 5551639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5998609 w 18171859"/>
                <a:gd name="connsiteY40" fmla="*/ 5074389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6309547 w 18171859"/>
                <a:gd name="connsiteY40" fmla="*/ 5647086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6166035 w 18171859"/>
                <a:gd name="connsiteY40" fmla="*/ 540846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9704505 w 18171859"/>
                <a:gd name="connsiteY39" fmla="*/ 7102384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7982404 w 18171859"/>
                <a:gd name="connsiteY39" fmla="*/ 7508044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6017067 w 18171859"/>
                <a:gd name="connsiteY38" fmla="*/ 9931550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0076123 w 18171859"/>
                <a:gd name="connsiteY37" fmla="*/ 8513358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9844788 w 18171859"/>
                <a:gd name="connsiteY36" fmla="*/ 9748760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9366431 w 18171859"/>
                <a:gd name="connsiteY36" fmla="*/ 5930786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8218364 w 18171859"/>
                <a:gd name="connsiteY36" fmla="*/ 7219350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9318595 w 18171859"/>
                <a:gd name="connsiteY36" fmla="*/ 5859197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0639545 w 18171859"/>
                <a:gd name="connsiteY35" fmla="*/ 7482246 h 15946069"/>
                <a:gd name="connsiteX36" fmla="*/ 9318595 w 18171859"/>
                <a:gd name="connsiteY36" fmla="*/ 5859197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0017677 w 18171859"/>
                <a:gd name="connsiteY35" fmla="*/ 5883475 h 15946069"/>
                <a:gd name="connsiteX36" fmla="*/ 9318595 w 18171859"/>
                <a:gd name="connsiteY36" fmla="*/ 5859197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17385711 w 17911411"/>
                <a:gd name="connsiteY33" fmla="*/ 5219213 h 15946069"/>
                <a:gd name="connsiteX34" fmla="*/ 11259549 w 17911411"/>
                <a:gd name="connsiteY34" fmla="*/ 7947227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17385711 w 17911411"/>
                <a:gd name="connsiteY33" fmla="*/ 5219213 h 15946069"/>
                <a:gd name="connsiteX34" fmla="*/ 8628570 w 17911411"/>
                <a:gd name="connsiteY34" fmla="*/ 7994950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17385711 w 17911411"/>
                <a:gd name="connsiteY33" fmla="*/ 5219213 h 15946069"/>
                <a:gd name="connsiteX34" fmla="*/ 10709437 w 17911411"/>
                <a:gd name="connsiteY34" fmla="*/ 6730245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9779785 w 17911411"/>
                <a:gd name="connsiteY33" fmla="*/ 9514428 h 15946069"/>
                <a:gd name="connsiteX34" fmla="*/ 10709437 w 17911411"/>
                <a:gd name="connsiteY34" fmla="*/ 6730245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9301422 w 17911411"/>
                <a:gd name="connsiteY33" fmla="*/ 7486132 h 15946069"/>
                <a:gd name="connsiteX34" fmla="*/ 10709437 w 17911411"/>
                <a:gd name="connsiteY34" fmla="*/ 6730245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10425568 w 17911411"/>
                <a:gd name="connsiteY33" fmla="*/ 7223642 h 15946069"/>
                <a:gd name="connsiteX34" fmla="*/ 10709437 w 17911411"/>
                <a:gd name="connsiteY34" fmla="*/ 6730245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6024409 w 16428338"/>
                <a:gd name="connsiteY31" fmla="*/ 7433474 h 15946069"/>
                <a:gd name="connsiteX32" fmla="*/ 10161984 w 16428338"/>
                <a:gd name="connsiteY32" fmla="*/ 8636304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6024409 w 16428338"/>
                <a:gd name="connsiteY31" fmla="*/ 7433474 h 15946069"/>
                <a:gd name="connsiteX32" fmla="*/ 11118705 w 16428338"/>
                <a:gd name="connsiteY32" fmla="*/ 7156845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1886591 w 16428338"/>
                <a:gd name="connsiteY31" fmla="*/ 8912940 h 15946069"/>
                <a:gd name="connsiteX32" fmla="*/ 11118705 w 16428338"/>
                <a:gd name="connsiteY32" fmla="*/ 7156845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0451507 w 16428338"/>
                <a:gd name="connsiteY31" fmla="*/ 8889075 h 15946069"/>
                <a:gd name="connsiteX32" fmla="*/ 11118705 w 16428338"/>
                <a:gd name="connsiteY32" fmla="*/ 7156845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2149687 w 16428338"/>
                <a:gd name="connsiteY31" fmla="*/ 8101619 h 15946069"/>
                <a:gd name="connsiteX32" fmla="*/ 11118705 w 16428338"/>
                <a:gd name="connsiteY32" fmla="*/ 7156845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13202"/>
                <a:gd name="connsiteY0" fmla="*/ 7436569 h 15946069"/>
                <a:gd name="connsiteX1" fmla="*/ 271294 w 16413202"/>
                <a:gd name="connsiteY1" fmla="*/ 8060457 h 15946069"/>
                <a:gd name="connsiteX2" fmla="*/ 379812 w 16413202"/>
                <a:gd name="connsiteY2" fmla="*/ 8675382 h 15946069"/>
                <a:gd name="connsiteX3" fmla="*/ 759624 w 16413202"/>
                <a:gd name="connsiteY3" fmla="*/ 9217969 h 15946069"/>
                <a:gd name="connsiteX4" fmla="*/ 687278 w 16413202"/>
                <a:gd name="connsiteY4" fmla="*/ 9670126 h 15946069"/>
                <a:gd name="connsiteX5" fmla="*/ 144687 w 16413202"/>
                <a:gd name="connsiteY5" fmla="*/ 9941420 h 15946069"/>
                <a:gd name="connsiteX6" fmla="*/ 343643 w 16413202"/>
                <a:gd name="connsiteY6" fmla="*/ 10592536 h 15946069"/>
                <a:gd name="connsiteX7" fmla="*/ 940487 w 16413202"/>
                <a:gd name="connsiteY7" fmla="*/ 10954252 h 15946069"/>
                <a:gd name="connsiteX8" fmla="*/ 596844 w 16413202"/>
                <a:gd name="connsiteY8" fmla="*/ 11786221 h 15946069"/>
                <a:gd name="connsiteX9" fmla="*/ 633017 w 16413202"/>
                <a:gd name="connsiteY9" fmla="*/ 12780969 h 15946069"/>
                <a:gd name="connsiteX10" fmla="*/ 198944 w 16413202"/>
                <a:gd name="connsiteY10" fmla="*/ 13341645 h 15946069"/>
                <a:gd name="connsiteX11" fmla="*/ 723451 w 16413202"/>
                <a:gd name="connsiteY11" fmla="*/ 13757629 h 15946069"/>
                <a:gd name="connsiteX12" fmla="*/ 1640036 w 16413202"/>
                <a:gd name="connsiteY12" fmla="*/ 13197151 h 15946069"/>
                <a:gd name="connsiteX13" fmla="*/ 1880971 w 16413202"/>
                <a:gd name="connsiteY13" fmla="*/ 13395906 h 15946069"/>
                <a:gd name="connsiteX14" fmla="*/ 2930086 w 16413202"/>
                <a:gd name="connsiteY14" fmla="*/ 12952832 h 15946069"/>
                <a:gd name="connsiteX15" fmla="*/ 3828256 w 16413202"/>
                <a:gd name="connsiteY15" fmla="*/ 13245188 h 15946069"/>
                <a:gd name="connsiteX16" fmla="*/ 4768739 w 16413202"/>
                <a:gd name="connsiteY16" fmla="*/ 13040205 h 15946069"/>
                <a:gd name="connsiteX17" fmla="*/ 5190751 w 16413202"/>
                <a:gd name="connsiteY17" fmla="*/ 13649115 h 15946069"/>
                <a:gd name="connsiteX18" fmla="*/ 5932290 w 16413202"/>
                <a:gd name="connsiteY18" fmla="*/ 13444132 h 15946069"/>
                <a:gd name="connsiteX19" fmla="*/ 6498992 w 16413202"/>
                <a:gd name="connsiteY19" fmla="*/ 12991975 h 15946069"/>
                <a:gd name="connsiteX20" fmla="*/ 7373161 w 16413202"/>
                <a:gd name="connsiteY20" fmla="*/ 13582800 h 15946069"/>
                <a:gd name="connsiteX21" fmla="*/ 8512588 w 16413202"/>
                <a:gd name="connsiteY21" fmla="*/ 13570738 h 15946069"/>
                <a:gd name="connsiteX22" fmla="*/ 9742454 w 16413202"/>
                <a:gd name="connsiteY22" fmla="*/ 14004811 h 15946069"/>
                <a:gd name="connsiteX23" fmla="*/ 10616683 w 16413202"/>
                <a:gd name="connsiteY23" fmla="*/ 15358294 h 15946069"/>
                <a:gd name="connsiteX24" fmla="*/ 11117010 w 16413202"/>
                <a:gd name="connsiteY24" fmla="*/ 15946069 h 15946069"/>
                <a:gd name="connsiteX25" fmla="*/ 11780218 w 16413202"/>
                <a:gd name="connsiteY25" fmla="*/ 13579811 h 15946069"/>
                <a:gd name="connsiteX26" fmla="*/ 12196146 w 16413202"/>
                <a:gd name="connsiteY26" fmla="*/ 11388328 h 15946069"/>
                <a:gd name="connsiteX27" fmla="*/ 14004775 w 16413202"/>
                <a:gd name="connsiteY27" fmla="*/ 11611395 h 15946069"/>
                <a:gd name="connsiteX28" fmla="*/ 15409477 w 16413202"/>
                <a:gd name="connsiteY28" fmla="*/ 11882693 h 15946069"/>
                <a:gd name="connsiteX29" fmla="*/ 16413199 w 16413202"/>
                <a:gd name="connsiteY29" fmla="*/ 10920339 h 15946069"/>
                <a:gd name="connsiteX30" fmla="*/ 10305329 w 16413202"/>
                <a:gd name="connsiteY30" fmla="*/ 10066739 h 15946069"/>
                <a:gd name="connsiteX31" fmla="*/ 12149687 w 16413202"/>
                <a:gd name="connsiteY31" fmla="*/ 8101619 h 15946069"/>
                <a:gd name="connsiteX32" fmla="*/ 11118705 w 16413202"/>
                <a:gd name="connsiteY32" fmla="*/ 7156845 h 15946069"/>
                <a:gd name="connsiteX33" fmla="*/ 10425568 w 16413202"/>
                <a:gd name="connsiteY33" fmla="*/ 7223642 h 15946069"/>
                <a:gd name="connsiteX34" fmla="*/ 10709437 w 16413202"/>
                <a:gd name="connsiteY34" fmla="*/ 6730245 h 15946069"/>
                <a:gd name="connsiteX35" fmla="*/ 10017677 w 16413202"/>
                <a:gd name="connsiteY35" fmla="*/ 5883475 h 15946069"/>
                <a:gd name="connsiteX36" fmla="*/ 9318595 w 16413202"/>
                <a:gd name="connsiteY36" fmla="*/ 5859197 h 15946069"/>
                <a:gd name="connsiteX37" fmla="*/ 9215073 w 16413202"/>
                <a:gd name="connsiteY37" fmla="*/ 5387392 h 15946069"/>
                <a:gd name="connsiteX38" fmla="*/ 8600211 w 16413202"/>
                <a:gd name="connsiteY38" fmla="*/ 5564744 h 15946069"/>
                <a:gd name="connsiteX39" fmla="*/ 8412926 w 16413202"/>
                <a:gd name="connsiteY39" fmla="*/ 4835463 h 15946069"/>
                <a:gd name="connsiteX40" fmla="*/ 7744624 w 16413202"/>
                <a:gd name="connsiteY40" fmla="*/ 4382387 h 15946069"/>
                <a:gd name="connsiteX41" fmla="*/ 8112983 w 16413202"/>
                <a:gd name="connsiteY41" fmla="*/ 3770361 h 15946069"/>
                <a:gd name="connsiteX42" fmla="*/ 7637793 w 16413202"/>
                <a:gd name="connsiteY42" fmla="*/ 2526072 h 15946069"/>
                <a:gd name="connsiteX43" fmla="*/ 7264687 w 16413202"/>
                <a:gd name="connsiteY43" fmla="*/ 2131091 h 15946069"/>
                <a:gd name="connsiteX44" fmla="*/ 6594245 w 16413202"/>
                <a:gd name="connsiteY44" fmla="*/ 2055834 h 15946069"/>
                <a:gd name="connsiteX45" fmla="*/ 6431470 w 16413202"/>
                <a:gd name="connsiteY45" fmla="*/ 1314295 h 15946069"/>
                <a:gd name="connsiteX46" fmla="*/ 5642908 w 16413202"/>
                <a:gd name="connsiteY46" fmla="*/ 1343233 h 15946069"/>
                <a:gd name="connsiteX47" fmla="*/ 5150959 w 16413202"/>
                <a:gd name="connsiteY47" fmla="*/ 1610907 h 15946069"/>
                <a:gd name="connsiteX48" fmla="*/ 5480133 w 16413202"/>
                <a:gd name="connsiteY48" fmla="*/ 2167963 h 15946069"/>
                <a:gd name="connsiteX49" fmla="*/ 4742216 w 16413202"/>
                <a:gd name="connsiteY49" fmla="*/ 2862495 h 15946069"/>
                <a:gd name="connsiteX50" fmla="*/ 2658667 w 16413202"/>
                <a:gd name="connsiteY50" fmla="*/ 0 h 15946069"/>
                <a:gd name="connsiteX51" fmla="*/ 2658682 w 16413202"/>
                <a:gd name="connsiteY51" fmla="*/ 1018890 h 15946069"/>
                <a:gd name="connsiteX52" fmla="*/ 1850829 w 16413202"/>
                <a:gd name="connsiteY52" fmla="*/ 1730283 h 15946069"/>
                <a:gd name="connsiteX53" fmla="*/ 1404694 w 16413202"/>
                <a:gd name="connsiteY53" fmla="*/ 2272862 h 15946069"/>
                <a:gd name="connsiteX54" fmla="*/ 2351216 w 16413202"/>
                <a:gd name="connsiteY54" fmla="*/ 3388182 h 15946069"/>
                <a:gd name="connsiteX55" fmla="*/ 2658682 w 16413202"/>
                <a:gd name="connsiteY55" fmla="*/ 4286458 h 15946069"/>
                <a:gd name="connsiteX56" fmla="*/ 1935228 w 16413202"/>
                <a:gd name="connsiteY56" fmla="*/ 5220918 h 15946069"/>
                <a:gd name="connsiteX57" fmla="*/ 875281 w 16413202"/>
                <a:gd name="connsiteY57" fmla="*/ 5166646 h 15946069"/>
                <a:gd name="connsiteX58" fmla="*/ 0 w 16413202"/>
                <a:gd name="connsiteY58" fmla="*/ 5890112 h 15946069"/>
                <a:gd name="connsiteX59" fmla="*/ 72345 w 16413202"/>
                <a:gd name="connsiteY59" fmla="*/ 6921032 h 15946069"/>
                <a:gd name="connsiteX60" fmla="*/ 477776 w 16413202"/>
                <a:gd name="connsiteY60" fmla="*/ 7436569 h 15946069"/>
                <a:gd name="connsiteX0" fmla="*/ 477776 w 16413202"/>
                <a:gd name="connsiteY0" fmla="*/ 7436569 h 15946069"/>
                <a:gd name="connsiteX1" fmla="*/ 271294 w 16413202"/>
                <a:gd name="connsiteY1" fmla="*/ 8060457 h 15946069"/>
                <a:gd name="connsiteX2" fmla="*/ 379812 w 16413202"/>
                <a:gd name="connsiteY2" fmla="*/ 8675382 h 15946069"/>
                <a:gd name="connsiteX3" fmla="*/ 759624 w 16413202"/>
                <a:gd name="connsiteY3" fmla="*/ 9217969 h 15946069"/>
                <a:gd name="connsiteX4" fmla="*/ 687278 w 16413202"/>
                <a:gd name="connsiteY4" fmla="*/ 9670126 h 15946069"/>
                <a:gd name="connsiteX5" fmla="*/ 144687 w 16413202"/>
                <a:gd name="connsiteY5" fmla="*/ 9941420 h 15946069"/>
                <a:gd name="connsiteX6" fmla="*/ 343643 w 16413202"/>
                <a:gd name="connsiteY6" fmla="*/ 10592536 h 15946069"/>
                <a:gd name="connsiteX7" fmla="*/ 940487 w 16413202"/>
                <a:gd name="connsiteY7" fmla="*/ 10954252 h 15946069"/>
                <a:gd name="connsiteX8" fmla="*/ 596844 w 16413202"/>
                <a:gd name="connsiteY8" fmla="*/ 11786221 h 15946069"/>
                <a:gd name="connsiteX9" fmla="*/ 633017 w 16413202"/>
                <a:gd name="connsiteY9" fmla="*/ 12780969 h 15946069"/>
                <a:gd name="connsiteX10" fmla="*/ 198944 w 16413202"/>
                <a:gd name="connsiteY10" fmla="*/ 13341645 h 15946069"/>
                <a:gd name="connsiteX11" fmla="*/ 723451 w 16413202"/>
                <a:gd name="connsiteY11" fmla="*/ 13757629 h 15946069"/>
                <a:gd name="connsiteX12" fmla="*/ 1640036 w 16413202"/>
                <a:gd name="connsiteY12" fmla="*/ 13197151 h 15946069"/>
                <a:gd name="connsiteX13" fmla="*/ 1880971 w 16413202"/>
                <a:gd name="connsiteY13" fmla="*/ 13395906 h 15946069"/>
                <a:gd name="connsiteX14" fmla="*/ 2930086 w 16413202"/>
                <a:gd name="connsiteY14" fmla="*/ 12952832 h 15946069"/>
                <a:gd name="connsiteX15" fmla="*/ 3828256 w 16413202"/>
                <a:gd name="connsiteY15" fmla="*/ 13245188 h 15946069"/>
                <a:gd name="connsiteX16" fmla="*/ 4768739 w 16413202"/>
                <a:gd name="connsiteY16" fmla="*/ 13040205 h 15946069"/>
                <a:gd name="connsiteX17" fmla="*/ 5190751 w 16413202"/>
                <a:gd name="connsiteY17" fmla="*/ 13649115 h 15946069"/>
                <a:gd name="connsiteX18" fmla="*/ 5932290 w 16413202"/>
                <a:gd name="connsiteY18" fmla="*/ 13444132 h 15946069"/>
                <a:gd name="connsiteX19" fmla="*/ 6498992 w 16413202"/>
                <a:gd name="connsiteY19" fmla="*/ 12991975 h 15946069"/>
                <a:gd name="connsiteX20" fmla="*/ 7373161 w 16413202"/>
                <a:gd name="connsiteY20" fmla="*/ 13582800 h 15946069"/>
                <a:gd name="connsiteX21" fmla="*/ 8512588 w 16413202"/>
                <a:gd name="connsiteY21" fmla="*/ 13570738 h 15946069"/>
                <a:gd name="connsiteX22" fmla="*/ 9742454 w 16413202"/>
                <a:gd name="connsiteY22" fmla="*/ 14004811 h 15946069"/>
                <a:gd name="connsiteX23" fmla="*/ 10616683 w 16413202"/>
                <a:gd name="connsiteY23" fmla="*/ 15358294 h 15946069"/>
                <a:gd name="connsiteX24" fmla="*/ 11117010 w 16413202"/>
                <a:gd name="connsiteY24" fmla="*/ 15946069 h 15946069"/>
                <a:gd name="connsiteX25" fmla="*/ 11780218 w 16413202"/>
                <a:gd name="connsiteY25" fmla="*/ 13579811 h 15946069"/>
                <a:gd name="connsiteX26" fmla="*/ 12196146 w 16413202"/>
                <a:gd name="connsiteY26" fmla="*/ 11388328 h 15946069"/>
                <a:gd name="connsiteX27" fmla="*/ 14004775 w 16413202"/>
                <a:gd name="connsiteY27" fmla="*/ 11611395 h 15946069"/>
                <a:gd name="connsiteX28" fmla="*/ 15409477 w 16413202"/>
                <a:gd name="connsiteY28" fmla="*/ 11882693 h 15946069"/>
                <a:gd name="connsiteX29" fmla="*/ 16413199 w 16413202"/>
                <a:gd name="connsiteY29" fmla="*/ 10920339 h 15946069"/>
                <a:gd name="connsiteX30" fmla="*/ 9276853 w 16413202"/>
                <a:gd name="connsiteY30" fmla="*/ 9446319 h 15946069"/>
                <a:gd name="connsiteX31" fmla="*/ 12149687 w 16413202"/>
                <a:gd name="connsiteY31" fmla="*/ 8101619 h 15946069"/>
                <a:gd name="connsiteX32" fmla="*/ 11118705 w 16413202"/>
                <a:gd name="connsiteY32" fmla="*/ 7156845 h 15946069"/>
                <a:gd name="connsiteX33" fmla="*/ 10425568 w 16413202"/>
                <a:gd name="connsiteY33" fmla="*/ 7223642 h 15946069"/>
                <a:gd name="connsiteX34" fmla="*/ 10709437 w 16413202"/>
                <a:gd name="connsiteY34" fmla="*/ 6730245 h 15946069"/>
                <a:gd name="connsiteX35" fmla="*/ 10017677 w 16413202"/>
                <a:gd name="connsiteY35" fmla="*/ 5883475 h 15946069"/>
                <a:gd name="connsiteX36" fmla="*/ 9318595 w 16413202"/>
                <a:gd name="connsiteY36" fmla="*/ 5859197 h 15946069"/>
                <a:gd name="connsiteX37" fmla="*/ 9215073 w 16413202"/>
                <a:gd name="connsiteY37" fmla="*/ 5387392 h 15946069"/>
                <a:gd name="connsiteX38" fmla="*/ 8600211 w 16413202"/>
                <a:gd name="connsiteY38" fmla="*/ 5564744 h 15946069"/>
                <a:gd name="connsiteX39" fmla="*/ 8412926 w 16413202"/>
                <a:gd name="connsiteY39" fmla="*/ 4835463 h 15946069"/>
                <a:gd name="connsiteX40" fmla="*/ 7744624 w 16413202"/>
                <a:gd name="connsiteY40" fmla="*/ 4382387 h 15946069"/>
                <a:gd name="connsiteX41" fmla="*/ 8112983 w 16413202"/>
                <a:gd name="connsiteY41" fmla="*/ 3770361 h 15946069"/>
                <a:gd name="connsiteX42" fmla="*/ 7637793 w 16413202"/>
                <a:gd name="connsiteY42" fmla="*/ 2526072 h 15946069"/>
                <a:gd name="connsiteX43" fmla="*/ 7264687 w 16413202"/>
                <a:gd name="connsiteY43" fmla="*/ 2131091 h 15946069"/>
                <a:gd name="connsiteX44" fmla="*/ 6594245 w 16413202"/>
                <a:gd name="connsiteY44" fmla="*/ 2055834 h 15946069"/>
                <a:gd name="connsiteX45" fmla="*/ 6431470 w 16413202"/>
                <a:gd name="connsiteY45" fmla="*/ 1314295 h 15946069"/>
                <a:gd name="connsiteX46" fmla="*/ 5642908 w 16413202"/>
                <a:gd name="connsiteY46" fmla="*/ 1343233 h 15946069"/>
                <a:gd name="connsiteX47" fmla="*/ 5150959 w 16413202"/>
                <a:gd name="connsiteY47" fmla="*/ 1610907 h 15946069"/>
                <a:gd name="connsiteX48" fmla="*/ 5480133 w 16413202"/>
                <a:gd name="connsiteY48" fmla="*/ 2167963 h 15946069"/>
                <a:gd name="connsiteX49" fmla="*/ 4742216 w 16413202"/>
                <a:gd name="connsiteY49" fmla="*/ 2862495 h 15946069"/>
                <a:gd name="connsiteX50" fmla="*/ 2658667 w 16413202"/>
                <a:gd name="connsiteY50" fmla="*/ 0 h 15946069"/>
                <a:gd name="connsiteX51" fmla="*/ 2658682 w 16413202"/>
                <a:gd name="connsiteY51" fmla="*/ 1018890 h 15946069"/>
                <a:gd name="connsiteX52" fmla="*/ 1850829 w 16413202"/>
                <a:gd name="connsiteY52" fmla="*/ 1730283 h 15946069"/>
                <a:gd name="connsiteX53" fmla="*/ 1404694 w 16413202"/>
                <a:gd name="connsiteY53" fmla="*/ 2272862 h 15946069"/>
                <a:gd name="connsiteX54" fmla="*/ 2351216 w 16413202"/>
                <a:gd name="connsiteY54" fmla="*/ 3388182 h 15946069"/>
                <a:gd name="connsiteX55" fmla="*/ 2658682 w 16413202"/>
                <a:gd name="connsiteY55" fmla="*/ 4286458 h 15946069"/>
                <a:gd name="connsiteX56" fmla="*/ 1935228 w 16413202"/>
                <a:gd name="connsiteY56" fmla="*/ 5220918 h 15946069"/>
                <a:gd name="connsiteX57" fmla="*/ 875281 w 16413202"/>
                <a:gd name="connsiteY57" fmla="*/ 5166646 h 15946069"/>
                <a:gd name="connsiteX58" fmla="*/ 0 w 16413202"/>
                <a:gd name="connsiteY58" fmla="*/ 5890112 h 15946069"/>
                <a:gd name="connsiteX59" fmla="*/ 72345 w 16413202"/>
                <a:gd name="connsiteY59" fmla="*/ 6921032 h 15946069"/>
                <a:gd name="connsiteX60" fmla="*/ 477776 w 16413202"/>
                <a:gd name="connsiteY60" fmla="*/ 7436569 h 15946069"/>
                <a:gd name="connsiteX0" fmla="*/ 477776 w 16413202"/>
                <a:gd name="connsiteY0" fmla="*/ 7436569 h 15946069"/>
                <a:gd name="connsiteX1" fmla="*/ 271294 w 16413202"/>
                <a:gd name="connsiteY1" fmla="*/ 8060457 h 15946069"/>
                <a:gd name="connsiteX2" fmla="*/ 379812 w 16413202"/>
                <a:gd name="connsiteY2" fmla="*/ 8675382 h 15946069"/>
                <a:gd name="connsiteX3" fmla="*/ 759624 w 16413202"/>
                <a:gd name="connsiteY3" fmla="*/ 9217969 h 15946069"/>
                <a:gd name="connsiteX4" fmla="*/ 687278 w 16413202"/>
                <a:gd name="connsiteY4" fmla="*/ 9670126 h 15946069"/>
                <a:gd name="connsiteX5" fmla="*/ 144687 w 16413202"/>
                <a:gd name="connsiteY5" fmla="*/ 9941420 h 15946069"/>
                <a:gd name="connsiteX6" fmla="*/ 343643 w 16413202"/>
                <a:gd name="connsiteY6" fmla="*/ 10592536 h 15946069"/>
                <a:gd name="connsiteX7" fmla="*/ 940487 w 16413202"/>
                <a:gd name="connsiteY7" fmla="*/ 10954252 h 15946069"/>
                <a:gd name="connsiteX8" fmla="*/ 596844 w 16413202"/>
                <a:gd name="connsiteY8" fmla="*/ 11786221 h 15946069"/>
                <a:gd name="connsiteX9" fmla="*/ 633017 w 16413202"/>
                <a:gd name="connsiteY9" fmla="*/ 12780969 h 15946069"/>
                <a:gd name="connsiteX10" fmla="*/ 198944 w 16413202"/>
                <a:gd name="connsiteY10" fmla="*/ 13341645 h 15946069"/>
                <a:gd name="connsiteX11" fmla="*/ 723451 w 16413202"/>
                <a:gd name="connsiteY11" fmla="*/ 13757629 h 15946069"/>
                <a:gd name="connsiteX12" fmla="*/ 1640036 w 16413202"/>
                <a:gd name="connsiteY12" fmla="*/ 13197151 h 15946069"/>
                <a:gd name="connsiteX13" fmla="*/ 1880971 w 16413202"/>
                <a:gd name="connsiteY13" fmla="*/ 13395906 h 15946069"/>
                <a:gd name="connsiteX14" fmla="*/ 2930086 w 16413202"/>
                <a:gd name="connsiteY14" fmla="*/ 12952832 h 15946069"/>
                <a:gd name="connsiteX15" fmla="*/ 3828256 w 16413202"/>
                <a:gd name="connsiteY15" fmla="*/ 13245188 h 15946069"/>
                <a:gd name="connsiteX16" fmla="*/ 4768739 w 16413202"/>
                <a:gd name="connsiteY16" fmla="*/ 13040205 h 15946069"/>
                <a:gd name="connsiteX17" fmla="*/ 5190751 w 16413202"/>
                <a:gd name="connsiteY17" fmla="*/ 13649115 h 15946069"/>
                <a:gd name="connsiteX18" fmla="*/ 5932290 w 16413202"/>
                <a:gd name="connsiteY18" fmla="*/ 13444132 h 15946069"/>
                <a:gd name="connsiteX19" fmla="*/ 6498992 w 16413202"/>
                <a:gd name="connsiteY19" fmla="*/ 12991975 h 15946069"/>
                <a:gd name="connsiteX20" fmla="*/ 7373161 w 16413202"/>
                <a:gd name="connsiteY20" fmla="*/ 13582800 h 15946069"/>
                <a:gd name="connsiteX21" fmla="*/ 8512588 w 16413202"/>
                <a:gd name="connsiteY21" fmla="*/ 13570738 h 15946069"/>
                <a:gd name="connsiteX22" fmla="*/ 9742454 w 16413202"/>
                <a:gd name="connsiteY22" fmla="*/ 14004811 h 15946069"/>
                <a:gd name="connsiteX23" fmla="*/ 10616683 w 16413202"/>
                <a:gd name="connsiteY23" fmla="*/ 15358294 h 15946069"/>
                <a:gd name="connsiteX24" fmla="*/ 11117010 w 16413202"/>
                <a:gd name="connsiteY24" fmla="*/ 15946069 h 15946069"/>
                <a:gd name="connsiteX25" fmla="*/ 11780218 w 16413202"/>
                <a:gd name="connsiteY25" fmla="*/ 13579811 h 15946069"/>
                <a:gd name="connsiteX26" fmla="*/ 12196146 w 16413202"/>
                <a:gd name="connsiteY26" fmla="*/ 11388328 h 15946069"/>
                <a:gd name="connsiteX27" fmla="*/ 14004775 w 16413202"/>
                <a:gd name="connsiteY27" fmla="*/ 11611395 h 15946069"/>
                <a:gd name="connsiteX28" fmla="*/ 15409477 w 16413202"/>
                <a:gd name="connsiteY28" fmla="*/ 11882693 h 15946069"/>
                <a:gd name="connsiteX29" fmla="*/ 16413199 w 16413202"/>
                <a:gd name="connsiteY29" fmla="*/ 10920339 h 15946069"/>
                <a:gd name="connsiteX30" fmla="*/ 11668657 w 16413202"/>
                <a:gd name="connsiteY30" fmla="*/ 8754316 h 15946069"/>
                <a:gd name="connsiteX31" fmla="*/ 12149687 w 16413202"/>
                <a:gd name="connsiteY31" fmla="*/ 8101619 h 15946069"/>
                <a:gd name="connsiteX32" fmla="*/ 11118705 w 16413202"/>
                <a:gd name="connsiteY32" fmla="*/ 7156845 h 15946069"/>
                <a:gd name="connsiteX33" fmla="*/ 10425568 w 16413202"/>
                <a:gd name="connsiteY33" fmla="*/ 7223642 h 15946069"/>
                <a:gd name="connsiteX34" fmla="*/ 10709437 w 16413202"/>
                <a:gd name="connsiteY34" fmla="*/ 6730245 h 15946069"/>
                <a:gd name="connsiteX35" fmla="*/ 10017677 w 16413202"/>
                <a:gd name="connsiteY35" fmla="*/ 5883475 h 15946069"/>
                <a:gd name="connsiteX36" fmla="*/ 9318595 w 16413202"/>
                <a:gd name="connsiteY36" fmla="*/ 5859197 h 15946069"/>
                <a:gd name="connsiteX37" fmla="*/ 9215073 w 16413202"/>
                <a:gd name="connsiteY37" fmla="*/ 5387392 h 15946069"/>
                <a:gd name="connsiteX38" fmla="*/ 8600211 w 16413202"/>
                <a:gd name="connsiteY38" fmla="*/ 5564744 h 15946069"/>
                <a:gd name="connsiteX39" fmla="*/ 8412926 w 16413202"/>
                <a:gd name="connsiteY39" fmla="*/ 4835463 h 15946069"/>
                <a:gd name="connsiteX40" fmla="*/ 7744624 w 16413202"/>
                <a:gd name="connsiteY40" fmla="*/ 4382387 h 15946069"/>
                <a:gd name="connsiteX41" fmla="*/ 8112983 w 16413202"/>
                <a:gd name="connsiteY41" fmla="*/ 3770361 h 15946069"/>
                <a:gd name="connsiteX42" fmla="*/ 7637793 w 16413202"/>
                <a:gd name="connsiteY42" fmla="*/ 2526072 h 15946069"/>
                <a:gd name="connsiteX43" fmla="*/ 7264687 w 16413202"/>
                <a:gd name="connsiteY43" fmla="*/ 2131091 h 15946069"/>
                <a:gd name="connsiteX44" fmla="*/ 6594245 w 16413202"/>
                <a:gd name="connsiteY44" fmla="*/ 2055834 h 15946069"/>
                <a:gd name="connsiteX45" fmla="*/ 6431470 w 16413202"/>
                <a:gd name="connsiteY45" fmla="*/ 1314295 h 15946069"/>
                <a:gd name="connsiteX46" fmla="*/ 5642908 w 16413202"/>
                <a:gd name="connsiteY46" fmla="*/ 1343233 h 15946069"/>
                <a:gd name="connsiteX47" fmla="*/ 5150959 w 16413202"/>
                <a:gd name="connsiteY47" fmla="*/ 1610907 h 15946069"/>
                <a:gd name="connsiteX48" fmla="*/ 5480133 w 16413202"/>
                <a:gd name="connsiteY48" fmla="*/ 2167963 h 15946069"/>
                <a:gd name="connsiteX49" fmla="*/ 4742216 w 16413202"/>
                <a:gd name="connsiteY49" fmla="*/ 2862495 h 15946069"/>
                <a:gd name="connsiteX50" fmla="*/ 2658667 w 16413202"/>
                <a:gd name="connsiteY50" fmla="*/ 0 h 15946069"/>
                <a:gd name="connsiteX51" fmla="*/ 2658682 w 16413202"/>
                <a:gd name="connsiteY51" fmla="*/ 1018890 h 15946069"/>
                <a:gd name="connsiteX52" fmla="*/ 1850829 w 16413202"/>
                <a:gd name="connsiteY52" fmla="*/ 1730283 h 15946069"/>
                <a:gd name="connsiteX53" fmla="*/ 1404694 w 16413202"/>
                <a:gd name="connsiteY53" fmla="*/ 2272862 h 15946069"/>
                <a:gd name="connsiteX54" fmla="*/ 2351216 w 16413202"/>
                <a:gd name="connsiteY54" fmla="*/ 3388182 h 15946069"/>
                <a:gd name="connsiteX55" fmla="*/ 2658682 w 16413202"/>
                <a:gd name="connsiteY55" fmla="*/ 4286458 h 15946069"/>
                <a:gd name="connsiteX56" fmla="*/ 1935228 w 16413202"/>
                <a:gd name="connsiteY56" fmla="*/ 5220918 h 15946069"/>
                <a:gd name="connsiteX57" fmla="*/ 875281 w 16413202"/>
                <a:gd name="connsiteY57" fmla="*/ 5166646 h 15946069"/>
                <a:gd name="connsiteX58" fmla="*/ 0 w 16413202"/>
                <a:gd name="connsiteY58" fmla="*/ 5890112 h 15946069"/>
                <a:gd name="connsiteX59" fmla="*/ 72345 w 16413202"/>
                <a:gd name="connsiteY59" fmla="*/ 6921032 h 15946069"/>
                <a:gd name="connsiteX60" fmla="*/ 477776 w 16413202"/>
                <a:gd name="connsiteY60" fmla="*/ 7436569 h 15946069"/>
                <a:gd name="connsiteX0" fmla="*/ 477776 w 15409480"/>
                <a:gd name="connsiteY0" fmla="*/ 7436569 h 15946069"/>
                <a:gd name="connsiteX1" fmla="*/ 271294 w 15409480"/>
                <a:gd name="connsiteY1" fmla="*/ 8060457 h 15946069"/>
                <a:gd name="connsiteX2" fmla="*/ 379812 w 15409480"/>
                <a:gd name="connsiteY2" fmla="*/ 8675382 h 15946069"/>
                <a:gd name="connsiteX3" fmla="*/ 759624 w 15409480"/>
                <a:gd name="connsiteY3" fmla="*/ 9217969 h 15946069"/>
                <a:gd name="connsiteX4" fmla="*/ 687278 w 15409480"/>
                <a:gd name="connsiteY4" fmla="*/ 9670126 h 15946069"/>
                <a:gd name="connsiteX5" fmla="*/ 144687 w 15409480"/>
                <a:gd name="connsiteY5" fmla="*/ 9941420 h 15946069"/>
                <a:gd name="connsiteX6" fmla="*/ 343643 w 15409480"/>
                <a:gd name="connsiteY6" fmla="*/ 10592536 h 15946069"/>
                <a:gd name="connsiteX7" fmla="*/ 940487 w 15409480"/>
                <a:gd name="connsiteY7" fmla="*/ 10954252 h 15946069"/>
                <a:gd name="connsiteX8" fmla="*/ 596844 w 15409480"/>
                <a:gd name="connsiteY8" fmla="*/ 11786221 h 15946069"/>
                <a:gd name="connsiteX9" fmla="*/ 633017 w 15409480"/>
                <a:gd name="connsiteY9" fmla="*/ 12780969 h 15946069"/>
                <a:gd name="connsiteX10" fmla="*/ 198944 w 15409480"/>
                <a:gd name="connsiteY10" fmla="*/ 13341645 h 15946069"/>
                <a:gd name="connsiteX11" fmla="*/ 723451 w 15409480"/>
                <a:gd name="connsiteY11" fmla="*/ 13757629 h 15946069"/>
                <a:gd name="connsiteX12" fmla="*/ 1640036 w 15409480"/>
                <a:gd name="connsiteY12" fmla="*/ 13197151 h 15946069"/>
                <a:gd name="connsiteX13" fmla="*/ 1880971 w 15409480"/>
                <a:gd name="connsiteY13" fmla="*/ 13395906 h 15946069"/>
                <a:gd name="connsiteX14" fmla="*/ 2930086 w 15409480"/>
                <a:gd name="connsiteY14" fmla="*/ 12952832 h 15946069"/>
                <a:gd name="connsiteX15" fmla="*/ 3828256 w 15409480"/>
                <a:gd name="connsiteY15" fmla="*/ 13245188 h 15946069"/>
                <a:gd name="connsiteX16" fmla="*/ 4768739 w 15409480"/>
                <a:gd name="connsiteY16" fmla="*/ 13040205 h 15946069"/>
                <a:gd name="connsiteX17" fmla="*/ 5190751 w 15409480"/>
                <a:gd name="connsiteY17" fmla="*/ 13649115 h 15946069"/>
                <a:gd name="connsiteX18" fmla="*/ 5932290 w 15409480"/>
                <a:gd name="connsiteY18" fmla="*/ 13444132 h 15946069"/>
                <a:gd name="connsiteX19" fmla="*/ 6498992 w 15409480"/>
                <a:gd name="connsiteY19" fmla="*/ 12991975 h 15946069"/>
                <a:gd name="connsiteX20" fmla="*/ 7373161 w 15409480"/>
                <a:gd name="connsiteY20" fmla="*/ 13582800 h 15946069"/>
                <a:gd name="connsiteX21" fmla="*/ 8512588 w 15409480"/>
                <a:gd name="connsiteY21" fmla="*/ 13570738 h 15946069"/>
                <a:gd name="connsiteX22" fmla="*/ 9742454 w 15409480"/>
                <a:gd name="connsiteY22" fmla="*/ 14004811 h 15946069"/>
                <a:gd name="connsiteX23" fmla="*/ 10616683 w 15409480"/>
                <a:gd name="connsiteY23" fmla="*/ 15358294 h 15946069"/>
                <a:gd name="connsiteX24" fmla="*/ 11117010 w 15409480"/>
                <a:gd name="connsiteY24" fmla="*/ 15946069 h 15946069"/>
                <a:gd name="connsiteX25" fmla="*/ 11780218 w 15409480"/>
                <a:gd name="connsiteY25" fmla="*/ 13579811 h 15946069"/>
                <a:gd name="connsiteX26" fmla="*/ 12196146 w 15409480"/>
                <a:gd name="connsiteY26" fmla="*/ 11388328 h 15946069"/>
                <a:gd name="connsiteX27" fmla="*/ 14004775 w 15409480"/>
                <a:gd name="connsiteY27" fmla="*/ 11611395 h 15946069"/>
                <a:gd name="connsiteX28" fmla="*/ 15409477 w 15409480"/>
                <a:gd name="connsiteY28" fmla="*/ 11882693 h 15946069"/>
                <a:gd name="connsiteX29" fmla="*/ 10457619 w 15409480"/>
                <a:gd name="connsiteY29" fmla="*/ 10753303 h 15946069"/>
                <a:gd name="connsiteX30" fmla="*/ 11668657 w 15409480"/>
                <a:gd name="connsiteY30" fmla="*/ 8754316 h 15946069"/>
                <a:gd name="connsiteX31" fmla="*/ 12149687 w 15409480"/>
                <a:gd name="connsiteY31" fmla="*/ 8101619 h 15946069"/>
                <a:gd name="connsiteX32" fmla="*/ 11118705 w 15409480"/>
                <a:gd name="connsiteY32" fmla="*/ 7156845 h 15946069"/>
                <a:gd name="connsiteX33" fmla="*/ 10425568 w 15409480"/>
                <a:gd name="connsiteY33" fmla="*/ 7223642 h 15946069"/>
                <a:gd name="connsiteX34" fmla="*/ 10709437 w 15409480"/>
                <a:gd name="connsiteY34" fmla="*/ 6730245 h 15946069"/>
                <a:gd name="connsiteX35" fmla="*/ 10017677 w 15409480"/>
                <a:gd name="connsiteY35" fmla="*/ 5883475 h 15946069"/>
                <a:gd name="connsiteX36" fmla="*/ 9318595 w 15409480"/>
                <a:gd name="connsiteY36" fmla="*/ 5859197 h 15946069"/>
                <a:gd name="connsiteX37" fmla="*/ 9215073 w 15409480"/>
                <a:gd name="connsiteY37" fmla="*/ 5387392 h 15946069"/>
                <a:gd name="connsiteX38" fmla="*/ 8600211 w 15409480"/>
                <a:gd name="connsiteY38" fmla="*/ 5564744 h 15946069"/>
                <a:gd name="connsiteX39" fmla="*/ 8412926 w 15409480"/>
                <a:gd name="connsiteY39" fmla="*/ 4835463 h 15946069"/>
                <a:gd name="connsiteX40" fmla="*/ 7744624 w 15409480"/>
                <a:gd name="connsiteY40" fmla="*/ 4382387 h 15946069"/>
                <a:gd name="connsiteX41" fmla="*/ 8112983 w 15409480"/>
                <a:gd name="connsiteY41" fmla="*/ 3770361 h 15946069"/>
                <a:gd name="connsiteX42" fmla="*/ 7637793 w 15409480"/>
                <a:gd name="connsiteY42" fmla="*/ 2526072 h 15946069"/>
                <a:gd name="connsiteX43" fmla="*/ 7264687 w 15409480"/>
                <a:gd name="connsiteY43" fmla="*/ 2131091 h 15946069"/>
                <a:gd name="connsiteX44" fmla="*/ 6594245 w 15409480"/>
                <a:gd name="connsiteY44" fmla="*/ 2055834 h 15946069"/>
                <a:gd name="connsiteX45" fmla="*/ 6431470 w 15409480"/>
                <a:gd name="connsiteY45" fmla="*/ 1314295 h 15946069"/>
                <a:gd name="connsiteX46" fmla="*/ 5642908 w 15409480"/>
                <a:gd name="connsiteY46" fmla="*/ 1343233 h 15946069"/>
                <a:gd name="connsiteX47" fmla="*/ 5150959 w 15409480"/>
                <a:gd name="connsiteY47" fmla="*/ 1610907 h 15946069"/>
                <a:gd name="connsiteX48" fmla="*/ 5480133 w 15409480"/>
                <a:gd name="connsiteY48" fmla="*/ 2167963 h 15946069"/>
                <a:gd name="connsiteX49" fmla="*/ 4742216 w 15409480"/>
                <a:gd name="connsiteY49" fmla="*/ 2862495 h 15946069"/>
                <a:gd name="connsiteX50" fmla="*/ 2658667 w 15409480"/>
                <a:gd name="connsiteY50" fmla="*/ 0 h 15946069"/>
                <a:gd name="connsiteX51" fmla="*/ 2658682 w 15409480"/>
                <a:gd name="connsiteY51" fmla="*/ 1018890 h 15946069"/>
                <a:gd name="connsiteX52" fmla="*/ 1850829 w 15409480"/>
                <a:gd name="connsiteY52" fmla="*/ 1730283 h 15946069"/>
                <a:gd name="connsiteX53" fmla="*/ 1404694 w 15409480"/>
                <a:gd name="connsiteY53" fmla="*/ 2272862 h 15946069"/>
                <a:gd name="connsiteX54" fmla="*/ 2351216 w 15409480"/>
                <a:gd name="connsiteY54" fmla="*/ 3388182 h 15946069"/>
                <a:gd name="connsiteX55" fmla="*/ 2658682 w 15409480"/>
                <a:gd name="connsiteY55" fmla="*/ 4286458 h 15946069"/>
                <a:gd name="connsiteX56" fmla="*/ 1935228 w 15409480"/>
                <a:gd name="connsiteY56" fmla="*/ 5220918 h 15946069"/>
                <a:gd name="connsiteX57" fmla="*/ 875281 w 15409480"/>
                <a:gd name="connsiteY57" fmla="*/ 5166646 h 15946069"/>
                <a:gd name="connsiteX58" fmla="*/ 0 w 15409480"/>
                <a:gd name="connsiteY58" fmla="*/ 5890112 h 15946069"/>
                <a:gd name="connsiteX59" fmla="*/ 72345 w 15409480"/>
                <a:gd name="connsiteY59" fmla="*/ 6921032 h 15946069"/>
                <a:gd name="connsiteX60" fmla="*/ 477776 w 15409480"/>
                <a:gd name="connsiteY60" fmla="*/ 7436569 h 15946069"/>
                <a:gd name="connsiteX0" fmla="*/ 477776 w 15409480"/>
                <a:gd name="connsiteY0" fmla="*/ 7436569 h 15946069"/>
                <a:gd name="connsiteX1" fmla="*/ 271294 w 15409480"/>
                <a:gd name="connsiteY1" fmla="*/ 8060457 h 15946069"/>
                <a:gd name="connsiteX2" fmla="*/ 379812 w 15409480"/>
                <a:gd name="connsiteY2" fmla="*/ 8675382 h 15946069"/>
                <a:gd name="connsiteX3" fmla="*/ 759624 w 15409480"/>
                <a:gd name="connsiteY3" fmla="*/ 9217969 h 15946069"/>
                <a:gd name="connsiteX4" fmla="*/ 687278 w 15409480"/>
                <a:gd name="connsiteY4" fmla="*/ 9670126 h 15946069"/>
                <a:gd name="connsiteX5" fmla="*/ 144687 w 15409480"/>
                <a:gd name="connsiteY5" fmla="*/ 9941420 h 15946069"/>
                <a:gd name="connsiteX6" fmla="*/ 343643 w 15409480"/>
                <a:gd name="connsiteY6" fmla="*/ 10592536 h 15946069"/>
                <a:gd name="connsiteX7" fmla="*/ 940487 w 15409480"/>
                <a:gd name="connsiteY7" fmla="*/ 10954252 h 15946069"/>
                <a:gd name="connsiteX8" fmla="*/ 596844 w 15409480"/>
                <a:gd name="connsiteY8" fmla="*/ 11786221 h 15946069"/>
                <a:gd name="connsiteX9" fmla="*/ 633017 w 15409480"/>
                <a:gd name="connsiteY9" fmla="*/ 12780969 h 15946069"/>
                <a:gd name="connsiteX10" fmla="*/ 198944 w 15409480"/>
                <a:gd name="connsiteY10" fmla="*/ 13341645 h 15946069"/>
                <a:gd name="connsiteX11" fmla="*/ 723451 w 15409480"/>
                <a:gd name="connsiteY11" fmla="*/ 13757629 h 15946069"/>
                <a:gd name="connsiteX12" fmla="*/ 1640036 w 15409480"/>
                <a:gd name="connsiteY12" fmla="*/ 13197151 h 15946069"/>
                <a:gd name="connsiteX13" fmla="*/ 1880971 w 15409480"/>
                <a:gd name="connsiteY13" fmla="*/ 13395906 h 15946069"/>
                <a:gd name="connsiteX14" fmla="*/ 2930086 w 15409480"/>
                <a:gd name="connsiteY14" fmla="*/ 12952832 h 15946069"/>
                <a:gd name="connsiteX15" fmla="*/ 3828256 w 15409480"/>
                <a:gd name="connsiteY15" fmla="*/ 13245188 h 15946069"/>
                <a:gd name="connsiteX16" fmla="*/ 4768739 w 15409480"/>
                <a:gd name="connsiteY16" fmla="*/ 13040205 h 15946069"/>
                <a:gd name="connsiteX17" fmla="*/ 5190751 w 15409480"/>
                <a:gd name="connsiteY17" fmla="*/ 13649115 h 15946069"/>
                <a:gd name="connsiteX18" fmla="*/ 5932290 w 15409480"/>
                <a:gd name="connsiteY18" fmla="*/ 13444132 h 15946069"/>
                <a:gd name="connsiteX19" fmla="*/ 6498992 w 15409480"/>
                <a:gd name="connsiteY19" fmla="*/ 12991975 h 15946069"/>
                <a:gd name="connsiteX20" fmla="*/ 7373161 w 15409480"/>
                <a:gd name="connsiteY20" fmla="*/ 13582800 h 15946069"/>
                <a:gd name="connsiteX21" fmla="*/ 8512588 w 15409480"/>
                <a:gd name="connsiteY21" fmla="*/ 13570738 h 15946069"/>
                <a:gd name="connsiteX22" fmla="*/ 9742454 w 15409480"/>
                <a:gd name="connsiteY22" fmla="*/ 14004811 h 15946069"/>
                <a:gd name="connsiteX23" fmla="*/ 10616683 w 15409480"/>
                <a:gd name="connsiteY23" fmla="*/ 15358294 h 15946069"/>
                <a:gd name="connsiteX24" fmla="*/ 11117010 w 15409480"/>
                <a:gd name="connsiteY24" fmla="*/ 15946069 h 15946069"/>
                <a:gd name="connsiteX25" fmla="*/ 11780218 w 15409480"/>
                <a:gd name="connsiteY25" fmla="*/ 13579811 h 15946069"/>
                <a:gd name="connsiteX26" fmla="*/ 12196146 w 15409480"/>
                <a:gd name="connsiteY26" fmla="*/ 11388328 h 15946069"/>
                <a:gd name="connsiteX27" fmla="*/ 14004775 w 15409480"/>
                <a:gd name="connsiteY27" fmla="*/ 11611395 h 15946069"/>
                <a:gd name="connsiteX28" fmla="*/ 15409477 w 15409480"/>
                <a:gd name="connsiteY28" fmla="*/ 11882693 h 15946069"/>
                <a:gd name="connsiteX29" fmla="*/ 10146682 w 15409480"/>
                <a:gd name="connsiteY29" fmla="*/ 10061295 h 15946069"/>
                <a:gd name="connsiteX30" fmla="*/ 11668657 w 15409480"/>
                <a:gd name="connsiteY30" fmla="*/ 8754316 h 15946069"/>
                <a:gd name="connsiteX31" fmla="*/ 12149687 w 15409480"/>
                <a:gd name="connsiteY31" fmla="*/ 8101619 h 15946069"/>
                <a:gd name="connsiteX32" fmla="*/ 11118705 w 15409480"/>
                <a:gd name="connsiteY32" fmla="*/ 7156845 h 15946069"/>
                <a:gd name="connsiteX33" fmla="*/ 10425568 w 15409480"/>
                <a:gd name="connsiteY33" fmla="*/ 7223642 h 15946069"/>
                <a:gd name="connsiteX34" fmla="*/ 10709437 w 15409480"/>
                <a:gd name="connsiteY34" fmla="*/ 6730245 h 15946069"/>
                <a:gd name="connsiteX35" fmla="*/ 10017677 w 15409480"/>
                <a:gd name="connsiteY35" fmla="*/ 5883475 h 15946069"/>
                <a:gd name="connsiteX36" fmla="*/ 9318595 w 15409480"/>
                <a:gd name="connsiteY36" fmla="*/ 5859197 h 15946069"/>
                <a:gd name="connsiteX37" fmla="*/ 9215073 w 15409480"/>
                <a:gd name="connsiteY37" fmla="*/ 5387392 h 15946069"/>
                <a:gd name="connsiteX38" fmla="*/ 8600211 w 15409480"/>
                <a:gd name="connsiteY38" fmla="*/ 5564744 h 15946069"/>
                <a:gd name="connsiteX39" fmla="*/ 8412926 w 15409480"/>
                <a:gd name="connsiteY39" fmla="*/ 4835463 h 15946069"/>
                <a:gd name="connsiteX40" fmla="*/ 7744624 w 15409480"/>
                <a:gd name="connsiteY40" fmla="*/ 4382387 h 15946069"/>
                <a:gd name="connsiteX41" fmla="*/ 8112983 w 15409480"/>
                <a:gd name="connsiteY41" fmla="*/ 3770361 h 15946069"/>
                <a:gd name="connsiteX42" fmla="*/ 7637793 w 15409480"/>
                <a:gd name="connsiteY42" fmla="*/ 2526072 h 15946069"/>
                <a:gd name="connsiteX43" fmla="*/ 7264687 w 15409480"/>
                <a:gd name="connsiteY43" fmla="*/ 2131091 h 15946069"/>
                <a:gd name="connsiteX44" fmla="*/ 6594245 w 15409480"/>
                <a:gd name="connsiteY44" fmla="*/ 2055834 h 15946069"/>
                <a:gd name="connsiteX45" fmla="*/ 6431470 w 15409480"/>
                <a:gd name="connsiteY45" fmla="*/ 1314295 h 15946069"/>
                <a:gd name="connsiteX46" fmla="*/ 5642908 w 15409480"/>
                <a:gd name="connsiteY46" fmla="*/ 1343233 h 15946069"/>
                <a:gd name="connsiteX47" fmla="*/ 5150959 w 15409480"/>
                <a:gd name="connsiteY47" fmla="*/ 1610907 h 15946069"/>
                <a:gd name="connsiteX48" fmla="*/ 5480133 w 15409480"/>
                <a:gd name="connsiteY48" fmla="*/ 2167963 h 15946069"/>
                <a:gd name="connsiteX49" fmla="*/ 4742216 w 15409480"/>
                <a:gd name="connsiteY49" fmla="*/ 2862495 h 15946069"/>
                <a:gd name="connsiteX50" fmla="*/ 2658667 w 15409480"/>
                <a:gd name="connsiteY50" fmla="*/ 0 h 15946069"/>
                <a:gd name="connsiteX51" fmla="*/ 2658682 w 15409480"/>
                <a:gd name="connsiteY51" fmla="*/ 1018890 h 15946069"/>
                <a:gd name="connsiteX52" fmla="*/ 1850829 w 15409480"/>
                <a:gd name="connsiteY52" fmla="*/ 1730283 h 15946069"/>
                <a:gd name="connsiteX53" fmla="*/ 1404694 w 15409480"/>
                <a:gd name="connsiteY53" fmla="*/ 2272862 h 15946069"/>
                <a:gd name="connsiteX54" fmla="*/ 2351216 w 15409480"/>
                <a:gd name="connsiteY54" fmla="*/ 3388182 h 15946069"/>
                <a:gd name="connsiteX55" fmla="*/ 2658682 w 15409480"/>
                <a:gd name="connsiteY55" fmla="*/ 4286458 h 15946069"/>
                <a:gd name="connsiteX56" fmla="*/ 1935228 w 15409480"/>
                <a:gd name="connsiteY56" fmla="*/ 5220918 h 15946069"/>
                <a:gd name="connsiteX57" fmla="*/ 875281 w 15409480"/>
                <a:gd name="connsiteY57" fmla="*/ 5166646 h 15946069"/>
                <a:gd name="connsiteX58" fmla="*/ 0 w 15409480"/>
                <a:gd name="connsiteY58" fmla="*/ 5890112 h 15946069"/>
                <a:gd name="connsiteX59" fmla="*/ 72345 w 15409480"/>
                <a:gd name="connsiteY59" fmla="*/ 6921032 h 15946069"/>
                <a:gd name="connsiteX60" fmla="*/ 477776 w 15409480"/>
                <a:gd name="connsiteY60" fmla="*/ 7436569 h 15946069"/>
                <a:gd name="connsiteX0" fmla="*/ 477776 w 15409480"/>
                <a:gd name="connsiteY0" fmla="*/ 7436569 h 15946069"/>
                <a:gd name="connsiteX1" fmla="*/ 271294 w 15409480"/>
                <a:gd name="connsiteY1" fmla="*/ 8060457 h 15946069"/>
                <a:gd name="connsiteX2" fmla="*/ 379812 w 15409480"/>
                <a:gd name="connsiteY2" fmla="*/ 8675382 h 15946069"/>
                <a:gd name="connsiteX3" fmla="*/ 759624 w 15409480"/>
                <a:gd name="connsiteY3" fmla="*/ 9217969 h 15946069"/>
                <a:gd name="connsiteX4" fmla="*/ 687278 w 15409480"/>
                <a:gd name="connsiteY4" fmla="*/ 9670126 h 15946069"/>
                <a:gd name="connsiteX5" fmla="*/ 144687 w 15409480"/>
                <a:gd name="connsiteY5" fmla="*/ 9941420 h 15946069"/>
                <a:gd name="connsiteX6" fmla="*/ 343643 w 15409480"/>
                <a:gd name="connsiteY6" fmla="*/ 10592536 h 15946069"/>
                <a:gd name="connsiteX7" fmla="*/ 940487 w 15409480"/>
                <a:gd name="connsiteY7" fmla="*/ 10954252 h 15946069"/>
                <a:gd name="connsiteX8" fmla="*/ 596844 w 15409480"/>
                <a:gd name="connsiteY8" fmla="*/ 11786221 h 15946069"/>
                <a:gd name="connsiteX9" fmla="*/ 633017 w 15409480"/>
                <a:gd name="connsiteY9" fmla="*/ 12780969 h 15946069"/>
                <a:gd name="connsiteX10" fmla="*/ 198944 w 15409480"/>
                <a:gd name="connsiteY10" fmla="*/ 13341645 h 15946069"/>
                <a:gd name="connsiteX11" fmla="*/ 723451 w 15409480"/>
                <a:gd name="connsiteY11" fmla="*/ 13757629 h 15946069"/>
                <a:gd name="connsiteX12" fmla="*/ 1640036 w 15409480"/>
                <a:gd name="connsiteY12" fmla="*/ 13197151 h 15946069"/>
                <a:gd name="connsiteX13" fmla="*/ 1880971 w 15409480"/>
                <a:gd name="connsiteY13" fmla="*/ 13395906 h 15946069"/>
                <a:gd name="connsiteX14" fmla="*/ 2930086 w 15409480"/>
                <a:gd name="connsiteY14" fmla="*/ 12952832 h 15946069"/>
                <a:gd name="connsiteX15" fmla="*/ 3828256 w 15409480"/>
                <a:gd name="connsiteY15" fmla="*/ 13245188 h 15946069"/>
                <a:gd name="connsiteX16" fmla="*/ 4768739 w 15409480"/>
                <a:gd name="connsiteY16" fmla="*/ 13040205 h 15946069"/>
                <a:gd name="connsiteX17" fmla="*/ 5190751 w 15409480"/>
                <a:gd name="connsiteY17" fmla="*/ 13649115 h 15946069"/>
                <a:gd name="connsiteX18" fmla="*/ 5932290 w 15409480"/>
                <a:gd name="connsiteY18" fmla="*/ 13444132 h 15946069"/>
                <a:gd name="connsiteX19" fmla="*/ 6498992 w 15409480"/>
                <a:gd name="connsiteY19" fmla="*/ 12991975 h 15946069"/>
                <a:gd name="connsiteX20" fmla="*/ 7373161 w 15409480"/>
                <a:gd name="connsiteY20" fmla="*/ 13582800 h 15946069"/>
                <a:gd name="connsiteX21" fmla="*/ 8512588 w 15409480"/>
                <a:gd name="connsiteY21" fmla="*/ 13570738 h 15946069"/>
                <a:gd name="connsiteX22" fmla="*/ 9742454 w 15409480"/>
                <a:gd name="connsiteY22" fmla="*/ 14004811 h 15946069"/>
                <a:gd name="connsiteX23" fmla="*/ 10616683 w 15409480"/>
                <a:gd name="connsiteY23" fmla="*/ 15358294 h 15946069"/>
                <a:gd name="connsiteX24" fmla="*/ 11117010 w 15409480"/>
                <a:gd name="connsiteY24" fmla="*/ 15946069 h 15946069"/>
                <a:gd name="connsiteX25" fmla="*/ 11780218 w 15409480"/>
                <a:gd name="connsiteY25" fmla="*/ 13579811 h 15946069"/>
                <a:gd name="connsiteX26" fmla="*/ 12196146 w 15409480"/>
                <a:gd name="connsiteY26" fmla="*/ 11388328 h 15946069"/>
                <a:gd name="connsiteX27" fmla="*/ 14004775 w 15409480"/>
                <a:gd name="connsiteY27" fmla="*/ 11611395 h 15946069"/>
                <a:gd name="connsiteX28" fmla="*/ 15409477 w 15409480"/>
                <a:gd name="connsiteY28" fmla="*/ 11882693 h 15946069"/>
                <a:gd name="connsiteX29" fmla="*/ 11533930 w 15409480"/>
                <a:gd name="connsiteY29" fmla="*/ 9393151 h 15946069"/>
                <a:gd name="connsiteX30" fmla="*/ 11668657 w 15409480"/>
                <a:gd name="connsiteY30" fmla="*/ 8754316 h 15946069"/>
                <a:gd name="connsiteX31" fmla="*/ 12149687 w 15409480"/>
                <a:gd name="connsiteY31" fmla="*/ 8101619 h 15946069"/>
                <a:gd name="connsiteX32" fmla="*/ 11118705 w 15409480"/>
                <a:gd name="connsiteY32" fmla="*/ 7156845 h 15946069"/>
                <a:gd name="connsiteX33" fmla="*/ 10425568 w 15409480"/>
                <a:gd name="connsiteY33" fmla="*/ 7223642 h 15946069"/>
                <a:gd name="connsiteX34" fmla="*/ 10709437 w 15409480"/>
                <a:gd name="connsiteY34" fmla="*/ 6730245 h 15946069"/>
                <a:gd name="connsiteX35" fmla="*/ 10017677 w 15409480"/>
                <a:gd name="connsiteY35" fmla="*/ 5883475 h 15946069"/>
                <a:gd name="connsiteX36" fmla="*/ 9318595 w 15409480"/>
                <a:gd name="connsiteY36" fmla="*/ 5859197 h 15946069"/>
                <a:gd name="connsiteX37" fmla="*/ 9215073 w 15409480"/>
                <a:gd name="connsiteY37" fmla="*/ 5387392 h 15946069"/>
                <a:gd name="connsiteX38" fmla="*/ 8600211 w 15409480"/>
                <a:gd name="connsiteY38" fmla="*/ 5564744 h 15946069"/>
                <a:gd name="connsiteX39" fmla="*/ 8412926 w 15409480"/>
                <a:gd name="connsiteY39" fmla="*/ 4835463 h 15946069"/>
                <a:gd name="connsiteX40" fmla="*/ 7744624 w 15409480"/>
                <a:gd name="connsiteY40" fmla="*/ 4382387 h 15946069"/>
                <a:gd name="connsiteX41" fmla="*/ 8112983 w 15409480"/>
                <a:gd name="connsiteY41" fmla="*/ 3770361 h 15946069"/>
                <a:gd name="connsiteX42" fmla="*/ 7637793 w 15409480"/>
                <a:gd name="connsiteY42" fmla="*/ 2526072 h 15946069"/>
                <a:gd name="connsiteX43" fmla="*/ 7264687 w 15409480"/>
                <a:gd name="connsiteY43" fmla="*/ 2131091 h 15946069"/>
                <a:gd name="connsiteX44" fmla="*/ 6594245 w 15409480"/>
                <a:gd name="connsiteY44" fmla="*/ 2055834 h 15946069"/>
                <a:gd name="connsiteX45" fmla="*/ 6431470 w 15409480"/>
                <a:gd name="connsiteY45" fmla="*/ 1314295 h 15946069"/>
                <a:gd name="connsiteX46" fmla="*/ 5642908 w 15409480"/>
                <a:gd name="connsiteY46" fmla="*/ 1343233 h 15946069"/>
                <a:gd name="connsiteX47" fmla="*/ 5150959 w 15409480"/>
                <a:gd name="connsiteY47" fmla="*/ 1610907 h 15946069"/>
                <a:gd name="connsiteX48" fmla="*/ 5480133 w 15409480"/>
                <a:gd name="connsiteY48" fmla="*/ 2167963 h 15946069"/>
                <a:gd name="connsiteX49" fmla="*/ 4742216 w 15409480"/>
                <a:gd name="connsiteY49" fmla="*/ 2862495 h 15946069"/>
                <a:gd name="connsiteX50" fmla="*/ 2658667 w 15409480"/>
                <a:gd name="connsiteY50" fmla="*/ 0 h 15946069"/>
                <a:gd name="connsiteX51" fmla="*/ 2658682 w 15409480"/>
                <a:gd name="connsiteY51" fmla="*/ 1018890 h 15946069"/>
                <a:gd name="connsiteX52" fmla="*/ 1850829 w 15409480"/>
                <a:gd name="connsiteY52" fmla="*/ 1730283 h 15946069"/>
                <a:gd name="connsiteX53" fmla="*/ 1404694 w 15409480"/>
                <a:gd name="connsiteY53" fmla="*/ 2272862 h 15946069"/>
                <a:gd name="connsiteX54" fmla="*/ 2351216 w 15409480"/>
                <a:gd name="connsiteY54" fmla="*/ 3388182 h 15946069"/>
                <a:gd name="connsiteX55" fmla="*/ 2658682 w 15409480"/>
                <a:gd name="connsiteY55" fmla="*/ 4286458 h 15946069"/>
                <a:gd name="connsiteX56" fmla="*/ 1935228 w 15409480"/>
                <a:gd name="connsiteY56" fmla="*/ 5220918 h 15946069"/>
                <a:gd name="connsiteX57" fmla="*/ 875281 w 15409480"/>
                <a:gd name="connsiteY57" fmla="*/ 5166646 h 15946069"/>
                <a:gd name="connsiteX58" fmla="*/ 0 w 15409480"/>
                <a:gd name="connsiteY58" fmla="*/ 5890112 h 15946069"/>
                <a:gd name="connsiteX59" fmla="*/ 72345 w 15409480"/>
                <a:gd name="connsiteY59" fmla="*/ 6921032 h 15946069"/>
                <a:gd name="connsiteX60" fmla="*/ 477776 w 15409480"/>
                <a:gd name="connsiteY60" fmla="*/ 7436569 h 15946069"/>
                <a:gd name="connsiteX0" fmla="*/ 477776 w 14004774"/>
                <a:gd name="connsiteY0" fmla="*/ 7436569 h 15946069"/>
                <a:gd name="connsiteX1" fmla="*/ 271294 w 14004774"/>
                <a:gd name="connsiteY1" fmla="*/ 8060457 h 15946069"/>
                <a:gd name="connsiteX2" fmla="*/ 379812 w 14004774"/>
                <a:gd name="connsiteY2" fmla="*/ 8675382 h 15946069"/>
                <a:gd name="connsiteX3" fmla="*/ 759624 w 14004774"/>
                <a:gd name="connsiteY3" fmla="*/ 9217969 h 15946069"/>
                <a:gd name="connsiteX4" fmla="*/ 687278 w 14004774"/>
                <a:gd name="connsiteY4" fmla="*/ 9670126 h 15946069"/>
                <a:gd name="connsiteX5" fmla="*/ 144687 w 14004774"/>
                <a:gd name="connsiteY5" fmla="*/ 9941420 h 15946069"/>
                <a:gd name="connsiteX6" fmla="*/ 343643 w 14004774"/>
                <a:gd name="connsiteY6" fmla="*/ 10592536 h 15946069"/>
                <a:gd name="connsiteX7" fmla="*/ 940487 w 14004774"/>
                <a:gd name="connsiteY7" fmla="*/ 10954252 h 15946069"/>
                <a:gd name="connsiteX8" fmla="*/ 596844 w 14004774"/>
                <a:gd name="connsiteY8" fmla="*/ 11786221 h 15946069"/>
                <a:gd name="connsiteX9" fmla="*/ 633017 w 14004774"/>
                <a:gd name="connsiteY9" fmla="*/ 12780969 h 15946069"/>
                <a:gd name="connsiteX10" fmla="*/ 198944 w 14004774"/>
                <a:gd name="connsiteY10" fmla="*/ 13341645 h 15946069"/>
                <a:gd name="connsiteX11" fmla="*/ 723451 w 14004774"/>
                <a:gd name="connsiteY11" fmla="*/ 13757629 h 15946069"/>
                <a:gd name="connsiteX12" fmla="*/ 1640036 w 14004774"/>
                <a:gd name="connsiteY12" fmla="*/ 13197151 h 15946069"/>
                <a:gd name="connsiteX13" fmla="*/ 1880971 w 14004774"/>
                <a:gd name="connsiteY13" fmla="*/ 13395906 h 15946069"/>
                <a:gd name="connsiteX14" fmla="*/ 2930086 w 14004774"/>
                <a:gd name="connsiteY14" fmla="*/ 12952832 h 15946069"/>
                <a:gd name="connsiteX15" fmla="*/ 3828256 w 14004774"/>
                <a:gd name="connsiteY15" fmla="*/ 13245188 h 15946069"/>
                <a:gd name="connsiteX16" fmla="*/ 4768739 w 14004774"/>
                <a:gd name="connsiteY16" fmla="*/ 13040205 h 15946069"/>
                <a:gd name="connsiteX17" fmla="*/ 5190751 w 14004774"/>
                <a:gd name="connsiteY17" fmla="*/ 13649115 h 15946069"/>
                <a:gd name="connsiteX18" fmla="*/ 5932290 w 14004774"/>
                <a:gd name="connsiteY18" fmla="*/ 13444132 h 15946069"/>
                <a:gd name="connsiteX19" fmla="*/ 6498992 w 14004774"/>
                <a:gd name="connsiteY19" fmla="*/ 12991975 h 15946069"/>
                <a:gd name="connsiteX20" fmla="*/ 7373161 w 14004774"/>
                <a:gd name="connsiteY20" fmla="*/ 13582800 h 15946069"/>
                <a:gd name="connsiteX21" fmla="*/ 8512588 w 14004774"/>
                <a:gd name="connsiteY21" fmla="*/ 13570738 h 15946069"/>
                <a:gd name="connsiteX22" fmla="*/ 9742454 w 14004774"/>
                <a:gd name="connsiteY22" fmla="*/ 14004811 h 15946069"/>
                <a:gd name="connsiteX23" fmla="*/ 10616683 w 14004774"/>
                <a:gd name="connsiteY23" fmla="*/ 15358294 h 15946069"/>
                <a:gd name="connsiteX24" fmla="*/ 11117010 w 14004774"/>
                <a:gd name="connsiteY24" fmla="*/ 15946069 h 15946069"/>
                <a:gd name="connsiteX25" fmla="*/ 11780218 w 14004774"/>
                <a:gd name="connsiteY25" fmla="*/ 13579811 h 15946069"/>
                <a:gd name="connsiteX26" fmla="*/ 12196146 w 14004774"/>
                <a:gd name="connsiteY26" fmla="*/ 11388328 h 15946069"/>
                <a:gd name="connsiteX27" fmla="*/ 14004775 w 14004774"/>
                <a:gd name="connsiteY27" fmla="*/ 11611395 h 15946069"/>
                <a:gd name="connsiteX28" fmla="*/ 10195350 w 14004774"/>
                <a:gd name="connsiteY28" fmla="*/ 10617991 h 15946069"/>
                <a:gd name="connsiteX29" fmla="*/ 11533930 w 14004774"/>
                <a:gd name="connsiteY29" fmla="*/ 9393151 h 15946069"/>
                <a:gd name="connsiteX30" fmla="*/ 11668657 w 14004774"/>
                <a:gd name="connsiteY30" fmla="*/ 8754316 h 15946069"/>
                <a:gd name="connsiteX31" fmla="*/ 12149687 w 14004774"/>
                <a:gd name="connsiteY31" fmla="*/ 8101619 h 15946069"/>
                <a:gd name="connsiteX32" fmla="*/ 11118705 w 14004774"/>
                <a:gd name="connsiteY32" fmla="*/ 7156845 h 15946069"/>
                <a:gd name="connsiteX33" fmla="*/ 10425568 w 14004774"/>
                <a:gd name="connsiteY33" fmla="*/ 7223642 h 15946069"/>
                <a:gd name="connsiteX34" fmla="*/ 10709437 w 14004774"/>
                <a:gd name="connsiteY34" fmla="*/ 6730245 h 15946069"/>
                <a:gd name="connsiteX35" fmla="*/ 10017677 w 14004774"/>
                <a:gd name="connsiteY35" fmla="*/ 5883475 h 15946069"/>
                <a:gd name="connsiteX36" fmla="*/ 9318595 w 14004774"/>
                <a:gd name="connsiteY36" fmla="*/ 5859197 h 15946069"/>
                <a:gd name="connsiteX37" fmla="*/ 9215073 w 14004774"/>
                <a:gd name="connsiteY37" fmla="*/ 5387392 h 15946069"/>
                <a:gd name="connsiteX38" fmla="*/ 8600211 w 14004774"/>
                <a:gd name="connsiteY38" fmla="*/ 5564744 h 15946069"/>
                <a:gd name="connsiteX39" fmla="*/ 8412926 w 14004774"/>
                <a:gd name="connsiteY39" fmla="*/ 4835463 h 15946069"/>
                <a:gd name="connsiteX40" fmla="*/ 7744624 w 14004774"/>
                <a:gd name="connsiteY40" fmla="*/ 4382387 h 15946069"/>
                <a:gd name="connsiteX41" fmla="*/ 8112983 w 14004774"/>
                <a:gd name="connsiteY41" fmla="*/ 3770361 h 15946069"/>
                <a:gd name="connsiteX42" fmla="*/ 7637793 w 14004774"/>
                <a:gd name="connsiteY42" fmla="*/ 2526072 h 15946069"/>
                <a:gd name="connsiteX43" fmla="*/ 7264687 w 14004774"/>
                <a:gd name="connsiteY43" fmla="*/ 2131091 h 15946069"/>
                <a:gd name="connsiteX44" fmla="*/ 6594245 w 14004774"/>
                <a:gd name="connsiteY44" fmla="*/ 2055834 h 15946069"/>
                <a:gd name="connsiteX45" fmla="*/ 6431470 w 14004774"/>
                <a:gd name="connsiteY45" fmla="*/ 1314295 h 15946069"/>
                <a:gd name="connsiteX46" fmla="*/ 5642908 w 14004774"/>
                <a:gd name="connsiteY46" fmla="*/ 1343233 h 15946069"/>
                <a:gd name="connsiteX47" fmla="*/ 5150959 w 14004774"/>
                <a:gd name="connsiteY47" fmla="*/ 1610907 h 15946069"/>
                <a:gd name="connsiteX48" fmla="*/ 5480133 w 14004774"/>
                <a:gd name="connsiteY48" fmla="*/ 2167963 h 15946069"/>
                <a:gd name="connsiteX49" fmla="*/ 4742216 w 14004774"/>
                <a:gd name="connsiteY49" fmla="*/ 2862495 h 15946069"/>
                <a:gd name="connsiteX50" fmla="*/ 2658667 w 14004774"/>
                <a:gd name="connsiteY50" fmla="*/ 0 h 15946069"/>
                <a:gd name="connsiteX51" fmla="*/ 2658682 w 14004774"/>
                <a:gd name="connsiteY51" fmla="*/ 1018890 h 15946069"/>
                <a:gd name="connsiteX52" fmla="*/ 1850829 w 14004774"/>
                <a:gd name="connsiteY52" fmla="*/ 1730283 h 15946069"/>
                <a:gd name="connsiteX53" fmla="*/ 1404694 w 14004774"/>
                <a:gd name="connsiteY53" fmla="*/ 2272862 h 15946069"/>
                <a:gd name="connsiteX54" fmla="*/ 2351216 w 14004774"/>
                <a:gd name="connsiteY54" fmla="*/ 3388182 h 15946069"/>
                <a:gd name="connsiteX55" fmla="*/ 2658682 w 14004774"/>
                <a:gd name="connsiteY55" fmla="*/ 4286458 h 15946069"/>
                <a:gd name="connsiteX56" fmla="*/ 1935228 w 14004774"/>
                <a:gd name="connsiteY56" fmla="*/ 5220918 h 15946069"/>
                <a:gd name="connsiteX57" fmla="*/ 875281 w 14004774"/>
                <a:gd name="connsiteY57" fmla="*/ 5166646 h 15946069"/>
                <a:gd name="connsiteX58" fmla="*/ 0 w 14004774"/>
                <a:gd name="connsiteY58" fmla="*/ 5890112 h 15946069"/>
                <a:gd name="connsiteX59" fmla="*/ 72345 w 14004774"/>
                <a:gd name="connsiteY59" fmla="*/ 6921032 h 15946069"/>
                <a:gd name="connsiteX60" fmla="*/ 477776 w 14004774"/>
                <a:gd name="connsiteY60" fmla="*/ 7436569 h 15946069"/>
                <a:gd name="connsiteX0" fmla="*/ 477776 w 14004774"/>
                <a:gd name="connsiteY0" fmla="*/ 7436569 h 15946069"/>
                <a:gd name="connsiteX1" fmla="*/ 271294 w 14004774"/>
                <a:gd name="connsiteY1" fmla="*/ 8060457 h 15946069"/>
                <a:gd name="connsiteX2" fmla="*/ 379812 w 14004774"/>
                <a:gd name="connsiteY2" fmla="*/ 8675382 h 15946069"/>
                <a:gd name="connsiteX3" fmla="*/ 759624 w 14004774"/>
                <a:gd name="connsiteY3" fmla="*/ 9217969 h 15946069"/>
                <a:gd name="connsiteX4" fmla="*/ 687278 w 14004774"/>
                <a:gd name="connsiteY4" fmla="*/ 9670126 h 15946069"/>
                <a:gd name="connsiteX5" fmla="*/ 144687 w 14004774"/>
                <a:gd name="connsiteY5" fmla="*/ 9941420 h 15946069"/>
                <a:gd name="connsiteX6" fmla="*/ 343643 w 14004774"/>
                <a:gd name="connsiteY6" fmla="*/ 10592536 h 15946069"/>
                <a:gd name="connsiteX7" fmla="*/ 940487 w 14004774"/>
                <a:gd name="connsiteY7" fmla="*/ 10954252 h 15946069"/>
                <a:gd name="connsiteX8" fmla="*/ 596844 w 14004774"/>
                <a:gd name="connsiteY8" fmla="*/ 11786221 h 15946069"/>
                <a:gd name="connsiteX9" fmla="*/ 633017 w 14004774"/>
                <a:gd name="connsiteY9" fmla="*/ 12780969 h 15946069"/>
                <a:gd name="connsiteX10" fmla="*/ 198944 w 14004774"/>
                <a:gd name="connsiteY10" fmla="*/ 13341645 h 15946069"/>
                <a:gd name="connsiteX11" fmla="*/ 723451 w 14004774"/>
                <a:gd name="connsiteY11" fmla="*/ 13757629 h 15946069"/>
                <a:gd name="connsiteX12" fmla="*/ 1640036 w 14004774"/>
                <a:gd name="connsiteY12" fmla="*/ 13197151 h 15946069"/>
                <a:gd name="connsiteX13" fmla="*/ 1880971 w 14004774"/>
                <a:gd name="connsiteY13" fmla="*/ 13395906 h 15946069"/>
                <a:gd name="connsiteX14" fmla="*/ 2930086 w 14004774"/>
                <a:gd name="connsiteY14" fmla="*/ 12952832 h 15946069"/>
                <a:gd name="connsiteX15" fmla="*/ 3828256 w 14004774"/>
                <a:gd name="connsiteY15" fmla="*/ 13245188 h 15946069"/>
                <a:gd name="connsiteX16" fmla="*/ 4768739 w 14004774"/>
                <a:gd name="connsiteY16" fmla="*/ 13040205 h 15946069"/>
                <a:gd name="connsiteX17" fmla="*/ 5190751 w 14004774"/>
                <a:gd name="connsiteY17" fmla="*/ 13649115 h 15946069"/>
                <a:gd name="connsiteX18" fmla="*/ 5932290 w 14004774"/>
                <a:gd name="connsiteY18" fmla="*/ 13444132 h 15946069"/>
                <a:gd name="connsiteX19" fmla="*/ 6498992 w 14004774"/>
                <a:gd name="connsiteY19" fmla="*/ 12991975 h 15946069"/>
                <a:gd name="connsiteX20" fmla="*/ 7373161 w 14004774"/>
                <a:gd name="connsiteY20" fmla="*/ 13582800 h 15946069"/>
                <a:gd name="connsiteX21" fmla="*/ 8512588 w 14004774"/>
                <a:gd name="connsiteY21" fmla="*/ 13570738 h 15946069"/>
                <a:gd name="connsiteX22" fmla="*/ 9742454 w 14004774"/>
                <a:gd name="connsiteY22" fmla="*/ 14004811 h 15946069"/>
                <a:gd name="connsiteX23" fmla="*/ 10616683 w 14004774"/>
                <a:gd name="connsiteY23" fmla="*/ 15358294 h 15946069"/>
                <a:gd name="connsiteX24" fmla="*/ 11117010 w 14004774"/>
                <a:gd name="connsiteY24" fmla="*/ 15946069 h 15946069"/>
                <a:gd name="connsiteX25" fmla="*/ 11780218 w 14004774"/>
                <a:gd name="connsiteY25" fmla="*/ 13579811 h 15946069"/>
                <a:gd name="connsiteX26" fmla="*/ 12196146 w 14004774"/>
                <a:gd name="connsiteY26" fmla="*/ 11388328 h 15946069"/>
                <a:gd name="connsiteX27" fmla="*/ 14004775 w 14004774"/>
                <a:gd name="connsiteY27" fmla="*/ 11611395 h 15946069"/>
                <a:gd name="connsiteX28" fmla="*/ 11893530 w 14004774"/>
                <a:gd name="connsiteY28" fmla="*/ 10283919 h 15946069"/>
                <a:gd name="connsiteX29" fmla="*/ 11533930 w 14004774"/>
                <a:gd name="connsiteY29" fmla="*/ 9393151 h 15946069"/>
                <a:gd name="connsiteX30" fmla="*/ 11668657 w 14004774"/>
                <a:gd name="connsiteY30" fmla="*/ 8754316 h 15946069"/>
                <a:gd name="connsiteX31" fmla="*/ 12149687 w 14004774"/>
                <a:gd name="connsiteY31" fmla="*/ 8101619 h 15946069"/>
                <a:gd name="connsiteX32" fmla="*/ 11118705 w 14004774"/>
                <a:gd name="connsiteY32" fmla="*/ 7156845 h 15946069"/>
                <a:gd name="connsiteX33" fmla="*/ 10425568 w 14004774"/>
                <a:gd name="connsiteY33" fmla="*/ 7223642 h 15946069"/>
                <a:gd name="connsiteX34" fmla="*/ 10709437 w 14004774"/>
                <a:gd name="connsiteY34" fmla="*/ 6730245 h 15946069"/>
                <a:gd name="connsiteX35" fmla="*/ 10017677 w 14004774"/>
                <a:gd name="connsiteY35" fmla="*/ 5883475 h 15946069"/>
                <a:gd name="connsiteX36" fmla="*/ 9318595 w 14004774"/>
                <a:gd name="connsiteY36" fmla="*/ 5859197 h 15946069"/>
                <a:gd name="connsiteX37" fmla="*/ 9215073 w 14004774"/>
                <a:gd name="connsiteY37" fmla="*/ 5387392 h 15946069"/>
                <a:gd name="connsiteX38" fmla="*/ 8600211 w 14004774"/>
                <a:gd name="connsiteY38" fmla="*/ 5564744 h 15946069"/>
                <a:gd name="connsiteX39" fmla="*/ 8412926 w 14004774"/>
                <a:gd name="connsiteY39" fmla="*/ 4835463 h 15946069"/>
                <a:gd name="connsiteX40" fmla="*/ 7744624 w 14004774"/>
                <a:gd name="connsiteY40" fmla="*/ 4382387 h 15946069"/>
                <a:gd name="connsiteX41" fmla="*/ 8112983 w 14004774"/>
                <a:gd name="connsiteY41" fmla="*/ 3770361 h 15946069"/>
                <a:gd name="connsiteX42" fmla="*/ 7637793 w 14004774"/>
                <a:gd name="connsiteY42" fmla="*/ 2526072 h 15946069"/>
                <a:gd name="connsiteX43" fmla="*/ 7264687 w 14004774"/>
                <a:gd name="connsiteY43" fmla="*/ 2131091 h 15946069"/>
                <a:gd name="connsiteX44" fmla="*/ 6594245 w 14004774"/>
                <a:gd name="connsiteY44" fmla="*/ 2055834 h 15946069"/>
                <a:gd name="connsiteX45" fmla="*/ 6431470 w 14004774"/>
                <a:gd name="connsiteY45" fmla="*/ 1314295 h 15946069"/>
                <a:gd name="connsiteX46" fmla="*/ 5642908 w 14004774"/>
                <a:gd name="connsiteY46" fmla="*/ 1343233 h 15946069"/>
                <a:gd name="connsiteX47" fmla="*/ 5150959 w 14004774"/>
                <a:gd name="connsiteY47" fmla="*/ 1610907 h 15946069"/>
                <a:gd name="connsiteX48" fmla="*/ 5480133 w 14004774"/>
                <a:gd name="connsiteY48" fmla="*/ 2167963 h 15946069"/>
                <a:gd name="connsiteX49" fmla="*/ 4742216 w 14004774"/>
                <a:gd name="connsiteY49" fmla="*/ 2862495 h 15946069"/>
                <a:gd name="connsiteX50" fmla="*/ 2658667 w 14004774"/>
                <a:gd name="connsiteY50" fmla="*/ 0 h 15946069"/>
                <a:gd name="connsiteX51" fmla="*/ 2658682 w 14004774"/>
                <a:gd name="connsiteY51" fmla="*/ 1018890 h 15946069"/>
                <a:gd name="connsiteX52" fmla="*/ 1850829 w 14004774"/>
                <a:gd name="connsiteY52" fmla="*/ 1730283 h 15946069"/>
                <a:gd name="connsiteX53" fmla="*/ 1404694 w 14004774"/>
                <a:gd name="connsiteY53" fmla="*/ 2272862 h 15946069"/>
                <a:gd name="connsiteX54" fmla="*/ 2351216 w 14004774"/>
                <a:gd name="connsiteY54" fmla="*/ 3388182 h 15946069"/>
                <a:gd name="connsiteX55" fmla="*/ 2658682 w 14004774"/>
                <a:gd name="connsiteY55" fmla="*/ 4286458 h 15946069"/>
                <a:gd name="connsiteX56" fmla="*/ 1935228 w 14004774"/>
                <a:gd name="connsiteY56" fmla="*/ 5220918 h 15946069"/>
                <a:gd name="connsiteX57" fmla="*/ 875281 w 14004774"/>
                <a:gd name="connsiteY57" fmla="*/ 5166646 h 15946069"/>
                <a:gd name="connsiteX58" fmla="*/ 0 w 14004774"/>
                <a:gd name="connsiteY58" fmla="*/ 5890112 h 15946069"/>
                <a:gd name="connsiteX59" fmla="*/ 72345 w 14004774"/>
                <a:gd name="connsiteY59" fmla="*/ 6921032 h 15946069"/>
                <a:gd name="connsiteX60" fmla="*/ 477776 w 14004774"/>
                <a:gd name="connsiteY60" fmla="*/ 7436569 h 15946069"/>
                <a:gd name="connsiteX0" fmla="*/ 477776 w 12196146"/>
                <a:gd name="connsiteY0" fmla="*/ 7436569 h 15946069"/>
                <a:gd name="connsiteX1" fmla="*/ 271294 w 12196146"/>
                <a:gd name="connsiteY1" fmla="*/ 8060457 h 15946069"/>
                <a:gd name="connsiteX2" fmla="*/ 379812 w 12196146"/>
                <a:gd name="connsiteY2" fmla="*/ 8675382 h 15946069"/>
                <a:gd name="connsiteX3" fmla="*/ 759624 w 12196146"/>
                <a:gd name="connsiteY3" fmla="*/ 9217969 h 15946069"/>
                <a:gd name="connsiteX4" fmla="*/ 687278 w 12196146"/>
                <a:gd name="connsiteY4" fmla="*/ 9670126 h 15946069"/>
                <a:gd name="connsiteX5" fmla="*/ 144687 w 12196146"/>
                <a:gd name="connsiteY5" fmla="*/ 9941420 h 15946069"/>
                <a:gd name="connsiteX6" fmla="*/ 343643 w 12196146"/>
                <a:gd name="connsiteY6" fmla="*/ 10592536 h 15946069"/>
                <a:gd name="connsiteX7" fmla="*/ 940487 w 12196146"/>
                <a:gd name="connsiteY7" fmla="*/ 10954252 h 15946069"/>
                <a:gd name="connsiteX8" fmla="*/ 596844 w 12196146"/>
                <a:gd name="connsiteY8" fmla="*/ 11786221 h 15946069"/>
                <a:gd name="connsiteX9" fmla="*/ 633017 w 12196146"/>
                <a:gd name="connsiteY9" fmla="*/ 12780969 h 15946069"/>
                <a:gd name="connsiteX10" fmla="*/ 198944 w 12196146"/>
                <a:gd name="connsiteY10" fmla="*/ 13341645 h 15946069"/>
                <a:gd name="connsiteX11" fmla="*/ 723451 w 12196146"/>
                <a:gd name="connsiteY11" fmla="*/ 13757629 h 15946069"/>
                <a:gd name="connsiteX12" fmla="*/ 1640036 w 12196146"/>
                <a:gd name="connsiteY12" fmla="*/ 13197151 h 15946069"/>
                <a:gd name="connsiteX13" fmla="*/ 1880971 w 12196146"/>
                <a:gd name="connsiteY13" fmla="*/ 13395906 h 15946069"/>
                <a:gd name="connsiteX14" fmla="*/ 2930086 w 12196146"/>
                <a:gd name="connsiteY14" fmla="*/ 12952832 h 15946069"/>
                <a:gd name="connsiteX15" fmla="*/ 3828256 w 12196146"/>
                <a:gd name="connsiteY15" fmla="*/ 13245188 h 15946069"/>
                <a:gd name="connsiteX16" fmla="*/ 4768739 w 12196146"/>
                <a:gd name="connsiteY16" fmla="*/ 13040205 h 15946069"/>
                <a:gd name="connsiteX17" fmla="*/ 5190751 w 12196146"/>
                <a:gd name="connsiteY17" fmla="*/ 13649115 h 15946069"/>
                <a:gd name="connsiteX18" fmla="*/ 5932290 w 12196146"/>
                <a:gd name="connsiteY18" fmla="*/ 13444132 h 15946069"/>
                <a:gd name="connsiteX19" fmla="*/ 6498992 w 12196146"/>
                <a:gd name="connsiteY19" fmla="*/ 12991975 h 15946069"/>
                <a:gd name="connsiteX20" fmla="*/ 7373161 w 12196146"/>
                <a:gd name="connsiteY20" fmla="*/ 13582800 h 15946069"/>
                <a:gd name="connsiteX21" fmla="*/ 8512588 w 12196146"/>
                <a:gd name="connsiteY21" fmla="*/ 13570738 h 15946069"/>
                <a:gd name="connsiteX22" fmla="*/ 9742454 w 12196146"/>
                <a:gd name="connsiteY22" fmla="*/ 14004811 h 15946069"/>
                <a:gd name="connsiteX23" fmla="*/ 10616683 w 12196146"/>
                <a:gd name="connsiteY23" fmla="*/ 15358294 h 15946069"/>
                <a:gd name="connsiteX24" fmla="*/ 11117010 w 12196146"/>
                <a:gd name="connsiteY24" fmla="*/ 15946069 h 15946069"/>
                <a:gd name="connsiteX25" fmla="*/ 11780218 w 12196146"/>
                <a:gd name="connsiteY25" fmla="*/ 13579811 h 15946069"/>
                <a:gd name="connsiteX26" fmla="*/ 12196146 w 12196146"/>
                <a:gd name="connsiteY26" fmla="*/ 11388328 h 15946069"/>
                <a:gd name="connsiteX27" fmla="*/ 9651694 w 12196146"/>
                <a:gd name="connsiteY27" fmla="*/ 10609178 h 15946069"/>
                <a:gd name="connsiteX28" fmla="*/ 11893530 w 12196146"/>
                <a:gd name="connsiteY28" fmla="*/ 10283919 h 15946069"/>
                <a:gd name="connsiteX29" fmla="*/ 11533930 w 12196146"/>
                <a:gd name="connsiteY29" fmla="*/ 9393151 h 15946069"/>
                <a:gd name="connsiteX30" fmla="*/ 11668657 w 12196146"/>
                <a:gd name="connsiteY30" fmla="*/ 8754316 h 15946069"/>
                <a:gd name="connsiteX31" fmla="*/ 12149687 w 12196146"/>
                <a:gd name="connsiteY31" fmla="*/ 8101619 h 15946069"/>
                <a:gd name="connsiteX32" fmla="*/ 11118705 w 12196146"/>
                <a:gd name="connsiteY32" fmla="*/ 7156845 h 15946069"/>
                <a:gd name="connsiteX33" fmla="*/ 10425568 w 12196146"/>
                <a:gd name="connsiteY33" fmla="*/ 7223642 h 15946069"/>
                <a:gd name="connsiteX34" fmla="*/ 10709437 w 12196146"/>
                <a:gd name="connsiteY34" fmla="*/ 6730245 h 15946069"/>
                <a:gd name="connsiteX35" fmla="*/ 10017677 w 12196146"/>
                <a:gd name="connsiteY35" fmla="*/ 5883475 h 15946069"/>
                <a:gd name="connsiteX36" fmla="*/ 9318595 w 12196146"/>
                <a:gd name="connsiteY36" fmla="*/ 5859197 h 15946069"/>
                <a:gd name="connsiteX37" fmla="*/ 9215073 w 12196146"/>
                <a:gd name="connsiteY37" fmla="*/ 5387392 h 15946069"/>
                <a:gd name="connsiteX38" fmla="*/ 8600211 w 12196146"/>
                <a:gd name="connsiteY38" fmla="*/ 5564744 h 15946069"/>
                <a:gd name="connsiteX39" fmla="*/ 8412926 w 12196146"/>
                <a:gd name="connsiteY39" fmla="*/ 4835463 h 15946069"/>
                <a:gd name="connsiteX40" fmla="*/ 7744624 w 12196146"/>
                <a:gd name="connsiteY40" fmla="*/ 4382387 h 15946069"/>
                <a:gd name="connsiteX41" fmla="*/ 8112983 w 12196146"/>
                <a:gd name="connsiteY41" fmla="*/ 3770361 h 15946069"/>
                <a:gd name="connsiteX42" fmla="*/ 7637793 w 12196146"/>
                <a:gd name="connsiteY42" fmla="*/ 2526072 h 15946069"/>
                <a:gd name="connsiteX43" fmla="*/ 7264687 w 12196146"/>
                <a:gd name="connsiteY43" fmla="*/ 2131091 h 15946069"/>
                <a:gd name="connsiteX44" fmla="*/ 6594245 w 12196146"/>
                <a:gd name="connsiteY44" fmla="*/ 2055834 h 15946069"/>
                <a:gd name="connsiteX45" fmla="*/ 6431470 w 12196146"/>
                <a:gd name="connsiteY45" fmla="*/ 1314295 h 15946069"/>
                <a:gd name="connsiteX46" fmla="*/ 5642908 w 12196146"/>
                <a:gd name="connsiteY46" fmla="*/ 1343233 h 15946069"/>
                <a:gd name="connsiteX47" fmla="*/ 5150959 w 12196146"/>
                <a:gd name="connsiteY47" fmla="*/ 1610907 h 15946069"/>
                <a:gd name="connsiteX48" fmla="*/ 5480133 w 12196146"/>
                <a:gd name="connsiteY48" fmla="*/ 2167963 h 15946069"/>
                <a:gd name="connsiteX49" fmla="*/ 4742216 w 12196146"/>
                <a:gd name="connsiteY49" fmla="*/ 2862495 h 15946069"/>
                <a:gd name="connsiteX50" fmla="*/ 2658667 w 12196146"/>
                <a:gd name="connsiteY50" fmla="*/ 0 h 15946069"/>
                <a:gd name="connsiteX51" fmla="*/ 2658682 w 12196146"/>
                <a:gd name="connsiteY51" fmla="*/ 1018890 h 15946069"/>
                <a:gd name="connsiteX52" fmla="*/ 1850829 w 12196146"/>
                <a:gd name="connsiteY52" fmla="*/ 1730283 h 15946069"/>
                <a:gd name="connsiteX53" fmla="*/ 1404694 w 12196146"/>
                <a:gd name="connsiteY53" fmla="*/ 2272862 h 15946069"/>
                <a:gd name="connsiteX54" fmla="*/ 2351216 w 12196146"/>
                <a:gd name="connsiteY54" fmla="*/ 3388182 h 15946069"/>
                <a:gd name="connsiteX55" fmla="*/ 2658682 w 12196146"/>
                <a:gd name="connsiteY55" fmla="*/ 4286458 h 15946069"/>
                <a:gd name="connsiteX56" fmla="*/ 1935228 w 12196146"/>
                <a:gd name="connsiteY56" fmla="*/ 5220918 h 15946069"/>
                <a:gd name="connsiteX57" fmla="*/ 875281 w 12196146"/>
                <a:gd name="connsiteY57" fmla="*/ 5166646 h 15946069"/>
                <a:gd name="connsiteX58" fmla="*/ 0 w 12196146"/>
                <a:gd name="connsiteY58" fmla="*/ 5890112 h 15946069"/>
                <a:gd name="connsiteX59" fmla="*/ 72345 w 12196146"/>
                <a:gd name="connsiteY59" fmla="*/ 6921032 h 15946069"/>
                <a:gd name="connsiteX60" fmla="*/ 477776 w 12196146"/>
                <a:gd name="connsiteY60" fmla="*/ 7436569 h 15946069"/>
                <a:gd name="connsiteX0" fmla="*/ 477776 w 12196146"/>
                <a:gd name="connsiteY0" fmla="*/ 7436569 h 15946069"/>
                <a:gd name="connsiteX1" fmla="*/ 271294 w 12196146"/>
                <a:gd name="connsiteY1" fmla="*/ 8060457 h 15946069"/>
                <a:gd name="connsiteX2" fmla="*/ 379812 w 12196146"/>
                <a:gd name="connsiteY2" fmla="*/ 8675382 h 15946069"/>
                <a:gd name="connsiteX3" fmla="*/ 759624 w 12196146"/>
                <a:gd name="connsiteY3" fmla="*/ 9217969 h 15946069"/>
                <a:gd name="connsiteX4" fmla="*/ 687278 w 12196146"/>
                <a:gd name="connsiteY4" fmla="*/ 9670126 h 15946069"/>
                <a:gd name="connsiteX5" fmla="*/ 144687 w 12196146"/>
                <a:gd name="connsiteY5" fmla="*/ 9941420 h 15946069"/>
                <a:gd name="connsiteX6" fmla="*/ 343643 w 12196146"/>
                <a:gd name="connsiteY6" fmla="*/ 10592536 h 15946069"/>
                <a:gd name="connsiteX7" fmla="*/ 940487 w 12196146"/>
                <a:gd name="connsiteY7" fmla="*/ 10954252 h 15946069"/>
                <a:gd name="connsiteX8" fmla="*/ 596844 w 12196146"/>
                <a:gd name="connsiteY8" fmla="*/ 11786221 h 15946069"/>
                <a:gd name="connsiteX9" fmla="*/ 633017 w 12196146"/>
                <a:gd name="connsiteY9" fmla="*/ 12780969 h 15946069"/>
                <a:gd name="connsiteX10" fmla="*/ 198944 w 12196146"/>
                <a:gd name="connsiteY10" fmla="*/ 13341645 h 15946069"/>
                <a:gd name="connsiteX11" fmla="*/ 723451 w 12196146"/>
                <a:gd name="connsiteY11" fmla="*/ 13757629 h 15946069"/>
                <a:gd name="connsiteX12" fmla="*/ 1640036 w 12196146"/>
                <a:gd name="connsiteY12" fmla="*/ 13197151 h 15946069"/>
                <a:gd name="connsiteX13" fmla="*/ 1880971 w 12196146"/>
                <a:gd name="connsiteY13" fmla="*/ 13395906 h 15946069"/>
                <a:gd name="connsiteX14" fmla="*/ 2930086 w 12196146"/>
                <a:gd name="connsiteY14" fmla="*/ 12952832 h 15946069"/>
                <a:gd name="connsiteX15" fmla="*/ 3828256 w 12196146"/>
                <a:gd name="connsiteY15" fmla="*/ 13245188 h 15946069"/>
                <a:gd name="connsiteX16" fmla="*/ 4768739 w 12196146"/>
                <a:gd name="connsiteY16" fmla="*/ 13040205 h 15946069"/>
                <a:gd name="connsiteX17" fmla="*/ 5190751 w 12196146"/>
                <a:gd name="connsiteY17" fmla="*/ 13649115 h 15946069"/>
                <a:gd name="connsiteX18" fmla="*/ 5932290 w 12196146"/>
                <a:gd name="connsiteY18" fmla="*/ 13444132 h 15946069"/>
                <a:gd name="connsiteX19" fmla="*/ 6498992 w 12196146"/>
                <a:gd name="connsiteY19" fmla="*/ 12991975 h 15946069"/>
                <a:gd name="connsiteX20" fmla="*/ 7373161 w 12196146"/>
                <a:gd name="connsiteY20" fmla="*/ 13582800 h 15946069"/>
                <a:gd name="connsiteX21" fmla="*/ 8512588 w 12196146"/>
                <a:gd name="connsiteY21" fmla="*/ 13570738 h 15946069"/>
                <a:gd name="connsiteX22" fmla="*/ 9742454 w 12196146"/>
                <a:gd name="connsiteY22" fmla="*/ 14004811 h 15946069"/>
                <a:gd name="connsiteX23" fmla="*/ 10616683 w 12196146"/>
                <a:gd name="connsiteY23" fmla="*/ 15358294 h 15946069"/>
                <a:gd name="connsiteX24" fmla="*/ 11117010 w 12196146"/>
                <a:gd name="connsiteY24" fmla="*/ 15946069 h 15946069"/>
                <a:gd name="connsiteX25" fmla="*/ 11780218 w 12196146"/>
                <a:gd name="connsiteY25" fmla="*/ 13579811 h 15946069"/>
                <a:gd name="connsiteX26" fmla="*/ 12196146 w 12196146"/>
                <a:gd name="connsiteY26" fmla="*/ 11388328 h 15946069"/>
                <a:gd name="connsiteX27" fmla="*/ 11899987 w 12196146"/>
                <a:gd name="connsiteY27" fmla="*/ 10752355 h 15946069"/>
                <a:gd name="connsiteX28" fmla="*/ 11893530 w 12196146"/>
                <a:gd name="connsiteY28" fmla="*/ 10283919 h 15946069"/>
                <a:gd name="connsiteX29" fmla="*/ 11533930 w 12196146"/>
                <a:gd name="connsiteY29" fmla="*/ 9393151 h 15946069"/>
                <a:gd name="connsiteX30" fmla="*/ 11668657 w 12196146"/>
                <a:gd name="connsiteY30" fmla="*/ 8754316 h 15946069"/>
                <a:gd name="connsiteX31" fmla="*/ 12149687 w 12196146"/>
                <a:gd name="connsiteY31" fmla="*/ 8101619 h 15946069"/>
                <a:gd name="connsiteX32" fmla="*/ 11118705 w 12196146"/>
                <a:gd name="connsiteY32" fmla="*/ 7156845 h 15946069"/>
                <a:gd name="connsiteX33" fmla="*/ 10425568 w 12196146"/>
                <a:gd name="connsiteY33" fmla="*/ 7223642 h 15946069"/>
                <a:gd name="connsiteX34" fmla="*/ 10709437 w 12196146"/>
                <a:gd name="connsiteY34" fmla="*/ 6730245 h 15946069"/>
                <a:gd name="connsiteX35" fmla="*/ 10017677 w 12196146"/>
                <a:gd name="connsiteY35" fmla="*/ 5883475 h 15946069"/>
                <a:gd name="connsiteX36" fmla="*/ 9318595 w 12196146"/>
                <a:gd name="connsiteY36" fmla="*/ 5859197 h 15946069"/>
                <a:gd name="connsiteX37" fmla="*/ 9215073 w 12196146"/>
                <a:gd name="connsiteY37" fmla="*/ 5387392 h 15946069"/>
                <a:gd name="connsiteX38" fmla="*/ 8600211 w 12196146"/>
                <a:gd name="connsiteY38" fmla="*/ 5564744 h 15946069"/>
                <a:gd name="connsiteX39" fmla="*/ 8412926 w 12196146"/>
                <a:gd name="connsiteY39" fmla="*/ 4835463 h 15946069"/>
                <a:gd name="connsiteX40" fmla="*/ 7744624 w 12196146"/>
                <a:gd name="connsiteY40" fmla="*/ 4382387 h 15946069"/>
                <a:gd name="connsiteX41" fmla="*/ 8112983 w 12196146"/>
                <a:gd name="connsiteY41" fmla="*/ 3770361 h 15946069"/>
                <a:gd name="connsiteX42" fmla="*/ 7637793 w 12196146"/>
                <a:gd name="connsiteY42" fmla="*/ 2526072 h 15946069"/>
                <a:gd name="connsiteX43" fmla="*/ 7264687 w 12196146"/>
                <a:gd name="connsiteY43" fmla="*/ 2131091 h 15946069"/>
                <a:gd name="connsiteX44" fmla="*/ 6594245 w 12196146"/>
                <a:gd name="connsiteY44" fmla="*/ 2055834 h 15946069"/>
                <a:gd name="connsiteX45" fmla="*/ 6431470 w 12196146"/>
                <a:gd name="connsiteY45" fmla="*/ 1314295 h 15946069"/>
                <a:gd name="connsiteX46" fmla="*/ 5642908 w 12196146"/>
                <a:gd name="connsiteY46" fmla="*/ 1343233 h 15946069"/>
                <a:gd name="connsiteX47" fmla="*/ 5150959 w 12196146"/>
                <a:gd name="connsiteY47" fmla="*/ 1610907 h 15946069"/>
                <a:gd name="connsiteX48" fmla="*/ 5480133 w 12196146"/>
                <a:gd name="connsiteY48" fmla="*/ 2167963 h 15946069"/>
                <a:gd name="connsiteX49" fmla="*/ 4742216 w 12196146"/>
                <a:gd name="connsiteY49" fmla="*/ 2862495 h 15946069"/>
                <a:gd name="connsiteX50" fmla="*/ 2658667 w 12196146"/>
                <a:gd name="connsiteY50" fmla="*/ 0 h 15946069"/>
                <a:gd name="connsiteX51" fmla="*/ 2658682 w 12196146"/>
                <a:gd name="connsiteY51" fmla="*/ 1018890 h 15946069"/>
                <a:gd name="connsiteX52" fmla="*/ 1850829 w 12196146"/>
                <a:gd name="connsiteY52" fmla="*/ 1730283 h 15946069"/>
                <a:gd name="connsiteX53" fmla="*/ 1404694 w 12196146"/>
                <a:gd name="connsiteY53" fmla="*/ 2272862 h 15946069"/>
                <a:gd name="connsiteX54" fmla="*/ 2351216 w 12196146"/>
                <a:gd name="connsiteY54" fmla="*/ 3388182 h 15946069"/>
                <a:gd name="connsiteX55" fmla="*/ 2658682 w 12196146"/>
                <a:gd name="connsiteY55" fmla="*/ 4286458 h 15946069"/>
                <a:gd name="connsiteX56" fmla="*/ 1935228 w 12196146"/>
                <a:gd name="connsiteY56" fmla="*/ 5220918 h 15946069"/>
                <a:gd name="connsiteX57" fmla="*/ 875281 w 12196146"/>
                <a:gd name="connsiteY57" fmla="*/ 5166646 h 15946069"/>
                <a:gd name="connsiteX58" fmla="*/ 0 w 12196146"/>
                <a:gd name="connsiteY58" fmla="*/ 5890112 h 15946069"/>
                <a:gd name="connsiteX59" fmla="*/ 72345 w 12196146"/>
                <a:gd name="connsiteY59" fmla="*/ 6921032 h 15946069"/>
                <a:gd name="connsiteX60" fmla="*/ 477776 w 12196146"/>
                <a:gd name="connsiteY60" fmla="*/ 7436569 h 15946069"/>
                <a:gd name="connsiteX0" fmla="*/ 477776 w 12149688"/>
                <a:gd name="connsiteY0" fmla="*/ 7436569 h 15946069"/>
                <a:gd name="connsiteX1" fmla="*/ 271294 w 12149688"/>
                <a:gd name="connsiteY1" fmla="*/ 8060457 h 15946069"/>
                <a:gd name="connsiteX2" fmla="*/ 379812 w 12149688"/>
                <a:gd name="connsiteY2" fmla="*/ 8675382 h 15946069"/>
                <a:gd name="connsiteX3" fmla="*/ 759624 w 12149688"/>
                <a:gd name="connsiteY3" fmla="*/ 9217969 h 15946069"/>
                <a:gd name="connsiteX4" fmla="*/ 687278 w 12149688"/>
                <a:gd name="connsiteY4" fmla="*/ 9670126 h 15946069"/>
                <a:gd name="connsiteX5" fmla="*/ 144687 w 12149688"/>
                <a:gd name="connsiteY5" fmla="*/ 9941420 h 15946069"/>
                <a:gd name="connsiteX6" fmla="*/ 343643 w 12149688"/>
                <a:gd name="connsiteY6" fmla="*/ 10592536 h 15946069"/>
                <a:gd name="connsiteX7" fmla="*/ 940487 w 12149688"/>
                <a:gd name="connsiteY7" fmla="*/ 10954252 h 15946069"/>
                <a:gd name="connsiteX8" fmla="*/ 596844 w 12149688"/>
                <a:gd name="connsiteY8" fmla="*/ 11786221 h 15946069"/>
                <a:gd name="connsiteX9" fmla="*/ 633017 w 12149688"/>
                <a:gd name="connsiteY9" fmla="*/ 12780969 h 15946069"/>
                <a:gd name="connsiteX10" fmla="*/ 198944 w 12149688"/>
                <a:gd name="connsiteY10" fmla="*/ 13341645 h 15946069"/>
                <a:gd name="connsiteX11" fmla="*/ 723451 w 12149688"/>
                <a:gd name="connsiteY11" fmla="*/ 13757629 h 15946069"/>
                <a:gd name="connsiteX12" fmla="*/ 1640036 w 12149688"/>
                <a:gd name="connsiteY12" fmla="*/ 13197151 h 15946069"/>
                <a:gd name="connsiteX13" fmla="*/ 1880971 w 12149688"/>
                <a:gd name="connsiteY13" fmla="*/ 13395906 h 15946069"/>
                <a:gd name="connsiteX14" fmla="*/ 2930086 w 12149688"/>
                <a:gd name="connsiteY14" fmla="*/ 12952832 h 15946069"/>
                <a:gd name="connsiteX15" fmla="*/ 3828256 w 12149688"/>
                <a:gd name="connsiteY15" fmla="*/ 13245188 h 15946069"/>
                <a:gd name="connsiteX16" fmla="*/ 4768739 w 12149688"/>
                <a:gd name="connsiteY16" fmla="*/ 13040205 h 15946069"/>
                <a:gd name="connsiteX17" fmla="*/ 5190751 w 12149688"/>
                <a:gd name="connsiteY17" fmla="*/ 13649115 h 15946069"/>
                <a:gd name="connsiteX18" fmla="*/ 5932290 w 12149688"/>
                <a:gd name="connsiteY18" fmla="*/ 13444132 h 15946069"/>
                <a:gd name="connsiteX19" fmla="*/ 6498992 w 12149688"/>
                <a:gd name="connsiteY19" fmla="*/ 12991975 h 15946069"/>
                <a:gd name="connsiteX20" fmla="*/ 7373161 w 12149688"/>
                <a:gd name="connsiteY20" fmla="*/ 13582800 h 15946069"/>
                <a:gd name="connsiteX21" fmla="*/ 8512588 w 12149688"/>
                <a:gd name="connsiteY21" fmla="*/ 13570738 h 15946069"/>
                <a:gd name="connsiteX22" fmla="*/ 9742454 w 12149688"/>
                <a:gd name="connsiteY22" fmla="*/ 14004811 h 15946069"/>
                <a:gd name="connsiteX23" fmla="*/ 10616683 w 12149688"/>
                <a:gd name="connsiteY23" fmla="*/ 15358294 h 15946069"/>
                <a:gd name="connsiteX24" fmla="*/ 11117010 w 12149688"/>
                <a:gd name="connsiteY24" fmla="*/ 15946069 h 15946069"/>
                <a:gd name="connsiteX25" fmla="*/ 11780218 w 12149688"/>
                <a:gd name="connsiteY25" fmla="*/ 13579811 h 15946069"/>
                <a:gd name="connsiteX26" fmla="*/ 8823707 w 12149688"/>
                <a:gd name="connsiteY26" fmla="*/ 11436049 h 15946069"/>
                <a:gd name="connsiteX27" fmla="*/ 11899987 w 12149688"/>
                <a:gd name="connsiteY27" fmla="*/ 10752355 h 15946069"/>
                <a:gd name="connsiteX28" fmla="*/ 11893530 w 12149688"/>
                <a:gd name="connsiteY28" fmla="*/ 10283919 h 15946069"/>
                <a:gd name="connsiteX29" fmla="*/ 11533930 w 12149688"/>
                <a:gd name="connsiteY29" fmla="*/ 9393151 h 15946069"/>
                <a:gd name="connsiteX30" fmla="*/ 11668657 w 12149688"/>
                <a:gd name="connsiteY30" fmla="*/ 8754316 h 15946069"/>
                <a:gd name="connsiteX31" fmla="*/ 12149687 w 12149688"/>
                <a:gd name="connsiteY31" fmla="*/ 8101619 h 15946069"/>
                <a:gd name="connsiteX32" fmla="*/ 11118705 w 12149688"/>
                <a:gd name="connsiteY32" fmla="*/ 7156845 h 15946069"/>
                <a:gd name="connsiteX33" fmla="*/ 10425568 w 12149688"/>
                <a:gd name="connsiteY33" fmla="*/ 7223642 h 15946069"/>
                <a:gd name="connsiteX34" fmla="*/ 10709437 w 12149688"/>
                <a:gd name="connsiteY34" fmla="*/ 6730245 h 15946069"/>
                <a:gd name="connsiteX35" fmla="*/ 10017677 w 12149688"/>
                <a:gd name="connsiteY35" fmla="*/ 5883475 h 15946069"/>
                <a:gd name="connsiteX36" fmla="*/ 9318595 w 12149688"/>
                <a:gd name="connsiteY36" fmla="*/ 5859197 h 15946069"/>
                <a:gd name="connsiteX37" fmla="*/ 9215073 w 12149688"/>
                <a:gd name="connsiteY37" fmla="*/ 5387392 h 15946069"/>
                <a:gd name="connsiteX38" fmla="*/ 8600211 w 12149688"/>
                <a:gd name="connsiteY38" fmla="*/ 5564744 h 15946069"/>
                <a:gd name="connsiteX39" fmla="*/ 8412926 w 12149688"/>
                <a:gd name="connsiteY39" fmla="*/ 4835463 h 15946069"/>
                <a:gd name="connsiteX40" fmla="*/ 7744624 w 12149688"/>
                <a:gd name="connsiteY40" fmla="*/ 4382387 h 15946069"/>
                <a:gd name="connsiteX41" fmla="*/ 8112983 w 12149688"/>
                <a:gd name="connsiteY41" fmla="*/ 3770361 h 15946069"/>
                <a:gd name="connsiteX42" fmla="*/ 7637793 w 12149688"/>
                <a:gd name="connsiteY42" fmla="*/ 2526072 h 15946069"/>
                <a:gd name="connsiteX43" fmla="*/ 7264687 w 12149688"/>
                <a:gd name="connsiteY43" fmla="*/ 2131091 h 15946069"/>
                <a:gd name="connsiteX44" fmla="*/ 6594245 w 12149688"/>
                <a:gd name="connsiteY44" fmla="*/ 2055834 h 15946069"/>
                <a:gd name="connsiteX45" fmla="*/ 6431470 w 12149688"/>
                <a:gd name="connsiteY45" fmla="*/ 1314295 h 15946069"/>
                <a:gd name="connsiteX46" fmla="*/ 5642908 w 12149688"/>
                <a:gd name="connsiteY46" fmla="*/ 1343233 h 15946069"/>
                <a:gd name="connsiteX47" fmla="*/ 5150959 w 12149688"/>
                <a:gd name="connsiteY47" fmla="*/ 1610907 h 15946069"/>
                <a:gd name="connsiteX48" fmla="*/ 5480133 w 12149688"/>
                <a:gd name="connsiteY48" fmla="*/ 2167963 h 15946069"/>
                <a:gd name="connsiteX49" fmla="*/ 4742216 w 12149688"/>
                <a:gd name="connsiteY49" fmla="*/ 2862495 h 15946069"/>
                <a:gd name="connsiteX50" fmla="*/ 2658667 w 12149688"/>
                <a:gd name="connsiteY50" fmla="*/ 0 h 15946069"/>
                <a:gd name="connsiteX51" fmla="*/ 2658682 w 12149688"/>
                <a:gd name="connsiteY51" fmla="*/ 1018890 h 15946069"/>
                <a:gd name="connsiteX52" fmla="*/ 1850829 w 12149688"/>
                <a:gd name="connsiteY52" fmla="*/ 1730283 h 15946069"/>
                <a:gd name="connsiteX53" fmla="*/ 1404694 w 12149688"/>
                <a:gd name="connsiteY53" fmla="*/ 2272862 h 15946069"/>
                <a:gd name="connsiteX54" fmla="*/ 2351216 w 12149688"/>
                <a:gd name="connsiteY54" fmla="*/ 3388182 h 15946069"/>
                <a:gd name="connsiteX55" fmla="*/ 2658682 w 12149688"/>
                <a:gd name="connsiteY55" fmla="*/ 4286458 h 15946069"/>
                <a:gd name="connsiteX56" fmla="*/ 1935228 w 12149688"/>
                <a:gd name="connsiteY56" fmla="*/ 5220918 h 15946069"/>
                <a:gd name="connsiteX57" fmla="*/ 875281 w 12149688"/>
                <a:gd name="connsiteY57" fmla="*/ 5166646 h 15946069"/>
                <a:gd name="connsiteX58" fmla="*/ 0 w 12149688"/>
                <a:gd name="connsiteY58" fmla="*/ 5890112 h 15946069"/>
                <a:gd name="connsiteX59" fmla="*/ 72345 w 12149688"/>
                <a:gd name="connsiteY59" fmla="*/ 6921032 h 15946069"/>
                <a:gd name="connsiteX60" fmla="*/ 477776 w 12149688"/>
                <a:gd name="connsiteY60" fmla="*/ 7436569 h 15946069"/>
                <a:gd name="connsiteX0" fmla="*/ 477776 w 12149688"/>
                <a:gd name="connsiteY0" fmla="*/ 7436569 h 15946069"/>
                <a:gd name="connsiteX1" fmla="*/ 271294 w 12149688"/>
                <a:gd name="connsiteY1" fmla="*/ 8060457 h 15946069"/>
                <a:gd name="connsiteX2" fmla="*/ 379812 w 12149688"/>
                <a:gd name="connsiteY2" fmla="*/ 8675382 h 15946069"/>
                <a:gd name="connsiteX3" fmla="*/ 759624 w 12149688"/>
                <a:gd name="connsiteY3" fmla="*/ 9217969 h 15946069"/>
                <a:gd name="connsiteX4" fmla="*/ 687278 w 12149688"/>
                <a:gd name="connsiteY4" fmla="*/ 9670126 h 15946069"/>
                <a:gd name="connsiteX5" fmla="*/ 144687 w 12149688"/>
                <a:gd name="connsiteY5" fmla="*/ 9941420 h 15946069"/>
                <a:gd name="connsiteX6" fmla="*/ 343643 w 12149688"/>
                <a:gd name="connsiteY6" fmla="*/ 10592536 h 15946069"/>
                <a:gd name="connsiteX7" fmla="*/ 940487 w 12149688"/>
                <a:gd name="connsiteY7" fmla="*/ 10954252 h 15946069"/>
                <a:gd name="connsiteX8" fmla="*/ 596844 w 12149688"/>
                <a:gd name="connsiteY8" fmla="*/ 11786221 h 15946069"/>
                <a:gd name="connsiteX9" fmla="*/ 633017 w 12149688"/>
                <a:gd name="connsiteY9" fmla="*/ 12780969 h 15946069"/>
                <a:gd name="connsiteX10" fmla="*/ 198944 w 12149688"/>
                <a:gd name="connsiteY10" fmla="*/ 13341645 h 15946069"/>
                <a:gd name="connsiteX11" fmla="*/ 723451 w 12149688"/>
                <a:gd name="connsiteY11" fmla="*/ 13757629 h 15946069"/>
                <a:gd name="connsiteX12" fmla="*/ 1640036 w 12149688"/>
                <a:gd name="connsiteY12" fmla="*/ 13197151 h 15946069"/>
                <a:gd name="connsiteX13" fmla="*/ 1880971 w 12149688"/>
                <a:gd name="connsiteY13" fmla="*/ 13395906 h 15946069"/>
                <a:gd name="connsiteX14" fmla="*/ 2930086 w 12149688"/>
                <a:gd name="connsiteY14" fmla="*/ 12952832 h 15946069"/>
                <a:gd name="connsiteX15" fmla="*/ 3828256 w 12149688"/>
                <a:gd name="connsiteY15" fmla="*/ 13245188 h 15946069"/>
                <a:gd name="connsiteX16" fmla="*/ 4768739 w 12149688"/>
                <a:gd name="connsiteY16" fmla="*/ 13040205 h 15946069"/>
                <a:gd name="connsiteX17" fmla="*/ 5190751 w 12149688"/>
                <a:gd name="connsiteY17" fmla="*/ 13649115 h 15946069"/>
                <a:gd name="connsiteX18" fmla="*/ 5932290 w 12149688"/>
                <a:gd name="connsiteY18" fmla="*/ 13444132 h 15946069"/>
                <a:gd name="connsiteX19" fmla="*/ 6498992 w 12149688"/>
                <a:gd name="connsiteY19" fmla="*/ 12991975 h 15946069"/>
                <a:gd name="connsiteX20" fmla="*/ 7373161 w 12149688"/>
                <a:gd name="connsiteY20" fmla="*/ 13582800 h 15946069"/>
                <a:gd name="connsiteX21" fmla="*/ 8512588 w 12149688"/>
                <a:gd name="connsiteY21" fmla="*/ 13570738 h 15946069"/>
                <a:gd name="connsiteX22" fmla="*/ 9742454 w 12149688"/>
                <a:gd name="connsiteY22" fmla="*/ 14004811 h 15946069"/>
                <a:gd name="connsiteX23" fmla="*/ 10616683 w 12149688"/>
                <a:gd name="connsiteY23" fmla="*/ 15358294 h 15946069"/>
                <a:gd name="connsiteX24" fmla="*/ 11117010 w 12149688"/>
                <a:gd name="connsiteY24" fmla="*/ 15946069 h 15946069"/>
                <a:gd name="connsiteX25" fmla="*/ 11780218 w 12149688"/>
                <a:gd name="connsiteY25" fmla="*/ 13579811 h 15946069"/>
                <a:gd name="connsiteX26" fmla="*/ 11980885 w 12149688"/>
                <a:gd name="connsiteY26" fmla="*/ 11483773 h 15946069"/>
                <a:gd name="connsiteX27" fmla="*/ 11899987 w 12149688"/>
                <a:gd name="connsiteY27" fmla="*/ 10752355 h 15946069"/>
                <a:gd name="connsiteX28" fmla="*/ 11893530 w 12149688"/>
                <a:gd name="connsiteY28" fmla="*/ 10283919 h 15946069"/>
                <a:gd name="connsiteX29" fmla="*/ 11533930 w 12149688"/>
                <a:gd name="connsiteY29" fmla="*/ 9393151 h 15946069"/>
                <a:gd name="connsiteX30" fmla="*/ 11668657 w 12149688"/>
                <a:gd name="connsiteY30" fmla="*/ 8754316 h 15946069"/>
                <a:gd name="connsiteX31" fmla="*/ 12149687 w 12149688"/>
                <a:gd name="connsiteY31" fmla="*/ 8101619 h 15946069"/>
                <a:gd name="connsiteX32" fmla="*/ 11118705 w 12149688"/>
                <a:gd name="connsiteY32" fmla="*/ 7156845 h 15946069"/>
                <a:gd name="connsiteX33" fmla="*/ 10425568 w 12149688"/>
                <a:gd name="connsiteY33" fmla="*/ 7223642 h 15946069"/>
                <a:gd name="connsiteX34" fmla="*/ 10709437 w 12149688"/>
                <a:gd name="connsiteY34" fmla="*/ 6730245 h 15946069"/>
                <a:gd name="connsiteX35" fmla="*/ 10017677 w 12149688"/>
                <a:gd name="connsiteY35" fmla="*/ 5883475 h 15946069"/>
                <a:gd name="connsiteX36" fmla="*/ 9318595 w 12149688"/>
                <a:gd name="connsiteY36" fmla="*/ 5859197 h 15946069"/>
                <a:gd name="connsiteX37" fmla="*/ 9215073 w 12149688"/>
                <a:gd name="connsiteY37" fmla="*/ 5387392 h 15946069"/>
                <a:gd name="connsiteX38" fmla="*/ 8600211 w 12149688"/>
                <a:gd name="connsiteY38" fmla="*/ 5564744 h 15946069"/>
                <a:gd name="connsiteX39" fmla="*/ 8412926 w 12149688"/>
                <a:gd name="connsiteY39" fmla="*/ 4835463 h 15946069"/>
                <a:gd name="connsiteX40" fmla="*/ 7744624 w 12149688"/>
                <a:gd name="connsiteY40" fmla="*/ 4382387 h 15946069"/>
                <a:gd name="connsiteX41" fmla="*/ 8112983 w 12149688"/>
                <a:gd name="connsiteY41" fmla="*/ 3770361 h 15946069"/>
                <a:gd name="connsiteX42" fmla="*/ 7637793 w 12149688"/>
                <a:gd name="connsiteY42" fmla="*/ 2526072 h 15946069"/>
                <a:gd name="connsiteX43" fmla="*/ 7264687 w 12149688"/>
                <a:gd name="connsiteY43" fmla="*/ 2131091 h 15946069"/>
                <a:gd name="connsiteX44" fmla="*/ 6594245 w 12149688"/>
                <a:gd name="connsiteY44" fmla="*/ 2055834 h 15946069"/>
                <a:gd name="connsiteX45" fmla="*/ 6431470 w 12149688"/>
                <a:gd name="connsiteY45" fmla="*/ 1314295 h 15946069"/>
                <a:gd name="connsiteX46" fmla="*/ 5642908 w 12149688"/>
                <a:gd name="connsiteY46" fmla="*/ 1343233 h 15946069"/>
                <a:gd name="connsiteX47" fmla="*/ 5150959 w 12149688"/>
                <a:gd name="connsiteY47" fmla="*/ 1610907 h 15946069"/>
                <a:gd name="connsiteX48" fmla="*/ 5480133 w 12149688"/>
                <a:gd name="connsiteY48" fmla="*/ 2167963 h 15946069"/>
                <a:gd name="connsiteX49" fmla="*/ 4742216 w 12149688"/>
                <a:gd name="connsiteY49" fmla="*/ 2862495 h 15946069"/>
                <a:gd name="connsiteX50" fmla="*/ 2658667 w 12149688"/>
                <a:gd name="connsiteY50" fmla="*/ 0 h 15946069"/>
                <a:gd name="connsiteX51" fmla="*/ 2658682 w 12149688"/>
                <a:gd name="connsiteY51" fmla="*/ 1018890 h 15946069"/>
                <a:gd name="connsiteX52" fmla="*/ 1850829 w 12149688"/>
                <a:gd name="connsiteY52" fmla="*/ 1730283 h 15946069"/>
                <a:gd name="connsiteX53" fmla="*/ 1404694 w 12149688"/>
                <a:gd name="connsiteY53" fmla="*/ 2272862 h 15946069"/>
                <a:gd name="connsiteX54" fmla="*/ 2351216 w 12149688"/>
                <a:gd name="connsiteY54" fmla="*/ 3388182 h 15946069"/>
                <a:gd name="connsiteX55" fmla="*/ 2658682 w 12149688"/>
                <a:gd name="connsiteY55" fmla="*/ 4286458 h 15946069"/>
                <a:gd name="connsiteX56" fmla="*/ 1935228 w 12149688"/>
                <a:gd name="connsiteY56" fmla="*/ 5220918 h 15946069"/>
                <a:gd name="connsiteX57" fmla="*/ 875281 w 12149688"/>
                <a:gd name="connsiteY57" fmla="*/ 5166646 h 15946069"/>
                <a:gd name="connsiteX58" fmla="*/ 0 w 12149688"/>
                <a:gd name="connsiteY58" fmla="*/ 5890112 h 15946069"/>
                <a:gd name="connsiteX59" fmla="*/ 72345 w 12149688"/>
                <a:gd name="connsiteY59" fmla="*/ 6921032 h 15946069"/>
                <a:gd name="connsiteX60" fmla="*/ 477776 w 12149688"/>
                <a:gd name="connsiteY60" fmla="*/ 7436569 h 15946069"/>
                <a:gd name="connsiteX0" fmla="*/ 477776 w 12149688"/>
                <a:gd name="connsiteY0" fmla="*/ 7436569 h 15946069"/>
                <a:gd name="connsiteX1" fmla="*/ 271294 w 12149688"/>
                <a:gd name="connsiteY1" fmla="*/ 8060457 h 15946069"/>
                <a:gd name="connsiteX2" fmla="*/ 379812 w 12149688"/>
                <a:gd name="connsiteY2" fmla="*/ 8675382 h 15946069"/>
                <a:gd name="connsiteX3" fmla="*/ 759624 w 12149688"/>
                <a:gd name="connsiteY3" fmla="*/ 9217969 h 15946069"/>
                <a:gd name="connsiteX4" fmla="*/ 687278 w 12149688"/>
                <a:gd name="connsiteY4" fmla="*/ 9670126 h 15946069"/>
                <a:gd name="connsiteX5" fmla="*/ 144687 w 12149688"/>
                <a:gd name="connsiteY5" fmla="*/ 9941420 h 15946069"/>
                <a:gd name="connsiteX6" fmla="*/ 343643 w 12149688"/>
                <a:gd name="connsiteY6" fmla="*/ 10592536 h 15946069"/>
                <a:gd name="connsiteX7" fmla="*/ 940487 w 12149688"/>
                <a:gd name="connsiteY7" fmla="*/ 10954252 h 15946069"/>
                <a:gd name="connsiteX8" fmla="*/ 596844 w 12149688"/>
                <a:gd name="connsiteY8" fmla="*/ 11786221 h 15946069"/>
                <a:gd name="connsiteX9" fmla="*/ 633017 w 12149688"/>
                <a:gd name="connsiteY9" fmla="*/ 12780969 h 15946069"/>
                <a:gd name="connsiteX10" fmla="*/ 198944 w 12149688"/>
                <a:gd name="connsiteY10" fmla="*/ 13341645 h 15946069"/>
                <a:gd name="connsiteX11" fmla="*/ 723451 w 12149688"/>
                <a:gd name="connsiteY11" fmla="*/ 13757629 h 15946069"/>
                <a:gd name="connsiteX12" fmla="*/ 1640036 w 12149688"/>
                <a:gd name="connsiteY12" fmla="*/ 13197151 h 15946069"/>
                <a:gd name="connsiteX13" fmla="*/ 1880971 w 12149688"/>
                <a:gd name="connsiteY13" fmla="*/ 13395906 h 15946069"/>
                <a:gd name="connsiteX14" fmla="*/ 2930086 w 12149688"/>
                <a:gd name="connsiteY14" fmla="*/ 12952832 h 15946069"/>
                <a:gd name="connsiteX15" fmla="*/ 3828256 w 12149688"/>
                <a:gd name="connsiteY15" fmla="*/ 13245188 h 15946069"/>
                <a:gd name="connsiteX16" fmla="*/ 4768739 w 12149688"/>
                <a:gd name="connsiteY16" fmla="*/ 13040205 h 15946069"/>
                <a:gd name="connsiteX17" fmla="*/ 5190751 w 12149688"/>
                <a:gd name="connsiteY17" fmla="*/ 13649115 h 15946069"/>
                <a:gd name="connsiteX18" fmla="*/ 5932290 w 12149688"/>
                <a:gd name="connsiteY18" fmla="*/ 13444132 h 15946069"/>
                <a:gd name="connsiteX19" fmla="*/ 6498992 w 12149688"/>
                <a:gd name="connsiteY19" fmla="*/ 12991975 h 15946069"/>
                <a:gd name="connsiteX20" fmla="*/ 7373161 w 12149688"/>
                <a:gd name="connsiteY20" fmla="*/ 13582800 h 15946069"/>
                <a:gd name="connsiteX21" fmla="*/ 8512588 w 12149688"/>
                <a:gd name="connsiteY21" fmla="*/ 13570738 h 15946069"/>
                <a:gd name="connsiteX22" fmla="*/ 9742454 w 12149688"/>
                <a:gd name="connsiteY22" fmla="*/ 14004811 h 15946069"/>
                <a:gd name="connsiteX23" fmla="*/ 10616683 w 12149688"/>
                <a:gd name="connsiteY23" fmla="*/ 15358294 h 15946069"/>
                <a:gd name="connsiteX24" fmla="*/ 11117010 w 12149688"/>
                <a:gd name="connsiteY24" fmla="*/ 15946069 h 15946069"/>
                <a:gd name="connsiteX25" fmla="*/ 11589945 w 12149688"/>
                <a:gd name="connsiteY25" fmla="*/ 15762811 h 15946069"/>
                <a:gd name="connsiteX26" fmla="*/ 11980885 w 12149688"/>
                <a:gd name="connsiteY26" fmla="*/ 11483773 h 15946069"/>
                <a:gd name="connsiteX27" fmla="*/ 11899987 w 12149688"/>
                <a:gd name="connsiteY27" fmla="*/ 10752355 h 15946069"/>
                <a:gd name="connsiteX28" fmla="*/ 11893530 w 12149688"/>
                <a:gd name="connsiteY28" fmla="*/ 10283919 h 15946069"/>
                <a:gd name="connsiteX29" fmla="*/ 11533930 w 12149688"/>
                <a:gd name="connsiteY29" fmla="*/ 9393151 h 15946069"/>
                <a:gd name="connsiteX30" fmla="*/ 11668657 w 12149688"/>
                <a:gd name="connsiteY30" fmla="*/ 8754316 h 15946069"/>
                <a:gd name="connsiteX31" fmla="*/ 12149687 w 12149688"/>
                <a:gd name="connsiteY31" fmla="*/ 8101619 h 15946069"/>
                <a:gd name="connsiteX32" fmla="*/ 11118705 w 12149688"/>
                <a:gd name="connsiteY32" fmla="*/ 7156845 h 15946069"/>
                <a:gd name="connsiteX33" fmla="*/ 10425568 w 12149688"/>
                <a:gd name="connsiteY33" fmla="*/ 7223642 h 15946069"/>
                <a:gd name="connsiteX34" fmla="*/ 10709437 w 12149688"/>
                <a:gd name="connsiteY34" fmla="*/ 6730245 h 15946069"/>
                <a:gd name="connsiteX35" fmla="*/ 10017677 w 12149688"/>
                <a:gd name="connsiteY35" fmla="*/ 5883475 h 15946069"/>
                <a:gd name="connsiteX36" fmla="*/ 9318595 w 12149688"/>
                <a:gd name="connsiteY36" fmla="*/ 5859197 h 15946069"/>
                <a:gd name="connsiteX37" fmla="*/ 9215073 w 12149688"/>
                <a:gd name="connsiteY37" fmla="*/ 5387392 h 15946069"/>
                <a:gd name="connsiteX38" fmla="*/ 8600211 w 12149688"/>
                <a:gd name="connsiteY38" fmla="*/ 5564744 h 15946069"/>
                <a:gd name="connsiteX39" fmla="*/ 8412926 w 12149688"/>
                <a:gd name="connsiteY39" fmla="*/ 4835463 h 15946069"/>
                <a:gd name="connsiteX40" fmla="*/ 7744624 w 12149688"/>
                <a:gd name="connsiteY40" fmla="*/ 4382387 h 15946069"/>
                <a:gd name="connsiteX41" fmla="*/ 8112983 w 12149688"/>
                <a:gd name="connsiteY41" fmla="*/ 3770361 h 15946069"/>
                <a:gd name="connsiteX42" fmla="*/ 7637793 w 12149688"/>
                <a:gd name="connsiteY42" fmla="*/ 2526072 h 15946069"/>
                <a:gd name="connsiteX43" fmla="*/ 7264687 w 12149688"/>
                <a:gd name="connsiteY43" fmla="*/ 2131091 h 15946069"/>
                <a:gd name="connsiteX44" fmla="*/ 6594245 w 12149688"/>
                <a:gd name="connsiteY44" fmla="*/ 2055834 h 15946069"/>
                <a:gd name="connsiteX45" fmla="*/ 6431470 w 12149688"/>
                <a:gd name="connsiteY45" fmla="*/ 1314295 h 15946069"/>
                <a:gd name="connsiteX46" fmla="*/ 5642908 w 12149688"/>
                <a:gd name="connsiteY46" fmla="*/ 1343233 h 15946069"/>
                <a:gd name="connsiteX47" fmla="*/ 5150959 w 12149688"/>
                <a:gd name="connsiteY47" fmla="*/ 1610907 h 15946069"/>
                <a:gd name="connsiteX48" fmla="*/ 5480133 w 12149688"/>
                <a:gd name="connsiteY48" fmla="*/ 2167963 h 15946069"/>
                <a:gd name="connsiteX49" fmla="*/ 4742216 w 12149688"/>
                <a:gd name="connsiteY49" fmla="*/ 2862495 h 15946069"/>
                <a:gd name="connsiteX50" fmla="*/ 2658667 w 12149688"/>
                <a:gd name="connsiteY50" fmla="*/ 0 h 15946069"/>
                <a:gd name="connsiteX51" fmla="*/ 2658682 w 12149688"/>
                <a:gd name="connsiteY51" fmla="*/ 1018890 h 15946069"/>
                <a:gd name="connsiteX52" fmla="*/ 1850829 w 12149688"/>
                <a:gd name="connsiteY52" fmla="*/ 1730283 h 15946069"/>
                <a:gd name="connsiteX53" fmla="*/ 1404694 w 12149688"/>
                <a:gd name="connsiteY53" fmla="*/ 2272862 h 15946069"/>
                <a:gd name="connsiteX54" fmla="*/ 2351216 w 12149688"/>
                <a:gd name="connsiteY54" fmla="*/ 3388182 h 15946069"/>
                <a:gd name="connsiteX55" fmla="*/ 2658682 w 12149688"/>
                <a:gd name="connsiteY55" fmla="*/ 4286458 h 15946069"/>
                <a:gd name="connsiteX56" fmla="*/ 1935228 w 12149688"/>
                <a:gd name="connsiteY56" fmla="*/ 5220918 h 15946069"/>
                <a:gd name="connsiteX57" fmla="*/ 875281 w 12149688"/>
                <a:gd name="connsiteY57" fmla="*/ 5166646 h 15946069"/>
                <a:gd name="connsiteX58" fmla="*/ 0 w 12149688"/>
                <a:gd name="connsiteY58" fmla="*/ 5890112 h 15946069"/>
                <a:gd name="connsiteX59" fmla="*/ 72345 w 12149688"/>
                <a:gd name="connsiteY59" fmla="*/ 6921032 h 15946069"/>
                <a:gd name="connsiteX60" fmla="*/ 477776 w 12149688"/>
                <a:gd name="connsiteY60" fmla="*/ 7436569 h 15946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2149688" h="15946069">
                  <a:moveTo>
                    <a:pt x="477776" y="7436569"/>
                  </a:moveTo>
                  <a:lnTo>
                    <a:pt x="271294" y="8060457"/>
                  </a:lnTo>
                  <a:lnTo>
                    <a:pt x="379812" y="8675382"/>
                  </a:lnTo>
                  <a:lnTo>
                    <a:pt x="759624" y="9217969"/>
                  </a:lnTo>
                  <a:lnTo>
                    <a:pt x="687278" y="9670126"/>
                  </a:lnTo>
                  <a:lnTo>
                    <a:pt x="144687" y="9941420"/>
                  </a:lnTo>
                  <a:lnTo>
                    <a:pt x="343643" y="10592536"/>
                  </a:lnTo>
                  <a:lnTo>
                    <a:pt x="940487" y="10954252"/>
                  </a:lnTo>
                  <a:lnTo>
                    <a:pt x="596844" y="11786221"/>
                  </a:lnTo>
                  <a:lnTo>
                    <a:pt x="633017" y="12780969"/>
                  </a:lnTo>
                  <a:lnTo>
                    <a:pt x="198944" y="13341645"/>
                  </a:lnTo>
                  <a:lnTo>
                    <a:pt x="723451" y="13757629"/>
                  </a:lnTo>
                  <a:lnTo>
                    <a:pt x="1640036" y="13197151"/>
                  </a:lnTo>
                  <a:lnTo>
                    <a:pt x="1880971" y="13395906"/>
                  </a:lnTo>
                  <a:lnTo>
                    <a:pt x="2930086" y="12952832"/>
                  </a:lnTo>
                  <a:lnTo>
                    <a:pt x="3828256" y="13245188"/>
                  </a:lnTo>
                  <a:lnTo>
                    <a:pt x="4768739" y="13040205"/>
                  </a:lnTo>
                  <a:lnTo>
                    <a:pt x="5190751" y="13649115"/>
                  </a:lnTo>
                  <a:lnTo>
                    <a:pt x="5932290" y="13444132"/>
                  </a:lnTo>
                  <a:lnTo>
                    <a:pt x="6498992" y="12991975"/>
                  </a:lnTo>
                  <a:lnTo>
                    <a:pt x="7373161" y="13582800"/>
                  </a:lnTo>
                  <a:lnTo>
                    <a:pt x="8512588" y="13570738"/>
                  </a:lnTo>
                  <a:lnTo>
                    <a:pt x="9742454" y="14004811"/>
                  </a:lnTo>
                  <a:lnTo>
                    <a:pt x="10616683" y="15358294"/>
                  </a:lnTo>
                  <a:lnTo>
                    <a:pt x="11117010" y="15946069"/>
                  </a:lnTo>
                  <a:lnTo>
                    <a:pt x="11589945" y="15762811"/>
                  </a:lnTo>
                  <a:lnTo>
                    <a:pt x="11980885" y="11483773"/>
                  </a:lnTo>
                  <a:lnTo>
                    <a:pt x="11899987" y="10752355"/>
                  </a:lnTo>
                  <a:cubicBezTo>
                    <a:pt x="11897835" y="10596210"/>
                    <a:pt x="11895682" y="10440064"/>
                    <a:pt x="11893530" y="10283919"/>
                  </a:cubicBezTo>
                  <a:lnTo>
                    <a:pt x="11533930" y="9393151"/>
                  </a:lnTo>
                  <a:lnTo>
                    <a:pt x="11668657" y="8754316"/>
                  </a:lnTo>
                  <a:lnTo>
                    <a:pt x="12149687" y="8101619"/>
                  </a:lnTo>
                  <a:lnTo>
                    <a:pt x="11118705" y="7156845"/>
                  </a:lnTo>
                  <a:lnTo>
                    <a:pt x="10425568" y="7223642"/>
                  </a:lnTo>
                  <a:lnTo>
                    <a:pt x="10709437" y="6730245"/>
                  </a:lnTo>
                  <a:lnTo>
                    <a:pt x="10017677" y="5883475"/>
                  </a:lnTo>
                  <a:lnTo>
                    <a:pt x="9318595" y="5859197"/>
                  </a:lnTo>
                  <a:lnTo>
                    <a:pt x="9215073" y="5387392"/>
                  </a:lnTo>
                  <a:lnTo>
                    <a:pt x="8600211" y="5564744"/>
                  </a:lnTo>
                  <a:lnTo>
                    <a:pt x="8412926" y="4835463"/>
                  </a:lnTo>
                  <a:lnTo>
                    <a:pt x="7744624" y="4382387"/>
                  </a:lnTo>
                  <a:lnTo>
                    <a:pt x="8112983" y="3770361"/>
                  </a:lnTo>
                  <a:lnTo>
                    <a:pt x="7637793" y="2526072"/>
                  </a:lnTo>
                  <a:lnTo>
                    <a:pt x="7264687" y="2131091"/>
                  </a:lnTo>
                  <a:lnTo>
                    <a:pt x="6594245" y="2055834"/>
                  </a:lnTo>
                  <a:lnTo>
                    <a:pt x="6431470" y="1314295"/>
                  </a:lnTo>
                  <a:lnTo>
                    <a:pt x="5642908" y="1343233"/>
                  </a:lnTo>
                  <a:lnTo>
                    <a:pt x="5150959" y="1610907"/>
                  </a:lnTo>
                  <a:lnTo>
                    <a:pt x="5480133" y="2167963"/>
                  </a:lnTo>
                  <a:lnTo>
                    <a:pt x="4742216" y="2862495"/>
                  </a:lnTo>
                  <a:lnTo>
                    <a:pt x="2658667" y="0"/>
                  </a:lnTo>
                  <a:lnTo>
                    <a:pt x="2658682" y="1018890"/>
                  </a:lnTo>
                  <a:lnTo>
                    <a:pt x="1850829" y="1730283"/>
                  </a:lnTo>
                  <a:lnTo>
                    <a:pt x="1404694" y="2272862"/>
                  </a:lnTo>
                  <a:lnTo>
                    <a:pt x="2351216" y="3388182"/>
                  </a:lnTo>
                  <a:lnTo>
                    <a:pt x="2658682" y="4286458"/>
                  </a:lnTo>
                  <a:lnTo>
                    <a:pt x="1935228" y="5220918"/>
                  </a:lnTo>
                  <a:lnTo>
                    <a:pt x="875281" y="5166646"/>
                  </a:lnTo>
                  <a:lnTo>
                    <a:pt x="0" y="5890112"/>
                  </a:lnTo>
                  <a:lnTo>
                    <a:pt x="72345" y="6921032"/>
                  </a:lnTo>
                  <a:lnTo>
                    <a:pt x="477776" y="7436569"/>
                  </a:lnTo>
                  <a:close/>
                </a:path>
              </a:pathLst>
            </a:custGeom>
            <a:solidFill>
              <a:schemeClr val="bg2">
                <a:lumMod val="90000"/>
              </a:schemeClr>
            </a:solid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12" name="任意多边形 114">
              <a:extLst>
                <a:ext uri="{FF2B5EF4-FFF2-40B4-BE49-F238E27FC236}">
                  <a16:creationId xmlns:a16="http://schemas.microsoft.com/office/drawing/2014/main" id="{04B9F5D8-01A0-6D1C-6F6C-D3ABB7BA4F95}"/>
                </a:ext>
              </a:extLst>
            </p:cNvPr>
            <p:cNvSpPr>
              <a:spLocks/>
            </p:cNvSpPr>
            <p:nvPr/>
          </p:nvSpPr>
          <p:spPr bwMode="auto">
            <a:xfrm>
              <a:off x="8255970" y="3854122"/>
              <a:ext cx="2381346" cy="1737972"/>
            </a:xfrm>
            <a:custGeom>
              <a:avLst/>
              <a:gdLst>
                <a:gd name="connsiteX0" fmla="*/ 0 w 17157070"/>
                <a:gd name="connsiteY0" fmla="*/ 4521645 h 12886678"/>
                <a:gd name="connsiteX1" fmla="*/ 613837 w 17157070"/>
                <a:gd name="connsiteY1" fmla="*/ 6900003 h 12886678"/>
                <a:gd name="connsiteX2" fmla="*/ 1518338 w 17157070"/>
                <a:gd name="connsiteY2" fmla="*/ 7768153 h 12886678"/>
                <a:gd name="connsiteX3" fmla="*/ 1735898 w 17157070"/>
                <a:gd name="connsiteY3" fmla="*/ 8600077 h 12886678"/>
                <a:gd name="connsiteX4" fmla="*/ 3137400 w 17157070"/>
                <a:gd name="connsiteY4" fmla="*/ 9124637 h 12886678"/>
                <a:gd name="connsiteX5" fmla="*/ 3453963 w 17157070"/>
                <a:gd name="connsiteY5" fmla="*/ 10481128 h 12886678"/>
                <a:gd name="connsiteX6" fmla="*/ 4168520 w 17157070"/>
                <a:gd name="connsiteY6" fmla="*/ 11855697 h 12886678"/>
                <a:gd name="connsiteX7" fmla="*/ 4162343 w 17157070"/>
                <a:gd name="connsiteY7" fmla="*/ 12886678 h 12886678"/>
                <a:gd name="connsiteX8" fmla="*/ 4605215 w 17157070"/>
                <a:gd name="connsiteY8" fmla="*/ 12802514 h 12886678"/>
                <a:gd name="connsiteX9" fmla="*/ 4840336 w 17157070"/>
                <a:gd name="connsiteY9" fmla="*/ 12513132 h 12886678"/>
                <a:gd name="connsiteX10" fmla="*/ 6070201 w 17157070"/>
                <a:gd name="connsiteY10" fmla="*/ 12531224 h 12886678"/>
                <a:gd name="connsiteX11" fmla="*/ 6884082 w 17157070"/>
                <a:gd name="connsiteY11" fmla="*/ 11934372 h 12886678"/>
                <a:gd name="connsiteX12" fmla="*/ 7716051 w 17157070"/>
                <a:gd name="connsiteY12" fmla="*/ 12259931 h 12886678"/>
                <a:gd name="connsiteX13" fmla="*/ 8584189 w 17157070"/>
                <a:gd name="connsiteY13" fmla="*/ 12060979 h 12886678"/>
                <a:gd name="connsiteX14" fmla="*/ 9289552 w 17157070"/>
                <a:gd name="connsiteY14" fmla="*/ 12259931 h 12886678"/>
                <a:gd name="connsiteX15" fmla="*/ 10139605 w 17157070"/>
                <a:gd name="connsiteY15" fmla="*/ 11862031 h 12886678"/>
                <a:gd name="connsiteX16" fmla="*/ 10664108 w 17157070"/>
                <a:gd name="connsiteY16" fmla="*/ 12079067 h 12886678"/>
                <a:gd name="connsiteX17" fmla="*/ 11387555 w 17157070"/>
                <a:gd name="connsiteY17" fmla="*/ 11988637 h 12886678"/>
                <a:gd name="connsiteX18" fmla="*/ 11966315 w 17157070"/>
                <a:gd name="connsiteY18" fmla="*/ 12712092 h 12886678"/>
                <a:gd name="connsiteX19" fmla="*/ 12942975 w 17157070"/>
                <a:gd name="connsiteY19" fmla="*/ 12476963 h 12886678"/>
                <a:gd name="connsiteX20" fmla="*/ 13575992 w 17157070"/>
                <a:gd name="connsiteY20" fmla="*/ 12874863 h 12886678"/>
                <a:gd name="connsiteX21" fmla="*/ 13973888 w 17157070"/>
                <a:gd name="connsiteY21" fmla="*/ 12784430 h 12886678"/>
                <a:gd name="connsiteX22" fmla="*/ 14028146 w 17157070"/>
                <a:gd name="connsiteY22" fmla="*/ 12241839 h 12886678"/>
                <a:gd name="connsiteX23" fmla="*/ 13594073 w 17157070"/>
                <a:gd name="connsiteY23" fmla="*/ 12187582 h 12886678"/>
                <a:gd name="connsiteX24" fmla="*/ 13612161 w 17157070"/>
                <a:gd name="connsiteY24" fmla="*/ 11500303 h 12886678"/>
                <a:gd name="connsiteX25" fmla="*/ 14190925 w 17157070"/>
                <a:gd name="connsiteY25" fmla="*/ 11355616 h 12886678"/>
                <a:gd name="connsiteX26" fmla="*/ 13865366 w 17157070"/>
                <a:gd name="connsiteY26" fmla="*/ 10885371 h 12886678"/>
                <a:gd name="connsiteX27" fmla="*/ 14136664 w 17157070"/>
                <a:gd name="connsiteY27" fmla="*/ 10487475 h 12886678"/>
                <a:gd name="connsiteX28" fmla="*/ 14703435 w 17157070"/>
                <a:gd name="connsiteY28" fmla="*/ 10514571 h 12886678"/>
                <a:gd name="connsiteX29" fmla="*/ 14661163 w 17157070"/>
                <a:gd name="connsiteY29" fmla="*/ 10342787 h 12886678"/>
                <a:gd name="connsiteX30" fmla="*/ 14335608 w 17157070"/>
                <a:gd name="connsiteY30" fmla="*/ 10180012 h 12886678"/>
                <a:gd name="connsiteX31" fmla="*/ 14498387 w 17157070"/>
                <a:gd name="connsiteY31" fmla="*/ 9601248 h 12886678"/>
                <a:gd name="connsiteX32" fmla="*/ 13847278 w 17157070"/>
                <a:gd name="connsiteY32" fmla="*/ 8696934 h 12886678"/>
                <a:gd name="connsiteX33" fmla="*/ 13340864 w 17157070"/>
                <a:gd name="connsiteY33" fmla="*/ 7991571 h 12886678"/>
                <a:gd name="connsiteX34" fmla="*/ 13123831 w 17157070"/>
                <a:gd name="connsiteY34" fmla="*/ 6906393 h 12886678"/>
                <a:gd name="connsiteX35" fmla="*/ 13232349 w 17157070"/>
                <a:gd name="connsiteY35" fmla="*/ 6219119 h 12886678"/>
                <a:gd name="connsiteX36" fmla="*/ 12273778 w 17157070"/>
                <a:gd name="connsiteY36" fmla="*/ 6252280 h 12886678"/>
                <a:gd name="connsiteX37" fmla="*/ 12201432 w 17157070"/>
                <a:gd name="connsiteY37" fmla="*/ 5854380 h 12886678"/>
                <a:gd name="connsiteX38" fmla="*/ 12508887 w 17157070"/>
                <a:gd name="connsiteY38" fmla="*/ 5350985 h 12886678"/>
                <a:gd name="connsiteX39" fmla="*/ 13774933 w 17157070"/>
                <a:gd name="connsiteY39" fmla="*/ 4573269 h 12886678"/>
                <a:gd name="connsiteX40" fmla="*/ 15294184 w 17157070"/>
                <a:gd name="connsiteY40" fmla="*/ 4066854 h 12886678"/>
                <a:gd name="connsiteX41" fmla="*/ 15746333 w 17157070"/>
                <a:gd name="connsiteY41" fmla="*/ 4392409 h 12886678"/>
                <a:gd name="connsiteX42" fmla="*/ 16578306 w 17157070"/>
                <a:gd name="connsiteY42" fmla="*/ 4103027 h 12886678"/>
                <a:gd name="connsiteX43" fmla="*/ 17084732 w 17157070"/>
                <a:gd name="connsiteY43" fmla="*/ 4500935 h 12886678"/>
                <a:gd name="connsiteX44" fmla="*/ 17157070 w 17157070"/>
                <a:gd name="connsiteY44" fmla="*/ 3560444 h 12886678"/>
                <a:gd name="connsiteX45" fmla="*/ 16433615 w 17157070"/>
                <a:gd name="connsiteY45" fmla="*/ 3470014 h 12886678"/>
                <a:gd name="connsiteX46" fmla="*/ 16415865 w 17157070"/>
                <a:gd name="connsiteY46" fmla="*/ 2853862 h 12886678"/>
                <a:gd name="connsiteX47" fmla="*/ 15963191 w 17157070"/>
                <a:gd name="connsiteY47" fmla="*/ 2993318 h 12886678"/>
                <a:gd name="connsiteX48" fmla="*/ 14923009 w 17157070"/>
                <a:gd name="connsiteY48" fmla="*/ 1763435 h 12886678"/>
                <a:gd name="connsiteX49" fmla="*/ 14244644 w 17157070"/>
                <a:gd name="connsiteY49" fmla="*/ 325540 h 12886678"/>
                <a:gd name="connsiteX50" fmla="*/ 13367278 w 17157070"/>
                <a:gd name="connsiteY50" fmla="*/ 614945 h 12886678"/>
                <a:gd name="connsiteX51" fmla="*/ 12218563 w 17157070"/>
                <a:gd name="connsiteY51" fmla="*/ 623988 h 12886678"/>
                <a:gd name="connsiteX52" fmla="*/ 11323109 w 17157070"/>
                <a:gd name="connsiteY52" fmla="*/ 36169 h 12886678"/>
                <a:gd name="connsiteX53" fmla="*/ 10780410 w 17157070"/>
                <a:gd name="connsiteY53" fmla="*/ 488337 h 12886678"/>
                <a:gd name="connsiteX54" fmla="*/ 10038717 w 17157070"/>
                <a:gd name="connsiteY54" fmla="*/ 687288 h 12886678"/>
                <a:gd name="connsiteX55" fmla="*/ 9622651 w 17157070"/>
                <a:gd name="connsiteY55" fmla="*/ 81389 h 12886678"/>
                <a:gd name="connsiteX56" fmla="*/ 8672925 w 17157070"/>
                <a:gd name="connsiteY56" fmla="*/ 280344 h 12886678"/>
                <a:gd name="connsiteX57" fmla="*/ 7759379 w 17157070"/>
                <a:gd name="connsiteY57" fmla="*/ 0 h 12886678"/>
                <a:gd name="connsiteX58" fmla="*/ 6729494 w 17157070"/>
                <a:gd name="connsiteY58" fmla="*/ 443189 h 12886678"/>
                <a:gd name="connsiteX59" fmla="*/ 6493079 w 17157070"/>
                <a:gd name="connsiteY59" fmla="*/ 1012843 h 12886678"/>
                <a:gd name="connsiteX60" fmla="*/ 6710175 w 17157070"/>
                <a:gd name="connsiteY60" fmla="*/ 2161345 h 12886678"/>
                <a:gd name="connsiteX61" fmla="*/ 4141784 w 17157070"/>
                <a:gd name="connsiteY61" fmla="*/ 2086470 h 12886678"/>
                <a:gd name="connsiteX62" fmla="*/ 2314296 w 17157070"/>
                <a:gd name="connsiteY62" fmla="*/ 2369327 h 12886678"/>
                <a:gd name="connsiteX63" fmla="*/ 1334589 w 17157070"/>
                <a:gd name="connsiteY63" fmla="*/ 3174199 h 12886678"/>
                <a:gd name="connsiteX64" fmla="*/ 0 w 17157070"/>
                <a:gd name="connsiteY64" fmla="*/ 4521645 h 12886678"/>
                <a:gd name="connsiteX0" fmla="*/ 0 w 17157070"/>
                <a:gd name="connsiteY0" fmla="*/ 4521645 h 12886678"/>
                <a:gd name="connsiteX1" fmla="*/ 613837 w 17157070"/>
                <a:gd name="connsiteY1" fmla="*/ 6900003 h 12886678"/>
                <a:gd name="connsiteX2" fmla="*/ 1518338 w 17157070"/>
                <a:gd name="connsiteY2" fmla="*/ 7768153 h 12886678"/>
                <a:gd name="connsiteX3" fmla="*/ 1735898 w 17157070"/>
                <a:gd name="connsiteY3" fmla="*/ 8600077 h 12886678"/>
                <a:gd name="connsiteX4" fmla="*/ 3137400 w 17157070"/>
                <a:gd name="connsiteY4" fmla="*/ 9124637 h 12886678"/>
                <a:gd name="connsiteX5" fmla="*/ 3453963 w 17157070"/>
                <a:gd name="connsiteY5" fmla="*/ 10481128 h 12886678"/>
                <a:gd name="connsiteX6" fmla="*/ 4168520 w 17157070"/>
                <a:gd name="connsiteY6" fmla="*/ 11855697 h 12886678"/>
                <a:gd name="connsiteX7" fmla="*/ 4162343 w 17157070"/>
                <a:gd name="connsiteY7" fmla="*/ 12886678 h 12886678"/>
                <a:gd name="connsiteX8" fmla="*/ 4605215 w 17157070"/>
                <a:gd name="connsiteY8" fmla="*/ 12802514 h 12886678"/>
                <a:gd name="connsiteX9" fmla="*/ 4840336 w 17157070"/>
                <a:gd name="connsiteY9" fmla="*/ 12513132 h 12886678"/>
                <a:gd name="connsiteX10" fmla="*/ 6070201 w 17157070"/>
                <a:gd name="connsiteY10" fmla="*/ 12531224 h 12886678"/>
                <a:gd name="connsiteX11" fmla="*/ 6884082 w 17157070"/>
                <a:gd name="connsiteY11" fmla="*/ 11934372 h 12886678"/>
                <a:gd name="connsiteX12" fmla="*/ 7716051 w 17157070"/>
                <a:gd name="connsiteY12" fmla="*/ 12259931 h 12886678"/>
                <a:gd name="connsiteX13" fmla="*/ 8584189 w 17157070"/>
                <a:gd name="connsiteY13" fmla="*/ 12060979 h 12886678"/>
                <a:gd name="connsiteX14" fmla="*/ 9289552 w 17157070"/>
                <a:gd name="connsiteY14" fmla="*/ 12259931 h 12886678"/>
                <a:gd name="connsiteX15" fmla="*/ 10139605 w 17157070"/>
                <a:gd name="connsiteY15" fmla="*/ 11862031 h 12886678"/>
                <a:gd name="connsiteX16" fmla="*/ 10664108 w 17157070"/>
                <a:gd name="connsiteY16" fmla="*/ 12079067 h 12886678"/>
                <a:gd name="connsiteX17" fmla="*/ 11387555 w 17157070"/>
                <a:gd name="connsiteY17" fmla="*/ 11988637 h 12886678"/>
                <a:gd name="connsiteX18" fmla="*/ 11966315 w 17157070"/>
                <a:gd name="connsiteY18" fmla="*/ 12712092 h 12886678"/>
                <a:gd name="connsiteX19" fmla="*/ 12942975 w 17157070"/>
                <a:gd name="connsiteY19" fmla="*/ 12476963 h 12886678"/>
                <a:gd name="connsiteX20" fmla="*/ 13575992 w 17157070"/>
                <a:gd name="connsiteY20" fmla="*/ 12874863 h 12886678"/>
                <a:gd name="connsiteX21" fmla="*/ 13973888 w 17157070"/>
                <a:gd name="connsiteY21" fmla="*/ 12784430 h 12886678"/>
                <a:gd name="connsiteX22" fmla="*/ 14028146 w 17157070"/>
                <a:gd name="connsiteY22" fmla="*/ 12241839 h 12886678"/>
                <a:gd name="connsiteX23" fmla="*/ 13594073 w 17157070"/>
                <a:gd name="connsiteY23" fmla="*/ 12187582 h 12886678"/>
                <a:gd name="connsiteX24" fmla="*/ 13612161 w 17157070"/>
                <a:gd name="connsiteY24" fmla="*/ 11500303 h 12886678"/>
                <a:gd name="connsiteX25" fmla="*/ 14190925 w 17157070"/>
                <a:gd name="connsiteY25" fmla="*/ 11355616 h 12886678"/>
                <a:gd name="connsiteX26" fmla="*/ 13865366 w 17157070"/>
                <a:gd name="connsiteY26" fmla="*/ 10885371 h 12886678"/>
                <a:gd name="connsiteX27" fmla="*/ 14136664 w 17157070"/>
                <a:gd name="connsiteY27" fmla="*/ 10487475 h 12886678"/>
                <a:gd name="connsiteX28" fmla="*/ 14703435 w 17157070"/>
                <a:gd name="connsiteY28" fmla="*/ 10514571 h 12886678"/>
                <a:gd name="connsiteX29" fmla="*/ 14661163 w 17157070"/>
                <a:gd name="connsiteY29" fmla="*/ 10342787 h 12886678"/>
                <a:gd name="connsiteX30" fmla="*/ 14335608 w 17157070"/>
                <a:gd name="connsiteY30" fmla="*/ 10180012 h 12886678"/>
                <a:gd name="connsiteX31" fmla="*/ 14498387 w 17157070"/>
                <a:gd name="connsiteY31" fmla="*/ 9601248 h 12886678"/>
                <a:gd name="connsiteX32" fmla="*/ 13847278 w 17157070"/>
                <a:gd name="connsiteY32" fmla="*/ 8696934 h 12886678"/>
                <a:gd name="connsiteX33" fmla="*/ 13340864 w 17157070"/>
                <a:gd name="connsiteY33" fmla="*/ 7991571 h 12886678"/>
                <a:gd name="connsiteX34" fmla="*/ 13123831 w 17157070"/>
                <a:gd name="connsiteY34" fmla="*/ 6906393 h 12886678"/>
                <a:gd name="connsiteX35" fmla="*/ 13232349 w 17157070"/>
                <a:gd name="connsiteY35" fmla="*/ 6219119 h 12886678"/>
                <a:gd name="connsiteX36" fmla="*/ 12273778 w 17157070"/>
                <a:gd name="connsiteY36" fmla="*/ 6252280 h 12886678"/>
                <a:gd name="connsiteX37" fmla="*/ 12201432 w 17157070"/>
                <a:gd name="connsiteY37" fmla="*/ 5854380 h 12886678"/>
                <a:gd name="connsiteX38" fmla="*/ 12508887 w 17157070"/>
                <a:gd name="connsiteY38" fmla="*/ 5350985 h 12886678"/>
                <a:gd name="connsiteX39" fmla="*/ 13774933 w 17157070"/>
                <a:gd name="connsiteY39" fmla="*/ 4573269 h 12886678"/>
                <a:gd name="connsiteX40" fmla="*/ 15294184 w 17157070"/>
                <a:gd name="connsiteY40" fmla="*/ 4066854 h 12886678"/>
                <a:gd name="connsiteX41" fmla="*/ 15746333 w 17157070"/>
                <a:gd name="connsiteY41" fmla="*/ 4392409 h 12886678"/>
                <a:gd name="connsiteX42" fmla="*/ 16578306 w 17157070"/>
                <a:gd name="connsiteY42" fmla="*/ 4103027 h 12886678"/>
                <a:gd name="connsiteX43" fmla="*/ 17084732 w 17157070"/>
                <a:gd name="connsiteY43" fmla="*/ 4500935 h 12886678"/>
                <a:gd name="connsiteX44" fmla="*/ 17157070 w 17157070"/>
                <a:gd name="connsiteY44" fmla="*/ 3560444 h 12886678"/>
                <a:gd name="connsiteX45" fmla="*/ 16433615 w 17157070"/>
                <a:gd name="connsiteY45" fmla="*/ 3470014 h 12886678"/>
                <a:gd name="connsiteX46" fmla="*/ 16415865 w 17157070"/>
                <a:gd name="connsiteY46" fmla="*/ 2853862 h 12886678"/>
                <a:gd name="connsiteX47" fmla="*/ 15963191 w 17157070"/>
                <a:gd name="connsiteY47" fmla="*/ 2993318 h 12886678"/>
                <a:gd name="connsiteX48" fmla="*/ 14923009 w 17157070"/>
                <a:gd name="connsiteY48" fmla="*/ 1763435 h 12886678"/>
                <a:gd name="connsiteX49" fmla="*/ 14244644 w 17157070"/>
                <a:gd name="connsiteY49" fmla="*/ 325540 h 12886678"/>
                <a:gd name="connsiteX50" fmla="*/ 13367278 w 17157070"/>
                <a:gd name="connsiteY50" fmla="*/ 614945 h 12886678"/>
                <a:gd name="connsiteX51" fmla="*/ 12218563 w 17157070"/>
                <a:gd name="connsiteY51" fmla="*/ 623988 h 12886678"/>
                <a:gd name="connsiteX52" fmla="*/ 11323109 w 17157070"/>
                <a:gd name="connsiteY52" fmla="*/ 36169 h 12886678"/>
                <a:gd name="connsiteX53" fmla="*/ 10780410 w 17157070"/>
                <a:gd name="connsiteY53" fmla="*/ 488337 h 12886678"/>
                <a:gd name="connsiteX54" fmla="*/ 10038717 w 17157070"/>
                <a:gd name="connsiteY54" fmla="*/ 687288 h 12886678"/>
                <a:gd name="connsiteX55" fmla="*/ 9622651 w 17157070"/>
                <a:gd name="connsiteY55" fmla="*/ 81389 h 12886678"/>
                <a:gd name="connsiteX56" fmla="*/ 8672925 w 17157070"/>
                <a:gd name="connsiteY56" fmla="*/ 280344 h 12886678"/>
                <a:gd name="connsiteX57" fmla="*/ 7759379 w 17157070"/>
                <a:gd name="connsiteY57" fmla="*/ 0 h 12886678"/>
                <a:gd name="connsiteX58" fmla="*/ 6729494 w 17157070"/>
                <a:gd name="connsiteY58" fmla="*/ 443189 h 12886678"/>
                <a:gd name="connsiteX59" fmla="*/ 6493079 w 17157070"/>
                <a:gd name="connsiteY59" fmla="*/ 1012843 h 12886678"/>
                <a:gd name="connsiteX60" fmla="*/ 4437471 w 17157070"/>
                <a:gd name="connsiteY60" fmla="*/ 2805824 h 12886678"/>
                <a:gd name="connsiteX61" fmla="*/ 4141784 w 17157070"/>
                <a:gd name="connsiteY61" fmla="*/ 2086470 h 12886678"/>
                <a:gd name="connsiteX62" fmla="*/ 2314296 w 17157070"/>
                <a:gd name="connsiteY62" fmla="*/ 2369327 h 12886678"/>
                <a:gd name="connsiteX63" fmla="*/ 1334589 w 17157070"/>
                <a:gd name="connsiteY63" fmla="*/ 3174199 h 12886678"/>
                <a:gd name="connsiteX64" fmla="*/ 0 w 17157070"/>
                <a:gd name="connsiteY64" fmla="*/ 4521645 h 12886678"/>
                <a:gd name="connsiteX0" fmla="*/ 0 w 17157070"/>
                <a:gd name="connsiteY0" fmla="*/ 4521645 h 12886678"/>
                <a:gd name="connsiteX1" fmla="*/ 613837 w 17157070"/>
                <a:gd name="connsiteY1" fmla="*/ 6900003 h 12886678"/>
                <a:gd name="connsiteX2" fmla="*/ 1518338 w 17157070"/>
                <a:gd name="connsiteY2" fmla="*/ 7768153 h 12886678"/>
                <a:gd name="connsiteX3" fmla="*/ 1735898 w 17157070"/>
                <a:gd name="connsiteY3" fmla="*/ 8600077 h 12886678"/>
                <a:gd name="connsiteX4" fmla="*/ 3137400 w 17157070"/>
                <a:gd name="connsiteY4" fmla="*/ 9124637 h 12886678"/>
                <a:gd name="connsiteX5" fmla="*/ 3453963 w 17157070"/>
                <a:gd name="connsiteY5" fmla="*/ 10481128 h 12886678"/>
                <a:gd name="connsiteX6" fmla="*/ 4168520 w 17157070"/>
                <a:gd name="connsiteY6" fmla="*/ 11855697 h 12886678"/>
                <a:gd name="connsiteX7" fmla="*/ 4162343 w 17157070"/>
                <a:gd name="connsiteY7" fmla="*/ 12886678 h 12886678"/>
                <a:gd name="connsiteX8" fmla="*/ 4605215 w 17157070"/>
                <a:gd name="connsiteY8" fmla="*/ 12802514 h 12886678"/>
                <a:gd name="connsiteX9" fmla="*/ 4840336 w 17157070"/>
                <a:gd name="connsiteY9" fmla="*/ 12513132 h 12886678"/>
                <a:gd name="connsiteX10" fmla="*/ 6070201 w 17157070"/>
                <a:gd name="connsiteY10" fmla="*/ 12531224 h 12886678"/>
                <a:gd name="connsiteX11" fmla="*/ 6884082 w 17157070"/>
                <a:gd name="connsiteY11" fmla="*/ 11934372 h 12886678"/>
                <a:gd name="connsiteX12" fmla="*/ 7716051 w 17157070"/>
                <a:gd name="connsiteY12" fmla="*/ 12259931 h 12886678"/>
                <a:gd name="connsiteX13" fmla="*/ 8584189 w 17157070"/>
                <a:gd name="connsiteY13" fmla="*/ 12060979 h 12886678"/>
                <a:gd name="connsiteX14" fmla="*/ 9289552 w 17157070"/>
                <a:gd name="connsiteY14" fmla="*/ 12259931 h 12886678"/>
                <a:gd name="connsiteX15" fmla="*/ 10139605 w 17157070"/>
                <a:gd name="connsiteY15" fmla="*/ 11862031 h 12886678"/>
                <a:gd name="connsiteX16" fmla="*/ 10664108 w 17157070"/>
                <a:gd name="connsiteY16" fmla="*/ 12079067 h 12886678"/>
                <a:gd name="connsiteX17" fmla="*/ 11387555 w 17157070"/>
                <a:gd name="connsiteY17" fmla="*/ 11988637 h 12886678"/>
                <a:gd name="connsiteX18" fmla="*/ 11966315 w 17157070"/>
                <a:gd name="connsiteY18" fmla="*/ 12712092 h 12886678"/>
                <a:gd name="connsiteX19" fmla="*/ 12942975 w 17157070"/>
                <a:gd name="connsiteY19" fmla="*/ 12476963 h 12886678"/>
                <a:gd name="connsiteX20" fmla="*/ 13575992 w 17157070"/>
                <a:gd name="connsiteY20" fmla="*/ 12874863 h 12886678"/>
                <a:gd name="connsiteX21" fmla="*/ 13973888 w 17157070"/>
                <a:gd name="connsiteY21" fmla="*/ 12784430 h 12886678"/>
                <a:gd name="connsiteX22" fmla="*/ 14028146 w 17157070"/>
                <a:gd name="connsiteY22" fmla="*/ 12241839 h 12886678"/>
                <a:gd name="connsiteX23" fmla="*/ 13594073 w 17157070"/>
                <a:gd name="connsiteY23" fmla="*/ 12187582 h 12886678"/>
                <a:gd name="connsiteX24" fmla="*/ 13612161 w 17157070"/>
                <a:gd name="connsiteY24" fmla="*/ 11500303 h 12886678"/>
                <a:gd name="connsiteX25" fmla="*/ 14190925 w 17157070"/>
                <a:gd name="connsiteY25" fmla="*/ 11355616 h 12886678"/>
                <a:gd name="connsiteX26" fmla="*/ 13865366 w 17157070"/>
                <a:gd name="connsiteY26" fmla="*/ 10885371 h 12886678"/>
                <a:gd name="connsiteX27" fmla="*/ 14136664 w 17157070"/>
                <a:gd name="connsiteY27" fmla="*/ 10487475 h 12886678"/>
                <a:gd name="connsiteX28" fmla="*/ 14703435 w 17157070"/>
                <a:gd name="connsiteY28" fmla="*/ 10514571 h 12886678"/>
                <a:gd name="connsiteX29" fmla="*/ 14661163 w 17157070"/>
                <a:gd name="connsiteY29" fmla="*/ 10342787 h 12886678"/>
                <a:gd name="connsiteX30" fmla="*/ 14335608 w 17157070"/>
                <a:gd name="connsiteY30" fmla="*/ 10180012 h 12886678"/>
                <a:gd name="connsiteX31" fmla="*/ 14498387 w 17157070"/>
                <a:gd name="connsiteY31" fmla="*/ 9601248 h 12886678"/>
                <a:gd name="connsiteX32" fmla="*/ 13847278 w 17157070"/>
                <a:gd name="connsiteY32" fmla="*/ 8696934 h 12886678"/>
                <a:gd name="connsiteX33" fmla="*/ 13340864 w 17157070"/>
                <a:gd name="connsiteY33" fmla="*/ 7991571 h 12886678"/>
                <a:gd name="connsiteX34" fmla="*/ 13123831 w 17157070"/>
                <a:gd name="connsiteY34" fmla="*/ 6906393 h 12886678"/>
                <a:gd name="connsiteX35" fmla="*/ 13232349 w 17157070"/>
                <a:gd name="connsiteY35" fmla="*/ 6219119 h 12886678"/>
                <a:gd name="connsiteX36" fmla="*/ 12273778 w 17157070"/>
                <a:gd name="connsiteY36" fmla="*/ 6252280 h 12886678"/>
                <a:gd name="connsiteX37" fmla="*/ 12201432 w 17157070"/>
                <a:gd name="connsiteY37" fmla="*/ 5854380 h 12886678"/>
                <a:gd name="connsiteX38" fmla="*/ 12508887 w 17157070"/>
                <a:gd name="connsiteY38" fmla="*/ 5350985 h 12886678"/>
                <a:gd name="connsiteX39" fmla="*/ 13774933 w 17157070"/>
                <a:gd name="connsiteY39" fmla="*/ 4573269 h 12886678"/>
                <a:gd name="connsiteX40" fmla="*/ 15294184 w 17157070"/>
                <a:gd name="connsiteY40" fmla="*/ 4066854 h 12886678"/>
                <a:gd name="connsiteX41" fmla="*/ 15746333 w 17157070"/>
                <a:gd name="connsiteY41" fmla="*/ 4392409 h 12886678"/>
                <a:gd name="connsiteX42" fmla="*/ 16578306 w 17157070"/>
                <a:gd name="connsiteY42" fmla="*/ 4103027 h 12886678"/>
                <a:gd name="connsiteX43" fmla="*/ 17084732 w 17157070"/>
                <a:gd name="connsiteY43" fmla="*/ 4500935 h 12886678"/>
                <a:gd name="connsiteX44" fmla="*/ 17157070 w 17157070"/>
                <a:gd name="connsiteY44" fmla="*/ 3560444 h 12886678"/>
                <a:gd name="connsiteX45" fmla="*/ 16433615 w 17157070"/>
                <a:gd name="connsiteY45" fmla="*/ 3470014 h 12886678"/>
                <a:gd name="connsiteX46" fmla="*/ 16415865 w 17157070"/>
                <a:gd name="connsiteY46" fmla="*/ 2853862 h 12886678"/>
                <a:gd name="connsiteX47" fmla="*/ 15963191 w 17157070"/>
                <a:gd name="connsiteY47" fmla="*/ 2993318 h 12886678"/>
                <a:gd name="connsiteX48" fmla="*/ 14923009 w 17157070"/>
                <a:gd name="connsiteY48" fmla="*/ 1763435 h 12886678"/>
                <a:gd name="connsiteX49" fmla="*/ 14244644 w 17157070"/>
                <a:gd name="connsiteY49" fmla="*/ 325540 h 12886678"/>
                <a:gd name="connsiteX50" fmla="*/ 13367278 w 17157070"/>
                <a:gd name="connsiteY50" fmla="*/ 614945 h 12886678"/>
                <a:gd name="connsiteX51" fmla="*/ 12218563 w 17157070"/>
                <a:gd name="connsiteY51" fmla="*/ 623988 h 12886678"/>
                <a:gd name="connsiteX52" fmla="*/ 11323109 w 17157070"/>
                <a:gd name="connsiteY52" fmla="*/ 36169 h 12886678"/>
                <a:gd name="connsiteX53" fmla="*/ 10780410 w 17157070"/>
                <a:gd name="connsiteY53" fmla="*/ 488337 h 12886678"/>
                <a:gd name="connsiteX54" fmla="*/ 10038717 w 17157070"/>
                <a:gd name="connsiteY54" fmla="*/ 687288 h 12886678"/>
                <a:gd name="connsiteX55" fmla="*/ 9622651 w 17157070"/>
                <a:gd name="connsiteY55" fmla="*/ 81389 h 12886678"/>
                <a:gd name="connsiteX56" fmla="*/ 8672925 w 17157070"/>
                <a:gd name="connsiteY56" fmla="*/ 280344 h 12886678"/>
                <a:gd name="connsiteX57" fmla="*/ 7759379 w 17157070"/>
                <a:gd name="connsiteY57" fmla="*/ 0 h 12886678"/>
                <a:gd name="connsiteX58" fmla="*/ 6729494 w 17157070"/>
                <a:gd name="connsiteY58" fmla="*/ 443189 h 12886678"/>
                <a:gd name="connsiteX59" fmla="*/ 4437471 w 17157070"/>
                <a:gd name="connsiteY59" fmla="*/ 2805824 h 12886678"/>
                <a:gd name="connsiteX60" fmla="*/ 4141784 w 17157070"/>
                <a:gd name="connsiteY60" fmla="*/ 2086470 h 12886678"/>
                <a:gd name="connsiteX61" fmla="*/ 2314296 w 17157070"/>
                <a:gd name="connsiteY61" fmla="*/ 2369327 h 12886678"/>
                <a:gd name="connsiteX62" fmla="*/ 1334589 w 17157070"/>
                <a:gd name="connsiteY62" fmla="*/ 3174199 h 12886678"/>
                <a:gd name="connsiteX63" fmla="*/ 0 w 17157070"/>
                <a:gd name="connsiteY63" fmla="*/ 4521645 h 12886678"/>
                <a:gd name="connsiteX0" fmla="*/ 0 w 17157070"/>
                <a:gd name="connsiteY0" fmla="*/ 4521645 h 12886678"/>
                <a:gd name="connsiteX1" fmla="*/ 613837 w 17157070"/>
                <a:gd name="connsiteY1" fmla="*/ 6900003 h 12886678"/>
                <a:gd name="connsiteX2" fmla="*/ 1518338 w 17157070"/>
                <a:gd name="connsiteY2" fmla="*/ 7768153 h 12886678"/>
                <a:gd name="connsiteX3" fmla="*/ 1735898 w 17157070"/>
                <a:gd name="connsiteY3" fmla="*/ 8600077 h 12886678"/>
                <a:gd name="connsiteX4" fmla="*/ 3137400 w 17157070"/>
                <a:gd name="connsiteY4" fmla="*/ 9124637 h 12886678"/>
                <a:gd name="connsiteX5" fmla="*/ 3453963 w 17157070"/>
                <a:gd name="connsiteY5" fmla="*/ 10481128 h 12886678"/>
                <a:gd name="connsiteX6" fmla="*/ 4168520 w 17157070"/>
                <a:gd name="connsiteY6" fmla="*/ 11855697 h 12886678"/>
                <a:gd name="connsiteX7" fmla="*/ 4162343 w 17157070"/>
                <a:gd name="connsiteY7" fmla="*/ 12886678 h 12886678"/>
                <a:gd name="connsiteX8" fmla="*/ 4605215 w 17157070"/>
                <a:gd name="connsiteY8" fmla="*/ 12802514 h 12886678"/>
                <a:gd name="connsiteX9" fmla="*/ 4840336 w 17157070"/>
                <a:gd name="connsiteY9" fmla="*/ 12513132 h 12886678"/>
                <a:gd name="connsiteX10" fmla="*/ 6070201 w 17157070"/>
                <a:gd name="connsiteY10" fmla="*/ 12531224 h 12886678"/>
                <a:gd name="connsiteX11" fmla="*/ 6884082 w 17157070"/>
                <a:gd name="connsiteY11" fmla="*/ 11934372 h 12886678"/>
                <a:gd name="connsiteX12" fmla="*/ 7716051 w 17157070"/>
                <a:gd name="connsiteY12" fmla="*/ 12259931 h 12886678"/>
                <a:gd name="connsiteX13" fmla="*/ 8584189 w 17157070"/>
                <a:gd name="connsiteY13" fmla="*/ 12060979 h 12886678"/>
                <a:gd name="connsiteX14" fmla="*/ 9289552 w 17157070"/>
                <a:gd name="connsiteY14" fmla="*/ 12259931 h 12886678"/>
                <a:gd name="connsiteX15" fmla="*/ 10139605 w 17157070"/>
                <a:gd name="connsiteY15" fmla="*/ 11862031 h 12886678"/>
                <a:gd name="connsiteX16" fmla="*/ 10664108 w 17157070"/>
                <a:gd name="connsiteY16" fmla="*/ 12079067 h 12886678"/>
                <a:gd name="connsiteX17" fmla="*/ 11387555 w 17157070"/>
                <a:gd name="connsiteY17" fmla="*/ 11988637 h 12886678"/>
                <a:gd name="connsiteX18" fmla="*/ 11966315 w 17157070"/>
                <a:gd name="connsiteY18" fmla="*/ 12712092 h 12886678"/>
                <a:gd name="connsiteX19" fmla="*/ 12942975 w 17157070"/>
                <a:gd name="connsiteY19" fmla="*/ 12476963 h 12886678"/>
                <a:gd name="connsiteX20" fmla="*/ 13575992 w 17157070"/>
                <a:gd name="connsiteY20" fmla="*/ 12874863 h 12886678"/>
                <a:gd name="connsiteX21" fmla="*/ 13973888 w 17157070"/>
                <a:gd name="connsiteY21" fmla="*/ 12784430 h 12886678"/>
                <a:gd name="connsiteX22" fmla="*/ 14028146 w 17157070"/>
                <a:gd name="connsiteY22" fmla="*/ 12241839 h 12886678"/>
                <a:gd name="connsiteX23" fmla="*/ 13594073 w 17157070"/>
                <a:gd name="connsiteY23" fmla="*/ 12187582 h 12886678"/>
                <a:gd name="connsiteX24" fmla="*/ 13612161 w 17157070"/>
                <a:gd name="connsiteY24" fmla="*/ 11500303 h 12886678"/>
                <a:gd name="connsiteX25" fmla="*/ 14190925 w 17157070"/>
                <a:gd name="connsiteY25" fmla="*/ 11355616 h 12886678"/>
                <a:gd name="connsiteX26" fmla="*/ 13865366 w 17157070"/>
                <a:gd name="connsiteY26" fmla="*/ 10885371 h 12886678"/>
                <a:gd name="connsiteX27" fmla="*/ 14136664 w 17157070"/>
                <a:gd name="connsiteY27" fmla="*/ 10487475 h 12886678"/>
                <a:gd name="connsiteX28" fmla="*/ 14703435 w 17157070"/>
                <a:gd name="connsiteY28" fmla="*/ 10514571 h 12886678"/>
                <a:gd name="connsiteX29" fmla="*/ 14661163 w 17157070"/>
                <a:gd name="connsiteY29" fmla="*/ 10342787 h 12886678"/>
                <a:gd name="connsiteX30" fmla="*/ 14335608 w 17157070"/>
                <a:gd name="connsiteY30" fmla="*/ 10180012 h 12886678"/>
                <a:gd name="connsiteX31" fmla="*/ 14498387 w 17157070"/>
                <a:gd name="connsiteY31" fmla="*/ 9601248 h 12886678"/>
                <a:gd name="connsiteX32" fmla="*/ 13847278 w 17157070"/>
                <a:gd name="connsiteY32" fmla="*/ 8696934 h 12886678"/>
                <a:gd name="connsiteX33" fmla="*/ 13340864 w 17157070"/>
                <a:gd name="connsiteY33" fmla="*/ 7991571 h 12886678"/>
                <a:gd name="connsiteX34" fmla="*/ 13123831 w 17157070"/>
                <a:gd name="connsiteY34" fmla="*/ 6906393 h 12886678"/>
                <a:gd name="connsiteX35" fmla="*/ 13232349 w 17157070"/>
                <a:gd name="connsiteY35" fmla="*/ 6219119 h 12886678"/>
                <a:gd name="connsiteX36" fmla="*/ 12273778 w 17157070"/>
                <a:gd name="connsiteY36" fmla="*/ 6252280 h 12886678"/>
                <a:gd name="connsiteX37" fmla="*/ 12201432 w 17157070"/>
                <a:gd name="connsiteY37" fmla="*/ 5854380 h 12886678"/>
                <a:gd name="connsiteX38" fmla="*/ 12508887 w 17157070"/>
                <a:gd name="connsiteY38" fmla="*/ 5350985 h 12886678"/>
                <a:gd name="connsiteX39" fmla="*/ 13774933 w 17157070"/>
                <a:gd name="connsiteY39" fmla="*/ 4573269 h 12886678"/>
                <a:gd name="connsiteX40" fmla="*/ 15294184 w 17157070"/>
                <a:gd name="connsiteY40" fmla="*/ 4066854 h 12886678"/>
                <a:gd name="connsiteX41" fmla="*/ 15746333 w 17157070"/>
                <a:gd name="connsiteY41" fmla="*/ 4392409 h 12886678"/>
                <a:gd name="connsiteX42" fmla="*/ 16578306 w 17157070"/>
                <a:gd name="connsiteY42" fmla="*/ 4103027 h 12886678"/>
                <a:gd name="connsiteX43" fmla="*/ 17084732 w 17157070"/>
                <a:gd name="connsiteY43" fmla="*/ 4500935 h 12886678"/>
                <a:gd name="connsiteX44" fmla="*/ 17157070 w 17157070"/>
                <a:gd name="connsiteY44" fmla="*/ 3560444 h 12886678"/>
                <a:gd name="connsiteX45" fmla="*/ 16433615 w 17157070"/>
                <a:gd name="connsiteY45" fmla="*/ 3470014 h 12886678"/>
                <a:gd name="connsiteX46" fmla="*/ 16415865 w 17157070"/>
                <a:gd name="connsiteY46" fmla="*/ 2853862 h 12886678"/>
                <a:gd name="connsiteX47" fmla="*/ 15963191 w 17157070"/>
                <a:gd name="connsiteY47" fmla="*/ 2993318 h 12886678"/>
                <a:gd name="connsiteX48" fmla="*/ 14923009 w 17157070"/>
                <a:gd name="connsiteY48" fmla="*/ 1763435 h 12886678"/>
                <a:gd name="connsiteX49" fmla="*/ 14244644 w 17157070"/>
                <a:gd name="connsiteY49" fmla="*/ 325540 h 12886678"/>
                <a:gd name="connsiteX50" fmla="*/ 13367278 w 17157070"/>
                <a:gd name="connsiteY50" fmla="*/ 614945 h 12886678"/>
                <a:gd name="connsiteX51" fmla="*/ 12218563 w 17157070"/>
                <a:gd name="connsiteY51" fmla="*/ 623988 h 12886678"/>
                <a:gd name="connsiteX52" fmla="*/ 11323109 w 17157070"/>
                <a:gd name="connsiteY52" fmla="*/ 36169 h 12886678"/>
                <a:gd name="connsiteX53" fmla="*/ 10780410 w 17157070"/>
                <a:gd name="connsiteY53" fmla="*/ 488337 h 12886678"/>
                <a:gd name="connsiteX54" fmla="*/ 10038717 w 17157070"/>
                <a:gd name="connsiteY54" fmla="*/ 687288 h 12886678"/>
                <a:gd name="connsiteX55" fmla="*/ 9622651 w 17157070"/>
                <a:gd name="connsiteY55" fmla="*/ 81389 h 12886678"/>
                <a:gd name="connsiteX56" fmla="*/ 8672925 w 17157070"/>
                <a:gd name="connsiteY56" fmla="*/ 280344 h 12886678"/>
                <a:gd name="connsiteX57" fmla="*/ 7759379 w 17157070"/>
                <a:gd name="connsiteY57" fmla="*/ 0 h 12886678"/>
                <a:gd name="connsiteX58" fmla="*/ 4432864 w 17157070"/>
                <a:gd name="connsiteY58" fmla="*/ 3474612 h 12886678"/>
                <a:gd name="connsiteX59" fmla="*/ 4437471 w 17157070"/>
                <a:gd name="connsiteY59" fmla="*/ 2805824 h 12886678"/>
                <a:gd name="connsiteX60" fmla="*/ 4141784 w 17157070"/>
                <a:gd name="connsiteY60" fmla="*/ 2086470 h 12886678"/>
                <a:gd name="connsiteX61" fmla="*/ 2314296 w 17157070"/>
                <a:gd name="connsiteY61" fmla="*/ 2369327 h 12886678"/>
                <a:gd name="connsiteX62" fmla="*/ 1334589 w 17157070"/>
                <a:gd name="connsiteY62" fmla="*/ 3174199 h 12886678"/>
                <a:gd name="connsiteX63" fmla="*/ 0 w 17157070"/>
                <a:gd name="connsiteY63" fmla="*/ 4521645 h 12886678"/>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10780410 w 17157070"/>
                <a:gd name="connsiteY53" fmla="*/ 452168 h 12850509"/>
                <a:gd name="connsiteX54" fmla="*/ 10038717 w 17157070"/>
                <a:gd name="connsiteY54" fmla="*/ 651119 h 12850509"/>
                <a:gd name="connsiteX55" fmla="*/ 9622651 w 17157070"/>
                <a:gd name="connsiteY55" fmla="*/ 45220 h 12850509"/>
                <a:gd name="connsiteX56" fmla="*/ 8672925 w 17157070"/>
                <a:gd name="connsiteY56" fmla="*/ 244175 h 12850509"/>
                <a:gd name="connsiteX57" fmla="*/ 4432864 w 17157070"/>
                <a:gd name="connsiteY57" fmla="*/ 3438443 h 12850509"/>
                <a:gd name="connsiteX58" fmla="*/ 4437471 w 17157070"/>
                <a:gd name="connsiteY58" fmla="*/ 2769655 h 12850509"/>
                <a:gd name="connsiteX59" fmla="*/ 4141784 w 17157070"/>
                <a:gd name="connsiteY59" fmla="*/ 2050301 h 12850509"/>
                <a:gd name="connsiteX60" fmla="*/ 2314296 w 17157070"/>
                <a:gd name="connsiteY60" fmla="*/ 2333158 h 12850509"/>
                <a:gd name="connsiteX61" fmla="*/ 1334589 w 17157070"/>
                <a:gd name="connsiteY61" fmla="*/ 3138030 h 12850509"/>
                <a:gd name="connsiteX62" fmla="*/ 0 w 17157070"/>
                <a:gd name="connsiteY62" fmla="*/ 4485476 h 12850509"/>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10780410 w 17157070"/>
                <a:gd name="connsiteY53" fmla="*/ 452168 h 12850509"/>
                <a:gd name="connsiteX54" fmla="*/ 10038717 w 17157070"/>
                <a:gd name="connsiteY54" fmla="*/ 651119 h 12850509"/>
                <a:gd name="connsiteX55" fmla="*/ 9622651 w 17157070"/>
                <a:gd name="connsiteY55" fmla="*/ 45220 h 12850509"/>
                <a:gd name="connsiteX56" fmla="*/ 4653822 w 17157070"/>
                <a:gd name="connsiteY56" fmla="*/ 3991678 h 12850509"/>
                <a:gd name="connsiteX57" fmla="*/ 4432864 w 17157070"/>
                <a:gd name="connsiteY57" fmla="*/ 3438443 h 12850509"/>
                <a:gd name="connsiteX58" fmla="*/ 4437471 w 17157070"/>
                <a:gd name="connsiteY58" fmla="*/ 2769655 h 12850509"/>
                <a:gd name="connsiteX59" fmla="*/ 4141784 w 17157070"/>
                <a:gd name="connsiteY59" fmla="*/ 2050301 h 12850509"/>
                <a:gd name="connsiteX60" fmla="*/ 2314296 w 17157070"/>
                <a:gd name="connsiteY60" fmla="*/ 2333158 h 12850509"/>
                <a:gd name="connsiteX61" fmla="*/ 1334589 w 17157070"/>
                <a:gd name="connsiteY61" fmla="*/ 3138030 h 12850509"/>
                <a:gd name="connsiteX62" fmla="*/ 0 w 17157070"/>
                <a:gd name="connsiteY62" fmla="*/ 4485476 h 12850509"/>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10780410 w 17157070"/>
                <a:gd name="connsiteY53" fmla="*/ 452168 h 12850509"/>
                <a:gd name="connsiteX54" fmla="*/ 10038717 w 17157070"/>
                <a:gd name="connsiteY54" fmla="*/ 651119 h 12850509"/>
                <a:gd name="connsiteX55" fmla="*/ 4653822 w 17157070"/>
                <a:gd name="connsiteY55" fmla="*/ 3991678 h 12850509"/>
                <a:gd name="connsiteX56" fmla="*/ 4432864 w 17157070"/>
                <a:gd name="connsiteY56" fmla="*/ 3438443 h 12850509"/>
                <a:gd name="connsiteX57" fmla="*/ 4437471 w 17157070"/>
                <a:gd name="connsiteY57" fmla="*/ 2769655 h 12850509"/>
                <a:gd name="connsiteX58" fmla="*/ 4141784 w 17157070"/>
                <a:gd name="connsiteY58" fmla="*/ 2050301 h 12850509"/>
                <a:gd name="connsiteX59" fmla="*/ 2314296 w 17157070"/>
                <a:gd name="connsiteY59" fmla="*/ 2333158 h 12850509"/>
                <a:gd name="connsiteX60" fmla="*/ 1334589 w 17157070"/>
                <a:gd name="connsiteY60" fmla="*/ 3138030 h 12850509"/>
                <a:gd name="connsiteX61" fmla="*/ 0 w 17157070"/>
                <a:gd name="connsiteY61" fmla="*/ 4485476 h 12850509"/>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10780410 w 17157070"/>
                <a:gd name="connsiteY53" fmla="*/ 452168 h 12850509"/>
                <a:gd name="connsiteX54" fmla="*/ 4416749 w 17157070"/>
                <a:gd name="connsiteY54" fmla="*/ 4541845 h 12850509"/>
                <a:gd name="connsiteX55" fmla="*/ 4653822 w 17157070"/>
                <a:gd name="connsiteY55" fmla="*/ 3991678 h 12850509"/>
                <a:gd name="connsiteX56" fmla="*/ 4432864 w 17157070"/>
                <a:gd name="connsiteY56" fmla="*/ 3438443 h 12850509"/>
                <a:gd name="connsiteX57" fmla="*/ 4437471 w 17157070"/>
                <a:gd name="connsiteY57" fmla="*/ 2769655 h 12850509"/>
                <a:gd name="connsiteX58" fmla="*/ 4141784 w 17157070"/>
                <a:gd name="connsiteY58" fmla="*/ 2050301 h 12850509"/>
                <a:gd name="connsiteX59" fmla="*/ 2314296 w 17157070"/>
                <a:gd name="connsiteY59" fmla="*/ 2333158 h 12850509"/>
                <a:gd name="connsiteX60" fmla="*/ 1334589 w 17157070"/>
                <a:gd name="connsiteY60" fmla="*/ 3138030 h 12850509"/>
                <a:gd name="connsiteX61" fmla="*/ 0 w 17157070"/>
                <a:gd name="connsiteY61" fmla="*/ 4485476 h 12850509"/>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4416749 w 17157070"/>
                <a:gd name="connsiteY53" fmla="*/ 4541845 h 12850509"/>
                <a:gd name="connsiteX54" fmla="*/ 4653822 w 17157070"/>
                <a:gd name="connsiteY54" fmla="*/ 3991678 h 12850509"/>
                <a:gd name="connsiteX55" fmla="*/ 4432864 w 17157070"/>
                <a:gd name="connsiteY55" fmla="*/ 3438443 h 12850509"/>
                <a:gd name="connsiteX56" fmla="*/ 4437471 w 17157070"/>
                <a:gd name="connsiteY56" fmla="*/ 2769655 h 12850509"/>
                <a:gd name="connsiteX57" fmla="*/ 4141784 w 17157070"/>
                <a:gd name="connsiteY57" fmla="*/ 2050301 h 12850509"/>
                <a:gd name="connsiteX58" fmla="*/ 2314296 w 17157070"/>
                <a:gd name="connsiteY58" fmla="*/ 2333158 h 12850509"/>
                <a:gd name="connsiteX59" fmla="*/ 1334589 w 17157070"/>
                <a:gd name="connsiteY59" fmla="*/ 3138030 h 12850509"/>
                <a:gd name="connsiteX60" fmla="*/ 0 w 17157070"/>
                <a:gd name="connsiteY60" fmla="*/ 4485476 h 12850509"/>
                <a:gd name="connsiteX0" fmla="*/ 0 w 17157070"/>
                <a:gd name="connsiteY0" fmla="*/ 4196103 h 12561136"/>
                <a:gd name="connsiteX1" fmla="*/ 613837 w 17157070"/>
                <a:gd name="connsiteY1" fmla="*/ 6574461 h 12561136"/>
                <a:gd name="connsiteX2" fmla="*/ 1518338 w 17157070"/>
                <a:gd name="connsiteY2" fmla="*/ 7442611 h 12561136"/>
                <a:gd name="connsiteX3" fmla="*/ 1735898 w 17157070"/>
                <a:gd name="connsiteY3" fmla="*/ 8274535 h 12561136"/>
                <a:gd name="connsiteX4" fmla="*/ 3137400 w 17157070"/>
                <a:gd name="connsiteY4" fmla="*/ 8799095 h 12561136"/>
                <a:gd name="connsiteX5" fmla="*/ 3453963 w 17157070"/>
                <a:gd name="connsiteY5" fmla="*/ 10155586 h 12561136"/>
                <a:gd name="connsiteX6" fmla="*/ 4168520 w 17157070"/>
                <a:gd name="connsiteY6" fmla="*/ 11530155 h 12561136"/>
                <a:gd name="connsiteX7" fmla="*/ 4162343 w 17157070"/>
                <a:gd name="connsiteY7" fmla="*/ 12561136 h 12561136"/>
                <a:gd name="connsiteX8" fmla="*/ 4605215 w 17157070"/>
                <a:gd name="connsiteY8" fmla="*/ 12476972 h 12561136"/>
                <a:gd name="connsiteX9" fmla="*/ 4840336 w 17157070"/>
                <a:gd name="connsiteY9" fmla="*/ 12187590 h 12561136"/>
                <a:gd name="connsiteX10" fmla="*/ 6070201 w 17157070"/>
                <a:gd name="connsiteY10" fmla="*/ 12205682 h 12561136"/>
                <a:gd name="connsiteX11" fmla="*/ 6884082 w 17157070"/>
                <a:gd name="connsiteY11" fmla="*/ 11608830 h 12561136"/>
                <a:gd name="connsiteX12" fmla="*/ 7716051 w 17157070"/>
                <a:gd name="connsiteY12" fmla="*/ 11934389 h 12561136"/>
                <a:gd name="connsiteX13" fmla="*/ 8584189 w 17157070"/>
                <a:gd name="connsiteY13" fmla="*/ 11735437 h 12561136"/>
                <a:gd name="connsiteX14" fmla="*/ 9289552 w 17157070"/>
                <a:gd name="connsiteY14" fmla="*/ 11934389 h 12561136"/>
                <a:gd name="connsiteX15" fmla="*/ 10139605 w 17157070"/>
                <a:gd name="connsiteY15" fmla="*/ 11536489 h 12561136"/>
                <a:gd name="connsiteX16" fmla="*/ 10664108 w 17157070"/>
                <a:gd name="connsiteY16" fmla="*/ 11753525 h 12561136"/>
                <a:gd name="connsiteX17" fmla="*/ 11387555 w 17157070"/>
                <a:gd name="connsiteY17" fmla="*/ 11663095 h 12561136"/>
                <a:gd name="connsiteX18" fmla="*/ 11966315 w 17157070"/>
                <a:gd name="connsiteY18" fmla="*/ 12386550 h 12561136"/>
                <a:gd name="connsiteX19" fmla="*/ 12942975 w 17157070"/>
                <a:gd name="connsiteY19" fmla="*/ 12151421 h 12561136"/>
                <a:gd name="connsiteX20" fmla="*/ 13575992 w 17157070"/>
                <a:gd name="connsiteY20" fmla="*/ 12549321 h 12561136"/>
                <a:gd name="connsiteX21" fmla="*/ 13973888 w 17157070"/>
                <a:gd name="connsiteY21" fmla="*/ 12458888 h 12561136"/>
                <a:gd name="connsiteX22" fmla="*/ 14028146 w 17157070"/>
                <a:gd name="connsiteY22" fmla="*/ 11916297 h 12561136"/>
                <a:gd name="connsiteX23" fmla="*/ 13594073 w 17157070"/>
                <a:gd name="connsiteY23" fmla="*/ 11862040 h 12561136"/>
                <a:gd name="connsiteX24" fmla="*/ 13612161 w 17157070"/>
                <a:gd name="connsiteY24" fmla="*/ 11174761 h 12561136"/>
                <a:gd name="connsiteX25" fmla="*/ 14190925 w 17157070"/>
                <a:gd name="connsiteY25" fmla="*/ 11030074 h 12561136"/>
                <a:gd name="connsiteX26" fmla="*/ 13865366 w 17157070"/>
                <a:gd name="connsiteY26" fmla="*/ 10559829 h 12561136"/>
                <a:gd name="connsiteX27" fmla="*/ 14136664 w 17157070"/>
                <a:gd name="connsiteY27" fmla="*/ 10161933 h 12561136"/>
                <a:gd name="connsiteX28" fmla="*/ 14703435 w 17157070"/>
                <a:gd name="connsiteY28" fmla="*/ 10189029 h 12561136"/>
                <a:gd name="connsiteX29" fmla="*/ 14661163 w 17157070"/>
                <a:gd name="connsiteY29" fmla="*/ 10017245 h 12561136"/>
                <a:gd name="connsiteX30" fmla="*/ 14335608 w 17157070"/>
                <a:gd name="connsiteY30" fmla="*/ 9854470 h 12561136"/>
                <a:gd name="connsiteX31" fmla="*/ 14498387 w 17157070"/>
                <a:gd name="connsiteY31" fmla="*/ 9275706 h 12561136"/>
                <a:gd name="connsiteX32" fmla="*/ 13847278 w 17157070"/>
                <a:gd name="connsiteY32" fmla="*/ 8371392 h 12561136"/>
                <a:gd name="connsiteX33" fmla="*/ 13340864 w 17157070"/>
                <a:gd name="connsiteY33" fmla="*/ 7666029 h 12561136"/>
                <a:gd name="connsiteX34" fmla="*/ 13123831 w 17157070"/>
                <a:gd name="connsiteY34" fmla="*/ 6580851 h 12561136"/>
                <a:gd name="connsiteX35" fmla="*/ 13232349 w 17157070"/>
                <a:gd name="connsiteY35" fmla="*/ 5893577 h 12561136"/>
                <a:gd name="connsiteX36" fmla="*/ 12273778 w 17157070"/>
                <a:gd name="connsiteY36" fmla="*/ 5926738 h 12561136"/>
                <a:gd name="connsiteX37" fmla="*/ 12201432 w 17157070"/>
                <a:gd name="connsiteY37" fmla="*/ 5528838 h 12561136"/>
                <a:gd name="connsiteX38" fmla="*/ 12508887 w 17157070"/>
                <a:gd name="connsiteY38" fmla="*/ 5025443 h 12561136"/>
                <a:gd name="connsiteX39" fmla="*/ 13774933 w 17157070"/>
                <a:gd name="connsiteY39" fmla="*/ 4247727 h 12561136"/>
                <a:gd name="connsiteX40" fmla="*/ 15294184 w 17157070"/>
                <a:gd name="connsiteY40" fmla="*/ 3741312 h 12561136"/>
                <a:gd name="connsiteX41" fmla="*/ 15746333 w 17157070"/>
                <a:gd name="connsiteY41" fmla="*/ 4066867 h 12561136"/>
                <a:gd name="connsiteX42" fmla="*/ 16578306 w 17157070"/>
                <a:gd name="connsiteY42" fmla="*/ 3777485 h 12561136"/>
                <a:gd name="connsiteX43" fmla="*/ 17084732 w 17157070"/>
                <a:gd name="connsiteY43" fmla="*/ 4175393 h 12561136"/>
                <a:gd name="connsiteX44" fmla="*/ 17157070 w 17157070"/>
                <a:gd name="connsiteY44" fmla="*/ 3234902 h 12561136"/>
                <a:gd name="connsiteX45" fmla="*/ 16433615 w 17157070"/>
                <a:gd name="connsiteY45" fmla="*/ 3144472 h 12561136"/>
                <a:gd name="connsiteX46" fmla="*/ 16415865 w 17157070"/>
                <a:gd name="connsiteY46" fmla="*/ 2528320 h 12561136"/>
                <a:gd name="connsiteX47" fmla="*/ 15963191 w 17157070"/>
                <a:gd name="connsiteY47" fmla="*/ 2667776 h 12561136"/>
                <a:gd name="connsiteX48" fmla="*/ 14923009 w 17157070"/>
                <a:gd name="connsiteY48" fmla="*/ 1437893 h 12561136"/>
                <a:gd name="connsiteX49" fmla="*/ 14244644 w 17157070"/>
                <a:gd name="connsiteY49" fmla="*/ -2 h 12561136"/>
                <a:gd name="connsiteX50" fmla="*/ 13367278 w 17157070"/>
                <a:gd name="connsiteY50" fmla="*/ 289403 h 12561136"/>
                <a:gd name="connsiteX51" fmla="*/ 12218563 w 17157070"/>
                <a:gd name="connsiteY51" fmla="*/ 298446 h 12561136"/>
                <a:gd name="connsiteX52" fmla="*/ 4600673 w 17157070"/>
                <a:gd name="connsiteY52" fmla="*/ 4675479 h 12561136"/>
                <a:gd name="connsiteX53" fmla="*/ 4416749 w 17157070"/>
                <a:gd name="connsiteY53" fmla="*/ 4252472 h 12561136"/>
                <a:gd name="connsiteX54" fmla="*/ 4653822 w 17157070"/>
                <a:gd name="connsiteY54" fmla="*/ 3702305 h 12561136"/>
                <a:gd name="connsiteX55" fmla="*/ 4432864 w 17157070"/>
                <a:gd name="connsiteY55" fmla="*/ 3149070 h 12561136"/>
                <a:gd name="connsiteX56" fmla="*/ 4437471 w 17157070"/>
                <a:gd name="connsiteY56" fmla="*/ 2480282 h 12561136"/>
                <a:gd name="connsiteX57" fmla="*/ 4141784 w 17157070"/>
                <a:gd name="connsiteY57" fmla="*/ 1760928 h 12561136"/>
                <a:gd name="connsiteX58" fmla="*/ 2314296 w 17157070"/>
                <a:gd name="connsiteY58" fmla="*/ 2043785 h 12561136"/>
                <a:gd name="connsiteX59" fmla="*/ 1334589 w 17157070"/>
                <a:gd name="connsiteY59" fmla="*/ 2848657 h 12561136"/>
                <a:gd name="connsiteX60" fmla="*/ 0 w 17157070"/>
                <a:gd name="connsiteY60" fmla="*/ 4196103 h 12561136"/>
                <a:gd name="connsiteX0" fmla="*/ 0 w 17157070"/>
                <a:gd name="connsiteY0" fmla="*/ 4196103 h 12561136"/>
                <a:gd name="connsiteX1" fmla="*/ 613837 w 17157070"/>
                <a:gd name="connsiteY1" fmla="*/ 6574461 h 12561136"/>
                <a:gd name="connsiteX2" fmla="*/ 1518338 w 17157070"/>
                <a:gd name="connsiteY2" fmla="*/ 7442611 h 12561136"/>
                <a:gd name="connsiteX3" fmla="*/ 1735898 w 17157070"/>
                <a:gd name="connsiteY3" fmla="*/ 8274535 h 12561136"/>
                <a:gd name="connsiteX4" fmla="*/ 3137400 w 17157070"/>
                <a:gd name="connsiteY4" fmla="*/ 8799095 h 12561136"/>
                <a:gd name="connsiteX5" fmla="*/ 3453963 w 17157070"/>
                <a:gd name="connsiteY5" fmla="*/ 10155586 h 12561136"/>
                <a:gd name="connsiteX6" fmla="*/ 4168520 w 17157070"/>
                <a:gd name="connsiteY6" fmla="*/ 11530155 h 12561136"/>
                <a:gd name="connsiteX7" fmla="*/ 4162343 w 17157070"/>
                <a:gd name="connsiteY7" fmla="*/ 12561136 h 12561136"/>
                <a:gd name="connsiteX8" fmla="*/ 4605215 w 17157070"/>
                <a:gd name="connsiteY8" fmla="*/ 12476972 h 12561136"/>
                <a:gd name="connsiteX9" fmla="*/ 4840336 w 17157070"/>
                <a:gd name="connsiteY9" fmla="*/ 12187590 h 12561136"/>
                <a:gd name="connsiteX10" fmla="*/ 6070201 w 17157070"/>
                <a:gd name="connsiteY10" fmla="*/ 12205682 h 12561136"/>
                <a:gd name="connsiteX11" fmla="*/ 6884082 w 17157070"/>
                <a:gd name="connsiteY11" fmla="*/ 11608830 h 12561136"/>
                <a:gd name="connsiteX12" fmla="*/ 7716051 w 17157070"/>
                <a:gd name="connsiteY12" fmla="*/ 11934389 h 12561136"/>
                <a:gd name="connsiteX13" fmla="*/ 8584189 w 17157070"/>
                <a:gd name="connsiteY13" fmla="*/ 11735437 h 12561136"/>
                <a:gd name="connsiteX14" fmla="*/ 9289552 w 17157070"/>
                <a:gd name="connsiteY14" fmla="*/ 11934389 h 12561136"/>
                <a:gd name="connsiteX15" fmla="*/ 10139605 w 17157070"/>
                <a:gd name="connsiteY15" fmla="*/ 11536489 h 12561136"/>
                <a:gd name="connsiteX16" fmla="*/ 10664108 w 17157070"/>
                <a:gd name="connsiteY16" fmla="*/ 11753525 h 12561136"/>
                <a:gd name="connsiteX17" fmla="*/ 11387555 w 17157070"/>
                <a:gd name="connsiteY17" fmla="*/ 11663095 h 12561136"/>
                <a:gd name="connsiteX18" fmla="*/ 11966315 w 17157070"/>
                <a:gd name="connsiteY18" fmla="*/ 12386550 h 12561136"/>
                <a:gd name="connsiteX19" fmla="*/ 12942975 w 17157070"/>
                <a:gd name="connsiteY19" fmla="*/ 12151421 h 12561136"/>
                <a:gd name="connsiteX20" fmla="*/ 13575992 w 17157070"/>
                <a:gd name="connsiteY20" fmla="*/ 12549321 h 12561136"/>
                <a:gd name="connsiteX21" fmla="*/ 13973888 w 17157070"/>
                <a:gd name="connsiteY21" fmla="*/ 12458888 h 12561136"/>
                <a:gd name="connsiteX22" fmla="*/ 14028146 w 17157070"/>
                <a:gd name="connsiteY22" fmla="*/ 11916297 h 12561136"/>
                <a:gd name="connsiteX23" fmla="*/ 13594073 w 17157070"/>
                <a:gd name="connsiteY23" fmla="*/ 11862040 h 12561136"/>
                <a:gd name="connsiteX24" fmla="*/ 13612161 w 17157070"/>
                <a:gd name="connsiteY24" fmla="*/ 11174761 h 12561136"/>
                <a:gd name="connsiteX25" fmla="*/ 14190925 w 17157070"/>
                <a:gd name="connsiteY25" fmla="*/ 11030074 h 12561136"/>
                <a:gd name="connsiteX26" fmla="*/ 13865366 w 17157070"/>
                <a:gd name="connsiteY26" fmla="*/ 10559829 h 12561136"/>
                <a:gd name="connsiteX27" fmla="*/ 14136664 w 17157070"/>
                <a:gd name="connsiteY27" fmla="*/ 10161933 h 12561136"/>
                <a:gd name="connsiteX28" fmla="*/ 14703435 w 17157070"/>
                <a:gd name="connsiteY28" fmla="*/ 10189029 h 12561136"/>
                <a:gd name="connsiteX29" fmla="*/ 14661163 w 17157070"/>
                <a:gd name="connsiteY29" fmla="*/ 10017245 h 12561136"/>
                <a:gd name="connsiteX30" fmla="*/ 14335608 w 17157070"/>
                <a:gd name="connsiteY30" fmla="*/ 9854470 h 12561136"/>
                <a:gd name="connsiteX31" fmla="*/ 14498387 w 17157070"/>
                <a:gd name="connsiteY31" fmla="*/ 9275706 h 12561136"/>
                <a:gd name="connsiteX32" fmla="*/ 13847278 w 17157070"/>
                <a:gd name="connsiteY32" fmla="*/ 8371392 h 12561136"/>
                <a:gd name="connsiteX33" fmla="*/ 13340864 w 17157070"/>
                <a:gd name="connsiteY33" fmla="*/ 7666029 h 12561136"/>
                <a:gd name="connsiteX34" fmla="*/ 13123831 w 17157070"/>
                <a:gd name="connsiteY34" fmla="*/ 6580851 h 12561136"/>
                <a:gd name="connsiteX35" fmla="*/ 13232349 w 17157070"/>
                <a:gd name="connsiteY35" fmla="*/ 5893577 h 12561136"/>
                <a:gd name="connsiteX36" fmla="*/ 12273778 w 17157070"/>
                <a:gd name="connsiteY36" fmla="*/ 5926738 h 12561136"/>
                <a:gd name="connsiteX37" fmla="*/ 12201432 w 17157070"/>
                <a:gd name="connsiteY37" fmla="*/ 5528838 h 12561136"/>
                <a:gd name="connsiteX38" fmla="*/ 12508887 w 17157070"/>
                <a:gd name="connsiteY38" fmla="*/ 5025443 h 12561136"/>
                <a:gd name="connsiteX39" fmla="*/ 13774933 w 17157070"/>
                <a:gd name="connsiteY39" fmla="*/ 4247727 h 12561136"/>
                <a:gd name="connsiteX40" fmla="*/ 15294184 w 17157070"/>
                <a:gd name="connsiteY40" fmla="*/ 3741312 h 12561136"/>
                <a:gd name="connsiteX41" fmla="*/ 15746333 w 17157070"/>
                <a:gd name="connsiteY41" fmla="*/ 4066867 h 12561136"/>
                <a:gd name="connsiteX42" fmla="*/ 16578306 w 17157070"/>
                <a:gd name="connsiteY42" fmla="*/ 3777485 h 12561136"/>
                <a:gd name="connsiteX43" fmla="*/ 17084732 w 17157070"/>
                <a:gd name="connsiteY43" fmla="*/ 4175393 h 12561136"/>
                <a:gd name="connsiteX44" fmla="*/ 17157070 w 17157070"/>
                <a:gd name="connsiteY44" fmla="*/ 3234902 h 12561136"/>
                <a:gd name="connsiteX45" fmla="*/ 16433615 w 17157070"/>
                <a:gd name="connsiteY45" fmla="*/ 3144472 h 12561136"/>
                <a:gd name="connsiteX46" fmla="*/ 16415865 w 17157070"/>
                <a:gd name="connsiteY46" fmla="*/ 2528320 h 12561136"/>
                <a:gd name="connsiteX47" fmla="*/ 15963191 w 17157070"/>
                <a:gd name="connsiteY47" fmla="*/ 2667776 h 12561136"/>
                <a:gd name="connsiteX48" fmla="*/ 14923009 w 17157070"/>
                <a:gd name="connsiteY48" fmla="*/ 1437893 h 12561136"/>
                <a:gd name="connsiteX49" fmla="*/ 14244644 w 17157070"/>
                <a:gd name="connsiteY49" fmla="*/ -2 h 12561136"/>
                <a:gd name="connsiteX50" fmla="*/ 13367278 w 17157070"/>
                <a:gd name="connsiteY50" fmla="*/ 289403 h 12561136"/>
                <a:gd name="connsiteX51" fmla="*/ 4600673 w 17157070"/>
                <a:gd name="connsiteY51" fmla="*/ 4675479 h 12561136"/>
                <a:gd name="connsiteX52" fmla="*/ 4416749 w 17157070"/>
                <a:gd name="connsiteY52" fmla="*/ 4252472 h 12561136"/>
                <a:gd name="connsiteX53" fmla="*/ 4653822 w 17157070"/>
                <a:gd name="connsiteY53" fmla="*/ 3702305 h 12561136"/>
                <a:gd name="connsiteX54" fmla="*/ 4432864 w 17157070"/>
                <a:gd name="connsiteY54" fmla="*/ 3149070 h 12561136"/>
                <a:gd name="connsiteX55" fmla="*/ 4437471 w 17157070"/>
                <a:gd name="connsiteY55" fmla="*/ 2480282 h 12561136"/>
                <a:gd name="connsiteX56" fmla="*/ 4141784 w 17157070"/>
                <a:gd name="connsiteY56" fmla="*/ 1760928 h 12561136"/>
                <a:gd name="connsiteX57" fmla="*/ 2314296 w 17157070"/>
                <a:gd name="connsiteY57" fmla="*/ 2043785 h 12561136"/>
                <a:gd name="connsiteX58" fmla="*/ 1334589 w 17157070"/>
                <a:gd name="connsiteY58" fmla="*/ 2848657 h 12561136"/>
                <a:gd name="connsiteX59" fmla="*/ 0 w 17157070"/>
                <a:gd name="connsiteY59" fmla="*/ 4196103 h 12561136"/>
                <a:gd name="connsiteX0" fmla="*/ 0 w 17157070"/>
                <a:gd name="connsiteY0" fmla="*/ 4196103 h 12561136"/>
                <a:gd name="connsiteX1" fmla="*/ 613837 w 17157070"/>
                <a:gd name="connsiteY1" fmla="*/ 6574461 h 12561136"/>
                <a:gd name="connsiteX2" fmla="*/ 1518338 w 17157070"/>
                <a:gd name="connsiteY2" fmla="*/ 7442611 h 12561136"/>
                <a:gd name="connsiteX3" fmla="*/ 1735898 w 17157070"/>
                <a:gd name="connsiteY3" fmla="*/ 8274535 h 12561136"/>
                <a:gd name="connsiteX4" fmla="*/ 3137400 w 17157070"/>
                <a:gd name="connsiteY4" fmla="*/ 8799095 h 12561136"/>
                <a:gd name="connsiteX5" fmla="*/ 3453963 w 17157070"/>
                <a:gd name="connsiteY5" fmla="*/ 10155586 h 12561136"/>
                <a:gd name="connsiteX6" fmla="*/ 4168520 w 17157070"/>
                <a:gd name="connsiteY6" fmla="*/ 11530155 h 12561136"/>
                <a:gd name="connsiteX7" fmla="*/ 4162343 w 17157070"/>
                <a:gd name="connsiteY7" fmla="*/ 12561136 h 12561136"/>
                <a:gd name="connsiteX8" fmla="*/ 4605215 w 17157070"/>
                <a:gd name="connsiteY8" fmla="*/ 12476972 h 12561136"/>
                <a:gd name="connsiteX9" fmla="*/ 4840336 w 17157070"/>
                <a:gd name="connsiteY9" fmla="*/ 12187590 h 12561136"/>
                <a:gd name="connsiteX10" fmla="*/ 6070201 w 17157070"/>
                <a:gd name="connsiteY10" fmla="*/ 12205682 h 12561136"/>
                <a:gd name="connsiteX11" fmla="*/ 6884082 w 17157070"/>
                <a:gd name="connsiteY11" fmla="*/ 11608830 h 12561136"/>
                <a:gd name="connsiteX12" fmla="*/ 7716051 w 17157070"/>
                <a:gd name="connsiteY12" fmla="*/ 11934389 h 12561136"/>
                <a:gd name="connsiteX13" fmla="*/ 8584189 w 17157070"/>
                <a:gd name="connsiteY13" fmla="*/ 11735437 h 12561136"/>
                <a:gd name="connsiteX14" fmla="*/ 9289552 w 17157070"/>
                <a:gd name="connsiteY14" fmla="*/ 11934389 h 12561136"/>
                <a:gd name="connsiteX15" fmla="*/ 10139605 w 17157070"/>
                <a:gd name="connsiteY15" fmla="*/ 11536489 h 12561136"/>
                <a:gd name="connsiteX16" fmla="*/ 10664108 w 17157070"/>
                <a:gd name="connsiteY16" fmla="*/ 11753525 h 12561136"/>
                <a:gd name="connsiteX17" fmla="*/ 11387555 w 17157070"/>
                <a:gd name="connsiteY17" fmla="*/ 11663095 h 12561136"/>
                <a:gd name="connsiteX18" fmla="*/ 11966315 w 17157070"/>
                <a:gd name="connsiteY18" fmla="*/ 12386550 h 12561136"/>
                <a:gd name="connsiteX19" fmla="*/ 12942975 w 17157070"/>
                <a:gd name="connsiteY19" fmla="*/ 12151421 h 12561136"/>
                <a:gd name="connsiteX20" fmla="*/ 13575992 w 17157070"/>
                <a:gd name="connsiteY20" fmla="*/ 12549321 h 12561136"/>
                <a:gd name="connsiteX21" fmla="*/ 13973888 w 17157070"/>
                <a:gd name="connsiteY21" fmla="*/ 12458888 h 12561136"/>
                <a:gd name="connsiteX22" fmla="*/ 14028146 w 17157070"/>
                <a:gd name="connsiteY22" fmla="*/ 11916297 h 12561136"/>
                <a:gd name="connsiteX23" fmla="*/ 13594073 w 17157070"/>
                <a:gd name="connsiteY23" fmla="*/ 11862040 h 12561136"/>
                <a:gd name="connsiteX24" fmla="*/ 13612161 w 17157070"/>
                <a:gd name="connsiteY24" fmla="*/ 11174761 h 12561136"/>
                <a:gd name="connsiteX25" fmla="*/ 14190925 w 17157070"/>
                <a:gd name="connsiteY25" fmla="*/ 11030074 h 12561136"/>
                <a:gd name="connsiteX26" fmla="*/ 13865366 w 17157070"/>
                <a:gd name="connsiteY26" fmla="*/ 10559829 h 12561136"/>
                <a:gd name="connsiteX27" fmla="*/ 14136664 w 17157070"/>
                <a:gd name="connsiteY27" fmla="*/ 10161933 h 12561136"/>
                <a:gd name="connsiteX28" fmla="*/ 14703435 w 17157070"/>
                <a:gd name="connsiteY28" fmla="*/ 10189029 h 12561136"/>
                <a:gd name="connsiteX29" fmla="*/ 14661163 w 17157070"/>
                <a:gd name="connsiteY29" fmla="*/ 10017245 h 12561136"/>
                <a:gd name="connsiteX30" fmla="*/ 14335608 w 17157070"/>
                <a:gd name="connsiteY30" fmla="*/ 9854470 h 12561136"/>
                <a:gd name="connsiteX31" fmla="*/ 14498387 w 17157070"/>
                <a:gd name="connsiteY31" fmla="*/ 9275706 h 12561136"/>
                <a:gd name="connsiteX32" fmla="*/ 13847278 w 17157070"/>
                <a:gd name="connsiteY32" fmla="*/ 8371392 h 12561136"/>
                <a:gd name="connsiteX33" fmla="*/ 13340864 w 17157070"/>
                <a:gd name="connsiteY33" fmla="*/ 7666029 h 12561136"/>
                <a:gd name="connsiteX34" fmla="*/ 13123831 w 17157070"/>
                <a:gd name="connsiteY34" fmla="*/ 6580851 h 12561136"/>
                <a:gd name="connsiteX35" fmla="*/ 13232349 w 17157070"/>
                <a:gd name="connsiteY35" fmla="*/ 5893577 h 12561136"/>
                <a:gd name="connsiteX36" fmla="*/ 12273778 w 17157070"/>
                <a:gd name="connsiteY36" fmla="*/ 5926738 h 12561136"/>
                <a:gd name="connsiteX37" fmla="*/ 12201432 w 17157070"/>
                <a:gd name="connsiteY37" fmla="*/ 5528838 h 12561136"/>
                <a:gd name="connsiteX38" fmla="*/ 12508887 w 17157070"/>
                <a:gd name="connsiteY38" fmla="*/ 5025443 h 12561136"/>
                <a:gd name="connsiteX39" fmla="*/ 13774933 w 17157070"/>
                <a:gd name="connsiteY39" fmla="*/ 4247727 h 12561136"/>
                <a:gd name="connsiteX40" fmla="*/ 15294184 w 17157070"/>
                <a:gd name="connsiteY40" fmla="*/ 3741312 h 12561136"/>
                <a:gd name="connsiteX41" fmla="*/ 15746333 w 17157070"/>
                <a:gd name="connsiteY41" fmla="*/ 4066867 h 12561136"/>
                <a:gd name="connsiteX42" fmla="*/ 16578306 w 17157070"/>
                <a:gd name="connsiteY42" fmla="*/ 3777485 h 12561136"/>
                <a:gd name="connsiteX43" fmla="*/ 17084732 w 17157070"/>
                <a:gd name="connsiteY43" fmla="*/ 4175393 h 12561136"/>
                <a:gd name="connsiteX44" fmla="*/ 17157070 w 17157070"/>
                <a:gd name="connsiteY44" fmla="*/ 3234902 h 12561136"/>
                <a:gd name="connsiteX45" fmla="*/ 16433615 w 17157070"/>
                <a:gd name="connsiteY45" fmla="*/ 3144472 h 12561136"/>
                <a:gd name="connsiteX46" fmla="*/ 16415865 w 17157070"/>
                <a:gd name="connsiteY46" fmla="*/ 2528320 h 12561136"/>
                <a:gd name="connsiteX47" fmla="*/ 15963191 w 17157070"/>
                <a:gd name="connsiteY47" fmla="*/ 2667776 h 12561136"/>
                <a:gd name="connsiteX48" fmla="*/ 14923009 w 17157070"/>
                <a:gd name="connsiteY48" fmla="*/ 1437893 h 12561136"/>
                <a:gd name="connsiteX49" fmla="*/ 14244644 w 17157070"/>
                <a:gd name="connsiteY49" fmla="*/ -2 h 12561136"/>
                <a:gd name="connsiteX50" fmla="*/ 4898441 w 17157070"/>
                <a:gd name="connsiteY50" fmla="*/ 4943950 h 12561136"/>
                <a:gd name="connsiteX51" fmla="*/ 4600673 w 17157070"/>
                <a:gd name="connsiteY51" fmla="*/ 4675479 h 12561136"/>
                <a:gd name="connsiteX52" fmla="*/ 4416749 w 17157070"/>
                <a:gd name="connsiteY52" fmla="*/ 4252472 h 12561136"/>
                <a:gd name="connsiteX53" fmla="*/ 4653822 w 17157070"/>
                <a:gd name="connsiteY53" fmla="*/ 3702305 h 12561136"/>
                <a:gd name="connsiteX54" fmla="*/ 4432864 w 17157070"/>
                <a:gd name="connsiteY54" fmla="*/ 3149070 h 12561136"/>
                <a:gd name="connsiteX55" fmla="*/ 4437471 w 17157070"/>
                <a:gd name="connsiteY55" fmla="*/ 2480282 h 12561136"/>
                <a:gd name="connsiteX56" fmla="*/ 4141784 w 17157070"/>
                <a:gd name="connsiteY56" fmla="*/ 1760928 h 12561136"/>
                <a:gd name="connsiteX57" fmla="*/ 2314296 w 17157070"/>
                <a:gd name="connsiteY57" fmla="*/ 2043785 h 12561136"/>
                <a:gd name="connsiteX58" fmla="*/ 1334589 w 17157070"/>
                <a:gd name="connsiteY58" fmla="*/ 2848657 h 12561136"/>
                <a:gd name="connsiteX59" fmla="*/ 0 w 17157070"/>
                <a:gd name="connsiteY59" fmla="*/ 4196103 h 12561136"/>
                <a:gd name="connsiteX0" fmla="*/ 0 w 17157070"/>
                <a:gd name="connsiteY0" fmla="*/ 2758209 h 11123242"/>
                <a:gd name="connsiteX1" fmla="*/ 613837 w 17157070"/>
                <a:gd name="connsiteY1" fmla="*/ 5136567 h 11123242"/>
                <a:gd name="connsiteX2" fmla="*/ 1518338 w 17157070"/>
                <a:gd name="connsiteY2" fmla="*/ 6004717 h 11123242"/>
                <a:gd name="connsiteX3" fmla="*/ 1735898 w 17157070"/>
                <a:gd name="connsiteY3" fmla="*/ 6836641 h 11123242"/>
                <a:gd name="connsiteX4" fmla="*/ 3137400 w 17157070"/>
                <a:gd name="connsiteY4" fmla="*/ 7361201 h 11123242"/>
                <a:gd name="connsiteX5" fmla="*/ 3453963 w 17157070"/>
                <a:gd name="connsiteY5" fmla="*/ 8717692 h 11123242"/>
                <a:gd name="connsiteX6" fmla="*/ 4168520 w 17157070"/>
                <a:gd name="connsiteY6" fmla="*/ 10092261 h 11123242"/>
                <a:gd name="connsiteX7" fmla="*/ 4162343 w 17157070"/>
                <a:gd name="connsiteY7" fmla="*/ 11123242 h 11123242"/>
                <a:gd name="connsiteX8" fmla="*/ 4605215 w 17157070"/>
                <a:gd name="connsiteY8" fmla="*/ 11039078 h 11123242"/>
                <a:gd name="connsiteX9" fmla="*/ 4840336 w 17157070"/>
                <a:gd name="connsiteY9" fmla="*/ 10749696 h 11123242"/>
                <a:gd name="connsiteX10" fmla="*/ 6070201 w 17157070"/>
                <a:gd name="connsiteY10" fmla="*/ 10767788 h 11123242"/>
                <a:gd name="connsiteX11" fmla="*/ 6884082 w 17157070"/>
                <a:gd name="connsiteY11" fmla="*/ 10170936 h 11123242"/>
                <a:gd name="connsiteX12" fmla="*/ 7716051 w 17157070"/>
                <a:gd name="connsiteY12" fmla="*/ 10496495 h 11123242"/>
                <a:gd name="connsiteX13" fmla="*/ 8584189 w 17157070"/>
                <a:gd name="connsiteY13" fmla="*/ 10297543 h 11123242"/>
                <a:gd name="connsiteX14" fmla="*/ 9289552 w 17157070"/>
                <a:gd name="connsiteY14" fmla="*/ 10496495 h 11123242"/>
                <a:gd name="connsiteX15" fmla="*/ 10139605 w 17157070"/>
                <a:gd name="connsiteY15" fmla="*/ 10098595 h 11123242"/>
                <a:gd name="connsiteX16" fmla="*/ 10664108 w 17157070"/>
                <a:gd name="connsiteY16" fmla="*/ 10315631 h 11123242"/>
                <a:gd name="connsiteX17" fmla="*/ 11387555 w 17157070"/>
                <a:gd name="connsiteY17" fmla="*/ 10225201 h 11123242"/>
                <a:gd name="connsiteX18" fmla="*/ 11966315 w 17157070"/>
                <a:gd name="connsiteY18" fmla="*/ 10948656 h 11123242"/>
                <a:gd name="connsiteX19" fmla="*/ 12942975 w 17157070"/>
                <a:gd name="connsiteY19" fmla="*/ 10713527 h 11123242"/>
                <a:gd name="connsiteX20" fmla="*/ 13575992 w 17157070"/>
                <a:gd name="connsiteY20" fmla="*/ 11111427 h 11123242"/>
                <a:gd name="connsiteX21" fmla="*/ 13973888 w 17157070"/>
                <a:gd name="connsiteY21" fmla="*/ 11020994 h 11123242"/>
                <a:gd name="connsiteX22" fmla="*/ 14028146 w 17157070"/>
                <a:gd name="connsiteY22" fmla="*/ 10478403 h 11123242"/>
                <a:gd name="connsiteX23" fmla="*/ 13594073 w 17157070"/>
                <a:gd name="connsiteY23" fmla="*/ 10424146 h 11123242"/>
                <a:gd name="connsiteX24" fmla="*/ 13612161 w 17157070"/>
                <a:gd name="connsiteY24" fmla="*/ 9736867 h 11123242"/>
                <a:gd name="connsiteX25" fmla="*/ 14190925 w 17157070"/>
                <a:gd name="connsiteY25" fmla="*/ 9592180 h 11123242"/>
                <a:gd name="connsiteX26" fmla="*/ 13865366 w 17157070"/>
                <a:gd name="connsiteY26" fmla="*/ 9121935 h 11123242"/>
                <a:gd name="connsiteX27" fmla="*/ 14136664 w 17157070"/>
                <a:gd name="connsiteY27" fmla="*/ 8724039 h 11123242"/>
                <a:gd name="connsiteX28" fmla="*/ 14703435 w 17157070"/>
                <a:gd name="connsiteY28" fmla="*/ 8751135 h 11123242"/>
                <a:gd name="connsiteX29" fmla="*/ 14661163 w 17157070"/>
                <a:gd name="connsiteY29" fmla="*/ 8579351 h 11123242"/>
                <a:gd name="connsiteX30" fmla="*/ 14335608 w 17157070"/>
                <a:gd name="connsiteY30" fmla="*/ 8416576 h 11123242"/>
                <a:gd name="connsiteX31" fmla="*/ 14498387 w 17157070"/>
                <a:gd name="connsiteY31" fmla="*/ 7837812 h 11123242"/>
                <a:gd name="connsiteX32" fmla="*/ 13847278 w 17157070"/>
                <a:gd name="connsiteY32" fmla="*/ 6933498 h 11123242"/>
                <a:gd name="connsiteX33" fmla="*/ 13340864 w 17157070"/>
                <a:gd name="connsiteY33" fmla="*/ 6228135 h 11123242"/>
                <a:gd name="connsiteX34" fmla="*/ 13123831 w 17157070"/>
                <a:gd name="connsiteY34" fmla="*/ 5142957 h 11123242"/>
                <a:gd name="connsiteX35" fmla="*/ 13232349 w 17157070"/>
                <a:gd name="connsiteY35" fmla="*/ 4455683 h 11123242"/>
                <a:gd name="connsiteX36" fmla="*/ 12273778 w 17157070"/>
                <a:gd name="connsiteY36" fmla="*/ 4488844 h 11123242"/>
                <a:gd name="connsiteX37" fmla="*/ 12201432 w 17157070"/>
                <a:gd name="connsiteY37" fmla="*/ 4090944 h 11123242"/>
                <a:gd name="connsiteX38" fmla="*/ 12508887 w 17157070"/>
                <a:gd name="connsiteY38" fmla="*/ 3587549 h 11123242"/>
                <a:gd name="connsiteX39" fmla="*/ 13774933 w 17157070"/>
                <a:gd name="connsiteY39" fmla="*/ 2809833 h 11123242"/>
                <a:gd name="connsiteX40" fmla="*/ 15294184 w 17157070"/>
                <a:gd name="connsiteY40" fmla="*/ 2303418 h 11123242"/>
                <a:gd name="connsiteX41" fmla="*/ 15746333 w 17157070"/>
                <a:gd name="connsiteY41" fmla="*/ 2628973 h 11123242"/>
                <a:gd name="connsiteX42" fmla="*/ 16578306 w 17157070"/>
                <a:gd name="connsiteY42" fmla="*/ 2339591 h 11123242"/>
                <a:gd name="connsiteX43" fmla="*/ 17084732 w 17157070"/>
                <a:gd name="connsiteY43" fmla="*/ 2737499 h 11123242"/>
                <a:gd name="connsiteX44" fmla="*/ 17157070 w 17157070"/>
                <a:gd name="connsiteY44" fmla="*/ 1797008 h 11123242"/>
                <a:gd name="connsiteX45" fmla="*/ 16433615 w 17157070"/>
                <a:gd name="connsiteY45" fmla="*/ 1706578 h 11123242"/>
                <a:gd name="connsiteX46" fmla="*/ 16415865 w 17157070"/>
                <a:gd name="connsiteY46" fmla="*/ 1090426 h 11123242"/>
                <a:gd name="connsiteX47" fmla="*/ 15963191 w 17157070"/>
                <a:gd name="connsiteY47" fmla="*/ 1229882 h 11123242"/>
                <a:gd name="connsiteX48" fmla="*/ 14923009 w 17157070"/>
                <a:gd name="connsiteY48" fmla="*/ -1 h 11123242"/>
                <a:gd name="connsiteX49" fmla="*/ 5153802 w 17157070"/>
                <a:gd name="connsiteY49" fmla="*/ 3455348 h 11123242"/>
                <a:gd name="connsiteX50" fmla="*/ 4898441 w 17157070"/>
                <a:gd name="connsiteY50" fmla="*/ 3506056 h 11123242"/>
                <a:gd name="connsiteX51" fmla="*/ 4600673 w 17157070"/>
                <a:gd name="connsiteY51" fmla="*/ 3237585 h 11123242"/>
                <a:gd name="connsiteX52" fmla="*/ 4416749 w 17157070"/>
                <a:gd name="connsiteY52" fmla="*/ 2814578 h 11123242"/>
                <a:gd name="connsiteX53" fmla="*/ 4653822 w 17157070"/>
                <a:gd name="connsiteY53" fmla="*/ 2264411 h 11123242"/>
                <a:gd name="connsiteX54" fmla="*/ 4432864 w 17157070"/>
                <a:gd name="connsiteY54" fmla="*/ 1711176 h 11123242"/>
                <a:gd name="connsiteX55" fmla="*/ 4437471 w 17157070"/>
                <a:gd name="connsiteY55" fmla="*/ 1042388 h 11123242"/>
                <a:gd name="connsiteX56" fmla="*/ 4141784 w 17157070"/>
                <a:gd name="connsiteY56" fmla="*/ 323034 h 11123242"/>
                <a:gd name="connsiteX57" fmla="*/ 2314296 w 17157070"/>
                <a:gd name="connsiteY57" fmla="*/ 605891 h 11123242"/>
                <a:gd name="connsiteX58" fmla="*/ 1334589 w 17157070"/>
                <a:gd name="connsiteY58" fmla="*/ 1410763 h 11123242"/>
                <a:gd name="connsiteX59" fmla="*/ 0 w 17157070"/>
                <a:gd name="connsiteY59" fmla="*/ 2758209 h 11123242"/>
                <a:gd name="connsiteX0" fmla="*/ 0 w 17157070"/>
                <a:gd name="connsiteY0" fmla="*/ 2435175 h 10800208"/>
                <a:gd name="connsiteX1" fmla="*/ 613837 w 17157070"/>
                <a:gd name="connsiteY1" fmla="*/ 4813533 h 10800208"/>
                <a:gd name="connsiteX2" fmla="*/ 1518338 w 17157070"/>
                <a:gd name="connsiteY2" fmla="*/ 5681683 h 10800208"/>
                <a:gd name="connsiteX3" fmla="*/ 1735898 w 17157070"/>
                <a:gd name="connsiteY3" fmla="*/ 6513607 h 10800208"/>
                <a:gd name="connsiteX4" fmla="*/ 3137400 w 17157070"/>
                <a:gd name="connsiteY4" fmla="*/ 7038167 h 10800208"/>
                <a:gd name="connsiteX5" fmla="*/ 3453963 w 17157070"/>
                <a:gd name="connsiteY5" fmla="*/ 8394658 h 10800208"/>
                <a:gd name="connsiteX6" fmla="*/ 4168520 w 17157070"/>
                <a:gd name="connsiteY6" fmla="*/ 9769227 h 10800208"/>
                <a:gd name="connsiteX7" fmla="*/ 4162343 w 17157070"/>
                <a:gd name="connsiteY7" fmla="*/ 10800208 h 10800208"/>
                <a:gd name="connsiteX8" fmla="*/ 4605215 w 17157070"/>
                <a:gd name="connsiteY8" fmla="*/ 10716044 h 10800208"/>
                <a:gd name="connsiteX9" fmla="*/ 4840336 w 17157070"/>
                <a:gd name="connsiteY9" fmla="*/ 10426662 h 10800208"/>
                <a:gd name="connsiteX10" fmla="*/ 6070201 w 17157070"/>
                <a:gd name="connsiteY10" fmla="*/ 10444754 h 10800208"/>
                <a:gd name="connsiteX11" fmla="*/ 6884082 w 17157070"/>
                <a:gd name="connsiteY11" fmla="*/ 9847902 h 10800208"/>
                <a:gd name="connsiteX12" fmla="*/ 7716051 w 17157070"/>
                <a:gd name="connsiteY12" fmla="*/ 10173461 h 10800208"/>
                <a:gd name="connsiteX13" fmla="*/ 8584189 w 17157070"/>
                <a:gd name="connsiteY13" fmla="*/ 9974509 h 10800208"/>
                <a:gd name="connsiteX14" fmla="*/ 9289552 w 17157070"/>
                <a:gd name="connsiteY14" fmla="*/ 10173461 h 10800208"/>
                <a:gd name="connsiteX15" fmla="*/ 10139605 w 17157070"/>
                <a:gd name="connsiteY15" fmla="*/ 9775561 h 10800208"/>
                <a:gd name="connsiteX16" fmla="*/ 10664108 w 17157070"/>
                <a:gd name="connsiteY16" fmla="*/ 9992597 h 10800208"/>
                <a:gd name="connsiteX17" fmla="*/ 11387555 w 17157070"/>
                <a:gd name="connsiteY17" fmla="*/ 9902167 h 10800208"/>
                <a:gd name="connsiteX18" fmla="*/ 11966315 w 17157070"/>
                <a:gd name="connsiteY18" fmla="*/ 10625622 h 10800208"/>
                <a:gd name="connsiteX19" fmla="*/ 12942975 w 17157070"/>
                <a:gd name="connsiteY19" fmla="*/ 10390493 h 10800208"/>
                <a:gd name="connsiteX20" fmla="*/ 13575992 w 17157070"/>
                <a:gd name="connsiteY20" fmla="*/ 10788393 h 10800208"/>
                <a:gd name="connsiteX21" fmla="*/ 13973888 w 17157070"/>
                <a:gd name="connsiteY21" fmla="*/ 10697960 h 10800208"/>
                <a:gd name="connsiteX22" fmla="*/ 14028146 w 17157070"/>
                <a:gd name="connsiteY22" fmla="*/ 10155369 h 10800208"/>
                <a:gd name="connsiteX23" fmla="*/ 13594073 w 17157070"/>
                <a:gd name="connsiteY23" fmla="*/ 10101112 h 10800208"/>
                <a:gd name="connsiteX24" fmla="*/ 13612161 w 17157070"/>
                <a:gd name="connsiteY24" fmla="*/ 9413833 h 10800208"/>
                <a:gd name="connsiteX25" fmla="*/ 14190925 w 17157070"/>
                <a:gd name="connsiteY25" fmla="*/ 9269146 h 10800208"/>
                <a:gd name="connsiteX26" fmla="*/ 13865366 w 17157070"/>
                <a:gd name="connsiteY26" fmla="*/ 8798901 h 10800208"/>
                <a:gd name="connsiteX27" fmla="*/ 14136664 w 17157070"/>
                <a:gd name="connsiteY27" fmla="*/ 8401005 h 10800208"/>
                <a:gd name="connsiteX28" fmla="*/ 14703435 w 17157070"/>
                <a:gd name="connsiteY28" fmla="*/ 8428101 h 10800208"/>
                <a:gd name="connsiteX29" fmla="*/ 14661163 w 17157070"/>
                <a:gd name="connsiteY29" fmla="*/ 8256317 h 10800208"/>
                <a:gd name="connsiteX30" fmla="*/ 14335608 w 17157070"/>
                <a:gd name="connsiteY30" fmla="*/ 8093542 h 10800208"/>
                <a:gd name="connsiteX31" fmla="*/ 14498387 w 17157070"/>
                <a:gd name="connsiteY31" fmla="*/ 7514778 h 10800208"/>
                <a:gd name="connsiteX32" fmla="*/ 13847278 w 17157070"/>
                <a:gd name="connsiteY32" fmla="*/ 6610464 h 10800208"/>
                <a:gd name="connsiteX33" fmla="*/ 13340864 w 17157070"/>
                <a:gd name="connsiteY33" fmla="*/ 5905101 h 10800208"/>
                <a:gd name="connsiteX34" fmla="*/ 13123831 w 17157070"/>
                <a:gd name="connsiteY34" fmla="*/ 4819923 h 10800208"/>
                <a:gd name="connsiteX35" fmla="*/ 13232349 w 17157070"/>
                <a:gd name="connsiteY35" fmla="*/ 4132649 h 10800208"/>
                <a:gd name="connsiteX36" fmla="*/ 12273778 w 17157070"/>
                <a:gd name="connsiteY36" fmla="*/ 4165810 h 10800208"/>
                <a:gd name="connsiteX37" fmla="*/ 12201432 w 17157070"/>
                <a:gd name="connsiteY37" fmla="*/ 3767910 h 10800208"/>
                <a:gd name="connsiteX38" fmla="*/ 12508887 w 17157070"/>
                <a:gd name="connsiteY38" fmla="*/ 3264515 h 10800208"/>
                <a:gd name="connsiteX39" fmla="*/ 13774933 w 17157070"/>
                <a:gd name="connsiteY39" fmla="*/ 2486799 h 10800208"/>
                <a:gd name="connsiteX40" fmla="*/ 15294184 w 17157070"/>
                <a:gd name="connsiteY40" fmla="*/ 1980384 h 10800208"/>
                <a:gd name="connsiteX41" fmla="*/ 15746333 w 17157070"/>
                <a:gd name="connsiteY41" fmla="*/ 2305939 h 10800208"/>
                <a:gd name="connsiteX42" fmla="*/ 16578306 w 17157070"/>
                <a:gd name="connsiteY42" fmla="*/ 2016557 h 10800208"/>
                <a:gd name="connsiteX43" fmla="*/ 17084732 w 17157070"/>
                <a:gd name="connsiteY43" fmla="*/ 2414465 h 10800208"/>
                <a:gd name="connsiteX44" fmla="*/ 17157070 w 17157070"/>
                <a:gd name="connsiteY44" fmla="*/ 1473974 h 10800208"/>
                <a:gd name="connsiteX45" fmla="*/ 16433615 w 17157070"/>
                <a:gd name="connsiteY45" fmla="*/ 1383544 h 10800208"/>
                <a:gd name="connsiteX46" fmla="*/ 16415865 w 17157070"/>
                <a:gd name="connsiteY46" fmla="*/ 767392 h 10800208"/>
                <a:gd name="connsiteX47" fmla="*/ 15963191 w 17157070"/>
                <a:gd name="connsiteY47" fmla="*/ 906848 h 10800208"/>
                <a:gd name="connsiteX48" fmla="*/ 5153802 w 17157070"/>
                <a:gd name="connsiteY48" fmla="*/ 3132314 h 10800208"/>
                <a:gd name="connsiteX49" fmla="*/ 4898441 w 17157070"/>
                <a:gd name="connsiteY49" fmla="*/ 3183022 h 10800208"/>
                <a:gd name="connsiteX50" fmla="*/ 4600673 w 17157070"/>
                <a:gd name="connsiteY50" fmla="*/ 2914551 h 10800208"/>
                <a:gd name="connsiteX51" fmla="*/ 4416749 w 17157070"/>
                <a:gd name="connsiteY51" fmla="*/ 2491544 h 10800208"/>
                <a:gd name="connsiteX52" fmla="*/ 4653822 w 17157070"/>
                <a:gd name="connsiteY52" fmla="*/ 1941377 h 10800208"/>
                <a:gd name="connsiteX53" fmla="*/ 4432864 w 17157070"/>
                <a:gd name="connsiteY53" fmla="*/ 1388142 h 10800208"/>
                <a:gd name="connsiteX54" fmla="*/ 4437471 w 17157070"/>
                <a:gd name="connsiteY54" fmla="*/ 719354 h 10800208"/>
                <a:gd name="connsiteX55" fmla="*/ 4141784 w 17157070"/>
                <a:gd name="connsiteY55" fmla="*/ 0 h 10800208"/>
                <a:gd name="connsiteX56" fmla="*/ 2314296 w 17157070"/>
                <a:gd name="connsiteY56" fmla="*/ 282857 h 10800208"/>
                <a:gd name="connsiteX57" fmla="*/ 1334589 w 17157070"/>
                <a:gd name="connsiteY57" fmla="*/ 1087729 h 10800208"/>
                <a:gd name="connsiteX58" fmla="*/ 0 w 17157070"/>
                <a:gd name="connsiteY58" fmla="*/ 2435175 h 10800208"/>
                <a:gd name="connsiteX0" fmla="*/ 0 w 17157070"/>
                <a:gd name="connsiteY0" fmla="*/ 2435175 h 10800208"/>
                <a:gd name="connsiteX1" fmla="*/ 613837 w 17157070"/>
                <a:gd name="connsiteY1" fmla="*/ 4813533 h 10800208"/>
                <a:gd name="connsiteX2" fmla="*/ 1518338 w 17157070"/>
                <a:gd name="connsiteY2" fmla="*/ 5681683 h 10800208"/>
                <a:gd name="connsiteX3" fmla="*/ 1735898 w 17157070"/>
                <a:gd name="connsiteY3" fmla="*/ 6513607 h 10800208"/>
                <a:gd name="connsiteX4" fmla="*/ 3137400 w 17157070"/>
                <a:gd name="connsiteY4" fmla="*/ 7038167 h 10800208"/>
                <a:gd name="connsiteX5" fmla="*/ 3453963 w 17157070"/>
                <a:gd name="connsiteY5" fmla="*/ 8394658 h 10800208"/>
                <a:gd name="connsiteX6" fmla="*/ 4168520 w 17157070"/>
                <a:gd name="connsiteY6" fmla="*/ 9769227 h 10800208"/>
                <a:gd name="connsiteX7" fmla="*/ 4162343 w 17157070"/>
                <a:gd name="connsiteY7" fmla="*/ 10800208 h 10800208"/>
                <a:gd name="connsiteX8" fmla="*/ 4605215 w 17157070"/>
                <a:gd name="connsiteY8" fmla="*/ 10716044 h 10800208"/>
                <a:gd name="connsiteX9" fmla="*/ 4840336 w 17157070"/>
                <a:gd name="connsiteY9" fmla="*/ 10426662 h 10800208"/>
                <a:gd name="connsiteX10" fmla="*/ 6070201 w 17157070"/>
                <a:gd name="connsiteY10" fmla="*/ 10444754 h 10800208"/>
                <a:gd name="connsiteX11" fmla="*/ 6884082 w 17157070"/>
                <a:gd name="connsiteY11" fmla="*/ 9847902 h 10800208"/>
                <a:gd name="connsiteX12" fmla="*/ 7716051 w 17157070"/>
                <a:gd name="connsiteY12" fmla="*/ 10173461 h 10800208"/>
                <a:gd name="connsiteX13" fmla="*/ 8584189 w 17157070"/>
                <a:gd name="connsiteY13" fmla="*/ 9974509 h 10800208"/>
                <a:gd name="connsiteX14" fmla="*/ 9289552 w 17157070"/>
                <a:gd name="connsiteY14" fmla="*/ 10173461 h 10800208"/>
                <a:gd name="connsiteX15" fmla="*/ 10139605 w 17157070"/>
                <a:gd name="connsiteY15" fmla="*/ 9775561 h 10800208"/>
                <a:gd name="connsiteX16" fmla="*/ 10664108 w 17157070"/>
                <a:gd name="connsiteY16" fmla="*/ 9992597 h 10800208"/>
                <a:gd name="connsiteX17" fmla="*/ 11387555 w 17157070"/>
                <a:gd name="connsiteY17" fmla="*/ 9902167 h 10800208"/>
                <a:gd name="connsiteX18" fmla="*/ 11966315 w 17157070"/>
                <a:gd name="connsiteY18" fmla="*/ 10625622 h 10800208"/>
                <a:gd name="connsiteX19" fmla="*/ 12942975 w 17157070"/>
                <a:gd name="connsiteY19" fmla="*/ 10390493 h 10800208"/>
                <a:gd name="connsiteX20" fmla="*/ 13575992 w 17157070"/>
                <a:gd name="connsiteY20" fmla="*/ 10788393 h 10800208"/>
                <a:gd name="connsiteX21" fmla="*/ 13973888 w 17157070"/>
                <a:gd name="connsiteY21" fmla="*/ 10697960 h 10800208"/>
                <a:gd name="connsiteX22" fmla="*/ 14028146 w 17157070"/>
                <a:gd name="connsiteY22" fmla="*/ 10155369 h 10800208"/>
                <a:gd name="connsiteX23" fmla="*/ 13594073 w 17157070"/>
                <a:gd name="connsiteY23" fmla="*/ 10101112 h 10800208"/>
                <a:gd name="connsiteX24" fmla="*/ 13612161 w 17157070"/>
                <a:gd name="connsiteY24" fmla="*/ 9413833 h 10800208"/>
                <a:gd name="connsiteX25" fmla="*/ 14190925 w 17157070"/>
                <a:gd name="connsiteY25" fmla="*/ 9269146 h 10800208"/>
                <a:gd name="connsiteX26" fmla="*/ 13865366 w 17157070"/>
                <a:gd name="connsiteY26" fmla="*/ 8798901 h 10800208"/>
                <a:gd name="connsiteX27" fmla="*/ 14136664 w 17157070"/>
                <a:gd name="connsiteY27" fmla="*/ 8401005 h 10800208"/>
                <a:gd name="connsiteX28" fmla="*/ 14703435 w 17157070"/>
                <a:gd name="connsiteY28" fmla="*/ 8428101 h 10800208"/>
                <a:gd name="connsiteX29" fmla="*/ 14661163 w 17157070"/>
                <a:gd name="connsiteY29" fmla="*/ 8256317 h 10800208"/>
                <a:gd name="connsiteX30" fmla="*/ 14335608 w 17157070"/>
                <a:gd name="connsiteY30" fmla="*/ 8093542 h 10800208"/>
                <a:gd name="connsiteX31" fmla="*/ 14498387 w 17157070"/>
                <a:gd name="connsiteY31" fmla="*/ 7514778 h 10800208"/>
                <a:gd name="connsiteX32" fmla="*/ 13847278 w 17157070"/>
                <a:gd name="connsiteY32" fmla="*/ 6610464 h 10800208"/>
                <a:gd name="connsiteX33" fmla="*/ 13340864 w 17157070"/>
                <a:gd name="connsiteY33" fmla="*/ 5905101 h 10800208"/>
                <a:gd name="connsiteX34" fmla="*/ 13123831 w 17157070"/>
                <a:gd name="connsiteY34" fmla="*/ 4819923 h 10800208"/>
                <a:gd name="connsiteX35" fmla="*/ 13232349 w 17157070"/>
                <a:gd name="connsiteY35" fmla="*/ 4132649 h 10800208"/>
                <a:gd name="connsiteX36" fmla="*/ 12273778 w 17157070"/>
                <a:gd name="connsiteY36" fmla="*/ 4165810 h 10800208"/>
                <a:gd name="connsiteX37" fmla="*/ 12201432 w 17157070"/>
                <a:gd name="connsiteY37" fmla="*/ 3767910 h 10800208"/>
                <a:gd name="connsiteX38" fmla="*/ 12508887 w 17157070"/>
                <a:gd name="connsiteY38" fmla="*/ 3264515 h 10800208"/>
                <a:gd name="connsiteX39" fmla="*/ 13774933 w 17157070"/>
                <a:gd name="connsiteY39" fmla="*/ 2486799 h 10800208"/>
                <a:gd name="connsiteX40" fmla="*/ 15294184 w 17157070"/>
                <a:gd name="connsiteY40" fmla="*/ 1980384 h 10800208"/>
                <a:gd name="connsiteX41" fmla="*/ 15746333 w 17157070"/>
                <a:gd name="connsiteY41" fmla="*/ 2305939 h 10800208"/>
                <a:gd name="connsiteX42" fmla="*/ 16578306 w 17157070"/>
                <a:gd name="connsiteY42" fmla="*/ 2016557 h 10800208"/>
                <a:gd name="connsiteX43" fmla="*/ 17084732 w 17157070"/>
                <a:gd name="connsiteY43" fmla="*/ 2414465 h 10800208"/>
                <a:gd name="connsiteX44" fmla="*/ 17157070 w 17157070"/>
                <a:gd name="connsiteY44" fmla="*/ 1473974 h 10800208"/>
                <a:gd name="connsiteX45" fmla="*/ 16433615 w 17157070"/>
                <a:gd name="connsiteY45" fmla="*/ 1383544 h 10800208"/>
                <a:gd name="connsiteX46" fmla="*/ 16415865 w 17157070"/>
                <a:gd name="connsiteY46" fmla="*/ 767392 h 10800208"/>
                <a:gd name="connsiteX47" fmla="*/ 5365184 w 17157070"/>
                <a:gd name="connsiteY47" fmla="*/ 3460880 h 10800208"/>
                <a:gd name="connsiteX48" fmla="*/ 5153802 w 17157070"/>
                <a:gd name="connsiteY48" fmla="*/ 3132314 h 10800208"/>
                <a:gd name="connsiteX49" fmla="*/ 4898441 w 17157070"/>
                <a:gd name="connsiteY49" fmla="*/ 3183022 h 10800208"/>
                <a:gd name="connsiteX50" fmla="*/ 4600673 w 17157070"/>
                <a:gd name="connsiteY50" fmla="*/ 2914551 h 10800208"/>
                <a:gd name="connsiteX51" fmla="*/ 4416749 w 17157070"/>
                <a:gd name="connsiteY51" fmla="*/ 2491544 h 10800208"/>
                <a:gd name="connsiteX52" fmla="*/ 4653822 w 17157070"/>
                <a:gd name="connsiteY52" fmla="*/ 1941377 h 10800208"/>
                <a:gd name="connsiteX53" fmla="*/ 4432864 w 17157070"/>
                <a:gd name="connsiteY53" fmla="*/ 1388142 h 10800208"/>
                <a:gd name="connsiteX54" fmla="*/ 4437471 w 17157070"/>
                <a:gd name="connsiteY54" fmla="*/ 719354 h 10800208"/>
                <a:gd name="connsiteX55" fmla="*/ 4141784 w 17157070"/>
                <a:gd name="connsiteY55" fmla="*/ 0 h 10800208"/>
                <a:gd name="connsiteX56" fmla="*/ 2314296 w 17157070"/>
                <a:gd name="connsiteY56" fmla="*/ 282857 h 10800208"/>
                <a:gd name="connsiteX57" fmla="*/ 1334589 w 17157070"/>
                <a:gd name="connsiteY57" fmla="*/ 1087729 h 10800208"/>
                <a:gd name="connsiteX58" fmla="*/ 0 w 17157070"/>
                <a:gd name="connsiteY58" fmla="*/ 2435175 h 10800208"/>
                <a:gd name="connsiteX0" fmla="*/ 0 w 17157070"/>
                <a:gd name="connsiteY0" fmla="*/ 2435175 h 10800208"/>
                <a:gd name="connsiteX1" fmla="*/ 613837 w 17157070"/>
                <a:gd name="connsiteY1" fmla="*/ 4813533 h 10800208"/>
                <a:gd name="connsiteX2" fmla="*/ 1518338 w 17157070"/>
                <a:gd name="connsiteY2" fmla="*/ 5681683 h 10800208"/>
                <a:gd name="connsiteX3" fmla="*/ 1735898 w 17157070"/>
                <a:gd name="connsiteY3" fmla="*/ 6513607 h 10800208"/>
                <a:gd name="connsiteX4" fmla="*/ 3137400 w 17157070"/>
                <a:gd name="connsiteY4" fmla="*/ 7038167 h 10800208"/>
                <a:gd name="connsiteX5" fmla="*/ 3453963 w 17157070"/>
                <a:gd name="connsiteY5" fmla="*/ 8394658 h 10800208"/>
                <a:gd name="connsiteX6" fmla="*/ 4168520 w 17157070"/>
                <a:gd name="connsiteY6" fmla="*/ 9769227 h 10800208"/>
                <a:gd name="connsiteX7" fmla="*/ 4162343 w 17157070"/>
                <a:gd name="connsiteY7" fmla="*/ 10800208 h 10800208"/>
                <a:gd name="connsiteX8" fmla="*/ 4605215 w 17157070"/>
                <a:gd name="connsiteY8" fmla="*/ 10716044 h 10800208"/>
                <a:gd name="connsiteX9" fmla="*/ 4840336 w 17157070"/>
                <a:gd name="connsiteY9" fmla="*/ 10426662 h 10800208"/>
                <a:gd name="connsiteX10" fmla="*/ 6070201 w 17157070"/>
                <a:gd name="connsiteY10" fmla="*/ 10444754 h 10800208"/>
                <a:gd name="connsiteX11" fmla="*/ 6884082 w 17157070"/>
                <a:gd name="connsiteY11" fmla="*/ 9847902 h 10800208"/>
                <a:gd name="connsiteX12" fmla="*/ 7716051 w 17157070"/>
                <a:gd name="connsiteY12" fmla="*/ 10173461 h 10800208"/>
                <a:gd name="connsiteX13" fmla="*/ 8584189 w 17157070"/>
                <a:gd name="connsiteY13" fmla="*/ 9974509 h 10800208"/>
                <a:gd name="connsiteX14" fmla="*/ 9289552 w 17157070"/>
                <a:gd name="connsiteY14" fmla="*/ 10173461 h 10800208"/>
                <a:gd name="connsiteX15" fmla="*/ 10139605 w 17157070"/>
                <a:gd name="connsiteY15" fmla="*/ 9775561 h 10800208"/>
                <a:gd name="connsiteX16" fmla="*/ 10664108 w 17157070"/>
                <a:gd name="connsiteY16" fmla="*/ 9992597 h 10800208"/>
                <a:gd name="connsiteX17" fmla="*/ 11387555 w 17157070"/>
                <a:gd name="connsiteY17" fmla="*/ 9902167 h 10800208"/>
                <a:gd name="connsiteX18" fmla="*/ 11966315 w 17157070"/>
                <a:gd name="connsiteY18" fmla="*/ 10625622 h 10800208"/>
                <a:gd name="connsiteX19" fmla="*/ 12942975 w 17157070"/>
                <a:gd name="connsiteY19" fmla="*/ 10390493 h 10800208"/>
                <a:gd name="connsiteX20" fmla="*/ 13575992 w 17157070"/>
                <a:gd name="connsiteY20" fmla="*/ 10788393 h 10800208"/>
                <a:gd name="connsiteX21" fmla="*/ 13973888 w 17157070"/>
                <a:gd name="connsiteY21" fmla="*/ 10697960 h 10800208"/>
                <a:gd name="connsiteX22" fmla="*/ 14028146 w 17157070"/>
                <a:gd name="connsiteY22" fmla="*/ 10155369 h 10800208"/>
                <a:gd name="connsiteX23" fmla="*/ 13594073 w 17157070"/>
                <a:gd name="connsiteY23" fmla="*/ 10101112 h 10800208"/>
                <a:gd name="connsiteX24" fmla="*/ 13612161 w 17157070"/>
                <a:gd name="connsiteY24" fmla="*/ 9413833 h 10800208"/>
                <a:gd name="connsiteX25" fmla="*/ 14190925 w 17157070"/>
                <a:gd name="connsiteY25" fmla="*/ 9269146 h 10800208"/>
                <a:gd name="connsiteX26" fmla="*/ 13865366 w 17157070"/>
                <a:gd name="connsiteY26" fmla="*/ 8798901 h 10800208"/>
                <a:gd name="connsiteX27" fmla="*/ 14136664 w 17157070"/>
                <a:gd name="connsiteY27" fmla="*/ 8401005 h 10800208"/>
                <a:gd name="connsiteX28" fmla="*/ 14703435 w 17157070"/>
                <a:gd name="connsiteY28" fmla="*/ 8428101 h 10800208"/>
                <a:gd name="connsiteX29" fmla="*/ 14661163 w 17157070"/>
                <a:gd name="connsiteY29" fmla="*/ 8256317 h 10800208"/>
                <a:gd name="connsiteX30" fmla="*/ 14335608 w 17157070"/>
                <a:gd name="connsiteY30" fmla="*/ 8093542 h 10800208"/>
                <a:gd name="connsiteX31" fmla="*/ 14498387 w 17157070"/>
                <a:gd name="connsiteY31" fmla="*/ 7514778 h 10800208"/>
                <a:gd name="connsiteX32" fmla="*/ 13847278 w 17157070"/>
                <a:gd name="connsiteY32" fmla="*/ 6610464 h 10800208"/>
                <a:gd name="connsiteX33" fmla="*/ 13340864 w 17157070"/>
                <a:gd name="connsiteY33" fmla="*/ 5905101 h 10800208"/>
                <a:gd name="connsiteX34" fmla="*/ 13123831 w 17157070"/>
                <a:gd name="connsiteY34" fmla="*/ 4819923 h 10800208"/>
                <a:gd name="connsiteX35" fmla="*/ 13232349 w 17157070"/>
                <a:gd name="connsiteY35" fmla="*/ 4132649 h 10800208"/>
                <a:gd name="connsiteX36" fmla="*/ 12273778 w 17157070"/>
                <a:gd name="connsiteY36" fmla="*/ 4165810 h 10800208"/>
                <a:gd name="connsiteX37" fmla="*/ 12201432 w 17157070"/>
                <a:gd name="connsiteY37" fmla="*/ 3767910 h 10800208"/>
                <a:gd name="connsiteX38" fmla="*/ 12508887 w 17157070"/>
                <a:gd name="connsiteY38" fmla="*/ 3264515 h 10800208"/>
                <a:gd name="connsiteX39" fmla="*/ 13774933 w 17157070"/>
                <a:gd name="connsiteY39" fmla="*/ 2486799 h 10800208"/>
                <a:gd name="connsiteX40" fmla="*/ 15294184 w 17157070"/>
                <a:gd name="connsiteY40" fmla="*/ 1980384 h 10800208"/>
                <a:gd name="connsiteX41" fmla="*/ 15746333 w 17157070"/>
                <a:gd name="connsiteY41" fmla="*/ 2305939 h 10800208"/>
                <a:gd name="connsiteX42" fmla="*/ 16578306 w 17157070"/>
                <a:gd name="connsiteY42" fmla="*/ 2016557 h 10800208"/>
                <a:gd name="connsiteX43" fmla="*/ 17084732 w 17157070"/>
                <a:gd name="connsiteY43" fmla="*/ 2414465 h 10800208"/>
                <a:gd name="connsiteX44" fmla="*/ 17157070 w 17157070"/>
                <a:gd name="connsiteY44" fmla="*/ 1473974 h 10800208"/>
                <a:gd name="connsiteX45" fmla="*/ 16433615 w 17157070"/>
                <a:gd name="connsiteY45" fmla="*/ 1383544 h 10800208"/>
                <a:gd name="connsiteX46" fmla="*/ 5365184 w 17157070"/>
                <a:gd name="connsiteY46" fmla="*/ 3460880 h 10800208"/>
                <a:gd name="connsiteX47" fmla="*/ 5153802 w 17157070"/>
                <a:gd name="connsiteY47" fmla="*/ 3132314 h 10800208"/>
                <a:gd name="connsiteX48" fmla="*/ 4898441 w 17157070"/>
                <a:gd name="connsiteY48" fmla="*/ 3183022 h 10800208"/>
                <a:gd name="connsiteX49" fmla="*/ 4600673 w 17157070"/>
                <a:gd name="connsiteY49" fmla="*/ 2914551 h 10800208"/>
                <a:gd name="connsiteX50" fmla="*/ 4416749 w 17157070"/>
                <a:gd name="connsiteY50" fmla="*/ 2491544 h 10800208"/>
                <a:gd name="connsiteX51" fmla="*/ 4653822 w 17157070"/>
                <a:gd name="connsiteY51" fmla="*/ 1941377 h 10800208"/>
                <a:gd name="connsiteX52" fmla="*/ 4432864 w 17157070"/>
                <a:gd name="connsiteY52" fmla="*/ 1388142 h 10800208"/>
                <a:gd name="connsiteX53" fmla="*/ 4437471 w 17157070"/>
                <a:gd name="connsiteY53" fmla="*/ 719354 h 10800208"/>
                <a:gd name="connsiteX54" fmla="*/ 4141784 w 17157070"/>
                <a:gd name="connsiteY54" fmla="*/ 0 h 10800208"/>
                <a:gd name="connsiteX55" fmla="*/ 2314296 w 17157070"/>
                <a:gd name="connsiteY55" fmla="*/ 282857 h 10800208"/>
                <a:gd name="connsiteX56" fmla="*/ 1334589 w 17157070"/>
                <a:gd name="connsiteY56" fmla="*/ 1087729 h 10800208"/>
                <a:gd name="connsiteX57" fmla="*/ 0 w 17157070"/>
                <a:gd name="connsiteY57" fmla="*/ 2435175 h 10800208"/>
                <a:gd name="connsiteX0" fmla="*/ 0 w 17157070"/>
                <a:gd name="connsiteY0" fmla="*/ 2435175 h 10800208"/>
                <a:gd name="connsiteX1" fmla="*/ 613837 w 17157070"/>
                <a:gd name="connsiteY1" fmla="*/ 4813533 h 10800208"/>
                <a:gd name="connsiteX2" fmla="*/ 1518338 w 17157070"/>
                <a:gd name="connsiteY2" fmla="*/ 5681683 h 10800208"/>
                <a:gd name="connsiteX3" fmla="*/ 1735898 w 17157070"/>
                <a:gd name="connsiteY3" fmla="*/ 6513607 h 10800208"/>
                <a:gd name="connsiteX4" fmla="*/ 3137400 w 17157070"/>
                <a:gd name="connsiteY4" fmla="*/ 7038167 h 10800208"/>
                <a:gd name="connsiteX5" fmla="*/ 3453963 w 17157070"/>
                <a:gd name="connsiteY5" fmla="*/ 8394658 h 10800208"/>
                <a:gd name="connsiteX6" fmla="*/ 4168520 w 17157070"/>
                <a:gd name="connsiteY6" fmla="*/ 9769227 h 10800208"/>
                <a:gd name="connsiteX7" fmla="*/ 4162343 w 17157070"/>
                <a:gd name="connsiteY7" fmla="*/ 10800208 h 10800208"/>
                <a:gd name="connsiteX8" fmla="*/ 4605215 w 17157070"/>
                <a:gd name="connsiteY8" fmla="*/ 10716044 h 10800208"/>
                <a:gd name="connsiteX9" fmla="*/ 4840336 w 17157070"/>
                <a:gd name="connsiteY9" fmla="*/ 10426662 h 10800208"/>
                <a:gd name="connsiteX10" fmla="*/ 6070201 w 17157070"/>
                <a:gd name="connsiteY10" fmla="*/ 10444754 h 10800208"/>
                <a:gd name="connsiteX11" fmla="*/ 6884082 w 17157070"/>
                <a:gd name="connsiteY11" fmla="*/ 9847902 h 10800208"/>
                <a:gd name="connsiteX12" fmla="*/ 7716051 w 17157070"/>
                <a:gd name="connsiteY12" fmla="*/ 10173461 h 10800208"/>
                <a:gd name="connsiteX13" fmla="*/ 8584189 w 17157070"/>
                <a:gd name="connsiteY13" fmla="*/ 9974509 h 10800208"/>
                <a:gd name="connsiteX14" fmla="*/ 9289552 w 17157070"/>
                <a:gd name="connsiteY14" fmla="*/ 10173461 h 10800208"/>
                <a:gd name="connsiteX15" fmla="*/ 10139605 w 17157070"/>
                <a:gd name="connsiteY15" fmla="*/ 9775561 h 10800208"/>
                <a:gd name="connsiteX16" fmla="*/ 10664108 w 17157070"/>
                <a:gd name="connsiteY16" fmla="*/ 9992597 h 10800208"/>
                <a:gd name="connsiteX17" fmla="*/ 11387555 w 17157070"/>
                <a:gd name="connsiteY17" fmla="*/ 9902167 h 10800208"/>
                <a:gd name="connsiteX18" fmla="*/ 11966315 w 17157070"/>
                <a:gd name="connsiteY18" fmla="*/ 10625622 h 10800208"/>
                <a:gd name="connsiteX19" fmla="*/ 12942975 w 17157070"/>
                <a:gd name="connsiteY19" fmla="*/ 10390493 h 10800208"/>
                <a:gd name="connsiteX20" fmla="*/ 13575992 w 17157070"/>
                <a:gd name="connsiteY20" fmla="*/ 10788393 h 10800208"/>
                <a:gd name="connsiteX21" fmla="*/ 13973888 w 17157070"/>
                <a:gd name="connsiteY21" fmla="*/ 10697960 h 10800208"/>
                <a:gd name="connsiteX22" fmla="*/ 14028146 w 17157070"/>
                <a:gd name="connsiteY22" fmla="*/ 10155369 h 10800208"/>
                <a:gd name="connsiteX23" fmla="*/ 13594073 w 17157070"/>
                <a:gd name="connsiteY23" fmla="*/ 10101112 h 10800208"/>
                <a:gd name="connsiteX24" fmla="*/ 13612161 w 17157070"/>
                <a:gd name="connsiteY24" fmla="*/ 9413833 h 10800208"/>
                <a:gd name="connsiteX25" fmla="*/ 14190925 w 17157070"/>
                <a:gd name="connsiteY25" fmla="*/ 9269146 h 10800208"/>
                <a:gd name="connsiteX26" fmla="*/ 13865366 w 17157070"/>
                <a:gd name="connsiteY26" fmla="*/ 8798901 h 10800208"/>
                <a:gd name="connsiteX27" fmla="*/ 14136664 w 17157070"/>
                <a:gd name="connsiteY27" fmla="*/ 8401005 h 10800208"/>
                <a:gd name="connsiteX28" fmla="*/ 14703435 w 17157070"/>
                <a:gd name="connsiteY28" fmla="*/ 8428101 h 10800208"/>
                <a:gd name="connsiteX29" fmla="*/ 14661163 w 17157070"/>
                <a:gd name="connsiteY29" fmla="*/ 8256317 h 10800208"/>
                <a:gd name="connsiteX30" fmla="*/ 14335608 w 17157070"/>
                <a:gd name="connsiteY30" fmla="*/ 8093542 h 10800208"/>
                <a:gd name="connsiteX31" fmla="*/ 14498387 w 17157070"/>
                <a:gd name="connsiteY31" fmla="*/ 7514778 h 10800208"/>
                <a:gd name="connsiteX32" fmla="*/ 13847278 w 17157070"/>
                <a:gd name="connsiteY32" fmla="*/ 6610464 h 10800208"/>
                <a:gd name="connsiteX33" fmla="*/ 13340864 w 17157070"/>
                <a:gd name="connsiteY33" fmla="*/ 5905101 h 10800208"/>
                <a:gd name="connsiteX34" fmla="*/ 13123831 w 17157070"/>
                <a:gd name="connsiteY34" fmla="*/ 4819923 h 10800208"/>
                <a:gd name="connsiteX35" fmla="*/ 13232349 w 17157070"/>
                <a:gd name="connsiteY35" fmla="*/ 4132649 h 10800208"/>
                <a:gd name="connsiteX36" fmla="*/ 12273778 w 17157070"/>
                <a:gd name="connsiteY36" fmla="*/ 4165810 h 10800208"/>
                <a:gd name="connsiteX37" fmla="*/ 12201432 w 17157070"/>
                <a:gd name="connsiteY37" fmla="*/ 3767910 h 10800208"/>
                <a:gd name="connsiteX38" fmla="*/ 12508887 w 17157070"/>
                <a:gd name="connsiteY38" fmla="*/ 3264515 h 10800208"/>
                <a:gd name="connsiteX39" fmla="*/ 13774933 w 17157070"/>
                <a:gd name="connsiteY39" fmla="*/ 2486799 h 10800208"/>
                <a:gd name="connsiteX40" fmla="*/ 15294184 w 17157070"/>
                <a:gd name="connsiteY40" fmla="*/ 1980384 h 10800208"/>
                <a:gd name="connsiteX41" fmla="*/ 15746333 w 17157070"/>
                <a:gd name="connsiteY41" fmla="*/ 2305939 h 10800208"/>
                <a:gd name="connsiteX42" fmla="*/ 16578306 w 17157070"/>
                <a:gd name="connsiteY42" fmla="*/ 2016557 h 10800208"/>
                <a:gd name="connsiteX43" fmla="*/ 17084732 w 17157070"/>
                <a:gd name="connsiteY43" fmla="*/ 2414465 h 10800208"/>
                <a:gd name="connsiteX44" fmla="*/ 17157070 w 17157070"/>
                <a:gd name="connsiteY44" fmla="*/ 1473974 h 10800208"/>
                <a:gd name="connsiteX45" fmla="*/ 5596373 w 17157070"/>
                <a:gd name="connsiteY45" fmla="*/ 4033059 h 10800208"/>
                <a:gd name="connsiteX46" fmla="*/ 5365184 w 17157070"/>
                <a:gd name="connsiteY46" fmla="*/ 3460880 h 10800208"/>
                <a:gd name="connsiteX47" fmla="*/ 5153802 w 17157070"/>
                <a:gd name="connsiteY47" fmla="*/ 3132314 h 10800208"/>
                <a:gd name="connsiteX48" fmla="*/ 4898441 w 17157070"/>
                <a:gd name="connsiteY48" fmla="*/ 3183022 h 10800208"/>
                <a:gd name="connsiteX49" fmla="*/ 4600673 w 17157070"/>
                <a:gd name="connsiteY49" fmla="*/ 2914551 h 10800208"/>
                <a:gd name="connsiteX50" fmla="*/ 4416749 w 17157070"/>
                <a:gd name="connsiteY50" fmla="*/ 2491544 h 10800208"/>
                <a:gd name="connsiteX51" fmla="*/ 4653822 w 17157070"/>
                <a:gd name="connsiteY51" fmla="*/ 1941377 h 10800208"/>
                <a:gd name="connsiteX52" fmla="*/ 4432864 w 17157070"/>
                <a:gd name="connsiteY52" fmla="*/ 1388142 h 10800208"/>
                <a:gd name="connsiteX53" fmla="*/ 4437471 w 17157070"/>
                <a:gd name="connsiteY53" fmla="*/ 719354 h 10800208"/>
                <a:gd name="connsiteX54" fmla="*/ 4141784 w 17157070"/>
                <a:gd name="connsiteY54" fmla="*/ 0 h 10800208"/>
                <a:gd name="connsiteX55" fmla="*/ 2314296 w 17157070"/>
                <a:gd name="connsiteY55" fmla="*/ 282857 h 10800208"/>
                <a:gd name="connsiteX56" fmla="*/ 1334589 w 17157070"/>
                <a:gd name="connsiteY56" fmla="*/ 1087729 h 10800208"/>
                <a:gd name="connsiteX57" fmla="*/ 0 w 17157070"/>
                <a:gd name="connsiteY57" fmla="*/ 2435175 h 10800208"/>
                <a:gd name="connsiteX0" fmla="*/ 0 w 17084730"/>
                <a:gd name="connsiteY0" fmla="*/ 2435175 h 10800208"/>
                <a:gd name="connsiteX1" fmla="*/ 613837 w 17084730"/>
                <a:gd name="connsiteY1" fmla="*/ 4813533 h 10800208"/>
                <a:gd name="connsiteX2" fmla="*/ 1518338 w 17084730"/>
                <a:gd name="connsiteY2" fmla="*/ 5681683 h 10800208"/>
                <a:gd name="connsiteX3" fmla="*/ 1735898 w 17084730"/>
                <a:gd name="connsiteY3" fmla="*/ 6513607 h 10800208"/>
                <a:gd name="connsiteX4" fmla="*/ 3137400 w 17084730"/>
                <a:gd name="connsiteY4" fmla="*/ 7038167 h 10800208"/>
                <a:gd name="connsiteX5" fmla="*/ 3453963 w 17084730"/>
                <a:gd name="connsiteY5" fmla="*/ 8394658 h 10800208"/>
                <a:gd name="connsiteX6" fmla="*/ 4168520 w 17084730"/>
                <a:gd name="connsiteY6" fmla="*/ 9769227 h 10800208"/>
                <a:gd name="connsiteX7" fmla="*/ 4162343 w 17084730"/>
                <a:gd name="connsiteY7" fmla="*/ 10800208 h 10800208"/>
                <a:gd name="connsiteX8" fmla="*/ 4605215 w 17084730"/>
                <a:gd name="connsiteY8" fmla="*/ 10716044 h 10800208"/>
                <a:gd name="connsiteX9" fmla="*/ 4840336 w 17084730"/>
                <a:gd name="connsiteY9" fmla="*/ 10426662 h 10800208"/>
                <a:gd name="connsiteX10" fmla="*/ 6070201 w 17084730"/>
                <a:gd name="connsiteY10" fmla="*/ 10444754 h 10800208"/>
                <a:gd name="connsiteX11" fmla="*/ 6884082 w 17084730"/>
                <a:gd name="connsiteY11" fmla="*/ 9847902 h 10800208"/>
                <a:gd name="connsiteX12" fmla="*/ 7716051 w 17084730"/>
                <a:gd name="connsiteY12" fmla="*/ 10173461 h 10800208"/>
                <a:gd name="connsiteX13" fmla="*/ 8584189 w 17084730"/>
                <a:gd name="connsiteY13" fmla="*/ 9974509 h 10800208"/>
                <a:gd name="connsiteX14" fmla="*/ 9289552 w 17084730"/>
                <a:gd name="connsiteY14" fmla="*/ 10173461 h 10800208"/>
                <a:gd name="connsiteX15" fmla="*/ 10139605 w 17084730"/>
                <a:gd name="connsiteY15" fmla="*/ 9775561 h 10800208"/>
                <a:gd name="connsiteX16" fmla="*/ 10664108 w 17084730"/>
                <a:gd name="connsiteY16" fmla="*/ 9992597 h 10800208"/>
                <a:gd name="connsiteX17" fmla="*/ 11387555 w 17084730"/>
                <a:gd name="connsiteY17" fmla="*/ 9902167 h 10800208"/>
                <a:gd name="connsiteX18" fmla="*/ 11966315 w 17084730"/>
                <a:gd name="connsiteY18" fmla="*/ 10625622 h 10800208"/>
                <a:gd name="connsiteX19" fmla="*/ 12942975 w 17084730"/>
                <a:gd name="connsiteY19" fmla="*/ 10390493 h 10800208"/>
                <a:gd name="connsiteX20" fmla="*/ 13575992 w 17084730"/>
                <a:gd name="connsiteY20" fmla="*/ 10788393 h 10800208"/>
                <a:gd name="connsiteX21" fmla="*/ 13973888 w 17084730"/>
                <a:gd name="connsiteY21" fmla="*/ 10697960 h 10800208"/>
                <a:gd name="connsiteX22" fmla="*/ 14028146 w 17084730"/>
                <a:gd name="connsiteY22" fmla="*/ 10155369 h 10800208"/>
                <a:gd name="connsiteX23" fmla="*/ 13594073 w 17084730"/>
                <a:gd name="connsiteY23" fmla="*/ 10101112 h 10800208"/>
                <a:gd name="connsiteX24" fmla="*/ 13612161 w 17084730"/>
                <a:gd name="connsiteY24" fmla="*/ 9413833 h 10800208"/>
                <a:gd name="connsiteX25" fmla="*/ 14190925 w 17084730"/>
                <a:gd name="connsiteY25" fmla="*/ 9269146 h 10800208"/>
                <a:gd name="connsiteX26" fmla="*/ 13865366 w 17084730"/>
                <a:gd name="connsiteY26" fmla="*/ 8798901 h 10800208"/>
                <a:gd name="connsiteX27" fmla="*/ 14136664 w 17084730"/>
                <a:gd name="connsiteY27" fmla="*/ 8401005 h 10800208"/>
                <a:gd name="connsiteX28" fmla="*/ 14703435 w 17084730"/>
                <a:gd name="connsiteY28" fmla="*/ 8428101 h 10800208"/>
                <a:gd name="connsiteX29" fmla="*/ 14661163 w 17084730"/>
                <a:gd name="connsiteY29" fmla="*/ 8256317 h 10800208"/>
                <a:gd name="connsiteX30" fmla="*/ 14335608 w 17084730"/>
                <a:gd name="connsiteY30" fmla="*/ 8093542 h 10800208"/>
                <a:gd name="connsiteX31" fmla="*/ 14498387 w 17084730"/>
                <a:gd name="connsiteY31" fmla="*/ 7514778 h 10800208"/>
                <a:gd name="connsiteX32" fmla="*/ 13847278 w 17084730"/>
                <a:gd name="connsiteY32" fmla="*/ 6610464 h 10800208"/>
                <a:gd name="connsiteX33" fmla="*/ 13340864 w 17084730"/>
                <a:gd name="connsiteY33" fmla="*/ 5905101 h 10800208"/>
                <a:gd name="connsiteX34" fmla="*/ 13123831 w 17084730"/>
                <a:gd name="connsiteY34" fmla="*/ 4819923 h 10800208"/>
                <a:gd name="connsiteX35" fmla="*/ 13232349 w 17084730"/>
                <a:gd name="connsiteY35" fmla="*/ 4132649 h 10800208"/>
                <a:gd name="connsiteX36" fmla="*/ 12273778 w 17084730"/>
                <a:gd name="connsiteY36" fmla="*/ 4165810 h 10800208"/>
                <a:gd name="connsiteX37" fmla="*/ 12201432 w 17084730"/>
                <a:gd name="connsiteY37" fmla="*/ 3767910 h 10800208"/>
                <a:gd name="connsiteX38" fmla="*/ 12508887 w 17084730"/>
                <a:gd name="connsiteY38" fmla="*/ 3264515 h 10800208"/>
                <a:gd name="connsiteX39" fmla="*/ 13774933 w 17084730"/>
                <a:gd name="connsiteY39" fmla="*/ 2486799 h 10800208"/>
                <a:gd name="connsiteX40" fmla="*/ 15294184 w 17084730"/>
                <a:gd name="connsiteY40" fmla="*/ 1980384 h 10800208"/>
                <a:gd name="connsiteX41" fmla="*/ 15746333 w 17084730"/>
                <a:gd name="connsiteY41" fmla="*/ 2305939 h 10800208"/>
                <a:gd name="connsiteX42" fmla="*/ 16578306 w 17084730"/>
                <a:gd name="connsiteY42" fmla="*/ 2016557 h 10800208"/>
                <a:gd name="connsiteX43" fmla="*/ 17084732 w 17084730"/>
                <a:gd name="connsiteY43" fmla="*/ 2414465 h 10800208"/>
                <a:gd name="connsiteX44" fmla="*/ 5596373 w 17084730"/>
                <a:gd name="connsiteY44" fmla="*/ 4033059 h 10800208"/>
                <a:gd name="connsiteX45" fmla="*/ 5365184 w 17084730"/>
                <a:gd name="connsiteY45" fmla="*/ 3460880 h 10800208"/>
                <a:gd name="connsiteX46" fmla="*/ 5153802 w 17084730"/>
                <a:gd name="connsiteY46" fmla="*/ 3132314 h 10800208"/>
                <a:gd name="connsiteX47" fmla="*/ 4898441 w 17084730"/>
                <a:gd name="connsiteY47" fmla="*/ 3183022 h 10800208"/>
                <a:gd name="connsiteX48" fmla="*/ 4600673 w 17084730"/>
                <a:gd name="connsiteY48" fmla="*/ 2914551 h 10800208"/>
                <a:gd name="connsiteX49" fmla="*/ 4416749 w 17084730"/>
                <a:gd name="connsiteY49" fmla="*/ 2491544 h 10800208"/>
                <a:gd name="connsiteX50" fmla="*/ 4653822 w 17084730"/>
                <a:gd name="connsiteY50" fmla="*/ 1941377 h 10800208"/>
                <a:gd name="connsiteX51" fmla="*/ 4432864 w 17084730"/>
                <a:gd name="connsiteY51" fmla="*/ 1388142 h 10800208"/>
                <a:gd name="connsiteX52" fmla="*/ 4437471 w 17084730"/>
                <a:gd name="connsiteY52" fmla="*/ 719354 h 10800208"/>
                <a:gd name="connsiteX53" fmla="*/ 4141784 w 17084730"/>
                <a:gd name="connsiteY53" fmla="*/ 0 h 10800208"/>
                <a:gd name="connsiteX54" fmla="*/ 2314296 w 17084730"/>
                <a:gd name="connsiteY54" fmla="*/ 282857 h 10800208"/>
                <a:gd name="connsiteX55" fmla="*/ 1334589 w 17084730"/>
                <a:gd name="connsiteY55" fmla="*/ 1087729 h 10800208"/>
                <a:gd name="connsiteX56" fmla="*/ 0 w 17084730"/>
                <a:gd name="connsiteY56" fmla="*/ 2435175 h 10800208"/>
                <a:gd name="connsiteX0" fmla="*/ 0 w 16578304"/>
                <a:gd name="connsiteY0" fmla="*/ 2435175 h 10800208"/>
                <a:gd name="connsiteX1" fmla="*/ 613837 w 16578304"/>
                <a:gd name="connsiteY1" fmla="*/ 4813533 h 10800208"/>
                <a:gd name="connsiteX2" fmla="*/ 1518338 w 16578304"/>
                <a:gd name="connsiteY2" fmla="*/ 5681683 h 10800208"/>
                <a:gd name="connsiteX3" fmla="*/ 1735898 w 16578304"/>
                <a:gd name="connsiteY3" fmla="*/ 6513607 h 10800208"/>
                <a:gd name="connsiteX4" fmla="*/ 3137400 w 16578304"/>
                <a:gd name="connsiteY4" fmla="*/ 7038167 h 10800208"/>
                <a:gd name="connsiteX5" fmla="*/ 3453963 w 16578304"/>
                <a:gd name="connsiteY5" fmla="*/ 8394658 h 10800208"/>
                <a:gd name="connsiteX6" fmla="*/ 4168520 w 16578304"/>
                <a:gd name="connsiteY6" fmla="*/ 9769227 h 10800208"/>
                <a:gd name="connsiteX7" fmla="*/ 4162343 w 16578304"/>
                <a:gd name="connsiteY7" fmla="*/ 10800208 h 10800208"/>
                <a:gd name="connsiteX8" fmla="*/ 4605215 w 16578304"/>
                <a:gd name="connsiteY8" fmla="*/ 10716044 h 10800208"/>
                <a:gd name="connsiteX9" fmla="*/ 4840336 w 16578304"/>
                <a:gd name="connsiteY9" fmla="*/ 10426662 h 10800208"/>
                <a:gd name="connsiteX10" fmla="*/ 6070201 w 16578304"/>
                <a:gd name="connsiteY10" fmla="*/ 10444754 h 10800208"/>
                <a:gd name="connsiteX11" fmla="*/ 6884082 w 16578304"/>
                <a:gd name="connsiteY11" fmla="*/ 9847902 h 10800208"/>
                <a:gd name="connsiteX12" fmla="*/ 7716051 w 16578304"/>
                <a:gd name="connsiteY12" fmla="*/ 10173461 h 10800208"/>
                <a:gd name="connsiteX13" fmla="*/ 8584189 w 16578304"/>
                <a:gd name="connsiteY13" fmla="*/ 9974509 h 10800208"/>
                <a:gd name="connsiteX14" fmla="*/ 9289552 w 16578304"/>
                <a:gd name="connsiteY14" fmla="*/ 10173461 h 10800208"/>
                <a:gd name="connsiteX15" fmla="*/ 10139605 w 16578304"/>
                <a:gd name="connsiteY15" fmla="*/ 9775561 h 10800208"/>
                <a:gd name="connsiteX16" fmla="*/ 10664108 w 16578304"/>
                <a:gd name="connsiteY16" fmla="*/ 9992597 h 10800208"/>
                <a:gd name="connsiteX17" fmla="*/ 11387555 w 16578304"/>
                <a:gd name="connsiteY17" fmla="*/ 9902167 h 10800208"/>
                <a:gd name="connsiteX18" fmla="*/ 11966315 w 16578304"/>
                <a:gd name="connsiteY18" fmla="*/ 10625622 h 10800208"/>
                <a:gd name="connsiteX19" fmla="*/ 12942975 w 16578304"/>
                <a:gd name="connsiteY19" fmla="*/ 10390493 h 10800208"/>
                <a:gd name="connsiteX20" fmla="*/ 13575992 w 16578304"/>
                <a:gd name="connsiteY20" fmla="*/ 10788393 h 10800208"/>
                <a:gd name="connsiteX21" fmla="*/ 13973888 w 16578304"/>
                <a:gd name="connsiteY21" fmla="*/ 10697960 h 10800208"/>
                <a:gd name="connsiteX22" fmla="*/ 14028146 w 16578304"/>
                <a:gd name="connsiteY22" fmla="*/ 10155369 h 10800208"/>
                <a:gd name="connsiteX23" fmla="*/ 13594073 w 16578304"/>
                <a:gd name="connsiteY23" fmla="*/ 10101112 h 10800208"/>
                <a:gd name="connsiteX24" fmla="*/ 13612161 w 16578304"/>
                <a:gd name="connsiteY24" fmla="*/ 9413833 h 10800208"/>
                <a:gd name="connsiteX25" fmla="*/ 14190925 w 16578304"/>
                <a:gd name="connsiteY25" fmla="*/ 9269146 h 10800208"/>
                <a:gd name="connsiteX26" fmla="*/ 13865366 w 16578304"/>
                <a:gd name="connsiteY26" fmla="*/ 8798901 h 10800208"/>
                <a:gd name="connsiteX27" fmla="*/ 14136664 w 16578304"/>
                <a:gd name="connsiteY27" fmla="*/ 8401005 h 10800208"/>
                <a:gd name="connsiteX28" fmla="*/ 14703435 w 16578304"/>
                <a:gd name="connsiteY28" fmla="*/ 8428101 h 10800208"/>
                <a:gd name="connsiteX29" fmla="*/ 14661163 w 16578304"/>
                <a:gd name="connsiteY29" fmla="*/ 8256317 h 10800208"/>
                <a:gd name="connsiteX30" fmla="*/ 14335608 w 16578304"/>
                <a:gd name="connsiteY30" fmla="*/ 8093542 h 10800208"/>
                <a:gd name="connsiteX31" fmla="*/ 14498387 w 16578304"/>
                <a:gd name="connsiteY31" fmla="*/ 7514778 h 10800208"/>
                <a:gd name="connsiteX32" fmla="*/ 13847278 w 16578304"/>
                <a:gd name="connsiteY32" fmla="*/ 6610464 h 10800208"/>
                <a:gd name="connsiteX33" fmla="*/ 13340864 w 16578304"/>
                <a:gd name="connsiteY33" fmla="*/ 5905101 h 10800208"/>
                <a:gd name="connsiteX34" fmla="*/ 13123831 w 16578304"/>
                <a:gd name="connsiteY34" fmla="*/ 4819923 h 10800208"/>
                <a:gd name="connsiteX35" fmla="*/ 13232349 w 16578304"/>
                <a:gd name="connsiteY35" fmla="*/ 4132649 h 10800208"/>
                <a:gd name="connsiteX36" fmla="*/ 12273778 w 16578304"/>
                <a:gd name="connsiteY36" fmla="*/ 4165810 h 10800208"/>
                <a:gd name="connsiteX37" fmla="*/ 12201432 w 16578304"/>
                <a:gd name="connsiteY37" fmla="*/ 3767910 h 10800208"/>
                <a:gd name="connsiteX38" fmla="*/ 12508887 w 16578304"/>
                <a:gd name="connsiteY38" fmla="*/ 3264515 h 10800208"/>
                <a:gd name="connsiteX39" fmla="*/ 13774933 w 16578304"/>
                <a:gd name="connsiteY39" fmla="*/ 2486799 h 10800208"/>
                <a:gd name="connsiteX40" fmla="*/ 15294184 w 16578304"/>
                <a:gd name="connsiteY40" fmla="*/ 1980384 h 10800208"/>
                <a:gd name="connsiteX41" fmla="*/ 15746333 w 16578304"/>
                <a:gd name="connsiteY41" fmla="*/ 2305939 h 10800208"/>
                <a:gd name="connsiteX42" fmla="*/ 16578306 w 16578304"/>
                <a:gd name="connsiteY42" fmla="*/ 2016557 h 10800208"/>
                <a:gd name="connsiteX43" fmla="*/ 6319261 w 16578304"/>
                <a:gd name="connsiteY43" fmla="*/ 4419497 h 10800208"/>
                <a:gd name="connsiteX44" fmla="*/ 5596373 w 16578304"/>
                <a:gd name="connsiteY44" fmla="*/ 4033059 h 10800208"/>
                <a:gd name="connsiteX45" fmla="*/ 5365184 w 16578304"/>
                <a:gd name="connsiteY45" fmla="*/ 3460880 h 10800208"/>
                <a:gd name="connsiteX46" fmla="*/ 5153802 w 16578304"/>
                <a:gd name="connsiteY46" fmla="*/ 3132314 h 10800208"/>
                <a:gd name="connsiteX47" fmla="*/ 4898441 w 16578304"/>
                <a:gd name="connsiteY47" fmla="*/ 3183022 h 10800208"/>
                <a:gd name="connsiteX48" fmla="*/ 4600673 w 16578304"/>
                <a:gd name="connsiteY48" fmla="*/ 2914551 h 10800208"/>
                <a:gd name="connsiteX49" fmla="*/ 4416749 w 16578304"/>
                <a:gd name="connsiteY49" fmla="*/ 2491544 h 10800208"/>
                <a:gd name="connsiteX50" fmla="*/ 4653822 w 16578304"/>
                <a:gd name="connsiteY50" fmla="*/ 1941377 h 10800208"/>
                <a:gd name="connsiteX51" fmla="*/ 4432864 w 16578304"/>
                <a:gd name="connsiteY51" fmla="*/ 1388142 h 10800208"/>
                <a:gd name="connsiteX52" fmla="*/ 4437471 w 16578304"/>
                <a:gd name="connsiteY52" fmla="*/ 719354 h 10800208"/>
                <a:gd name="connsiteX53" fmla="*/ 4141784 w 16578304"/>
                <a:gd name="connsiteY53" fmla="*/ 0 h 10800208"/>
                <a:gd name="connsiteX54" fmla="*/ 2314296 w 16578304"/>
                <a:gd name="connsiteY54" fmla="*/ 282857 h 10800208"/>
                <a:gd name="connsiteX55" fmla="*/ 1334589 w 16578304"/>
                <a:gd name="connsiteY55" fmla="*/ 1087729 h 10800208"/>
                <a:gd name="connsiteX56" fmla="*/ 0 w 16578304"/>
                <a:gd name="connsiteY56" fmla="*/ 2435175 h 10800208"/>
                <a:gd name="connsiteX0" fmla="*/ 0 w 15746332"/>
                <a:gd name="connsiteY0" fmla="*/ 2435175 h 10800208"/>
                <a:gd name="connsiteX1" fmla="*/ 613837 w 15746332"/>
                <a:gd name="connsiteY1" fmla="*/ 4813533 h 10800208"/>
                <a:gd name="connsiteX2" fmla="*/ 1518338 w 15746332"/>
                <a:gd name="connsiteY2" fmla="*/ 5681683 h 10800208"/>
                <a:gd name="connsiteX3" fmla="*/ 1735898 w 15746332"/>
                <a:gd name="connsiteY3" fmla="*/ 6513607 h 10800208"/>
                <a:gd name="connsiteX4" fmla="*/ 3137400 w 15746332"/>
                <a:gd name="connsiteY4" fmla="*/ 7038167 h 10800208"/>
                <a:gd name="connsiteX5" fmla="*/ 3453963 w 15746332"/>
                <a:gd name="connsiteY5" fmla="*/ 8394658 h 10800208"/>
                <a:gd name="connsiteX6" fmla="*/ 4168520 w 15746332"/>
                <a:gd name="connsiteY6" fmla="*/ 9769227 h 10800208"/>
                <a:gd name="connsiteX7" fmla="*/ 4162343 w 15746332"/>
                <a:gd name="connsiteY7" fmla="*/ 10800208 h 10800208"/>
                <a:gd name="connsiteX8" fmla="*/ 4605215 w 15746332"/>
                <a:gd name="connsiteY8" fmla="*/ 10716044 h 10800208"/>
                <a:gd name="connsiteX9" fmla="*/ 4840336 w 15746332"/>
                <a:gd name="connsiteY9" fmla="*/ 10426662 h 10800208"/>
                <a:gd name="connsiteX10" fmla="*/ 6070201 w 15746332"/>
                <a:gd name="connsiteY10" fmla="*/ 10444754 h 10800208"/>
                <a:gd name="connsiteX11" fmla="*/ 6884082 w 15746332"/>
                <a:gd name="connsiteY11" fmla="*/ 9847902 h 10800208"/>
                <a:gd name="connsiteX12" fmla="*/ 7716051 w 15746332"/>
                <a:gd name="connsiteY12" fmla="*/ 10173461 h 10800208"/>
                <a:gd name="connsiteX13" fmla="*/ 8584189 w 15746332"/>
                <a:gd name="connsiteY13" fmla="*/ 9974509 h 10800208"/>
                <a:gd name="connsiteX14" fmla="*/ 9289552 w 15746332"/>
                <a:gd name="connsiteY14" fmla="*/ 10173461 h 10800208"/>
                <a:gd name="connsiteX15" fmla="*/ 10139605 w 15746332"/>
                <a:gd name="connsiteY15" fmla="*/ 9775561 h 10800208"/>
                <a:gd name="connsiteX16" fmla="*/ 10664108 w 15746332"/>
                <a:gd name="connsiteY16" fmla="*/ 9992597 h 10800208"/>
                <a:gd name="connsiteX17" fmla="*/ 11387555 w 15746332"/>
                <a:gd name="connsiteY17" fmla="*/ 9902167 h 10800208"/>
                <a:gd name="connsiteX18" fmla="*/ 11966315 w 15746332"/>
                <a:gd name="connsiteY18" fmla="*/ 10625622 h 10800208"/>
                <a:gd name="connsiteX19" fmla="*/ 12942975 w 15746332"/>
                <a:gd name="connsiteY19" fmla="*/ 10390493 h 10800208"/>
                <a:gd name="connsiteX20" fmla="*/ 13575992 w 15746332"/>
                <a:gd name="connsiteY20" fmla="*/ 10788393 h 10800208"/>
                <a:gd name="connsiteX21" fmla="*/ 13973888 w 15746332"/>
                <a:gd name="connsiteY21" fmla="*/ 10697960 h 10800208"/>
                <a:gd name="connsiteX22" fmla="*/ 14028146 w 15746332"/>
                <a:gd name="connsiteY22" fmla="*/ 10155369 h 10800208"/>
                <a:gd name="connsiteX23" fmla="*/ 13594073 w 15746332"/>
                <a:gd name="connsiteY23" fmla="*/ 10101112 h 10800208"/>
                <a:gd name="connsiteX24" fmla="*/ 13612161 w 15746332"/>
                <a:gd name="connsiteY24" fmla="*/ 9413833 h 10800208"/>
                <a:gd name="connsiteX25" fmla="*/ 14190925 w 15746332"/>
                <a:gd name="connsiteY25" fmla="*/ 9269146 h 10800208"/>
                <a:gd name="connsiteX26" fmla="*/ 13865366 w 15746332"/>
                <a:gd name="connsiteY26" fmla="*/ 8798901 h 10800208"/>
                <a:gd name="connsiteX27" fmla="*/ 14136664 w 15746332"/>
                <a:gd name="connsiteY27" fmla="*/ 8401005 h 10800208"/>
                <a:gd name="connsiteX28" fmla="*/ 14703435 w 15746332"/>
                <a:gd name="connsiteY28" fmla="*/ 8428101 h 10800208"/>
                <a:gd name="connsiteX29" fmla="*/ 14661163 w 15746332"/>
                <a:gd name="connsiteY29" fmla="*/ 8256317 h 10800208"/>
                <a:gd name="connsiteX30" fmla="*/ 14335608 w 15746332"/>
                <a:gd name="connsiteY30" fmla="*/ 8093542 h 10800208"/>
                <a:gd name="connsiteX31" fmla="*/ 14498387 w 15746332"/>
                <a:gd name="connsiteY31" fmla="*/ 7514778 h 10800208"/>
                <a:gd name="connsiteX32" fmla="*/ 13847278 w 15746332"/>
                <a:gd name="connsiteY32" fmla="*/ 6610464 h 10800208"/>
                <a:gd name="connsiteX33" fmla="*/ 13340864 w 15746332"/>
                <a:gd name="connsiteY33" fmla="*/ 5905101 h 10800208"/>
                <a:gd name="connsiteX34" fmla="*/ 13123831 w 15746332"/>
                <a:gd name="connsiteY34" fmla="*/ 4819923 h 10800208"/>
                <a:gd name="connsiteX35" fmla="*/ 13232349 w 15746332"/>
                <a:gd name="connsiteY35" fmla="*/ 4132649 h 10800208"/>
                <a:gd name="connsiteX36" fmla="*/ 12273778 w 15746332"/>
                <a:gd name="connsiteY36" fmla="*/ 4165810 h 10800208"/>
                <a:gd name="connsiteX37" fmla="*/ 12201432 w 15746332"/>
                <a:gd name="connsiteY37" fmla="*/ 3767910 h 10800208"/>
                <a:gd name="connsiteX38" fmla="*/ 12508887 w 15746332"/>
                <a:gd name="connsiteY38" fmla="*/ 3264515 h 10800208"/>
                <a:gd name="connsiteX39" fmla="*/ 13774933 w 15746332"/>
                <a:gd name="connsiteY39" fmla="*/ 2486799 h 10800208"/>
                <a:gd name="connsiteX40" fmla="*/ 15294184 w 15746332"/>
                <a:gd name="connsiteY40" fmla="*/ 1980384 h 10800208"/>
                <a:gd name="connsiteX41" fmla="*/ 15746333 w 15746332"/>
                <a:gd name="connsiteY41" fmla="*/ 2305939 h 10800208"/>
                <a:gd name="connsiteX42" fmla="*/ 6319261 w 15746332"/>
                <a:gd name="connsiteY42" fmla="*/ 4419497 h 10800208"/>
                <a:gd name="connsiteX43" fmla="*/ 5596373 w 15746332"/>
                <a:gd name="connsiteY43" fmla="*/ 4033059 h 10800208"/>
                <a:gd name="connsiteX44" fmla="*/ 5365184 w 15746332"/>
                <a:gd name="connsiteY44" fmla="*/ 3460880 h 10800208"/>
                <a:gd name="connsiteX45" fmla="*/ 5153802 w 15746332"/>
                <a:gd name="connsiteY45" fmla="*/ 3132314 h 10800208"/>
                <a:gd name="connsiteX46" fmla="*/ 4898441 w 15746332"/>
                <a:gd name="connsiteY46" fmla="*/ 3183022 h 10800208"/>
                <a:gd name="connsiteX47" fmla="*/ 4600673 w 15746332"/>
                <a:gd name="connsiteY47" fmla="*/ 2914551 h 10800208"/>
                <a:gd name="connsiteX48" fmla="*/ 4416749 w 15746332"/>
                <a:gd name="connsiteY48" fmla="*/ 2491544 h 10800208"/>
                <a:gd name="connsiteX49" fmla="*/ 4653822 w 15746332"/>
                <a:gd name="connsiteY49" fmla="*/ 1941377 h 10800208"/>
                <a:gd name="connsiteX50" fmla="*/ 4432864 w 15746332"/>
                <a:gd name="connsiteY50" fmla="*/ 1388142 h 10800208"/>
                <a:gd name="connsiteX51" fmla="*/ 4437471 w 15746332"/>
                <a:gd name="connsiteY51" fmla="*/ 719354 h 10800208"/>
                <a:gd name="connsiteX52" fmla="*/ 4141784 w 15746332"/>
                <a:gd name="connsiteY52" fmla="*/ 0 h 10800208"/>
                <a:gd name="connsiteX53" fmla="*/ 2314296 w 15746332"/>
                <a:gd name="connsiteY53" fmla="*/ 282857 h 10800208"/>
                <a:gd name="connsiteX54" fmla="*/ 1334589 w 15746332"/>
                <a:gd name="connsiteY54" fmla="*/ 1087729 h 10800208"/>
                <a:gd name="connsiteX55" fmla="*/ 0 w 15746332"/>
                <a:gd name="connsiteY55" fmla="*/ 2435175 h 10800208"/>
                <a:gd name="connsiteX0" fmla="*/ 0 w 15294185"/>
                <a:gd name="connsiteY0" fmla="*/ 2435175 h 10800208"/>
                <a:gd name="connsiteX1" fmla="*/ 613837 w 15294185"/>
                <a:gd name="connsiteY1" fmla="*/ 4813533 h 10800208"/>
                <a:gd name="connsiteX2" fmla="*/ 1518338 w 15294185"/>
                <a:gd name="connsiteY2" fmla="*/ 5681683 h 10800208"/>
                <a:gd name="connsiteX3" fmla="*/ 1735898 w 15294185"/>
                <a:gd name="connsiteY3" fmla="*/ 6513607 h 10800208"/>
                <a:gd name="connsiteX4" fmla="*/ 3137400 w 15294185"/>
                <a:gd name="connsiteY4" fmla="*/ 7038167 h 10800208"/>
                <a:gd name="connsiteX5" fmla="*/ 3453963 w 15294185"/>
                <a:gd name="connsiteY5" fmla="*/ 8394658 h 10800208"/>
                <a:gd name="connsiteX6" fmla="*/ 4168520 w 15294185"/>
                <a:gd name="connsiteY6" fmla="*/ 9769227 h 10800208"/>
                <a:gd name="connsiteX7" fmla="*/ 4162343 w 15294185"/>
                <a:gd name="connsiteY7" fmla="*/ 10800208 h 10800208"/>
                <a:gd name="connsiteX8" fmla="*/ 4605215 w 15294185"/>
                <a:gd name="connsiteY8" fmla="*/ 10716044 h 10800208"/>
                <a:gd name="connsiteX9" fmla="*/ 4840336 w 15294185"/>
                <a:gd name="connsiteY9" fmla="*/ 10426662 h 10800208"/>
                <a:gd name="connsiteX10" fmla="*/ 6070201 w 15294185"/>
                <a:gd name="connsiteY10" fmla="*/ 10444754 h 10800208"/>
                <a:gd name="connsiteX11" fmla="*/ 6884082 w 15294185"/>
                <a:gd name="connsiteY11" fmla="*/ 9847902 h 10800208"/>
                <a:gd name="connsiteX12" fmla="*/ 7716051 w 15294185"/>
                <a:gd name="connsiteY12" fmla="*/ 10173461 h 10800208"/>
                <a:gd name="connsiteX13" fmla="*/ 8584189 w 15294185"/>
                <a:gd name="connsiteY13" fmla="*/ 9974509 h 10800208"/>
                <a:gd name="connsiteX14" fmla="*/ 9289552 w 15294185"/>
                <a:gd name="connsiteY14" fmla="*/ 10173461 h 10800208"/>
                <a:gd name="connsiteX15" fmla="*/ 10139605 w 15294185"/>
                <a:gd name="connsiteY15" fmla="*/ 9775561 h 10800208"/>
                <a:gd name="connsiteX16" fmla="*/ 10664108 w 15294185"/>
                <a:gd name="connsiteY16" fmla="*/ 9992597 h 10800208"/>
                <a:gd name="connsiteX17" fmla="*/ 11387555 w 15294185"/>
                <a:gd name="connsiteY17" fmla="*/ 9902167 h 10800208"/>
                <a:gd name="connsiteX18" fmla="*/ 11966315 w 15294185"/>
                <a:gd name="connsiteY18" fmla="*/ 10625622 h 10800208"/>
                <a:gd name="connsiteX19" fmla="*/ 12942975 w 15294185"/>
                <a:gd name="connsiteY19" fmla="*/ 10390493 h 10800208"/>
                <a:gd name="connsiteX20" fmla="*/ 13575992 w 15294185"/>
                <a:gd name="connsiteY20" fmla="*/ 10788393 h 10800208"/>
                <a:gd name="connsiteX21" fmla="*/ 13973888 w 15294185"/>
                <a:gd name="connsiteY21" fmla="*/ 10697960 h 10800208"/>
                <a:gd name="connsiteX22" fmla="*/ 14028146 w 15294185"/>
                <a:gd name="connsiteY22" fmla="*/ 10155369 h 10800208"/>
                <a:gd name="connsiteX23" fmla="*/ 13594073 w 15294185"/>
                <a:gd name="connsiteY23" fmla="*/ 10101112 h 10800208"/>
                <a:gd name="connsiteX24" fmla="*/ 13612161 w 15294185"/>
                <a:gd name="connsiteY24" fmla="*/ 9413833 h 10800208"/>
                <a:gd name="connsiteX25" fmla="*/ 14190925 w 15294185"/>
                <a:gd name="connsiteY25" fmla="*/ 9269146 h 10800208"/>
                <a:gd name="connsiteX26" fmla="*/ 13865366 w 15294185"/>
                <a:gd name="connsiteY26" fmla="*/ 8798901 h 10800208"/>
                <a:gd name="connsiteX27" fmla="*/ 14136664 w 15294185"/>
                <a:gd name="connsiteY27" fmla="*/ 8401005 h 10800208"/>
                <a:gd name="connsiteX28" fmla="*/ 14703435 w 15294185"/>
                <a:gd name="connsiteY28" fmla="*/ 8428101 h 10800208"/>
                <a:gd name="connsiteX29" fmla="*/ 14661163 w 15294185"/>
                <a:gd name="connsiteY29" fmla="*/ 8256317 h 10800208"/>
                <a:gd name="connsiteX30" fmla="*/ 14335608 w 15294185"/>
                <a:gd name="connsiteY30" fmla="*/ 8093542 h 10800208"/>
                <a:gd name="connsiteX31" fmla="*/ 14498387 w 15294185"/>
                <a:gd name="connsiteY31" fmla="*/ 7514778 h 10800208"/>
                <a:gd name="connsiteX32" fmla="*/ 13847278 w 15294185"/>
                <a:gd name="connsiteY32" fmla="*/ 6610464 h 10800208"/>
                <a:gd name="connsiteX33" fmla="*/ 13340864 w 15294185"/>
                <a:gd name="connsiteY33" fmla="*/ 5905101 h 10800208"/>
                <a:gd name="connsiteX34" fmla="*/ 13123831 w 15294185"/>
                <a:gd name="connsiteY34" fmla="*/ 4819923 h 10800208"/>
                <a:gd name="connsiteX35" fmla="*/ 13232349 w 15294185"/>
                <a:gd name="connsiteY35" fmla="*/ 4132649 h 10800208"/>
                <a:gd name="connsiteX36" fmla="*/ 12273778 w 15294185"/>
                <a:gd name="connsiteY36" fmla="*/ 4165810 h 10800208"/>
                <a:gd name="connsiteX37" fmla="*/ 12201432 w 15294185"/>
                <a:gd name="connsiteY37" fmla="*/ 3767910 h 10800208"/>
                <a:gd name="connsiteX38" fmla="*/ 12508887 w 15294185"/>
                <a:gd name="connsiteY38" fmla="*/ 3264515 h 10800208"/>
                <a:gd name="connsiteX39" fmla="*/ 13774933 w 15294185"/>
                <a:gd name="connsiteY39" fmla="*/ 2486799 h 10800208"/>
                <a:gd name="connsiteX40" fmla="*/ 15294184 w 15294185"/>
                <a:gd name="connsiteY40" fmla="*/ 1980384 h 10800208"/>
                <a:gd name="connsiteX41" fmla="*/ 6319261 w 15294185"/>
                <a:gd name="connsiteY41" fmla="*/ 4419497 h 10800208"/>
                <a:gd name="connsiteX42" fmla="*/ 5596373 w 15294185"/>
                <a:gd name="connsiteY42" fmla="*/ 4033059 h 10800208"/>
                <a:gd name="connsiteX43" fmla="*/ 5365184 w 15294185"/>
                <a:gd name="connsiteY43" fmla="*/ 3460880 h 10800208"/>
                <a:gd name="connsiteX44" fmla="*/ 5153802 w 15294185"/>
                <a:gd name="connsiteY44" fmla="*/ 3132314 h 10800208"/>
                <a:gd name="connsiteX45" fmla="*/ 4898441 w 15294185"/>
                <a:gd name="connsiteY45" fmla="*/ 3183022 h 10800208"/>
                <a:gd name="connsiteX46" fmla="*/ 4600673 w 15294185"/>
                <a:gd name="connsiteY46" fmla="*/ 2914551 h 10800208"/>
                <a:gd name="connsiteX47" fmla="*/ 4416749 w 15294185"/>
                <a:gd name="connsiteY47" fmla="*/ 2491544 h 10800208"/>
                <a:gd name="connsiteX48" fmla="*/ 4653822 w 15294185"/>
                <a:gd name="connsiteY48" fmla="*/ 1941377 h 10800208"/>
                <a:gd name="connsiteX49" fmla="*/ 4432864 w 15294185"/>
                <a:gd name="connsiteY49" fmla="*/ 1388142 h 10800208"/>
                <a:gd name="connsiteX50" fmla="*/ 4437471 w 15294185"/>
                <a:gd name="connsiteY50" fmla="*/ 719354 h 10800208"/>
                <a:gd name="connsiteX51" fmla="*/ 4141784 w 15294185"/>
                <a:gd name="connsiteY51" fmla="*/ 0 h 10800208"/>
                <a:gd name="connsiteX52" fmla="*/ 2314296 w 15294185"/>
                <a:gd name="connsiteY52" fmla="*/ 282857 h 10800208"/>
                <a:gd name="connsiteX53" fmla="*/ 1334589 w 15294185"/>
                <a:gd name="connsiteY53" fmla="*/ 1087729 h 10800208"/>
                <a:gd name="connsiteX54" fmla="*/ 0 w 15294185"/>
                <a:gd name="connsiteY54"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12273778 w 14703435"/>
                <a:gd name="connsiteY36" fmla="*/ 4165810 h 10800208"/>
                <a:gd name="connsiteX37" fmla="*/ 12201432 w 14703435"/>
                <a:gd name="connsiteY37" fmla="*/ 3767910 h 10800208"/>
                <a:gd name="connsiteX38" fmla="*/ 12508887 w 14703435"/>
                <a:gd name="connsiteY38" fmla="*/ 3264515 h 10800208"/>
                <a:gd name="connsiteX39" fmla="*/ 13774933 w 14703435"/>
                <a:gd name="connsiteY39" fmla="*/ 2486799 h 10800208"/>
                <a:gd name="connsiteX40" fmla="*/ 6319261 w 14703435"/>
                <a:gd name="connsiteY40" fmla="*/ 4419497 h 10800208"/>
                <a:gd name="connsiteX41" fmla="*/ 5596373 w 14703435"/>
                <a:gd name="connsiteY41" fmla="*/ 4033059 h 10800208"/>
                <a:gd name="connsiteX42" fmla="*/ 5365184 w 14703435"/>
                <a:gd name="connsiteY42" fmla="*/ 3460880 h 10800208"/>
                <a:gd name="connsiteX43" fmla="*/ 5153802 w 14703435"/>
                <a:gd name="connsiteY43" fmla="*/ 3132314 h 10800208"/>
                <a:gd name="connsiteX44" fmla="*/ 4898441 w 14703435"/>
                <a:gd name="connsiteY44" fmla="*/ 3183022 h 10800208"/>
                <a:gd name="connsiteX45" fmla="*/ 4600673 w 14703435"/>
                <a:gd name="connsiteY45" fmla="*/ 2914551 h 10800208"/>
                <a:gd name="connsiteX46" fmla="*/ 4416749 w 14703435"/>
                <a:gd name="connsiteY46" fmla="*/ 2491544 h 10800208"/>
                <a:gd name="connsiteX47" fmla="*/ 4653822 w 14703435"/>
                <a:gd name="connsiteY47" fmla="*/ 1941377 h 10800208"/>
                <a:gd name="connsiteX48" fmla="*/ 4432864 w 14703435"/>
                <a:gd name="connsiteY48" fmla="*/ 1388142 h 10800208"/>
                <a:gd name="connsiteX49" fmla="*/ 4437471 w 14703435"/>
                <a:gd name="connsiteY49" fmla="*/ 719354 h 10800208"/>
                <a:gd name="connsiteX50" fmla="*/ 4141784 w 14703435"/>
                <a:gd name="connsiteY50" fmla="*/ 0 h 10800208"/>
                <a:gd name="connsiteX51" fmla="*/ 2314296 w 14703435"/>
                <a:gd name="connsiteY51" fmla="*/ 282857 h 10800208"/>
                <a:gd name="connsiteX52" fmla="*/ 1334589 w 14703435"/>
                <a:gd name="connsiteY52" fmla="*/ 1087729 h 10800208"/>
                <a:gd name="connsiteX53" fmla="*/ 0 w 14703435"/>
                <a:gd name="connsiteY53"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12273778 w 14703435"/>
                <a:gd name="connsiteY36" fmla="*/ 4165810 h 10800208"/>
                <a:gd name="connsiteX37" fmla="*/ 12201432 w 14703435"/>
                <a:gd name="connsiteY37" fmla="*/ 3767910 h 10800208"/>
                <a:gd name="connsiteX38" fmla="*/ 12508887 w 14703435"/>
                <a:gd name="connsiteY38" fmla="*/ 32645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12273778 w 14703435"/>
                <a:gd name="connsiteY36" fmla="*/ 4165810 h 10800208"/>
                <a:gd name="connsiteX37" fmla="*/ 12201432 w 14703435"/>
                <a:gd name="connsiteY37" fmla="*/ 3767910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12273778 w 14703435"/>
                <a:gd name="connsiteY36" fmla="*/ 4165810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9824147 w 14703435"/>
                <a:gd name="connsiteY33" fmla="*/ 6931488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1909491 w 14703435"/>
                <a:gd name="connsiteY32" fmla="*/ 6300156 h 10800208"/>
                <a:gd name="connsiteX33" fmla="*/ 9824147 w 14703435"/>
                <a:gd name="connsiteY33" fmla="*/ 6931488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3924235 w 14703435"/>
                <a:gd name="connsiteY31" fmla="*/ 6560001 h 10800208"/>
                <a:gd name="connsiteX32" fmla="*/ 11909491 w 14703435"/>
                <a:gd name="connsiteY32" fmla="*/ 6300156 h 10800208"/>
                <a:gd name="connsiteX33" fmla="*/ 9824147 w 14703435"/>
                <a:gd name="connsiteY33" fmla="*/ 6931488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407378 w 14703435"/>
                <a:gd name="connsiteY30" fmla="*/ 7544542 h 10800208"/>
                <a:gd name="connsiteX31" fmla="*/ 13924235 w 14703435"/>
                <a:gd name="connsiteY31" fmla="*/ 6560001 h 10800208"/>
                <a:gd name="connsiteX32" fmla="*/ 11909491 w 14703435"/>
                <a:gd name="connsiteY32" fmla="*/ 6300156 h 10800208"/>
                <a:gd name="connsiteX33" fmla="*/ 9824147 w 14703435"/>
                <a:gd name="connsiteY33" fmla="*/ 6931488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341812 h 10706845"/>
                <a:gd name="connsiteX1" fmla="*/ 613837 w 14703435"/>
                <a:gd name="connsiteY1" fmla="*/ 4720170 h 10706845"/>
                <a:gd name="connsiteX2" fmla="*/ 1518338 w 14703435"/>
                <a:gd name="connsiteY2" fmla="*/ 5588320 h 10706845"/>
                <a:gd name="connsiteX3" fmla="*/ 1735898 w 14703435"/>
                <a:gd name="connsiteY3" fmla="*/ 6420244 h 10706845"/>
                <a:gd name="connsiteX4" fmla="*/ 3137400 w 14703435"/>
                <a:gd name="connsiteY4" fmla="*/ 6944804 h 10706845"/>
                <a:gd name="connsiteX5" fmla="*/ 3453963 w 14703435"/>
                <a:gd name="connsiteY5" fmla="*/ 8301295 h 10706845"/>
                <a:gd name="connsiteX6" fmla="*/ 4168520 w 14703435"/>
                <a:gd name="connsiteY6" fmla="*/ 9675864 h 10706845"/>
                <a:gd name="connsiteX7" fmla="*/ 4162343 w 14703435"/>
                <a:gd name="connsiteY7" fmla="*/ 10706845 h 10706845"/>
                <a:gd name="connsiteX8" fmla="*/ 4605215 w 14703435"/>
                <a:gd name="connsiteY8" fmla="*/ 10622681 h 10706845"/>
                <a:gd name="connsiteX9" fmla="*/ 4840336 w 14703435"/>
                <a:gd name="connsiteY9" fmla="*/ 10333299 h 10706845"/>
                <a:gd name="connsiteX10" fmla="*/ 6070201 w 14703435"/>
                <a:gd name="connsiteY10" fmla="*/ 10351391 h 10706845"/>
                <a:gd name="connsiteX11" fmla="*/ 6884082 w 14703435"/>
                <a:gd name="connsiteY11" fmla="*/ 9754539 h 10706845"/>
                <a:gd name="connsiteX12" fmla="*/ 7716051 w 14703435"/>
                <a:gd name="connsiteY12" fmla="*/ 10080098 h 10706845"/>
                <a:gd name="connsiteX13" fmla="*/ 8584189 w 14703435"/>
                <a:gd name="connsiteY13" fmla="*/ 9881146 h 10706845"/>
                <a:gd name="connsiteX14" fmla="*/ 9289552 w 14703435"/>
                <a:gd name="connsiteY14" fmla="*/ 10080098 h 10706845"/>
                <a:gd name="connsiteX15" fmla="*/ 10139605 w 14703435"/>
                <a:gd name="connsiteY15" fmla="*/ 9682198 h 10706845"/>
                <a:gd name="connsiteX16" fmla="*/ 10664108 w 14703435"/>
                <a:gd name="connsiteY16" fmla="*/ 9899234 h 10706845"/>
                <a:gd name="connsiteX17" fmla="*/ 11387555 w 14703435"/>
                <a:gd name="connsiteY17" fmla="*/ 9808804 h 10706845"/>
                <a:gd name="connsiteX18" fmla="*/ 11966315 w 14703435"/>
                <a:gd name="connsiteY18" fmla="*/ 10532259 h 10706845"/>
                <a:gd name="connsiteX19" fmla="*/ 12942975 w 14703435"/>
                <a:gd name="connsiteY19" fmla="*/ 10297130 h 10706845"/>
                <a:gd name="connsiteX20" fmla="*/ 13575992 w 14703435"/>
                <a:gd name="connsiteY20" fmla="*/ 10695030 h 10706845"/>
                <a:gd name="connsiteX21" fmla="*/ 13973888 w 14703435"/>
                <a:gd name="connsiteY21" fmla="*/ 10604597 h 10706845"/>
                <a:gd name="connsiteX22" fmla="*/ 14028146 w 14703435"/>
                <a:gd name="connsiteY22" fmla="*/ 10062006 h 10706845"/>
                <a:gd name="connsiteX23" fmla="*/ 13594073 w 14703435"/>
                <a:gd name="connsiteY23" fmla="*/ 10007749 h 10706845"/>
                <a:gd name="connsiteX24" fmla="*/ 13612161 w 14703435"/>
                <a:gd name="connsiteY24" fmla="*/ 9320470 h 10706845"/>
                <a:gd name="connsiteX25" fmla="*/ 14190925 w 14703435"/>
                <a:gd name="connsiteY25" fmla="*/ 9175783 h 10706845"/>
                <a:gd name="connsiteX26" fmla="*/ 13865366 w 14703435"/>
                <a:gd name="connsiteY26" fmla="*/ 8705538 h 10706845"/>
                <a:gd name="connsiteX27" fmla="*/ 14136664 w 14703435"/>
                <a:gd name="connsiteY27" fmla="*/ 8307642 h 10706845"/>
                <a:gd name="connsiteX28" fmla="*/ 14703435 w 14703435"/>
                <a:gd name="connsiteY28" fmla="*/ 8334738 h 10706845"/>
                <a:gd name="connsiteX29" fmla="*/ 14661163 w 14703435"/>
                <a:gd name="connsiteY29" fmla="*/ 8162954 h 10706845"/>
                <a:gd name="connsiteX30" fmla="*/ 14407378 w 14703435"/>
                <a:gd name="connsiteY30" fmla="*/ 7451179 h 10706845"/>
                <a:gd name="connsiteX31" fmla="*/ 13924235 w 14703435"/>
                <a:gd name="connsiteY31" fmla="*/ 6466638 h 10706845"/>
                <a:gd name="connsiteX32" fmla="*/ 11909491 w 14703435"/>
                <a:gd name="connsiteY32" fmla="*/ 6206793 h 10706845"/>
                <a:gd name="connsiteX33" fmla="*/ 9824147 w 14703435"/>
                <a:gd name="connsiteY33" fmla="*/ 6838125 h 10706845"/>
                <a:gd name="connsiteX34" fmla="*/ 8482717 w 14703435"/>
                <a:gd name="connsiteY34" fmla="*/ 6994165 h 10706845"/>
                <a:gd name="connsiteX35" fmla="*/ 8328079 w 14703435"/>
                <a:gd name="connsiteY35" fmla="*/ 6569451 h 10706845"/>
                <a:gd name="connsiteX36" fmla="*/ 7632672 w 14703435"/>
                <a:gd name="connsiteY36" fmla="*/ 6387789 h 10706845"/>
                <a:gd name="connsiteX37" fmla="*/ 7081852 w 14703435"/>
                <a:gd name="connsiteY37" fmla="*/ 5966020 h 10706845"/>
                <a:gd name="connsiteX38" fmla="*/ 6336686 w 14703435"/>
                <a:gd name="connsiteY38" fmla="*/ 5128452 h 10706845"/>
                <a:gd name="connsiteX39" fmla="*/ 6319261 w 14703435"/>
                <a:gd name="connsiteY39" fmla="*/ 4326134 h 10706845"/>
                <a:gd name="connsiteX40" fmla="*/ 5596373 w 14703435"/>
                <a:gd name="connsiteY40" fmla="*/ 3939696 h 10706845"/>
                <a:gd name="connsiteX41" fmla="*/ 5365184 w 14703435"/>
                <a:gd name="connsiteY41" fmla="*/ 3367517 h 10706845"/>
                <a:gd name="connsiteX42" fmla="*/ 5153802 w 14703435"/>
                <a:gd name="connsiteY42" fmla="*/ 3038951 h 10706845"/>
                <a:gd name="connsiteX43" fmla="*/ 4898441 w 14703435"/>
                <a:gd name="connsiteY43" fmla="*/ 3089659 h 10706845"/>
                <a:gd name="connsiteX44" fmla="*/ 4600673 w 14703435"/>
                <a:gd name="connsiteY44" fmla="*/ 2821188 h 10706845"/>
                <a:gd name="connsiteX45" fmla="*/ 4416749 w 14703435"/>
                <a:gd name="connsiteY45" fmla="*/ 2398181 h 10706845"/>
                <a:gd name="connsiteX46" fmla="*/ 4653822 w 14703435"/>
                <a:gd name="connsiteY46" fmla="*/ 1848014 h 10706845"/>
                <a:gd name="connsiteX47" fmla="*/ 4432864 w 14703435"/>
                <a:gd name="connsiteY47" fmla="*/ 1294779 h 10706845"/>
                <a:gd name="connsiteX48" fmla="*/ 4437471 w 14703435"/>
                <a:gd name="connsiteY48" fmla="*/ 625991 h 10706845"/>
                <a:gd name="connsiteX49" fmla="*/ 4141784 w 14703435"/>
                <a:gd name="connsiteY49" fmla="*/ 0 h 10706845"/>
                <a:gd name="connsiteX50" fmla="*/ 2314296 w 14703435"/>
                <a:gd name="connsiteY50" fmla="*/ 189494 h 10706845"/>
                <a:gd name="connsiteX51" fmla="*/ 1334589 w 14703435"/>
                <a:gd name="connsiteY51" fmla="*/ 994366 h 10706845"/>
                <a:gd name="connsiteX52" fmla="*/ 0 w 14703435"/>
                <a:gd name="connsiteY52" fmla="*/ 2341812 h 10706845"/>
                <a:gd name="connsiteX0" fmla="*/ 0 w 14703435"/>
                <a:gd name="connsiteY0" fmla="*/ 2341812 h 10706845"/>
                <a:gd name="connsiteX1" fmla="*/ 613837 w 14703435"/>
                <a:gd name="connsiteY1" fmla="*/ 4720170 h 10706845"/>
                <a:gd name="connsiteX2" fmla="*/ 1518338 w 14703435"/>
                <a:gd name="connsiteY2" fmla="*/ 5588320 h 10706845"/>
                <a:gd name="connsiteX3" fmla="*/ 1735898 w 14703435"/>
                <a:gd name="connsiteY3" fmla="*/ 6420244 h 10706845"/>
                <a:gd name="connsiteX4" fmla="*/ 3137400 w 14703435"/>
                <a:gd name="connsiteY4" fmla="*/ 6944804 h 10706845"/>
                <a:gd name="connsiteX5" fmla="*/ 3453963 w 14703435"/>
                <a:gd name="connsiteY5" fmla="*/ 8301295 h 10706845"/>
                <a:gd name="connsiteX6" fmla="*/ 4168520 w 14703435"/>
                <a:gd name="connsiteY6" fmla="*/ 9675864 h 10706845"/>
                <a:gd name="connsiteX7" fmla="*/ 4162343 w 14703435"/>
                <a:gd name="connsiteY7" fmla="*/ 10706845 h 10706845"/>
                <a:gd name="connsiteX8" fmla="*/ 4605215 w 14703435"/>
                <a:gd name="connsiteY8" fmla="*/ 10622681 h 10706845"/>
                <a:gd name="connsiteX9" fmla="*/ 4840336 w 14703435"/>
                <a:gd name="connsiteY9" fmla="*/ 10333299 h 10706845"/>
                <a:gd name="connsiteX10" fmla="*/ 6070201 w 14703435"/>
                <a:gd name="connsiteY10" fmla="*/ 10351391 h 10706845"/>
                <a:gd name="connsiteX11" fmla="*/ 6884082 w 14703435"/>
                <a:gd name="connsiteY11" fmla="*/ 9754539 h 10706845"/>
                <a:gd name="connsiteX12" fmla="*/ 7716051 w 14703435"/>
                <a:gd name="connsiteY12" fmla="*/ 10080098 h 10706845"/>
                <a:gd name="connsiteX13" fmla="*/ 8584189 w 14703435"/>
                <a:gd name="connsiteY13" fmla="*/ 9881146 h 10706845"/>
                <a:gd name="connsiteX14" fmla="*/ 9289552 w 14703435"/>
                <a:gd name="connsiteY14" fmla="*/ 10080098 h 10706845"/>
                <a:gd name="connsiteX15" fmla="*/ 10139605 w 14703435"/>
                <a:gd name="connsiteY15" fmla="*/ 9682198 h 10706845"/>
                <a:gd name="connsiteX16" fmla="*/ 10664108 w 14703435"/>
                <a:gd name="connsiteY16" fmla="*/ 9899234 h 10706845"/>
                <a:gd name="connsiteX17" fmla="*/ 11387555 w 14703435"/>
                <a:gd name="connsiteY17" fmla="*/ 9808804 h 10706845"/>
                <a:gd name="connsiteX18" fmla="*/ 11966315 w 14703435"/>
                <a:gd name="connsiteY18" fmla="*/ 10532259 h 10706845"/>
                <a:gd name="connsiteX19" fmla="*/ 12942975 w 14703435"/>
                <a:gd name="connsiteY19" fmla="*/ 10297130 h 10706845"/>
                <a:gd name="connsiteX20" fmla="*/ 13575992 w 14703435"/>
                <a:gd name="connsiteY20" fmla="*/ 10695030 h 10706845"/>
                <a:gd name="connsiteX21" fmla="*/ 13973888 w 14703435"/>
                <a:gd name="connsiteY21" fmla="*/ 10604597 h 10706845"/>
                <a:gd name="connsiteX22" fmla="*/ 14028146 w 14703435"/>
                <a:gd name="connsiteY22" fmla="*/ 10062006 h 10706845"/>
                <a:gd name="connsiteX23" fmla="*/ 13594073 w 14703435"/>
                <a:gd name="connsiteY23" fmla="*/ 10007749 h 10706845"/>
                <a:gd name="connsiteX24" fmla="*/ 13612161 w 14703435"/>
                <a:gd name="connsiteY24" fmla="*/ 9320470 h 10706845"/>
                <a:gd name="connsiteX25" fmla="*/ 14190925 w 14703435"/>
                <a:gd name="connsiteY25" fmla="*/ 9175783 h 10706845"/>
                <a:gd name="connsiteX26" fmla="*/ 13865366 w 14703435"/>
                <a:gd name="connsiteY26" fmla="*/ 8705538 h 10706845"/>
                <a:gd name="connsiteX27" fmla="*/ 14136664 w 14703435"/>
                <a:gd name="connsiteY27" fmla="*/ 8307642 h 10706845"/>
                <a:gd name="connsiteX28" fmla="*/ 14703435 w 14703435"/>
                <a:gd name="connsiteY28" fmla="*/ 8334738 h 10706845"/>
                <a:gd name="connsiteX29" fmla="*/ 14255660 w 14703435"/>
                <a:gd name="connsiteY29" fmla="*/ 8007340 h 10706845"/>
                <a:gd name="connsiteX30" fmla="*/ 14407378 w 14703435"/>
                <a:gd name="connsiteY30" fmla="*/ 7451179 h 10706845"/>
                <a:gd name="connsiteX31" fmla="*/ 13924235 w 14703435"/>
                <a:gd name="connsiteY31" fmla="*/ 6466638 h 10706845"/>
                <a:gd name="connsiteX32" fmla="*/ 11909491 w 14703435"/>
                <a:gd name="connsiteY32" fmla="*/ 6206793 h 10706845"/>
                <a:gd name="connsiteX33" fmla="*/ 9824147 w 14703435"/>
                <a:gd name="connsiteY33" fmla="*/ 6838125 h 10706845"/>
                <a:gd name="connsiteX34" fmla="*/ 8482717 w 14703435"/>
                <a:gd name="connsiteY34" fmla="*/ 6994165 h 10706845"/>
                <a:gd name="connsiteX35" fmla="*/ 8328079 w 14703435"/>
                <a:gd name="connsiteY35" fmla="*/ 6569451 h 10706845"/>
                <a:gd name="connsiteX36" fmla="*/ 7632672 w 14703435"/>
                <a:gd name="connsiteY36" fmla="*/ 6387789 h 10706845"/>
                <a:gd name="connsiteX37" fmla="*/ 7081852 w 14703435"/>
                <a:gd name="connsiteY37" fmla="*/ 5966020 h 10706845"/>
                <a:gd name="connsiteX38" fmla="*/ 6336686 w 14703435"/>
                <a:gd name="connsiteY38" fmla="*/ 5128452 h 10706845"/>
                <a:gd name="connsiteX39" fmla="*/ 6319261 w 14703435"/>
                <a:gd name="connsiteY39" fmla="*/ 4326134 h 10706845"/>
                <a:gd name="connsiteX40" fmla="*/ 5596373 w 14703435"/>
                <a:gd name="connsiteY40" fmla="*/ 3939696 h 10706845"/>
                <a:gd name="connsiteX41" fmla="*/ 5365184 w 14703435"/>
                <a:gd name="connsiteY41" fmla="*/ 3367517 h 10706845"/>
                <a:gd name="connsiteX42" fmla="*/ 5153802 w 14703435"/>
                <a:gd name="connsiteY42" fmla="*/ 3038951 h 10706845"/>
                <a:gd name="connsiteX43" fmla="*/ 4898441 w 14703435"/>
                <a:gd name="connsiteY43" fmla="*/ 3089659 h 10706845"/>
                <a:gd name="connsiteX44" fmla="*/ 4600673 w 14703435"/>
                <a:gd name="connsiteY44" fmla="*/ 2821188 h 10706845"/>
                <a:gd name="connsiteX45" fmla="*/ 4416749 w 14703435"/>
                <a:gd name="connsiteY45" fmla="*/ 2398181 h 10706845"/>
                <a:gd name="connsiteX46" fmla="*/ 4653822 w 14703435"/>
                <a:gd name="connsiteY46" fmla="*/ 1848014 h 10706845"/>
                <a:gd name="connsiteX47" fmla="*/ 4432864 w 14703435"/>
                <a:gd name="connsiteY47" fmla="*/ 1294779 h 10706845"/>
                <a:gd name="connsiteX48" fmla="*/ 4437471 w 14703435"/>
                <a:gd name="connsiteY48" fmla="*/ 625991 h 10706845"/>
                <a:gd name="connsiteX49" fmla="*/ 4141784 w 14703435"/>
                <a:gd name="connsiteY49" fmla="*/ 0 h 10706845"/>
                <a:gd name="connsiteX50" fmla="*/ 2314296 w 14703435"/>
                <a:gd name="connsiteY50" fmla="*/ 189494 h 10706845"/>
                <a:gd name="connsiteX51" fmla="*/ 1334589 w 14703435"/>
                <a:gd name="connsiteY51" fmla="*/ 994366 h 10706845"/>
                <a:gd name="connsiteX52" fmla="*/ 0 w 14703435"/>
                <a:gd name="connsiteY52" fmla="*/ 2341812 h 10706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4703435" h="10706845">
                  <a:moveTo>
                    <a:pt x="0" y="2341812"/>
                  </a:moveTo>
                  <a:lnTo>
                    <a:pt x="613837" y="4720170"/>
                  </a:lnTo>
                  <a:lnTo>
                    <a:pt x="1518338" y="5588320"/>
                  </a:lnTo>
                  <a:lnTo>
                    <a:pt x="1735898" y="6420244"/>
                  </a:lnTo>
                  <a:lnTo>
                    <a:pt x="3137400" y="6944804"/>
                  </a:lnTo>
                  <a:lnTo>
                    <a:pt x="3453963" y="8301295"/>
                  </a:lnTo>
                  <a:lnTo>
                    <a:pt x="4168520" y="9675864"/>
                  </a:lnTo>
                  <a:lnTo>
                    <a:pt x="4162343" y="10706845"/>
                  </a:lnTo>
                  <a:lnTo>
                    <a:pt x="4605215" y="10622681"/>
                  </a:lnTo>
                  <a:lnTo>
                    <a:pt x="4840336" y="10333299"/>
                  </a:lnTo>
                  <a:lnTo>
                    <a:pt x="6070201" y="10351391"/>
                  </a:lnTo>
                  <a:lnTo>
                    <a:pt x="6884082" y="9754539"/>
                  </a:lnTo>
                  <a:lnTo>
                    <a:pt x="7716051" y="10080098"/>
                  </a:lnTo>
                  <a:lnTo>
                    <a:pt x="8584189" y="9881146"/>
                  </a:lnTo>
                  <a:lnTo>
                    <a:pt x="9289552" y="10080098"/>
                  </a:lnTo>
                  <a:lnTo>
                    <a:pt x="10139605" y="9682198"/>
                  </a:lnTo>
                  <a:lnTo>
                    <a:pt x="10664108" y="9899234"/>
                  </a:lnTo>
                  <a:lnTo>
                    <a:pt x="11387555" y="9808804"/>
                  </a:lnTo>
                  <a:lnTo>
                    <a:pt x="11966315" y="10532259"/>
                  </a:lnTo>
                  <a:lnTo>
                    <a:pt x="12942975" y="10297130"/>
                  </a:lnTo>
                  <a:lnTo>
                    <a:pt x="13575992" y="10695030"/>
                  </a:lnTo>
                  <a:lnTo>
                    <a:pt x="13973888" y="10604597"/>
                  </a:lnTo>
                  <a:lnTo>
                    <a:pt x="14028146" y="10062006"/>
                  </a:lnTo>
                  <a:lnTo>
                    <a:pt x="13594073" y="10007749"/>
                  </a:lnTo>
                  <a:lnTo>
                    <a:pt x="13612161" y="9320470"/>
                  </a:lnTo>
                  <a:lnTo>
                    <a:pt x="14190925" y="9175783"/>
                  </a:lnTo>
                  <a:lnTo>
                    <a:pt x="13865366" y="8705538"/>
                  </a:lnTo>
                  <a:lnTo>
                    <a:pt x="14136664" y="8307642"/>
                  </a:lnTo>
                  <a:lnTo>
                    <a:pt x="14703435" y="8334738"/>
                  </a:lnTo>
                  <a:lnTo>
                    <a:pt x="14255660" y="8007340"/>
                  </a:lnTo>
                  <a:lnTo>
                    <a:pt x="14407378" y="7451179"/>
                  </a:lnTo>
                  <a:lnTo>
                    <a:pt x="13924235" y="6466638"/>
                  </a:lnTo>
                  <a:lnTo>
                    <a:pt x="11909491" y="6206793"/>
                  </a:lnTo>
                  <a:lnTo>
                    <a:pt x="9824147" y="6838125"/>
                  </a:lnTo>
                  <a:lnTo>
                    <a:pt x="8482717" y="6994165"/>
                  </a:lnTo>
                  <a:lnTo>
                    <a:pt x="8328079" y="6569451"/>
                  </a:lnTo>
                  <a:lnTo>
                    <a:pt x="7632672" y="6387789"/>
                  </a:lnTo>
                  <a:lnTo>
                    <a:pt x="7081852" y="5966020"/>
                  </a:lnTo>
                  <a:lnTo>
                    <a:pt x="6336686" y="5128452"/>
                  </a:lnTo>
                  <a:lnTo>
                    <a:pt x="6319261" y="4326134"/>
                  </a:lnTo>
                  <a:lnTo>
                    <a:pt x="5596373" y="3939696"/>
                  </a:lnTo>
                  <a:lnTo>
                    <a:pt x="5365184" y="3367517"/>
                  </a:lnTo>
                  <a:lnTo>
                    <a:pt x="5153802" y="3038951"/>
                  </a:lnTo>
                  <a:lnTo>
                    <a:pt x="4898441" y="3089659"/>
                  </a:lnTo>
                  <a:lnTo>
                    <a:pt x="4600673" y="2821188"/>
                  </a:lnTo>
                  <a:lnTo>
                    <a:pt x="4416749" y="2398181"/>
                  </a:lnTo>
                  <a:lnTo>
                    <a:pt x="4653822" y="1848014"/>
                  </a:lnTo>
                  <a:lnTo>
                    <a:pt x="4432864" y="1294779"/>
                  </a:lnTo>
                  <a:cubicBezTo>
                    <a:pt x="4434400" y="1071850"/>
                    <a:pt x="4435935" y="848920"/>
                    <a:pt x="4437471" y="625991"/>
                  </a:cubicBezTo>
                  <a:lnTo>
                    <a:pt x="4141784" y="0"/>
                  </a:lnTo>
                  <a:lnTo>
                    <a:pt x="2314296" y="189494"/>
                  </a:lnTo>
                  <a:lnTo>
                    <a:pt x="1334589" y="994366"/>
                  </a:lnTo>
                  <a:lnTo>
                    <a:pt x="0" y="2341812"/>
                  </a:lnTo>
                  <a:close/>
                </a:path>
              </a:pathLst>
            </a:custGeom>
            <a:solidFill>
              <a:schemeClr val="tx2">
                <a:lumMod val="75000"/>
                <a:lumOff val="25000"/>
              </a:schemeClr>
            </a:solid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grpSp>
      <p:sp>
        <p:nvSpPr>
          <p:cNvPr id="3" name="Прямоугольник 2">
            <a:extLst>
              <a:ext uri="{FF2B5EF4-FFF2-40B4-BE49-F238E27FC236}">
                <a16:creationId xmlns:a16="http://schemas.microsoft.com/office/drawing/2014/main" id="{895D1ABD-7C20-80F6-07DB-99D52BAAC6A3}"/>
              </a:ext>
            </a:extLst>
          </p:cNvPr>
          <p:cNvSpPr/>
          <p:nvPr/>
        </p:nvSpPr>
        <p:spPr>
          <a:xfrm>
            <a:off x="297685" y="82544"/>
            <a:ext cx="11643557" cy="954107"/>
          </a:xfrm>
          <a:prstGeom prst="rect">
            <a:avLst/>
          </a:prstGeom>
        </p:spPr>
        <p:txBody>
          <a:bodyPr wrap="square">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US" sz="28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mn-cs"/>
              </a:rPr>
              <a:t>MAP OF MINERAL RESOURCES FOR BIOFEED AND BIOFERTILIZER PRODUCTION (RESERVES)</a:t>
            </a:r>
            <a:endParaRPr kumimoji="0" lang="ru-RU" sz="28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mn-cs"/>
            </a:endParaRPr>
          </a:p>
        </p:txBody>
      </p:sp>
      <p:sp>
        <p:nvSpPr>
          <p:cNvPr id="77" name="TextBox 76">
            <a:extLst>
              <a:ext uri="{FF2B5EF4-FFF2-40B4-BE49-F238E27FC236}">
                <a16:creationId xmlns:a16="http://schemas.microsoft.com/office/drawing/2014/main" id="{EF43659D-424D-0567-4DCE-F15C12E5683B}"/>
              </a:ext>
            </a:extLst>
          </p:cNvPr>
          <p:cNvSpPr txBox="1"/>
          <p:nvPr/>
        </p:nvSpPr>
        <p:spPr>
          <a:xfrm>
            <a:off x="32427" y="6626899"/>
            <a:ext cx="567690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Source: report of the National Academy of Sciences of the Republic of Kazakhstan, news materials</a:t>
            </a:r>
          </a:p>
        </p:txBody>
      </p:sp>
      <p:sp>
        <p:nvSpPr>
          <p:cNvPr id="81" name="TextBox 80">
            <a:extLst>
              <a:ext uri="{FF2B5EF4-FFF2-40B4-BE49-F238E27FC236}">
                <a16:creationId xmlns:a16="http://schemas.microsoft.com/office/drawing/2014/main" id="{344744C8-16E1-A9F4-71C2-8F5F0100192A}"/>
              </a:ext>
            </a:extLst>
          </p:cNvPr>
          <p:cNvSpPr txBox="1"/>
          <p:nvPr/>
        </p:nvSpPr>
        <p:spPr>
          <a:xfrm>
            <a:off x="333678" y="3516283"/>
            <a:ext cx="21914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Bentonite clays</a:t>
            </a:r>
            <a:endParaRPr kumimoji="0" lang="ru-KZ" sz="1400" b="0"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endParaRPr>
          </a:p>
        </p:txBody>
      </p:sp>
      <p:sp>
        <p:nvSpPr>
          <p:cNvPr id="83" name="TextBox 82">
            <a:extLst>
              <a:ext uri="{FF2B5EF4-FFF2-40B4-BE49-F238E27FC236}">
                <a16:creationId xmlns:a16="http://schemas.microsoft.com/office/drawing/2014/main" id="{C8D55B32-5AD8-3D2E-B1D4-140FD92832B5}"/>
              </a:ext>
            </a:extLst>
          </p:cNvPr>
          <p:cNvSpPr txBox="1"/>
          <p:nvPr/>
        </p:nvSpPr>
        <p:spPr>
          <a:xfrm>
            <a:off x="335583" y="3850185"/>
            <a:ext cx="3354029" cy="253916"/>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Kyzyl-</a:t>
            </a:r>
            <a:r>
              <a:rPr kumimoji="0" lang="en-US" sz="105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Zhar</a:t>
            </a:r>
            <a:r>
              <a:rPr kumimoji="0" lang="en-US" sz="105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deposit (</a:t>
            </a:r>
            <a:r>
              <a:rPr kumimoji="0" lang="en-US" sz="105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n.d.</a:t>
            </a:r>
            <a:r>
              <a:rPr kumimoji="0" lang="en-US" sz="105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t>
            </a:r>
          </a:p>
        </p:txBody>
      </p:sp>
      <p:sp>
        <p:nvSpPr>
          <p:cNvPr id="84" name="Овал 83">
            <a:extLst>
              <a:ext uri="{FF2B5EF4-FFF2-40B4-BE49-F238E27FC236}">
                <a16:creationId xmlns:a16="http://schemas.microsoft.com/office/drawing/2014/main" id="{FDC79AB6-D899-F458-09AA-E2E3B9484CB1}"/>
              </a:ext>
            </a:extLst>
          </p:cNvPr>
          <p:cNvSpPr/>
          <p:nvPr/>
        </p:nvSpPr>
        <p:spPr>
          <a:xfrm>
            <a:off x="3132822" y="2715929"/>
            <a:ext cx="79326" cy="79434"/>
          </a:xfrm>
          <a:prstGeom prst="ellipse">
            <a:avLst/>
          </a:prstGeom>
          <a:solidFill>
            <a:schemeClr val="tx2">
              <a:lumMod val="25000"/>
              <a:lumOff val="75000"/>
            </a:schemeClr>
          </a:solidFill>
          <a:ln>
            <a:solidFill>
              <a:schemeClr val="tx2">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86" name="Овал 85">
            <a:extLst>
              <a:ext uri="{FF2B5EF4-FFF2-40B4-BE49-F238E27FC236}">
                <a16:creationId xmlns:a16="http://schemas.microsoft.com/office/drawing/2014/main" id="{B78FA338-4899-7A4D-9B08-35FBA9081E28}"/>
              </a:ext>
            </a:extLst>
          </p:cNvPr>
          <p:cNvSpPr/>
          <p:nvPr/>
        </p:nvSpPr>
        <p:spPr>
          <a:xfrm>
            <a:off x="221796" y="3764092"/>
            <a:ext cx="143820" cy="151442"/>
          </a:xfrm>
          <a:prstGeom prst="ellipse">
            <a:avLst/>
          </a:prstGeom>
          <a:solidFill>
            <a:schemeClr val="tx2">
              <a:lumMod val="75000"/>
              <a:lumOff val="25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cxnSp>
        <p:nvCxnSpPr>
          <p:cNvPr id="88" name="Прямая соединительная линия 87">
            <a:extLst>
              <a:ext uri="{FF2B5EF4-FFF2-40B4-BE49-F238E27FC236}">
                <a16:creationId xmlns:a16="http://schemas.microsoft.com/office/drawing/2014/main" id="{7737A402-6AB3-CF1D-2B8D-52818B7DCDEC}"/>
              </a:ext>
            </a:extLst>
          </p:cNvPr>
          <p:cNvCxnSpPr>
            <a:cxnSpLocks/>
          </p:cNvCxnSpPr>
          <p:nvPr/>
        </p:nvCxnSpPr>
        <p:spPr>
          <a:xfrm>
            <a:off x="258381" y="3846508"/>
            <a:ext cx="2703785" cy="0"/>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89" name="Прямая соединительная линия 88">
            <a:extLst>
              <a:ext uri="{FF2B5EF4-FFF2-40B4-BE49-F238E27FC236}">
                <a16:creationId xmlns:a16="http://schemas.microsoft.com/office/drawing/2014/main" id="{D0D0C0B5-7709-EDC5-0146-91CC7D7514C8}"/>
              </a:ext>
            </a:extLst>
          </p:cNvPr>
          <p:cNvCxnSpPr>
            <a:cxnSpLocks/>
            <a:stCxn id="84" idx="3"/>
          </p:cNvCxnSpPr>
          <p:nvPr/>
        </p:nvCxnSpPr>
        <p:spPr>
          <a:xfrm flipH="1">
            <a:off x="2965407" y="2783730"/>
            <a:ext cx="179032" cy="1062778"/>
          </a:xfrm>
          <a:prstGeom prst="line">
            <a:avLst/>
          </a:prstGeom>
          <a:ln/>
        </p:spPr>
        <p:style>
          <a:lnRef idx="1">
            <a:schemeClr val="accent1"/>
          </a:lnRef>
          <a:fillRef idx="0">
            <a:schemeClr val="accent1"/>
          </a:fillRef>
          <a:effectRef idx="0">
            <a:schemeClr val="accent1"/>
          </a:effectRef>
          <a:fontRef idx="minor">
            <a:schemeClr val="tx1"/>
          </a:fontRef>
        </p:style>
      </p:cxnSp>
      <p:sp>
        <p:nvSpPr>
          <p:cNvPr id="90" name="TextBox 89">
            <a:extLst>
              <a:ext uri="{FF2B5EF4-FFF2-40B4-BE49-F238E27FC236}">
                <a16:creationId xmlns:a16="http://schemas.microsoft.com/office/drawing/2014/main" id="{01C571E3-01EC-9AAA-7D26-490A3F0967F1}"/>
              </a:ext>
            </a:extLst>
          </p:cNvPr>
          <p:cNvSpPr txBox="1"/>
          <p:nvPr/>
        </p:nvSpPr>
        <p:spPr>
          <a:xfrm>
            <a:off x="4172394" y="6082062"/>
            <a:ext cx="2137986" cy="253916"/>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Kyngrak</a:t>
            </a:r>
            <a:r>
              <a:rPr kumimoji="0" lang="en-US" sz="105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deposit (</a:t>
            </a:r>
            <a:r>
              <a:rPr kumimoji="0" lang="en-US" sz="105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n.d.</a:t>
            </a:r>
            <a:r>
              <a:rPr kumimoji="0" lang="en-US" sz="105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t>
            </a:r>
          </a:p>
        </p:txBody>
      </p:sp>
      <p:sp>
        <p:nvSpPr>
          <p:cNvPr id="91" name="TextBox 90">
            <a:extLst>
              <a:ext uri="{FF2B5EF4-FFF2-40B4-BE49-F238E27FC236}">
                <a16:creationId xmlns:a16="http://schemas.microsoft.com/office/drawing/2014/main" id="{C891AE3E-1DD5-2B5E-3924-895F1E968706}"/>
              </a:ext>
            </a:extLst>
          </p:cNvPr>
          <p:cNvSpPr txBox="1"/>
          <p:nvPr/>
        </p:nvSpPr>
        <p:spPr>
          <a:xfrm>
            <a:off x="4151054" y="5762464"/>
            <a:ext cx="291052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Bentonite clays</a:t>
            </a:r>
            <a:endParaRPr kumimoji="0" lang="ru-KZ" sz="1400" b="0"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endParaRPr>
          </a:p>
        </p:txBody>
      </p:sp>
      <p:sp>
        <p:nvSpPr>
          <p:cNvPr id="96" name="Овал 95">
            <a:extLst>
              <a:ext uri="{FF2B5EF4-FFF2-40B4-BE49-F238E27FC236}">
                <a16:creationId xmlns:a16="http://schemas.microsoft.com/office/drawing/2014/main" id="{7DA8356C-CEBE-1B61-7071-D2EC262C9767}"/>
              </a:ext>
            </a:extLst>
          </p:cNvPr>
          <p:cNvSpPr/>
          <p:nvPr/>
        </p:nvSpPr>
        <p:spPr>
          <a:xfrm>
            <a:off x="4033597" y="5978864"/>
            <a:ext cx="143820" cy="151442"/>
          </a:xfrm>
          <a:prstGeom prst="ellipse">
            <a:avLst/>
          </a:prstGeom>
          <a:solidFill>
            <a:schemeClr val="tx2">
              <a:lumMod val="75000"/>
              <a:lumOff val="25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97" name="Овал 96">
            <a:extLst>
              <a:ext uri="{FF2B5EF4-FFF2-40B4-BE49-F238E27FC236}">
                <a16:creationId xmlns:a16="http://schemas.microsoft.com/office/drawing/2014/main" id="{8E1FC52C-7190-5917-8EAD-D2AFA31A4192}"/>
              </a:ext>
            </a:extLst>
          </p:cNvPr>
          <p:cNvSpPr/>
          <p:nvPr/>
        </p:nvSpPr>
        <p:spPr>
          <a:xfrm>
            <a:off x="6224430" y="5138980"/>
            <a:ext cx="79326" cy="79434"/>
          </a:xfrm>
          <a:prstGeom prst="ellipse">
            <a:avLst/>
          </a:prstGeom>
          <a:solidFill>
            <a:schemeClr val="tx2">
              <a:lumMod val="25000"/>
              <a:lumOff val="75000"/>
            </a:schemeClr>
          </a:solidFill>
          <a:ln>
            <a:solidFill>
              <a:schemeClr val="tx2">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cxnSp>
        <p:nvCxnSpPr>
          <p:cNvPr id="98" name="Прямая соединительная линия 97">
            <a:extLst>
              <a:ext uri="{FF2B5EF4-FFF2-40B4-BE49-F238E27FC236}">
                <a16:creationId xmlns:a16="http://schemas.microsoft.com/office/drawing/2014/main" id="{7E1C0C65-2EB9-8039-2581-592DE027BA1E}"/>
              </a:ext>
            </a:extLst>
          </p:cNvPr>
          <p:cNvCxnSpPr>
            <a:cxnSpLocks/>
            <a:stCxn id="97" idx="4"/>
          </p:cNvCxnSpPr>
          <p:nvPr/>
        </p:nvCxnSpPr>
        <p:spPr>
          <a:xfrm>
            <a:off x="6264093" y="5218414"/>
            <a:ext cx="83607" cy="835681"/>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99" name="Прямая соединительная линия 98">
            <a:extLst>
              <a:ext uri="{FF2B5EF4-FFF2-40B4-BE49-F238E27FC236}">
                <a16:creationId xmlns:a16="http://schemas.microsoft.com/office/drawing/2014/main" id="{037F64E4-9BF8-7759-4953-5937CD89340E}"/>
              </a:ext>
            </a:extLst>
          </p:cNvPr>
          <p:cNvCxnSpPr>
            <a:cxnSpLocks/>
          </p:cNvCxnSpPr>
          <p:nvPr/>
        </p:nvCxnSpPr>
        <p:spPr>
          <a:xfrm flipV="1">
            <a:off x="4112134" y="6059454"/>
            <a:ext cx="2246763" cy="5198"/>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101" name="Прямая соединительная линия 100">
            <a:extLst>
              <a:ext uri="{FF2B5EF4-FFF2-40B4-BE49-F238E27FC236}">
                <a16:creationId xmlns:a16="http://schemas.microsoft.com/office/drawing/2014/main" id="{718EACFA-0D0A-E529-D303-3BC47E26F980}"/>
              </a:ext>
            </a:extLst>
          </p:cNvPr>
          <p:cNvCxnSpPr>
            <a:cxnSpLocks/>
          </p:cNvCxnSpPr>
          <p:nvPr/>
        </p:nvCxnSpPr>
        <p:spPr>
          <a:xfrm flipH="1" flipV="1">
            <a:off x="6246477" y="1400493"/>
            <a:ext cx="70762" cy="388581"/>
          </a:xfrm>
          <a:prstGeom prst="line">
            <a:avLst/>
          </a:prstGeom>
          <a:ln/>
        </p:spPr>
        <p:style>
          <a:lnRef idx="1">
            <a:schemeClr val="accent1"/>
          </a:lnRef>
          <a:fillRef idx="0">
            <a:schemeClr val="accent1"/>
          </a:fillRef>
          <a:effectRef idx="0">
            <a:schemeClr val="accent1"/>
          </a:effectRef>
          <a:fontRef idx="minor">
            <a:schemeClr val="tx1"/>
          </a:fontRef>
        </p:style>
      </p:cxnSp>
      <p:sp>
        <p:nvSpPr>
          <p:cNvPr id="100" name="Овал 99">
            <a:extLst>
              <a:ext uri="{FF2B5EF4-FFF2-40B4-BE49-F238E27FC236}">
                <a16:creationId xmlns:a16="http://schemas.microsoft.com/office/drawing/2014/main" id="{5663D345-D275-AA0B-0D46-26C1D20186B9}"/>
              </a:ext>
            </a:extLst>
          </p:cNvPr>
          <p:cNvSpPr/>
          <p:nvPr/>
        </p:nvSpPr>
        <p:spPr>
          <a:xfrm>
            <a:off x="6267534" y="1772610"/>
            <a:ext cx="79326" cy="79434"/>
          </a:xfrm>
          <a:prstGeom prst="ellipse">
            <a:avLst/>
          </a:prstGeom>
          <a:solidFill>
            <a:schemeClr val="tx2">
              <a:lumMod val="25000"/>
              <a:lumOff val="75000"/>
            </a:schemeClr>
          </a:solidFill>
          <a:ln>
            <a:solidFill>
              <a:schemeClr val="tx2">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cxnSp>
        <p:nvCxnSpPr>
          <p:cNvPr id="103" name="Прямая соединительная линия 102">
            <a:extLst>
              <a:ext uri="{FF2B5EF4-FFF2-40B4-BE49-F238E27FC236}">
                <a16:creationId xmlns:a16="http://schemas.microsoft.com/office/drawing/2014/main" id="{8EB7148B-66EC-A110-679C-76BC30D4CC1F}"/>
              </a:ext>
            </a:extLst>
          </p:cNvPr>
          <p:cNvCxnSpPr>
            <a:cxnSpLocks/>
          </p:cNvCxnSpPr>
          <p:nvPr/>
        </p:nvCxnSpPr>
        <p:spPr>
          <a:xfrm>
            <a:off x="7001026" y="4808738"/>
            <a:ext cx="72438" cy="1219225"/>
          </a:xfrm>
          <a:prstGeom prst="line">
            <a:avLst/>
          </a:prstGeom>
          <a:ln/>
        </p:spPr>
        <p:style>
          <a:lnRef idx="1">
            <a:schemeClr val="accent1"/>
          </a:lnRef>
          <a:fillRef idx="0">
            <a:schemeClr val="accent1"/>
          </a:fillRef>
          <a:effectRef idx="0">
            <a:schemeClr val="accent1"/>
          </a:effectRef>
          <a:fontRef idx="minor">
            <a:schemeClr val="tx1"/>
          </a:fontRef>
        </p:style>
      </p:cxnSp>
      <p:sp>
        <p:nvSpPr>
          <p:cNvPr id="102" name="Овал 101">
            <a:extLst>
              <a:ext uri="{FF2B5EF4-FFF2-40B4-BE49-F238E27FC236}">
                <a16:creationId xmlns:a16="http://schemas.microsoft.com/office/drawing/2014/main" id="{5D9D9519-A08D-F3E9-E30D-6D6B875450BF}"/>
              </a:ext>
            </a:extLst>
          </p:cNvPr>
          <p:cNvSpPr/>
          <p:nvPr/>
        </p:nvSpPr>
        <p:spPr>
          <a:xfrm>
            <a:off x="6967516" y="4767069"/>
            <a:ext cx="79326" cy="79434"/>
          </a:xfrm>
          <a:prstGeom prst="ellipse">
            <a:avLst/>
          </a:prstGeom>
          <a:solidFill>
            <a:schemeClr val="tx2">
              <a:lumMod val="25000"/>
              <a:lumOff val="75000"/>
            </a:schemeClr>
          </a:solidFill>
          <a:ln>
            <a:solidFill>
              <a:schemeClr val="tx2">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cxnSp>
        <p:nvCxnSpPr>
          <p:cNvPr id="104" name="Прямая соединительная линия 103">
            <a:extLst>
              <a:ext uri="{FF2B5EF4-FFF2-40B4-BE49-F238E27FC236}">
                <a16:creationId xmlns:a16="http://schemas.microsoft.com/office/drawing/2014/main" id="{037F64E4-9BF8-7759-4953-5937CD89340E}"/>
              </a:ext>
            </a:extLst>
          </p:cNvPr>
          <p:cNvCxnSpPr>
            <a:cxnSpLocks/>
          </p:cNvCxnSpPr>
          <p:nvPr/>
        </p:nvCxnSpPr>
        <p:spPr>
          <a:xfrm>
            <a:off x="7066606" y="6035829"/>
            <a:ext cx="1895382" cy="1804"/>
          </a:xfrm>
          <a:prstGeom prst="line">
            <a:avLst/>
          </a:prstGeom>
          <a:ln/>
        </p:spPr>
        <p:style>
          <a:lnRef idx="1">
            <a:schemeClr val="accent1"/>
          </a:lnRef>
          <a:fillRef idx="0">
            <a:schemeClr val="accent1"/>
          </a:fillRef>
          <a:effectRef idx="0">
            <a:schemeClr val="accent1"/>
          </a:effectRef>
          <a:fontRef idx="minor">
            <a:schemeClr val="tx1"/>
          </a:fontRef>
        </p:style>
      </p:cxnSp>
      <p:sp>
        <p:nvSpPr>
          <p:cNvPr id="105" name="Овал 104">
            <a:extLst>
              <a:ext uri="{FF2B5EF4-FFF2-40B4-BE49-F238E27FC236}">
                <a16:creationId xmlns:a16="http://schemas.microsoft.com/office/drawing/2014/main" id="{7DA8356C-CEBE-1B61-7071-D2EC262C9767}"/>
              </a:ext>
            </a:extLst>
          </p:cNvPr>
          <p:cNvSpPr/>
          <p:nvPr/>
        </p:nvSpPr>
        <p:spPr>
          <a:xfrm>
            <a:off x="8931346" y="5939345"/>
            <a:ext cx="143820" cy="151442"/>
          </a:xfrm>
          <a:prstGeom prst="ellipse">
            <a:avLst/>
          </a:prstGeom>
          <a:solidFill>
            <a:schemeClr val="tx2">
              <a:lumMod val="75000"/>
              <a:lumOff val="25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06" name="TextBox 105">
            <a:extLst>
              <a:ext uri="{FF2B5EF4-FFF2-40B4-BE49-F238E27FC236}">
                <a16:creationId xmlns:a16="http://schemas.microsoft.com/office/drawing/2014/main" id="{61D7BD5B-4216-C58B-B5FE-F9EED36A8B6A}"/>
              </a:ext>
            </a:extLst>
          </p:cNvPr>
          <p:cNvSpPr txBox="1"/>
          <p:nvPr/>
        </p:nvSpPr>
        <p:spPr>
          <a:xfrm>
            <a:off x="7114335" y="5727878"/>
            <a:ext cx="200856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E2841">
                    <a:lumMod val="75000"/>
                    <a:lumOff val="25000"/>
                  </a:srgbClr>
                </a:solidFill>
                <a:effectLst/>
                <a:uLnTx/>
                <a:uFillTx/>
                <a:latin typeface="Century Gothic" panose="020B0502020202020204" pitchFamily="34" charset="0"/>
                <a:ea typeface="+mn-ea"/>
                <a:cs typeface="+mn-cs"/>
              </a:rPr>
              <a:t>Phosphorites</a:t>
            </a:r>
            <a:endParaRPr kumimoji="0" lang="ru-KZ" sz="1400" b="0"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endParaRPr>
          </a:p>
        </p:txBody>
      </p:sp>
      <p:sp>
        <p:nvSpPr>
          <p:cNvPr id="107" name="TextBox 106">
            <a:extLst>
              <a:ext uri="{FF2B5EF4-FFF2-40B4-BE49-F238E27FC236}">
                <a16:creationId xmlns:a16="http://schemas.microsoft.com/office/drawing/2014/main" id="{01C571E3-01EC-9AAA-7D26-490A3F0967F1}"/>
              </a:ext>
            </a:extLst>
          </p:cNvPr>
          <p:cNvSpPr txBox="1"/>
          <p:nvPr/>
        </p:nvSpPr>
        <p:spPr>
          <a:xfrm>
            <a:off x="7101245" y="6048778"/>
            <a:ext cx="2137986" cy="415498"/>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Karatau</a:t>
            </a:r>
            <a:r>
              <a:rPr kumimoji="0" lang="en-US" sz="105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basin                  (3.5 billion tons)</a:t>
            </a:r>
          </a:p>
        </p:txBody>
      </p:sp>
      <p:cxnSp>
        <p:nvCxnSpPr>
          <p:cNvPr id="109" name="Прямая соединительная линия 108">
            <a:extLst>
              <a:ext uri="{FF2B5EF4-FFF2-40B4-BE49-F238E27FC236}">
                <a16:creationId xmlns:a16="http://schemas.microsoft.com/office/drawing/2014/main" id="{8EB7148B-66EC-A110-679C-76BC30D4CC1F}"/>
              </a:ext>
            </a:extLst>
          </p:cNvPr>
          <p:cNvCxnSpPr>
            <a:cxnSpLocks/>
          </p:cNvCxnSpPr>
          <p:nvPr/>
        </p:nvCxnSpPr>
        <p:spPr>
          <a:xfrm>
            <a:off x="8071315" y="4825617"/>
            <a:ext cx="639221" cy="285123"/>
          </a:xfrm>
          <a:prstGeom prst="line">
            <a:avLst/>
          </a:prstGeom>
          <a:ln/>
        </p:spPr>
        <p:style>
          <a:lnRef idx="1">
            <a:schemeClr val="accent1"/>
          </a:lnRef>
          <a:fillRef idx="0">
            <a:schemeClr val="accent1"/>
          </a:fillRef>
          <a:effectRef idx="0">
            <a:schemeClr val="accent1"/>
          </a:effectRef>
          <a:fontRef idx="minor">
            <a:schemeClr val="tx1"/>
          </a:fontRef>
        </p:style>
      </p:cxnSp>
      <p:sp>
        <p:nvSpPr>
          <p:cNvPr id="108" name="Овал 107">
            <a:extLst>
              <a:ext uri="{FF2B5EF4-FFF2-40B4-BE49-F238E27FC236}">
                <a16:creationId xmlns:a16="http://schemas.microsoft.com/office/drawing/2014/main" id="{5D9D9519-A08D-F3E9-E30D-6D6B875450BF}"/>
              </a:ext>
            </a:extLst>
          </p:cNvPr>
          <p:cNvSpPr/>
          <p:nvPr/>
        </p:nvSpPr>
        <p:spPr>
          <a:xfrm>
            <a:off x="8033505" y="4781773"/>
            <a:ext cx="79326" cy="79434"/>
          </a:xfrm>
          <a:prstGeom prst="ellipse">
            <a:avLst/>
          </a:prstGeom>
          <a:solidFill>
            <a:schemeClr val="tx2">
              <a:lumMod val="25000"/>
              <a:lumOff val="75000"/>
            </a:schemeClr>
          </a:solidFill>
          <a:ln>
            <a:solidFill>
              <a:schemeClr val="tx2">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10" name="Овал 109">
            <a:extLst>
              <a:ext uri="{FF2B5EF4-FFF2-40B4-BE49-F238E27FC236}">
                <a16:creationId xmlns:a16="http://schemas.microsoft.com/office/drawing/2014/main" id="{7DA8356C-CEBE-1B61-7071-D2EC262C9767}"/>
              </a:ext>
            </a:extLst>
          </p:cNvPr>
          <p:cNvSpPr/>
          <p:nvPr/>
        </p:nvSpPr>
        <p:spPr>
          <a:xfrm>
            <a:off x="11167903" y="5034879"/>
            <a:ext cx="143820" cy="151442"/>
          </a:xfrm>
          <a:prstGeom prst="ellipse">
            <a:avLst/>
          </a:prstGeom>
          <a:solidFill>
            <a:schemeClr val="tx2">
              <a:lumMod val="75000"/>
              <a:lumOff val="25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cxnSp>
        <p:nvCxnSpPr>
          <p:cNvPr id="111" name="Прямая соединительная линия 110">
            <a:extLst>
              <a:ext uri="{FF2B5EF4-FFF2-40B4-BE49-F238E27FC236}">
                <a16:creationId xmlns:a16="http://schemas.microsoft.com/office/drawing/2014/main" id="{037F64E4-9BF8-7759-4953-5937CD89340E}"/>
              </a:ext>
            </a:extLst>
          </p:cNvPr>
          <p:cNvCxnSpPr>
            <a:cxnSpLocks/>
            <a:endCxn id="110" idx="2"/>
          </p:cNvCxnSpPr>
          <p:nvPr/>
        </p:nvCxnSpPr>
        <p:spPr>
          <a:xfrm flipV="1">
            <a:off x="8711693" y="5110600"/>
            <a:ext cx="2456210" cy="140"/>
          </a:xfrm>
          <a:prstGeom prst="line">
            <a:avLst/>
          </a:prstGeom>
          <a:ln/>
        </p:spPr>
        <p:style>
          <a:lnRef idx="1">
            <a:schemeClr val="accent1"/>
          </a:lnRef>
          <a:fillRef idx="0">
            <a:schemeClr val="accent1"/>
          </a:fillRef>
          <a:effectRef idx="0">
            <a:schemeClr val="accent1"/>
          </a:effectRef>
          <a:fontRef idx="minor">
            <a:schemeClr val="tx1"/>
          </a:fontRef>
        </p:style>
      </p:cxnSp>
      <p:sp>
        <p:nvSpPr>
          <p:cNvPr id="112" name="TextBox 111">
            <a:extLst>
              <a:ext uri="{FF2B5EF4-FFF2-40B4-BE49-F238E27FC236}">
                <a16:creationId xmlns:a16="http://schemas.microsoft.com/office/drawing/2014/main" id="{61D7BD5B-4216-C58B-B5FE-F9EED36A8B6A}"/>
              </a:ext>
            </a:extLst>
          </p:cNvPr>
          <p:cNvSpPr txBox="1"/>
          <p:nvPr/>
        </p:nvSpPr>
        <p:spPr>
          <a:xfrm>
            <a:off x="8728515" y="4762433"/>
            <a:ext cx="154241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Zeolites</a:t>
            </a:r>
            <a:endParaRPr kumimoji="0" lang="ru-KZ" sz="1400" b="0"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endParaRPr>
          </a:p>
        </p:txBody>
      </p:sp>
      <p:sp>
        <p:nvSpPr>
          <p:cNvPr id="113" name="TextBox 112">
            <a:extLst>
              <a:ext uri="{FF2B5EF4-FFF2-40B4-BE49-F238E27FC236}">
                <a16:creationId xmlns:a16="http://schemas.microsoft.com/office/drawing/2014/main" id="{01C571E3-01EC-9AAA-7D26-490A3F0967F1}"/>
              </a:ext>
            </a:extLst>
          </p:cNvPr>
          <p:cNvSpPr txBox="1"/>
          <p:nvPr/>
        </p:nvSpPr>
        <p:spPr>
          <a:xfrm>
            <a:off x="8719722" y="5137280"/>
            <a:ext cx="2535719" cy="415498"/>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05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Chankanai deposit                    (5.5 million tons)</a:t>
            </a:r>
            <a:endParaRPr kumimoji="0" lang="en-US" sz="105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14" name="TextBox 113">
            <a:extLst>
              <a:ext uri="{FF2B5EF4-FFF2-40B4-BE49-F238E27FC236}">
                <a16:creationId xmlns:a16="http://schemas.microsoft.com/office/drawing/2014/main" id="{B8BA7B11-356B-03D8-A3D8-8C281CB3CD20}"/>
              </a:ext>
            </a:extLst>
          </p:cNvPr>
          <p:cNvSpPr txBox="1"/>
          <p:nvPr/>
        </p:nvSpPr>
        <p:spPr>
          <a:xfrm>
            <a:off x="9389321" y="2089287"/>
            <a:ext cx="155253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Zeolites</a:t>
            </a:r>
            <a:endParaRPr kumimoji="0" lang="ru-KZ" sz="1400" b="0"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endParaRPr>
          </a:p>
        </p:txBody>
      </p:sp>
      <p:sp>
        <p:nvSpPr>
          <p:cNvPr id="115" name="TextBox 114">
            <a:extLst>
              <a:ext uri="{FF2B5EF4-FFF2-40B4-BE49-F238E27FC236}">
                <a16:creationId xmlns:a16="http://schemas.microsoft.com/office/drawing/2014/main" id="{CB73ABFC-B273-02F5-4B76-32DE8BFF6CE7}"/>
              </a:ext>
            </a:extLst>
          </p:cNvPr>
          <p:cNvSpPr txBox="1"/>
          <p:nvPr/>
        </p:nvSpPr>
        <p:spPr>
          <a:xfrm>
            <a:off x="9398113" y="2453839"/>
            <a:ext cx="2543129" cy="415498"/>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05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aizhuzgen deposit                    (7.1 million tons)</a:t>
            </a:r>
            <a:endParaRPr kumimoji="0" lang="en-US" sz="105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cxnSp>
        <p:nvCxnSpPr>
          <p:cNvPr id="117" name="Прямая соединительная линия 116">
            <a:extLst>
              <a:ext uri="{FF2B5EF4-FFF2-40B4-BE49-F238E27FC236}">
                <a16:creationId xmlns:a16="http://schemas.microsoft.com/office/drawing/2014/main" id="{614AFC19-732F-C947-8E20-445420301B9C}"/>
              </a:ext>
            </a:extLst>
          </p:cNvPr>
          <p:cNvCxnSpPr>
            <a:cxnSpLocks/>
          </p:cNvCxnSpPr>
          <p:nvPr/>
        </p:nvCxnSpPr>
        <p:spPr>
          <a:xfrm flipV="1">
            <a:off x="9430381" y="2406439"/>
            <a:ext cx="2234249" cy="11649"/>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118" name="Прямая соединительная линия 117">
            <a:extLst>
              <a:ext uri="{FF2B5EF4-FFF2-40B4-BE49-F238E27FC236}">
                <a16:creationId xmlns:a16="http://schemas.microsoft.com/office/drawing/2014/main" id="{C36FFD53-BCD0-0A0A-1B6E-87E1E7FFDDE9}"/>
              </a:ext>
            </a:extLst>
          </p:cNvPr>
          <p:cNvCxnSpPr>
            <a:cxnSpLocks/>
          </p:cNvCxnSpPr>
          <p:nvPr/>
        </p:nvCxnSpPr>
        <p:spPr>
          <a:xfrm flipV="1">
            <a:off x="9080885" y="2416320"/>
            <a:ext cx="347495" cy="508121"/>
          </a:xfrm>
          <a:prstGeom prst="line">
            <a:avLst/>
          </a:prstGeom>
          <a:ln/>
        </p:spPr>
        <p:style>
          <a:lnRef idx="1">
            <a:schemeClr val="accent1"/>
          </a:lnRef>
          <a:fillRef idx="0">
            <a:schemeClr val="accent1"/>
          </a:fillRef>
          <a:effectRef idx="0">
            <a:schemeClr val="accent1"/>
          </a:effectRef>
          <a:fontRef idx="minor">
            <a:schemeClr val="tx1"/>
          </a:fontRef>
        </p:style>
      </p:cxnSp>
      <p:sp>
        <p:nvSpPr>
          <p:cNvPr id="119" name="Овал 118">
            <a:extLst>
              <a:ext uri="{FF2B5EF4-FFF2-40B4-BE49-F238E27FC236}">
                <a16:creationId xmlns:a16="http://schemas.microsoft.com/office/drawing/2014/main" id="{7DA8356C-CEBE-1B61-7071-D2EC262C9767}"/>
              </a:ext>
            </a:extLst>
          </p:cNvPr>
          <p:cNvSpPr/>
          <p:nvPr/>
        </p:nvSpPr>
        <p:spPr>
          <a:xfrm>
            <a:off x="11664630" y="2331807"/>
            <a:ext cx="143820" cy="151442"/>
          </a:xfrm>
          <a:prstGeom prst="ellipse">
            <a:avLst/>
          </a:prstGeom>
          <a:solidFill>
            <a:schemeClr val="tx2">
              <a:lumMod val="75000"/>
              <a:lumOff val="25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cxnSp>
        <p:nvCxnSpPr>
          <p:cNvPr id="120" name="Прямая соединительная линия 119">
            <a:extLst>
              <a:ext uri="{FF2B5EF4-FFF2-40B4-BE49-F238E27FC236}">
                <a16:creationId xmlns:a16="http://schemas.microsoft.com/office/drawing/2014/main" id="{C36FFD53-BCD0-0A0A-1B6E-87E1E7FFDDE9}"/>
              </a:ext>
            </a:extLst>
          </p:cNvPr>
          <p:cNvCxnSpPr>
            <a:cxnSpLocks/>
          </p:cNvCxnSpPr>
          <p:nvPr/>
        </p:nvCxnSpPr>
        <p:spPr>
          <a:xfrm flipH="1" flipV="1">
            <a:off x="9089131" y="2956028"/>
            <a:ext cx="165501" cy="825385"/>
          </a:xfrm>
          <a:prstGeom prst="line">
            <a:avLst/>
          </a:prstGeom>
          <a:ln/>
        </p:spPr>
        <p:style>
          <a:lnRef idx="1">
            <a:schemeClr val="accent1"/>
          </a:lnRef>
          <a:fillRef idx="0">
            <a:schemeClr val="accent1"/>
          </a:fillRef>
          <a:effectRef idx="0">
            <a:schemeClr val="accent1"/>
          </a:effectRef>
          <a:fontRef idx="minor">
            <a:schemeClr val="tx1"/>
          </a:fontRef>
        </p:style>
      </p:cxnSp>
      <p:sp>
        <p:nvSpPr>
          <p:cNvPr id="116" name="Овал 115">
            <a:extLst>
              <a:ext uri="{FF2B5EF4-FFF2-40B4-BE49-F238E27FC236}">
                <a16:creationId xmlns:a16="http://schemas.microsoft.com/office/drawing/2014/main" id="{7BE9362C-3642-079C-AC17-45B6719004B3}"/>
              </a:ext>
            </a:extLst>
          </p:cNvPr>
          <p:cNvSpPr/>
          <p:nvPr/>
        </p:nvSpPr>
        <p:spPr>
          <a:xfrm>
            <a:off x="9043569" y="2902151"/>
            <a:ext cx="79326" cy="79434"/>
          </a:xfrm>
          <a:prstGeom prst="ellipse">
            <a:avLst/>
          </a:prstGeom>
          <a:solidFill>
            <a:schemeClr val="tx2">
              <a:lumMod val="25000"/>
              <a:lumOff val="75000"/>
            </a:schemeClr>
          </a:solidFill>
          <a:ln>
            <a:solidFill>
              <a:schemeClr val="tx2">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cxnSp>
        <p:nvCxnSpPr>
          <p:cNvPr id="121" name="Прямая соединительная линия 120">
            <a:extLst>
              <a:ext uri="{FF2B5EF4-FFF2-40B4-BE49-F238E27FC236}">
                <a16:creationId xmlns:a16="http://schemas.microsoft.com/office/drawing/2014/main" id="{614AFC19-732F-C947-8E20-445420301B9C}"/>
              </a:ext>
            </a:extLst>
          </p:cNvPr>
          <p:cNvCxnSpPr>
            <a:cxnSpLocks/>
            <a:endCxn id="122" idx="2"/>
          </p:cNvCxnSpPr>
          <p:nvPr/>
        </p:nvCxnSpPr>
        <p:spPr>
          <a:xfrm flipV="1">
            <a:off x="9260662" y="3773669"/>
            <a:ext cx="2313378" cy="10561"/>
          </a:xfrm>
          <a:prstGeom prst="line">
            <a:avLst/>
          </a:prstGeom>
          <a:ln/>
        </p:spPr>
        <p:style>
          <a:lnRef idx="1">
            <a:schemeClr val="accent1"/>
          </a:lnRef>
          <a:fillRef idx="0">
            <a:schemeClr val="accent1"/>
          </a:fillRef>
          <a:effectRef idx="0">
            <a:schemeClr val="accent1"/>
          </a:effectRef>
          <a:fontRef idx="minor">
            <a:schemeClr val="tx1"/>
          </a:fontRef>
        </p:style>
      </p:cxnSp>
      <p:sp>
        <p:nvSpPr>
          <p:cNvPr id="122" name="Овал 121">
            <a:extLst>
              <a:ext uri="{FF2B5EF4-FFF2-40B4-BE49-F238E27FC236}">
                <a16:creationId xmlns:a16="http://schemas.microsoft.com/office/drawing/2014/main" id="{7DA8356C-CEBE-1B61-7071-D2EC262C9767}"/>
              </a:ext>
            </a:extLst>
          </p:cNvPr>
          <p:cNvSpPr/>
          <p:nvPr/>
        </p:nvSpPr>
        <p:spPr>
          <a:xfrm>
            <a:off x="11574040" y="3697948"/>
            <a:ext cx="143820" cy="151442"/>
          </a:xfrm>
          <a:prstGeom prst="ellipse">
            <a:avLst/>
          </a:prstGeom>
          <a:solidFill>
            <a:schemeClr val="tx2">
              <a:lumMod val="75000"/>
              <a:lumOff val="25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23" name="TextBox 122">
            <a:extLst>
              <a:ext uri="{FF2B5EF4-FFF2-40B4-BE49-F238E27FC236}">
                <a16:creationId xmlns:a16="http://schemas.microsoft.com/office/drawing/2014/main" id="{B8BA7B11-356B-03D8-A3D8-8C281CB3CD20}"/>
              </a:ext>
            </a:extLst>
          </p:cNvPr>
          <p:cNvSpPr txBox="1"/>
          <p:nvPr/>
        </p:nvSpPr>
        <p:spPr>
          <a:xfrm>
            <a:off x="9366603" y="3440241"/>
            <a:ext cx="244184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Bentonite clays</a:t>
            </a:r>
            <a:endParaRPr kumimoji="0" lang="ru-KZ" sz="1400" b="0"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endParaRPr>
          </a:p>
        </p:txBody>
      </p:sp>
      <p:sp>
        <p:nvSpPr>
          <p:cNvPr id="124" name="TextBox 123">
            <a:extLst>
              <a:ext uri="{FF2B5EF4-FFF2-40B4-BE49-F238E27FC236}">
                <a16:creationId xmlns:a16="http://schemas.microsoft.com/office/drawing/2014/main" id="{CB73ABFC-B273-02F5-4B76-32DE8BFF6CE7}"/>
              </a:ext>
            </a:extLst>
          </p:cNvPr>
          <p:cNvSpPr txBox="1"/>
          <p:nvPr/>
        </p:nvSpPr>
        <p:spPr>
          <a:xfrm>
            <a:off x="9375395" y="3804793"/>
            <a:ext cx="2422727" cy="415498"/>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Taganskoye</a:t>
            </a:r>
            <a:r>
              <a:rPr kumimoji="0" lang="en-US" sz="105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deposit                (9.2 million tons)</a:t>
            </a:r>
          </a:p>
        </p:txBody>
      </p:sp>
      <p:sp>
        <p:nvSpPr>
          <p:cNvPr id="125" name="Овал 124">
            <a:extLst>
              <a:ext uri="{FF2B5EF4-FFF2-40B4-BE49-F238E27FC236}">
                <a16:creationId xmlns:a16="http://schemas.microsoft.com/office/drawing/2014/main" id="{B78FA338-4899-7A4D-9B08-35FBA9081E28}"/>
              </a:ext>
            </a:extLst>
          </p:cNvPr>
          <p:cNvSpPr/>
          <p:nvPr/>
        </p:nvSpPr>
        <p:spPr>
          <a:xfrm>
            <a:off x="3510977" y="1318077"/>
            <a:ext cx="143820" cy="151442"/>
          </a:xfrm>
          <a:prstGeom prst="ellipse">
            <a:avLst/>
          </a:prstGeom>
          <a:solidFill>
            <a:schemeClr val="tx2">
              <a:lumMod val="75000"/>
              <a:lumOff val="25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cxnSp>
        <p:nvCxnSpPr>
          <p:cNvPr id="126" name="Прямая соединительная линия 125">
            <a:extLst>
              <a:ext uri="{FF2B5EF4-FFF2-40B4-BE49-F238E27FC236}">
                <a16:creationId xmlns:a16="http://schemas.microsoft.com/office/drawing/2014/main" id="{7737A402-6AB3-CF1D-2B8D-52818B7DCDEC}"/>
              </a:ext>
            </a:extLst>
          </p:cNvPr>
          <p:cNvCxnSpPr>
            <a:cxnSpLocks/>
          </p:cNvCxnSpPr>
          <p:nvPr/>
        </p:nvCxnSpPr>
        <p:spPr>
          <a:xfrm>
            <a:off x="3547562" y="1400493"/>
            <a:ext cx="2703785" cy="0"/>
          </a:xfrm>
          <a:prstGeom prst="line">
            <a:avLst/>
          </a:prstGeom>
          <a:ln/>
        </p:spPr>
        <p:style>
          <a:lnRef idx="1">
            <a:schemeClr val="accent1"/>
          </a:lnRef>
          <a:fillRef idx="0">
            <a:schemeClr val="accent1"/>
          </a:fillRef>
          <a:effectRef idx="0">
            <a:schemeClr val="accent1"/>
          </a:effectRef>
          <a:fontRef idx="minor">
            <a:schemeClr val="tx1"/>
          </a:fontRef>
        </p:style>
      </p:cxnSp>
      <p:sp>
        <p:nvSpPr>
          <p:cNvPr id="127" name="TextBox 126">
            <a:extLst>
              <a:ext uri="{FF2B5EF4-FFF2-40B4-BE49-F238E27FC236}">
                <a16:creationId xmlns:a16="http://schemas.microsoft.com/office/drawing/2014/main" id="{344744C8-16E1-A9F4-71C2-8F5F0100192A}"/>
              </a:ext>
            </a:extLst>
          </p:cNvPr>
          <p:cNvSpPr txBox="1"/>
          <p:nvPr/>
        </p:nvSpPr>
        <p:spPr>
          <a:xfrm>
            <a:off x="3636300" y="1083378"/>
            <a:ext cx="21914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E2841">
                    <a:lumMod val="75000"/>
                    <a:lumOff val="25000"/>
                  </a:srgbClr>
                </a:solidFill>
                <a:effectLst/>
                <a:uLnTx/>
                <a:uFillTx/>
                <a:latin typeface="Century Gothic" panose="020B0502020202020204" pitchFamily="34" charset="0"/>
                <a:ea typeface="+mn-ea"/>
                <a:cs typeface="+mn-cs"/>
              </a:rPr>
              <a:t>Sapropel</a:t>
            </a:r>
            <a:endParaRPr kumimoji="0" lang="ru-KZ" sz="1400" b="0"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endParaRPr>
          </a:p>
        </p:txBody>
      </p:sp>
      <p:sp>
        <p:nvSpPr>
          <p:cNvPr id="128" name="TextBox 127">
            <a:extLst>
              <a:ext uri="{FF2B5EF4-FFF2-40B4-BE49-F238E27FC236}">
                <a16:creationId xmlns:a16="http://schemas.microsoft.com/office/drawing/2014/main" id="{C8D55B32-5AD8-3D2E-B1D4-140FD92832B5}"/>
              </a:ext>
            </a:extLst>
          </p:cNvPr>
          <p:cNvSpPr txBox="1"/>
          <p:nvPr/>
        </p:nvSpPr>
        <p:spPr>
          <a:xfrm>
            <a:off x="3646997" y="1417280"/>
            <a:ext cx="2577433" cy="4154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Lake </a:t>
            </a:r>
            <a:r>
              <a:rPr kumimoji="0" lang="en-US" sz="105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Safonkovo</a:t>
            </a:r>
            <a:r>
              <a:rPr kumimoji="0" lang="en-US" sz="105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700 thousand cubic meters)</a:t>
            </a:r>
          </a:p>
        </p:txBody>
      </p:sp>
    </p:spTree>
    <p:extLst>
      <p:ext uri="{BB962C8B-B14F-4D97-AF65-F5344CB8AC3E}">
        <p14:creationId xmlns:p14="http://schemas.microsoft.com/office/powerpoint/2010/main" val="689252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958656-511D-788B-A84E-E6EB4180B0AD}"/>
            </a:ext>
          </a:extLst>
        </p:cNvPr>
        <p:cNvGrpSpPr/>
        <p:nvPr/>
      </p:nvGrpSpPr>
      <p:grpSpPr>
        <a:xfrm>
          <a:off x="0" y="0"/>
          <a:ext cx="0" cy="0"/>
          <a:chOff x="0" y="0"/>
          <a:chExt cx="0" cy="0"/>
        </a:xfrm>
      </p:grpSpPr>
      <p:graphicFrame>
        <p:nvGraphicFramePr>
          <p:cNvPr id="12" name="Диаграмма 11"/>
          <p:cNvGraphicFramePr/>
          <p:nvPr/>
        </p:nvGraphicFramePr>
        <p:xfrm>
          <a:off x="6683925" y="3205965"/>
          <a:ext cx="5253478" cy="131629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think-cell data - do not delete" hidden="1">
            <a:extLst>
              <a:ext uri="{FF2B5EF4-FFF2-40B4-BE49-F238E27FC236}">
                <a16:creationId xmlns:a16="http://schemas.microsoft.com/office/drawing/2014/main" id="{1CC50966-7305-B6C5-B5F0-933A1E9F864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Слайд think-cell" r:id="rId5" imgW="7772400" imgH="10058400" progId="TCLayout.ActiveDocument.1">
                  <p:embed/>
                </p:oleObj>
              </mc:Choice>
              <mc:Fallback>
                <p:oleObj name="Слайд think-cell" r:id="rId5" imgW="7772400" imgH="10058400" progId="TCLayout.ActiveDocument.1">
                  <p:embed/>
                  <p:pic>
                    <p:nvPicPr>
                      <p:cNvPr id="9" name="think-cell data - do not delete" hidden="1">
                        <a:extLst>
                          <a:ext uri="{FF2B5EF4-FFF2-40B4-BE49-F238E27FC236}">
                            <a16:creationId xmlns:a16="http://schemas.microsoft.com/office/drawing/2014/main" id="{1CC50966-7305-B6C5-B5F0-933A1E9F8647}"/>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7" name="object 3">
            <a:extLst>
              <a:ext uri="{FF2B5EF4-FFF2-40B4-BE49-F238E27FC236}">
                <a16:creationId xmlns:a16="http://schemas.microsoft.com/office/drawing/2014/main" id="{AE05CF96-6F28-DC76-9F13-25DA4F2B517F}"/>
              </a:ext>
            </a:extLst>
          </p:cNvPr>
          <p:cNvSpPr txBox="1">
            <a:spLocks noGrp="1"/>
          </p:cNvSpPr>
          <p:nvPr>
            <p:ph type="title"/>
          </p:nvPr>
        </p:nvSpPr>
        <p:spPr>
          <a:xfrm>
            <a:off x="300262" y="183575"/>
            <a:ext cx="10914623" cy="936154"/>
          </a:xfrm>
          <a:prstGeom prst="rect">
            <a:avLst/>
          </a:prstGeom>
        </p:spPr>
        <p:txBody>
          <a:bodyPr vert="horz" wrap="square" lIns="0" tIns="12700" rIns="0" bIns="0" rtlCol="0">
            <a:spAutoFit/>
          </a:bodyPr>
          <a:lstStyle/>
          <a:p>
            <a:pPr marL="12700">
              <a:lnSpc>
                <a:spcPct val="100000"/>
              </a:lnSpc>
              <a:spcBef>
                <a:spcPts val="100"/>
              </a:spcBef>
            </a:pPr>
            <a:r>
              <a:rPr lang="en-US" sz="3000" b="1" dirty="0">
                <a:solidFill>
                  <a:schemeClr val="accent4"/>
                </a:solidFill>
                <a:latin typeface="Century Gothic" panose="020B0502020202020204" pitchFamily="34" charset="0"/>
                <a:ea typeface="+mn-ea"/>
                <a:cs typeface="+mn-cs"/>
              </a:rPr>
              <a:t>IMPORT AND EXPORT OF BIOFEED AND BIOFERTILIZERS IN KAZAKHSTAN</a:t>
            </a:r>
            <a:endParaRPr lang="ru-RU" sz="2000" i="1" dirty="0">
              <a:solidFill>
                <a:schemeClr val="accent4"/>
              </a:solidFill>
              <a:latin typeface="Century Gothic" panose="020B0502020202020204" pitchFamily="34" charset="0"/>
              <a:ea typeface="Malgun Gothic Semilight" panose="020B0502040204020203" pitchFamily="34" charset="-128"/>
              <a:cs typeface="Arial" panose="020B0604020202020204" pitchFamily="34" charset="0"/>
            </a:endParaRPr>
          </a:p>
        </p:txBody>
      </p:sp>
      <p:sp>
        <p:nvSpPr>
          <p:cNvPr id="2" name="Прямоугольник 1">
            <a:extLst>
              <a:ext uri="{FF2B5EF4-FFF2-40B4-BE49-F238E27FC236}">
                <a16:creationId xmlns:a16="http://schemas.microsoft.com/office/drawing/2014/main" id="{762DB245-C473-8AC1-1CF0-22B0D1E46127}"/>
              </a:ext>
            </a:extLst>
          </p:cNvPr>
          <p:cNvSpPr/>
          <p:nvPr/>
        </p:nvSpPr>
        <p:spPr>
          <a:xfrm>
            <a:off x="120170" y="4561287"/>
            <a:ext cx="6575098" cy="2015936"/>
          </a:xfrm>
          <a:prstGeom prst="rect">
            <a:avLst/>
          </a:prstGeom>
          <a:noFill/>
          <a:ln w="19050">
            <a:solidFill>
              <a:schemeClr val="accent1"/>
            </a:solidFill>
            <a:prstDash val="sysDot"/>
          </a:ln>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v"/>
              <a:tabLst/>
              <a:defRPr/>
            </a:pPr>
            <a:r>
              <a:rPr kumimoji="0" lang="en-US" sz="13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In 2024, Kazakhstan's foreign trade dynamics in the </a:t>
            </a:r>
            <a:r>
              <a:rPr kumimoji="0" lang="en-US" sz="1400" b="1" i="0" u="none" strike="noStrike" kern="1200" cap="none" spc="0" normalizeH="0" baseline="0" noProof="0" dirty="0" err="1">
                <a:ln>
                  <a:noFill/>
                </a:ln>
                <a:solidFill>
                  <a:srgbClr val="0E2841">
                    <a:lumMod val="75000"/>
                    <a:lumOff val="25000"/>
                  </a:srgbClr>
                </a:solidFill>
                <a:effectLst/>
                <a:uLnTx/>
                <a:uFillTx/>
                <a:latin typeface="Century Gothic" panose="020B0502020202020204" pitchFamily="34" charset="0"/>
                <a:ea typeface="+mn-ea"/>
                <a:cs typeface="+mn-cs"/>
              </a:rPr>
              <a:t>biofeed</a:t>
            </a:r>
            <a:r>
              <a:rPr kumimoji="0" lang="en-US" sz="13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segment were marked by a significant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dominance of exports over imports</a:t>
            </a:r>
            <a:r>
              <a:rPr kumimoji="0" lang="en-US" sz="13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both in volume and value terms.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China</a:t>
            </a:r>
            <a:r>
              <a:rPr kumimoji="0" lang="en-US" sz="13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emerged as the main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export</a:t>
            </a:r>
            <a:r>
              <a:rPr kumimoji="0" lang="en-US" sz="13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destination, accounting for $229.8 million. At the same time,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Russia</a:t>
            </a:r>
            <a:r>
              <a:rPr kumimoji="0" lang="en-US" sz="13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remained the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key supplier</a:t>
            </a:r>
            <a:r>
              <a:rPr kumimoji="0" lang="en-US" sz="13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providing more than half of total import value.</a:t>
            </a:r>
          </a:p>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v"/>
              <a:tabLst/>
              <a:defRPr/>
            </a:pPr>
            <a:r>
              <a:rPr kumimoji="0" lang="en-US" sz="13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In the </a:t>
            </a:r>
            <a:r>
              <a:rPr kumimoji="0" lang="en-US" sz="1400" b="1" i="0" u="none" strike="noStrike" kern="1200" cap="none" spc="0" normalizeH="0" baseline="0" noProof="0" dirty="0" err="1">
                <a:ln>
                  <a:noFill/>
                </a:ln>
                <a:solidFill>
                  <a:srgbClr val="0E2841">
                    <a:lumMod val="75000"/>
                    <a:lumOff val="25000"/>
                  </a:srgbClr>
                </a:solidFill>
                <a:effectLst/>
                <a:uLnTx/>
                <a:uFillTx/>
                <a:latin typeface="Century Gothic" panose="020B0502020202020204" pitchFamily="34" charset="0"/>
                <a:ea typeface="+mn-ea"/>
                <a:cs typeface="+mn-cs"/>
              </a:rPr>
              <a:t>biofertilizer</a:t>
            </a:r>
            <a:r>
              <a:rPr kumimoji="0" lang="en-US" sz="13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segment,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imports</a:t>
            </a:r>
            <a:r>
              <a:rPr kumimoji="0" lang="en-US" sz="13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from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Russia</a:t>
            </a:r>
            <a:r>
              <a:rPr kumimoji="0" lang="en-US" sz="13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mounted to $0.4 million in 2024. Compared to </a:t>
            </a:r>
            <a:r>
              <a:rPr kumimoji="0" lang="en-US" sz="13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biofeed</a:t>
            </a:r>
            <a:r>
              <a:rPr kumimoji="0" lang="en-US" sz="13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this indicates a much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smaller trade volume and highlights the continued narrowness of the </a:t>
            </a:r>
            <a:r>
              <a:rPr kumimoji="0" lang="en-US" sz="1400" b="1" i="0" u="none" strike="noStrike" kern="1200" cap="none" spc="0" normalizeH="0" baseline="0" noProof="0" dirty="0" err="1">
                <a:ln>
                  <a:noFill/>
                </a:ln>
                <a:solidFill>
                  <a:srgbClr val="0E2841">
                    <a:lumMod val="75000"/>
                    <a:lumOff val="25000"/>
                  </a:srgbClr>
                </a:solidFill>
                <a:effectLst/>
                <a:uLnTx/>
                <a:uFillTx/>
                <a:latin typeface="Century Gothic" panose="020B0502020202020204" pitchFamily="34" charset="0"/>
                <a:ea typeface="+mn-ea"/>
                <a:cs typeface="+mn-cs"/>
              </a:rPr>
              <a:t>biofertilizer</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 market</a:t>
            </a:r>
            <a:r>
              <a:rPr kumimoji="0" lang="en-US" sz="13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despite growing interest in environmentally oriented agriculture.</a:t>
            </a:r>
            <a:endParaRPr kumimoji="0" lang="ru-RU" sz="13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7" name="TextBox 16">
            <a:extLst>
              <a:ext uri="{FF2B5EF4-FFF2-40B4-BE49-F238E27FC236}">
                <a16:creationId xmlns:a16="http://schemas.microsoft.com/office/drawing/2014/main" id="{1E500FCC-D818-D73A-095A-98253B50EA17}"/>
              </a:ext>
            </a:extLst>
          </p:cNvPr>
          <p:cNvSpPr txBox="1"/>
          <p:nvPr/>
        </p:nvSpPr>
        <p:spPr>
          <a:xfrm>
            <a:off x="122877" y="1453153"/>
            <a:ext cx="628651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Biofeed</a:t>
            </a: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partners</a:t>
            </a:r>
            <a:r>
              <a:rPr kumimoji="0" lang="ru-RU"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a:t>
            </a: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million</a:t>
            </a:r>
            <a:r>
              <a:rPr kumimoji="0" lang="ru-RU"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2024)</a:t>
            </a:r>
          </a:p>
        </p:txBody>
      </p:sp>
      <p:sp>
        <p:nvSpPr>
          <p:cNvPr id="10" name="Прямоугольник 9">
            <a:extLst>
              <a:ext uri="{FF2B5EF4-FFF2-40B4-BE49-F238E27FC236}">
                <a16:creationId xmlns:a16="http://schemas.microsoft.com/office/drawing/2014/main" id="{0B6A52F8-EB3A-1A0D-E9B5-9FD074529C8F}"/>
              </a:ext>
            </a:extLst>
          </p:cNvPr>
          <p:cNvSpPr/>
          <p:nvPr/>
        </p:nvSpPr>
        <p:spPr>
          <a:xfrm>
            <a:off x="6803756" y="5396959"/>
            <a:ext cx="5309687" cy="1169551"/>
          </a:xfrm>
          <a:prstGeom prst="rect">
            <a:avLst/>
          </a:prstGeom>
          <a:noFill/>
          <a:ln w="19050">
            <a:solidFill>
              <a:schemeClr val="accent1"/>
            </a:solidFill>
            <a:prstDash val="sysDot"/>
          </a:ln>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v"/>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From 2020 to 2024, </a:t>
            </a:r>
            <a:r>
              <a:rPr kumimoji="0" lang="en-US" sz="1400" b="1" i="0" u="none" strike="noStrike" kern="1200" cap="none" spc="0" normalizeH="0" baseline="0" noProof="0" dirty="0" err="1">
                <a:ln>
                  <a:noFill/>
                </a:ln>
                <a:solidFill>
                  <a:srgbClr val="0E2841">
                    <a:lumMod val="75000"/>
                    <a:lumOff val="25000"/>
                  </a:srgbClr>
                </a:solidFill>
                <a:effectLst/>
                <a:uLnTx/>
                <a:uFillTx/>
                <a:latin typeface="Century Gothic" panose="020B0502020202020204" pitchFamily="34" charset="0"/>
                <a:ea typeface="+mn-ea"/>
                <a:cs typeface="+mn-cs"/>
              </a:rPr>
              <a:t>biofeed</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 imports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o Kazakhstan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increased</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to 62.2 thousand tons, while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exports peaked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t 1.1 million tons. Over the same period, </a:t>
            </a:r>
            <a:r>
              <a:rPr kumimoji="0" lang="en-US" sz="1400" b="1" i="0" u="none" strike="noStrike" kern="1200" cap="none" spc="0" normalizeH="0" baseline="0" noProof="0" dirty="0" err="1">
                <a:ln>
                  <a:noFill/>
                </a:ln>
                <a:solidFill>
                  <a:srgbClr val="0E2841">
                    <a:lumMod val="75000"/>
                    <a:lumOff val="25000"/>
                  </a:srgbClr>
                </a:solidFill>
                <a:effectLst/>
                <a:uLnTx/>
                <a:uFillTx/>
                <a:latin typeface="Century Gothic" panose="020B0502020202020204" pitchFamily="34" charset="0"/>
                <a:ea typeface="+mn-ea"/>
                <a:cs typeface="+mn-cs"/>
              </a:rPr>
              <a:t>biofertilizer</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 import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remained stable</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ranging from 740 to 1,621 tons per year, whereas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exports remained insignificant</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t>
            </a:r>
            <a:endParaRPr kumimoji="0" lang="ru-KZ"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graphicFrame>
        <p:nvGraphicFramePr>
          <p:cNvPr id="13" name="Диаграмма 12"/>
          <p:cNvGraphicFramePr/>
          <p:nvPr/>
        </p:nvGraphicFramePr>
        <p:xfrm>
          <a:off x="6683925" y="716947"/>
          <a:ext cx="5253478" cy="2293337"/>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9" name="Диаграмма 18"/>
          <p:cNvGraphicFramePr/>
          <p:nvPr/>
        </p:nvGraphicFramePr>
        <p:xfrm>
          <a:off x="6695268" y="3091380"/>
          <a:ext cx="5253478" cy="2293337"/>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Диаграмма 14"/>
          <p:cNvGraphicFramePr/>
          <p:nvPr/>
        </p:nvGraphicFramePr>
        <p:xfrm>
          <a:off x="574793" y="2173174"/>
          <a:ext cx="2455310" cy="2163725"/>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0" name="Диаграмма 19"/>
          <p:cNvGraphicFramePr/>
          <p:nvPr/>
        </p:nvGraphicFramePr>
        <p:xfrm>
          <a:off x="3546338" y="2192072"/>
          <a:ext cx="2455310" cy="2163725"/>
        </p:xfrm>
        <a:graphic>
          <a:graphicData uri="http://schemas.openxmlformats.org/drawingml/2006/chart">
            <c:chart xmlns:c="http://schemas.openxmlformats.org/drawingml/2006/chart" xmlns:r="http://schemas.openxmlformats.org/officeDocument/2006/relationships" r:id="rId10"/>
          </a:graphicData>
        </a:graphic>
      </p:graphicFrame>
      <p:sp>
        <p:nvSpPr>
          <p:cNvPr id="23" name="TextBox 22">
            <a:extLst>
              <a:ext uri="{FF2B5EF4-FFF2-40B4-BE49-F238E27FC236}">
                <a16:creationId xmlns:a16="http://schemas.microsoft.com/office/drawing/2014/main" id="{EF43659D-424D-0567-4DCE-F15C12E5683B}"/>
              </a:ext>
            </a:extLst>
          </p:cNvPr>
          <p:cNvSpPr txBox="1"/>
          <p:nvPr/>
        </p:nvSpPr>
        <p:spPr>
          <a:xfrm>
            <a:off x="32427" y="6626899"/>
            <a:ext cx="567690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Source: Development Bank of Kazakhstan</a:t>
            </a:r>
            <a:endParaRPr kumimoji="0" lang="ru-RU"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22654314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8F4CD4-036E-8D21-C1CB-7F72609633E0}"/>
            </a:ext>
          </a:extLst>
        </p:cNvPr>
        <p:cNvGrpSpPr/>
        <p:nvPr/>
      </p:nvGrpSpPr>
      <p:grpSpPr>
        <a:xfrm>
          <a:off x="0" y="0"/>
          <a:ext cx="0" cy="0"/>
          <a:chOff x="0" y="0"/>
          <a:chExt cx="0" cy="0"/>
        </a:xfrm>
      </p:grpSpPr>
      <p:sp>
        <p:nvSpPr>
          <p:cNvPr id="27" name="object 3">
            <a:extLst>
              <a:ext uri="{FF2B5EF4-FFF2-40B4-BE49-F238E27FC236}">
                <a16:creationId xmlns:a16="http://schemas.microsoft.com/office/drawing/2014/main" id="{92A8156A-2B42-2168-6196-95902B8BAABE}"/>
              </a:ext>
            </a:extLst>
          </p:cNvPr>
          <p:cNvSpPr txBox="1">
            <a:spLocks noGrp="1"/>
          </p:cNvSpPr>
          <p:nvPr>
            <p:ph type="title"/>
          </p:nvPr>
        </p:nvSpPr>
        <p:spPr>
          <a:xfrm>
            <a:off x="366964" y="206329"/>
            <a:ext cx="11616952" cy="474489"/>
          </a:xfrm>
          <a:prstGeom prst="rect">
            <a:avLst/>
          </a:prstGeom>
        </p:spPr>
        <p:txBody>
          <a:bodyPr vert="horz" wrap="square" lIns="0" tIns="12700" rIns="0" bIns="0" rtlCol="0">
            <a:spAutoFit/>
          </a:bodyPr>
          <a:lstStyle/>
          <a:p>
            <a:pPr marL="12700">
              <a:lnSpc>
                <a:spcPct val="100000"/>
              </a:lnSpc>
              <a:spcBef>
                <a:spcPts val="100"/>
              </a:spcBef>
            </a:pPr>
            <a:r>
              <a:rPr lang="en-US" sz="3000" b="1" dirty="0">
                <a:solidFill>
                  <a:schemeClr val="accent4"/>
                </a:solidFill>
                <a:latin typeface="Century Gothic" panose="020B0502020202020204" pitchFamily="34" charset="0"/>
                <a:ea typeface="+mn-ea"/>
                <a:cs typeface="+mn-cs"/>
              </a:rPr>
              <a:t>WORLD EXPORT AND IMPORT OF BIOFEED</a:t>
            </a:r>
            <a:endParaRPr lang="ru-RU" sz="2000" i="1" dirty="0">
              <a:solidFill>
                <a:schemeClr val="accent4"/>
              </a:solidFill>
              <a:latin typeface="Century Gothic" panose="020B0502020202020204" pitchFamily="34" charset="0"/>
              <a:ea typeface="Malgun Gothic Semilight" panose="020B0502040204020203" pitchFamily="34" charset="-128"/>
              <a:cs typeface="Arial" panose="020B0604020202020204" pitchFamily="34" charset="0"/>
            </a:endParaRPr>
          </a:p>
        </p:txBody>
      </p:sp>
      <p:sp>
        <p:nvSpPr>
          <p:cNvPr id="19" name="TextBox 18">
            <a:extLst>
              <a:ext uri="{FF2B5EF4-FFF2-40B4-BE49-F238E27FC236}">
                <a16:creationId xmlns:a16="http://schemas.microsoft.com/office/drawing/2014/main" id="{BBBFC575-720A-0AFD-0E60-10A7FAD8B8DC}"/>
              </a:ext>
            </a:extLst>
          </p:cNvPr>
          <p:cNvSpPr txBox="1"/>
          <p:nvPr/>
        </p:nvSpPr>
        <p:spPr>
          <a:xfrm>
            <a:off x="86833" y="4754498"/>
            <a:ext cx="5781860" cy="1867178"/>
          </a:xfrm>
          <a:prstGeom prst="rect">
            <a:avLst/>
          </a:prstGeom>
          <a:noFill/>
          <a:ln w="19050">
            <a:solidFill>
              <a:schemeClr val="accent1"/>
            </a:solidFill>
            <a:prstDash val="sysDot"/>
          </a:ln>
        </p:spPr>
        <p:txBody>
          <a:bodyPr wrap="square" rtlCol="0">
            <a:spAutoFit/>
          </a:bodyPr>
          <a:lstStyle/>
          <a:p>
            <a:pPr marL="285750" marR="0" lvl="0" indent="-285750" algn="just"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In 2024, the leading global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exporter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of </a:t>
            </a:r>
            <a:r>
              <a:rPr kumimoji="0" lang="en-US" sz="14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biofeed</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were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the Netherlands, Germany and the United State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accounting for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13.17%, 8.11%, and 7.97%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of total exports, respectively. The combined share of these three countries is 29.25%. </a:t>
            </a:r>
          </a:p>
          <a:p>
            <a:pPr marL="285750" marR="0" lvl="0" indent="-285750" algn="just"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Kazakhstan</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with an export volume of $241,134 thousand, contributed approximately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1.14%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of global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export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and is classified among the </a:t>
            </a:r>
            <a:r>
              <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other</a:t>
            </a:r>
            <a:r>
              <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countries group, which collectively accounts for 37.04%.</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2" name="Прямоугольник 1">
            <a:extLst>
              <a:ext uri="{FF2B5EF4-FFF2-40B4-BE49-F238E27FC236}">
                <a16:creationId xmlns:a16="http://schemas.microsoft.com/office/drawing/2014/main" id="{5523F916-C16F-2FC8-263F-2AF89B683D41}"/>
              </a:ext>
            </a:extLst>
          </p:cNvPr>
          <p:cNvSpPr/>
          <p:nvPr/>
        </p:nvSpPr>
        <p:spPr>
          <a:xfrm>
            <a:off x="5976435" y="4897479"/>
            <a:ext cx="6102284" cy="1423467"/>
          </a:xfrm>
          <a:prstGeom prst="rect">
            <a:avLst/>
          </a:prstGeom>
          <a:noFill/>
          <a:ln w="19050">
            <a:solidFill>
              <a:schemeClr val="accent1"/>
            </a:solidFill>
            <a:prstDash val="sysDot"/>
          </a:ln>
        </p:spPr>
        <p:txBody>
          <a:bodyPr wrap="square" rtlCol="0">
            <a:spAutoFit/>
          </a:bodyPr>
          <a:lstStyle/>
          <a:p>
            <a:pPr marL="285750" marR="0" lvl="0" indent="-285750" algn="just"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Germany, the United States and the Netherlands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are the top consumers of </a:t>
            </a:r>
            <a:r>
              <a:rPr kumimoji="0" lang="en-US" sz="14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biofeed</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accounting for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4.87%, 4.84%, and 4.51%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of total global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import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respectively.</a:t>
            </a:r>
          </a:p>
          <a:p>
            <a:pPr marL="285750" marR="0" lvl="0" indent="-285750" algn="just"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Against this backdrop,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Kazakhstan</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held a modest share: its </a:t>
            </a:r>
            <a:r>
              <a:rPr kumimoji="0" lang="en-US" sz="14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biofeed</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import volume amounted to $68,551 thousand, representing less than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0.3%</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of total global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import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a:t>
            </a: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5" name="TextBox 4">
            <a:extLst>
              <a:ext uri="{FF2B5EF4-FFF2-40B4-BE49-F238E27FC236}">
                <a16:creationId xmlns:a16="http://schemas.microsoft.com/office/drawing/2014/main" id="{817C3E91-567B-DB55-D84F-72AA4A161EDD}"/>
              </a:ext>
            </a:extLst>
          </p:cNvPr>
          <p:cNvSpPr txBox="1"/>
          <p:nvPr/>
        </p:nvSpPr>
        <p:spPr>
          <a:xfrm>
            <a:off x="140176" y="897862"/>
            <a:ext cx="564168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Structure of world exports of </a:t>
            </a:r>
            <a:r>
              <a:rPr kumimoji="0" lang="en-US" sz="1400" b="1"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biofeeds</a:t>
            </a: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2024</a:t>
            </a:r>
            <a:endParaRPr kumimoji="0" lang="ru-RU"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17" name="TextBox 16">
            <a:extLst>
              <a:ext uri="{FF2B5EF4-FFF2-40B4-BE49-F238E27FC236}">
                <a16:creationId xmlns:a16="http://schemas.microsoft.com/office/drawing/2014/main" id="{A27B00BE-9BA2-A846-BAE7-8EBFCFE1265C}"/>
              </a:ext>
            </a:extLst>
          </p:cNvPr>
          <p:cNvSpPr txBox="1"/>
          <p:nvPr/>
        </p:nvSpPr>
        <p:spPr>
          <a:xfrm>
            <a:off x="6363600" y="897862"/>
            <a:ext cx="568822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Structure of world imports of </a:t>
            </a:r>
            <a:r>
              <a:rPr kumimoji="0" lang="en-US" sz="1400" b="1"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biofeeds</a:t>
            </a: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2024</a:t>
            </a:r>
            <a:endParaRPr kumimoji="0" lang="ru-RU"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4" name="TextBox 3">
            <a:extLst>
              <a:ext uri="{FF2B5EF4-FFF2-40B4-BE49-F238E27FC236}">
                <a16:creationId xmlns:a16="http://schemas.microsoft.com/office/drawing/2014/main" id="{7CD4ADEB-FF27-B4A0-07CC-9381D09304D0}"/>
              </a:ext>
            </a:extLst>
          </p:cNvPr>
          <p:cNvSpPr txBox="1"/>
          <p:nvPr/>
        </p:nvSpPr>
        <p:spPr>
          <a:xfrm>
            <a:off x="71719" y="6638674"/>
            <a:ext cx="7599405"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Source: International Trade Centre</a:t>
            </a:r>
            <a:endParaRPr kumimoji="0" lang="ru-RU"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7" name="TextBox 6">
            <a:extLst>
              <a:ext uri="{FF2B5EF4-FFF2-40B4-BE49-F238E27FC236}">
                <a16:creationId xmlns:a16="http://schemas.microsoft.com/office/drawing/2014/main" id="{0E0C4527-24C3-AB3E-53C9-7CD6C23C6C03}"/>
              </a:ext>
            </a:extLst>
          </p:cNvPr>
          <p:cNvSpPr txBox="1"/>
          <p:nvPr/>
        </p:nvSpPr>
        <p:spPr>
          <a:xfrm>
            <a:off x="1997408" y="2596653"/>
            <a:ext cx="1626054"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21 billion US dollars</a:t>
            </a:r>
            <a:endParaRPr kumimoji="0" lang="ru-RU" sz="2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6" name="TextBox 15">
            <a:extLst>
              <a:ext uri="{FF2B5EF4-FFF2-40B4-BE49-F238E27FC236}">
                <a16:creationId xmlns:a16="http://schemas.microsoft.com/office/drawing/2014/main" id="{5C1BFC30-A0BA-3DAE-A445-A6559A9D149F}"/>
              </a:ext>
            </a:extLst>
          </p:cNvPr>
          <p:cNvSpPr txBox="1"/>
          <p:nvPr/>
        </p:nvSpPr>
        <p:spPr>
          <a:xfrm>
            <a:off x="7975280" y="2733783"/>
            <a:ext cx="1939201"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2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21,1 </a:t>
            </a:r>
            <a:r>
              <a:rPr kumimoji="0" lang="en-US" sz="2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bill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US dollars</a:t>
            </a:r>
            <a:endParaRPr kumimoji="0" lang="ru-KZ" sz="2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graphicFrame>
        <p:nvGraphicFramePr>
          <p:cNvPr id="10" name="Диаграмма 9"/>
          <p:cNvGraphicFramePr/>
          <p:nvPr/>
        </p:nvGraphicFramePr>
        <p:xfrm>
          <a:off x="6134445" y="1351757"/>
          <a:ext cx="5620870" cy="338025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8" name="Диаграмма 17"/>
          <p:cNvGraphicFramePr/>
          <p:nvPr/>
        </p:nvGraphicFramePr>
        <p:xfrm>
          <a:off x="0" y="1222637"/>
          <a:ext cx="5620870" cy="338025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9532472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725&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4&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waXHRCB7EKb2B1FcsIQ4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waXHRCB7EKb2B1FcsIQ4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WwaXHRCB7EKb2B1FcsIQ4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WwaXHRCB7EKb2B1FcsIQ4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waXHRCB7EKb2B1FcsIQ4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waXHRCB7EKb2B1FcsIQ4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waXHRCB7EKb2B1FcsIQ4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WwaXHRCB7EKb2B1FcsIQ4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WwaXHRCB7EKb2B1FcsIQ4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WwaXHRCB7EKb2B1FcsIQ4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waXHRCB7EKb2B1FcsIQ4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WwaXHRCB7EKb2B1FcsIQ4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waXHRCB7EKb2B1FcsIQ4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WwaXHRCB7EKb2B1FcsIQ4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waXHRCB7EKb2B1FcsIQ4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WwaXHRCB7EKb2B1FcsIQ4g"/>
</p:tagLst>
</file>

<file path=ppt/theme/theme1.xml><?xml version="1.0" encoding="utf-8"?>
<a:theme xmlns:a="http://schemas.openxmlformats.org/drawingml/2006/main" name="Тема Office 2013–2022">
  <a:themeElements>
    <a:clrScheme name="Тема Office 2013–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Тема Office 2013–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Тема Office 2013–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2.xml><?xml version="1.0" encoding="utf-8"?>
<a:theme xmlns:a="http://schemas.openxmlformats.org/drawingml/2006/main" name="1_Тема Office">
  <a:themeElements>
    <a:clrScheme name="Стандартная">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Стандартная">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2_Тема Office">
  <a:themeElements>
    <a:clrScheme name="Тема 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Тема 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Тема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Тема Office">
  <a:themeElements>
    <a:clrScheme name="Стандартная">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Стандартная">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Стандартная">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Стандартная">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2624</TotalTime>
  <Words>7342</Words>
  <Application>Microsoft Office PowerPoint</Application>
  <PresentationFormat>Panoramiczny</PresentationFormat>
  <Paragraphs>1275</Paragraphs>
  <Slides>40</Slides>
  <Notes>32</Notes>
  <HiddenSlides>0</HiddenSlides>
  <MMClips>0</MMClips>
  <ScaleCrop>false</ScaleCrop>
  <HeadingPairs>
    <vt:vector size="8" baseType="variant">
      <vt:variant>
        <vt:lpstr>Używane czcionki</vt:lpstr>
      </vt:variant>
      <vt:variant>
        <vt:i4>10</vt:i4>
      </vt:variant>
      <vt:variant>
        <vt:lpstr>Motyw</vt:lpstr>
      </vt:variant>
      <vt:variant>
        <vt:i4>3</vt:i4>
      </vt:variant>
      <vt:variant>
        <vt:lpstr>Osadzone serwery OLE</vt:lpstr>
      </vt:variant>
      <vt:variant>
        <vt:i4>1</vt:i4>
      </vt:variant>
      <vt:variant>
        <vt:lpstr>Tytuły slajdów</vt:lpstr>
      </vt:variant>
      <vt:variant>
        <vt:i4>40</vt:i4>
      </vt:variant>
    </vt:vector>
  </HeadingPairs>
  <TitlesOfParts>
    <vt:vector size="54" baseType="lpstr">
      <vt:lpstr>Aptos</vt:lpstr>
      <vt:lpstr>Aptos Display</vt:lpstr>
      <vt:lpstr>Arial</vt:lpstr>
      <vt:lpstr>Arial Narrow</vt:lpstr>
      <vt:lpstr>Bahnschrift</vt:lpstr>
      <vt:lpstr>Calibri</vt:lpstr>
      <vt:lpstr>Calibri Light</vt:lpstr>
      <vt:lpstr>Century Gothic</vt:lpstr>
      <vt:lpstr>-webkit-standard</vt:lpstr>
      <vt:lpstr>Wingdings</vt:lpstr>
      <vt:lpstr>Тема Office 2013–2022</vt:lpstr>
      <vt:lpstr>1_Тема Office</vt:lpstr>
      <vt:lpstr>2_Тема Office</vt:lpstr>
      <vt:lpstr>Слайд think-cell</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IMPORT AND EXPORT OF BIOFEED AND BIOFERTILIZERS IN KAZAKHSTAN</vt:lpstr>
      <vt:lpstr>WORLD EXPORT AND IMPORT OF BIOFEED</vt:lpstr>
      <vt:lpstr>WORLD EXPORT AND IMPORT OF BIOFERTILIZERS</vt:lpstr>
      <vt:lpstr>CONCLUSIONS</vt:lpstr>
      <vt:lpstr>Prezentacja programu PowerPoint</vt:lpstr>
      <vt:lpstr>Prezentacja programu PowerPoint</vt:lpstr>
      <vt:lpstr>Prezentacja programu PowerPoint</vt:lpstr>
      <vt:lpstr>Prezentacja programu PowerPoint</vt:lpstr>
      <vt:lpstr>Prezentacja programu PowerPoint</vt:lpstr>
      <vt:lpstr>GLOBAL EXPORT AND IMPORT OF CROP PRODUCTION</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CONCLUSIONS</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Khalida Amanzhol</dc:creator>
  <cp:lastModifiedBy>Dinara Ismailova-Karacsony</cp:lastModifiedBy>
  <cp:revision>210</cp:revision>
  <dcterms:created xsi:type="dcterms:W3CDTF">2025-06-30T10:49:24Z</dcterms:created>
  <dcterms:modified xsi:type="dcterms:W3CDTF">2025-10-20T13:20:46Z</dcterms:modified>
</cp:coreProperties>
</file>